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handoutMasterIdLst>
    <p:handoutMasterId r:id="rId25"/>
  </p:handoutMasterIdLst>
  <p:sldIdLst>
    <p:sldId id="691" r:id="rId2"/>
    <p:sldId id="673" r:id="rId3"/>
    <p:sldId id="671" r:id="rId4"/>
    <p:sldId id="674" r:id="rId5"/>
    <p:sldId id="675" r:id="rId6"/>
    <p:sldId id="676" r:id="rId7"/>
    <p:sldId id="677" r:id="rId8"/>
    <p:sldId id="678" r:id="rId9"/>
    <p:sldId id="680" r:id="rId10"/>
    <p:sldId id="690" r:id="rId11"/>
    <p:sldId id="659" r:id="rId12"/>
    <p:sldId id="657" r:id="rId13"/>
    <p:sldId id="669" r:id="rId14"/>
    <p:sldId id="666" r:id="rId15"/>
    <p:sldId id="667" r:id="rId16"/>
    <p:sldId id="638" r:id="rId17"/>
    <p:sldId id="639" r:id="rId18"/>
    <p:sldId id="640" r:id="rId19"/>
    <p:sldId id="686" r:id="rId20"/>
    <p:sldId id="687" r:id="rId21"/>
    <p:sldId id="662" r:id="rId22"/>
    <p:sldId id="689" r:id="rId23"/>
  </p:sldIdLst>
  <p:sldSz cx="12192000" cy="6858000"/>
  <p:notesSz cx="6797675" cy="9928225"/>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7027BA9-7A79-410C-935A-D88AB2F33BD1}">
          <p14:sldIdLst>
            <p14:sldId id="691"/>
            <p14:sldId id="673"/>
            <p14:sldId id="671"/>
            <p14:sldId id="674"/>
            <p14:sldId id="675"/>
            <p14:sldId id="676"/>
            <p14:sldId id="677"/>
            <p14:sldId id="678"/>
            <p14:sldId id="680"/>
            <p14:sldId id="690"/>
            <p14:sldId id="659"/>
            <p14:sldId id="657"/>
            <p14:sldId id="669"/>
            <p14:sldId id="666"/>
            <p14:sldId id="667"/>
            <p14:sldId id="638"/>
            <p14:sldId id="639"/>
            <p14:sldId id="640"/>
            <p14:sldId id="686"/>
            <p14:sldId id="687"/>
            <p14:sldId id="662"/>
            <p14:sldId id="689"/>
          </p14:sldIdLst>
        </p14:section>
      </p14:sectionLst>
    </p:ext>
    <p:ext uri="{EFAFB233-063F-42B5-8137-9DF3F51BA10A}">
      <p15:sldGuideLst xmlns:p15="http://schemas.microsoft.com/office/powerpoint/2012/main" xmlns="">
        <p15:guide id="29" pos="393" userDrawn="1">
          <p15:clr>
            <a:srgbClr val="A4A3A4"/>
          </p15:clr>
        </p15:guide>
        <p15:guide id="35" orient="horz" pos="1162" userDrawn="1">
          <p15:clr>
            <a:srgbClr val="A4A3A4"/>
          </p15:clr>
        </p15:guide>
        <p15:guide id="45" pos="7287" userDrawn="1">
          <p15:clr>
            <a:srgbClr val="A4A3A4"/>
          </p15:clr>
        </p15:guide>
        <p15:guide id="52" orient="horz" pos="618"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ia Pera" initials="LP" lastIdx="6" clrIdx="0">
    <p:extLst>
      <p:ext uri="{19B8F6BF-5375-455C-9EA6-DF929625EA0E}">
        <p15:presenceInfo xmlns:p15="http://schemas.microsoft.com/office/powerpoint/2012/main" xmlns="" userId="S-1-5-21-8915387-119489993-1287535205-78466" providerId="AD"/>
      </p:ext>
    </p:extLst>
  </p:cmAuthor>
  <p:cmAuthor id="2" name="Test Name" initials="TN" lastIdx="2" clrIdx="1">
    <p:extLst>
      <p:ext uri="{19B8F6BF-5375-455C-9EA6-DF929625EA0E}">
        <p15:presenceInfo xmlns:p15="http://schemas.microsoft.com/office/powerpoint/2012/main" xmlns="" userId="Test Nam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A1AF"/>
    <a:srgbClr val="002060"/>
    <a:srgbClr val="019CD8"/>
    <a:srgbClr val="E9A922"/>
    <a:srgbClr val="5B9BD5"/>
    <a:srgbClr val="424A60"/>
    <a:srgbClr val="BFC1C9"/>
    <a:srgbClr val="CCAB34"/>
    <a:srgbClr val="45A198"/>
    <a:srgbClr val="4BAF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5405" autoAdjust="0"/>
  </p:normalViewPr>
  <p:slideViewPr>
    <p:cSldViewPr showGuides="1">
      <p:cViewPr varScale="1">
        <p:scale>
          <a:sx n="74" d="100"/>
          <a:sy n="74" d="100"/>
        </p:scale>
        <p:origin x="-456" y="-90"/>
      </p:cViewPr>
      <p:guideLst>
        <p:guide orient="horz" pos="1162"/>
        <p:guide orient="horz" pos="618"/>
        <p:guide pos="393"/>
        <p:guide pos="7287"/>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howGuides="1">
      <p:cViewPr varScale="1">
        <p:scale>
          <a:sx n="60" d="100"/>
          <a:sy n="60" d="100"/>
        </p:scale>
        <p:origin x="2376"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5CD3A5-23CF-4EEF-952C-BA99B70E973E}"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A08134B7-0BF2-4578-9147-1AEB0271D591}">
      <dgm:prSet phldrT="[Text]"/>
      <dgm:spPr>
        <a:xfrm>
          <a:off x="3102588" y="1658170"/>
          <a:ext cx="1207205" cy="1042191"/>
        </a:xfrm>
        <a:prstGeom prst="hexagon">
          <a:avLst/>
        </a:prstGeom>
        <a:solidFill>
          <a:srgbClr val="FFE600"/>
        </a:solidFill>
        <a:ln w="25400" cap="flat" cmpd="sng" algn="ctr">
          <a:noFill/>
          <a:prstDash val="solid"/>
        </a:ln>
        <a:effectLst/>
      </dgm:spPr>
      <dgm:t>
        <a:bodyPr bIns="396000"/>
        <a:lstStyle/>
        <a:p>
          <a:r>
            <a:rPr lang="en-US" b="1" dirty="0">
              <a:solidFill>
                <a:srgbClr val="000000"/>
              </a:solidFill>
              <a:latin typeface="EYInterstate Light"/>
              <a:ea typeface="+mn-ea"/>
              <a:cs typeface="+mn-cs"/>
            </a:rPr>
            <a:t>Vantaggi Blockchain</a:t>
          </a:r>
        </a:p>
      </dgm:t>
    </dgm:pt>
    <dgm:pt modelId="{2D967D85-C358-4172-BE0E-F18AAF5E665D}" type="parTrans" cxnId="{18EDDA4A-B7F9-42AF-BD73-16F874DED276}">
      <dgm:prSet/>
      <dgm:spPr/>
      <dgm:t>
        <a:bodyPr/>
        <a:lstStyle/>
        <a:p>
          <a:endParaRPr lang="en-US"/>
        </a:p>
      </dgm:t>
    </dgm:pt>
    <dgm:pt modelId="{69F21438-A9C4-4137-BC81-AAC1F05FB39E}" type="sibTrans" cxnId="{18EDDA4A-B7F9-42AF-BD73-16F874DED276}">
      <dgm:prSet/>
      <dgm:spPr/>
      <dgm:t>
        <a:bodyPr/>
        <a:lstStyle/>
        <a:p>
          <a:endParaRPr lang="en-US"/>
        </a:p>
      </dgm:t>
    </dgm:pt>
    <dgm:pt modelId="{7E0622A2-3DC8-4359-B1C9-6BC2CA80AC55}">
      <dgm:prSet phldrT="[Text]"/>
      <dgm:spPr>
        <a:xfrm>
          <a:off x="3355450" y="146618"/>
          <a:ext cx="701482" cy="701482"/>
        </a:xfrm>
        <a:prstGeom prst="ellipse">
          <a:avLst/>
        </a:prstGeom>
        <a:noFill/>
        <a:ln w="25400" cap="flat" cmpd="sng" algn="ctr">
          <a:solidFill>
            <a:srgbClr val="FFE600"/>
          </a:solidFill>
          <a:prstDash val="solid"/>
        </a:ln>
        <a:effectLst/>
      </dgm:spPr>
      <dgm:t>
        <a:bodyPr/>
        <a:lstStyle/>
        <a:p>
          <a:endParaRPr lang="en-US" dirty="0">
            <a:solidFill>
              <a:srgbClr val="646464"/>
            </a:solidFill>
            <a:latin typeface="EYInterstate Light"/>
            <a:ea typeface="+mn-ea"/>
            <a:cs typeface="+mn-cs"/>
          </a:endParaRPr>
        </a:p>
      </dgm:t>
    </dgm:pt>
    <dgm:pt modelId="{DF43B8D8-A51F-4BE8-BD98-DD779C9E4A20}" type="parTrans" cxnId="{ED602A84-209B-4A13-8BCF-8B1C9D1691FA}">
      <dgm:prSet/>
      <dgm:spPr>
        <a:xfrm rot="16200000">
          <a:off x="3301156" y="1241116"/>
          <a:ext cx="810069" cy="24038"/>
        </a:xfrm>
        <a:custGeom>
          <a:avLst/>
          <a:gdLst/>
          <a:ahLst/>
          <a:cxnLst/>
          <a:rect l="0" t="0" r="0" b="0"/>
          <a:pathLst>
            <a:path>
              <a:moveTo>
                <a:pt x="0" y="12019"/>
              </a:moveTo>
              <a:lnTo>
                <a:pt x="810069"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65E7535F-A0C0-4028-BFC3-8BEAEECE1950}" type="sibTrans" cxnId="{ED602A84-209B-4A13-8BCF-8B1C9D1691FA}">
      <dgm:prSet/>
      <dgm:spPr/>
      <dgm:t>
        <a:bodyPr/>
        <a:lstStyle/>
        <a:p>
          <a:endParaRPr lang="en-US"/>
        </a:p>
      </dgm:t>
    </dgm:pt>
    <dgm:pt modelId="{2C5D859D-F091-4CB8-8CC3-4E452321BC38}">
      <dgm:prSet phldrT="[Text]"/>
      <dgm:spPr>
        <a:xfrm>
          <a:off x="4544737" y="639237"/>
          <a:ext cx="701482" cy="701482"/>
        </a:xfrm>
        <a:prstGeom prst="ellipse">
          <a:avLst/>
        </a:prstGeom>
        <a:noFill/>
        <a:ln w="25400" cap="flat" cmpd="sng" algn="ctr">
          <a:solidFill>
            <a:srgbClr val="FFE600"/>
          </a:solidFill>
          <a:prstDash val="solid"/>
        </a:ln>
        <a:effectLst/>
      </dgm:spPr>
      <dgm:t>
        <a:bodyPr/>
        <a:lstStyle/>
        <a:p>
          <a:r>
            <a:rPr lang="en-US" dirty="0">
              <a:solidFill>
                <a:srgbClr val="646464"/>
              </a:solidFill>
              <a:latin typeface="EYInterstate Light"/>
              <a:ea typeface="+mn-ea"/>
              <a:cs typeface="+mn-cs"/>
            </a:rPr>
            <a:t> </a:t>
          </a:r>
        </a:p>
      </dgm:t>
    </dgm:pt>
    <dgm:pt modelId="{D8725EE0-F22D-4EF5-BBA9-332CBB278BF1}" type="parTrans" cxnId="{62DFF980-662A-4F5D-A519-EDD712822288}">
      <dgm:prSet/>
      <dgm:spPr>
        <a:xfrm rot="18900000">
          <a:off x="3987379" y="1499388"/>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93FA8AB2-E4C3-47DD-8E60-656BDADD23EF}" type="sibTrans" cxnId="{62DFF980-662A-4F5D-A519-EDD712822288}">
      <dgm:prSet/>
      <dgm:spPr/>
      <dgm:t>
        <a:bodyPr/>
        <a:lstStyle/>
        <a:p>
          <a:endParaRPr lang="en-US"/>
        </a:p>
      </dgm:t>
    </dgm:pt>
    <dgm:pt modelId="{AA187A57-2404-44A8-8D21-7E7ED61D2BBB}">
      <dgm:prSet phldrT="[Text]"/>
      <dgm:spPr>
        <a:xfrm>
          <a:off x="4544737" y="3017812"/>
          <a:ext cx="701482" cy="701482"/>
        </a:xfrm>
        <a:prstGeom prst="ellipse">
          <a:avLst/>
        </a:prstGeom>
        <a:noFill/>
        <a:ln w="25400" cap="flat" cmpd="sng" algn="ctr">
          <a:solidFill>
            <a:srgbClr val="FFE600"/>
          </a:solidFill>
          <a:prstDash val="solid"/>
        </a:ln>
        <a:effectLst/>
      </dgm:spPr>
      <dgm:t>
        <a:bodyPr/>
        <a:lstStyle/>
        <a:p>
          <a:r>
            <a:rPr lang="en-US" dirty="0">
              <a:solidFill>
                <a:srgbClr val="646464"/>
              </a:solidFill>
              <a:latin typeface="EYInterstate Light"/>
              <a:ea typeface="+mn-ea"/>
              <a:cs typeface="+mn-cs"/>
            </a:rPr>
            <a:t> </a:t>
          </a:r>
        </a:p>
      </dgm:t>
    </dgm:pt>
    <dgm:pt modelId="{30EF9910-4110-4C21-B294-D9BCA45359E4}" type="parTrans" cxnId="{00014585-BD05-4457-A733-5009E7A34E09}">
      <dgm:prSet/>
      <dgm:spPr>
        <a:xfrm rot="2700000">
          <a:off x="3987379" y="2835105"/>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53D15227-DA85-42FA-B9FD-A0672DAD7E26}" type="sibTrans" cxnId="{00014585-BD05-4457-A733-5009E7A34E09}">
      <dgm:prSet/>
      <dgm:spPr/>
      <dgm:t>
        <a:bodyPr/>
        <a:lstStyle/>
        <a:p>
          <a:endParaRPr lang="en-US"/>
        </a:p>
      </dgm:t>
    </dgm:pt>
    <dgm:pt modelId="{98755471-0354-495D-9167-A82C0834E36B}">
      <dgm:prSet/>
      <dgm:spPr>
        <a:xfrm>
          <a:off x="3355450" y="3510431"/>
          <a:ext cx="701482" cy="701482"/>
        </a:xfrm>
        <a:prstGeom prst="ellipse">
          <a:avLst/>
        </a:prstGeom>
        <a:noFill/>
        <a:ln w="25400" cap="flat" cmpd="sng" algn="ctr">
          <a:solidFill>
            <a:srgbClr val="FFE600"/>
          </a:solidFill>
          <a:prstDash val="solid"/>
        </a:ln>
        <a:effectLst/>
      </dgm:spPr>
      <dgm:t>
        <a:bodyPr/>
        <a:lstStyle/>
        <a:p>
          <a:endParaRPr lang="en-US" dirty="0">
            <a:solidFill>
              <a:srgbClr val="646464"/>
            </a:solidFill>
            <a:latin typeface="EYInterstate Light"/>
            <a:ea typeface="+mn-ea"/>
            <a:cs typeface="+mn-cs"/>
          </a:endParaRPr>
        </a:p>
      </dgm:t>
    </dgm:pt>
    <dgm:pt modelId="{34BC8B5D-D2C1-498D-907D-A90FB279E15E}" type="parTrans" cxnId="{91DC3CBF-61A4-4051-A1E2-CE6BBE65BA7B}">
      <dgm:prSet/>
      <dgm:spPr>
        <a:xfrm rot="5400000">
          <a:off x="3301156" y="3093377"/>
          <a:ext cx="810069" cy="24038"/>
        </a:xfrm>
        <a:custGeom>
          <a:avLst/>
          <a:gdLst/>
          <a:ahLst/>
          <a:cxnLst/>
          <a:rect l="0" t="0" r="0" b="0"/>
          <a:pathLst>
            <a:path>
              <a:moveTo>
                <a:pt x="0" y="12019"/>
              </a:moveTo>
              <a:lnTo>
                <a:pt x="810069"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FD729C84-2BB7-4F22-A364-9145ED693206}" type="sibTrans" cxnId="{91DC3CBF-61A4-4051-A1E2-CE6BBE65BA7B}">
      <dgm:prSet/>
      <dgm:spPr/>
      <dgm:t>
        <a:bodyPr/>
        <a:lstStyle/>
        <a:p>
          <a:endParaRPr lang="en-US"/>
        </a:p>
      </dgm:t>
    </dgm:pt>
    <dgm:pt modelId="{68943B01-209E-455E-9C1E-24335732DA4D}">
      <dgm:prSet/>
      <dgm:spPr>
        <a:xfrm>
          <a:off x="2166162" y="3017812"/>
          <a:ext cx="701482" cy="701482"/>
        </a:xfrm>
        <a:prstGeom prst="ellipse">
          <a:avLst/>
        </a:prstGeom>
        <a:noFill/>
        <a:ln w="25400" cap="flat" cmpd="sng" algn="ctr">
          <a:solidFill>
            <a:srgbClr val="FFE600"/>
          </a:solidFill>
          <a:prstDash val="solid"/>
        </a:ln>
        <a:effectLst/>
      </dgm:spPr>
      <dgm:t>
        <a:bodyPr/>
        <a:lstStyle/>
        <a:p>
          <a:endParaRPr lang="en-US" dirty="0">
            <a:solidFill>
              <a:srgbClr val="646464"/>
            </a:solidFill>
            <a:latin typeface="EYInterstate Light"/>
            <a:ea typeface="+mn-ea"/>
            <a:cs typeface="+mn-cs"/>
          </a:endParaRPr>
        </a:p>
      </dgm:t>
    </dgm:pt>
    <dgm:pt modelId="{88BDDA8C-A22F-4E60-8276-93C1ECD27BAB}" type="parTrans" cxnId="{0AE293F9-B1E3-4EAE-8BAD-E1579B7F0A1A}">
      <dgm:prSet/>
      <dgm:spPr>
        <a:xfrm rot="8100000">
          <a:off x="2651662" y="2835105"/>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B868B84E-073B-47D5-A4D1-72E973E9715D}" type="sibTrans" cxnId="{0AE293F9-B1E3-4EAE-8BAD-E1579B7F0A1A}">
      <dgm:prSet/>
      <dgm:spPr/>
      <dgm:t>
        <a:bodyPr/>
        <a:lstStyle/>
        <a:p>
          <a:endParaRPr lang="en-US"/>
        </a:p>
      </dgm:t>
    </dgm:pt>
    <dgm:pt modelId="{571EE1BC-5BE7-42D7-B8A1-77450F82EB76}">
      <dgm:prSet/>
      <dgm:spPr>
        <a:xfrm>
          <a:off x="1673543" y="1828524"/>
          <a:ext cx="701482" cy="701482"/>
        </a:xfrm>
        <a:prstGeom prst="ellipse">
          <a:avLst/>
        </a:prstGeom>
        <a:noFill/>
        <a:ln w="25400" cap="flat" cmpd="sng" algn="ctr">
          <a:solidFill>
            <a:srgbClr val="FFE600"/>
          </a:solidFill>
          <a:prstDash val="solid"/>
        </a:ln>
        <a:effectLst/>
      </dgm:spPr>
      <dgm:t>
        <a:bodyPr/>
        <a:lstStyle/>
        <a:p>
          <a:endParaRPr lang="en-US" dirty="0">
            <a:solidFill>
              <a:srgbClr val="646464"/>
            </a:solidFill>
            <a:latin typeface="EYInterstate Light"/>
            <a:ea typeface="+mn-ea"/>
            <a:cs typeface="+mn-cs"/>
          </a:endParaRPr>
        </a:p>
      </dgm:t>
    </dgm:pt>
    <dgm:pt modelId="{E31281B2-5857-4755-A5F2-72E93590C249}" type="parTrans" cxnId="{0D876CC4-7C53-42B4-A9CB-AB2D8E81A75C}">
      <dgm:prSet/>
      <dgm:spPr>
        <a:xfrm rot="10800000">
          <a:off x="2375026" y="2167246"/>
          <a:ext cx="727562" cy="24038"/>
        </a:xfrm>
        <a:custGeom>
          <a:avLst/>
          <a:gdLst/>
          <a:ahLst/>
          <a:cxnLst/>
          <a:rect l="0" t="0" r="0" b="0"/>
          <a:pathLst>
            <a:path>
              <a:moveTo>
                <a:pt x="0" y="12019"/>
              </a:moveTo>
              <a:lnTo>
                <a:pt x="727562"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D51CCE88-E718-4A7F-87ED-AD43D4EF82C0}" type="sibTrans" cxnId="{0D876CC4-7C53-42B4-A9CB-AB2D8E81A75C}">
      <dgm:prSet/>
      <dgm:spPr/>
      <dgm:t>
        <a:bodyPr/>
        <a:lstStyle/>
        <a:p>
          <a:endParaRPr lang="en-US"/>
        </a:p>
      </dgm:t>
    </dgm:pt>
    <dgm:pt modelId="{94201605-60D2-48C7-8723-0C25BA2A044B}">
      <dgm:prSet/>
      <dgm:spPr>
        <a:xfrm>
          <a:off x="2166162" y="639237"/>
          <a:ext cx="701482" cy="701482"/>
        </a:xfrm>
        <a:prstGeom prst="ellipse">
          <a:avLst/>
        </a:prstGeom>
        <a:noFill/>
        <a:ln w="25400" cap="flat" cmpd="sng" algn="ctr">
          <a:solidFill>
            <a:srgbClr val="FFE600"/>
          </a:solidFill>
          <a:prstDash val="solid"/>
        </a:ln>
        <a:effectLst/>
      </dgm:spPr>
      <dgm:t>
        <a:bodyPr/>
        <a:lstStyle/>
        <a:p>
          <a:endParaRPr lang="en-US" dirty="0">
            <a:solidFill>
              <a:srgbClr val="646464"/>
            </a:solidFill>
            <a:latin typeface="EYInterstate Light"/>
            <a:ea typeface="+mn-ea"/>
            <a:cs typeface="+mn-cs"/>
          </a:endParaRPr>
        </a:p>
      </dgm:t>
    </dgm:pt>
    <dgm:pt modelId="{08DF53CA-5DD8-4D7E-8115-E0754169DF87}" type="parTrans" cxnId="{FF85FBE2-61AF-43D7-B61E-31844F42850B}">
      <dgm:prSet/>
      <dgm:spPr>
        <a:xfrm rot="13500000">
          <a:off x="2651662" y="1499388"/>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5D8EF138-3503-4263-BA05-F41DD9156504}" type="sibTrans" cxnId="{FF85FBE2-61AF-43D7-B61E-31844F42850B}">
      <dgm:prSet/>
      <dgm:spPr/>
      <dgm:t>
        <a:bodyPr/>
        <a:lstStyle/>
        <a:p>
          <a:endParaRPr lang="en-US"/>
        </a:p>
      </dgm:t>
    </dgm:pt>
    <dgm:pt modelId="{9F5A1BAC-FCA5-45F4-9850-49ACE9C12B61}">
      <dgm:prSet phldrT="[Text]"/>
      <dgm:spPr>
        <a:xfrm>
          <a:off x="5037356" y="1828524"/>
          <a:ext cx="701482" cy="701482"/>
        </a:xfrm>
        <a:prstGeom prst="ellipse">
          <a:avLst/>
        </a:prstGeom>
        <a:noFill/>
        <a:ln w="25400" cap="flat" cmpd="sng" algn="ctr">
          <a:solidFill>
            <a:srgbClr val="FFE600"/>
          </a:solidFill>
          <a:prstDash val="solid"/>
        </a:ln>
        <a:effectLst/>
      </dgm:spPr>
      <dgm:t>
        <a:bodyPr/>
        <a:lstStyle/>
        <a:p>
          <a:r>
            <a:rPr lang="en-US" dirty="0">
              <a:solidFill>
                <a:srgbClr val="646464"/>
              </a:solidFill>
              <a:latin typeface="EYInterstate Light"/>
              <a:ea typeface="+mn-ea"/>
              <a:cs typeface="+mn-cs"/>
            </a:rPr>
            <a:t> </a:t>
          </a:r>
        </a:p>
      </dgm:t>
    </dgm:pt>
    <dgm:pt modelId="{53B835F4-8292-479D-806E-EE8A2DE3F45E}" type="sibTrans" cxnId="{938718DA-101D-49C9-ACA6-86F25E304AF4}">
      <dgm:prSet/>
      <dgm:spPr/>
      <dgm:t>
        <a:bodyPr/>
        <a:lstStyle/>
        <a:p>
          <a:endParaRPr lang="en-US"/>
        </a:p>
      </dgm:t>
    </dgm:pt>
    <dgm:pt modelId="{7EEBD52B-94AF-49B3-A2D2-CB0B12D08A28}" type="parTrans" cxnId="{938718DA-101D-49C9-ACA6-86F25E304AF4}">
      <dgm:prSet/>
      <dgm:spPr>
        <a:xfrm>
          <a:off x="4309794" y="2167246"/>
          <a:ext cx="727562" cy="24038"/>
        </a:xfrm>
        <a:custGeom>
          <a:avLst/>
          <a:gdLst/>
          <a:ahLst/>
          <a:cxnLst/>
          <a:rect l="0" t="0" r="0" b="0"/>
          <a:pathLst>
            <a:path>
              <a:moveTo>
                <a:pt x="0" y="12019"/>
              </a:moveTo>
              <a:lnTo>
                <a:pt x="727562" y="12019"/>
              </a:lnTo>
            </a:path>
          </a:pathLst>
        </a:custGeom>
        <a:noFill/>
        <a:ln w="25400" cap="flat" cmpd="sng" algn="ctr">
          <a:solidFill>
            <a:srgbClr val="808080">
              <a:shade val="60000"/>
              <a:hueOff val="0"/>
              <a:satOff val="0"/>
              <a:lumOff val="0"/>
              <a:alphaOff val="0"/>
            </a:srgbClr>
          </a:solidFill>
          <a:prstDash val="solid"/>
        </a:ln>
        <a:effectLst/>
      </dgm:spPr>
      <dgm:t>
        <a:bodyPr/>
        <a:lstStyle/>
        <a:p>
          <a:endParaRPr lang="en-US" dirty="0">
            <a:solidFill>
              <a:srgbClr val="000000">
                <a:hueOff val="0"/>
                <a:satOff val="0"/>
                <a:lumOff val="0"/>
                <a:alphaOff val="0"/>
              </a:srgbClr>
            </a:solidFill>
            <a:latin typeface="EYInterstate Light"/>
            <a:ea typeface="+mn-ea"/>
            <a:cs typeface="+mn-cs"/>
          </a:endParaRPr>
        </a:p>
      </dgm:t>
    </dgm:pt>
    <dgm:pt modelId="{DE63D907-0FAE-4FFF-9514-EB83BAD37C12}" type="pres">
      <dgm:prSet presAssocID="{705CD3A5-23CF-4EEF-952C-BA99B70E973E}" presName="cycle" presStyleCnt="0">
        <dgm:presLayoutVars>
          <dgm:chMax val="1"/>
          <dgm:dir/>
          <dgm:animLvl val="ctr"/>
          <dgm:resizeHandles val="exact"/>
        </dgm:presLayoutVars>
      </dgm:prSet>
      <dgm:spPr/>
      <dgm:t>
        <a:bodyPr/>
        <a:lstStyle/>
        <a:p>
          <a:endParaRPr lang="it-IT"/>
        </a:p>
      </dgm:t>
    </dgm:pt>
    <dgm:pt modelId="{849098C2-1D1E-4AE9-BEEE-E557017A58E2}" type="pres">
      <dgm:prSet presAssocID="{A08134B7-0BF2-4578-9147-1AEB0271D591}" presName="centerShape" presStyleLbl="node0" presStyleIdx="0" presStyleCnt="1" custScaleX="121954" custScaleY="105284"/>
      <dgm:spPr>
        <a:prstGeom prst="hexagon">
          <a:avLst/>
        </a:prstGeom>
      </dgm:spPr>
      <dgm:t>
        <a:bodyPr/>
        <a:lstStyle/>
        <a:p>
          <a:endParaRPr lang="it-IT"/>
        </a:p>
      </dgm:t>
    </dgm:pt>
    <dgm:pt modelId="{04076834-97F1-4CBC-BDD0-DF9774CBEB1E}" type="pres">
      <dgm:prSet presAssocID="{DF43B8D8-A51F-4BE8-BD98-DD779C9E4A20}" presName="Name9" presStyleLbl="parChTrans1D2" presStyleIdx="0" presStyleCnt="8"/>
      <dgm:spPr/>
      <dgm:t>
        <a:bodyPr/>
        <a:lstStyle/>
        <a:p>
          <a:endParaRPr lang="it-IT"/>
        </a:p>
      </dgm:t>
    </dgm:pt>
    <dgm:pt modelId="{A412EBB2-0930-49AB-9FB9-2F7F56C158DB}" type="pres">
      <dgm:prSet presAssocID="{DF43B8D8-A51F-4BE8-BD98-DD779C9E4A20}" presName="connTx" presStyleLbl="parChTrans1D2" presStyleIdx="0" presStyleCnt="8"/>
      <dgm:spPr/>
      <dgm:t>
        <a:bodyPr/>
        <a:lstStyle/>
        <a:p>
          <a:endParaRPr lang="it-IT"/>
        </a:p>
      </dgm:t>
    </dgm:pt>
    <dgm:pt modelId="{6F0B3930-BD42-4C15-A51B-E59C6841AF3B}" type="pres">
      <dgm:prSet presAssocID="{7E0622A2-3DC8-4359-B1C9-6BC2CA80AC55}" presName="node" presStyleLbl="node1" presStyleIdx="0" presStyleCnt="8" custScaleX="70865" custScaleY="70865">
        <dgm:presLayoutVars>
          <dgm:bulletEnabled val="1"/>
        </dgm:presLayoutVars>
      </dgm:prSet>
      <dgm:spPr/>
      <dgm:t>
        <a:bodyPr/>
        <a:lstStyle/>
        <a:p>
          <a:endParaRPr lang="it-IT"/>
        </a:p>
      </dgm:t>
    </dgm:pt>
    <dgm:pt modelId="{58ED7C34-63BE-482D-A624-02BAA68E9E0B}" type="pres">
      <dgm:prSet presAssocID="{D8725EE0-F22D-4EF5-BBA9-332CBB278BF1}" presName="Name9" presStyleLbl="parChTrans1D2" presStyleIdx="1" presStyleCnt="8"/>
      <dgm:spPr/>
      <dgm:t>
        <a:bodyPr/>
        <a:lstStyle/>
        <a:p>
          <a:endParaRPr lang="it-IT"/>
        </a:p>
      </dgm:t>
    </dgm:pt>
    <dgm:pt modelId="{5D674739-8B18-424A-9454-BBBA183496B7}" type="pres">
      <dgm:prSet presAssocID="{D8725EE0-F22D-4EF5-BBA9-332CBB278BF1}" presName="connTx" presStyleLbl="parChTrans1D2" presStyleIdx="1" presStyleCnt="8"/>
      <dgm:spPr/>
      <dgm:t>
        <a:bodyPr/>
        <a:lstStyle/>
        <a:p>
          <a:endParaRPr lang="it-IT"/>
        </a:p>
      </dgm:t>
    </dgm:pt>
    <dgm:pt modelId="{09CABC68-1999-41D0-A55F-368A0764084D}" type="pres">
      <dgm:prSet presAssocID="{2C5D859D-F091-4CB8-8CC3-4E452321BC38}" presName="node" presStyleLbl="node1" presStyleIdx="1" presStyleCnt="8" custScaleX="70865" custScaleY="70865">
        <dgm:presLayoutVars>
          <dgm:bulletEnabled val="1"/>
        </dgm:presLayoutVars>
      </dgm:prSet>
      <dgm:spPr/>
      <dgm:t>
        <a:bodyPr/>
        <a:lstStyle/>
        <a:p>
          <a:endParaRPr lang="it-IT"/>
        </a:p>
      </dgm:t>
    </dgm:pt>
    <dgm:pt modelId="{C34AADEB-6E63-4BA6-AB4F-1710D829C914}" type="pres">
      <dgm:prSet presAssocID="{7EEBD52B-94AF-49B3-A2D2-CB0B12D08A28}" presName="Name9" presStyleLbl="parChTrans1D2" presStyleIdx="2" presStyleCnt="8"/>
      <dgm:spPr/>
      <dgm:t>
        <a:bodyPr/>
        <a:lstStyle/>
        <a:p>
          <a:endParaRPr lang="it-IT"/>
        </a:p>
      </dgm:t>
    </dgm:pt>
    <dgm:pt modelId="{15407161-422F-4B30-BE34-FDC198AC4310}" type="pres">
      <dgm:prSet presAssocID="{7EEBD52B-94AF-49B3-A2D2-CB0B12D08A28}" presName="connTx" presStyleLbl="parChTrans1D2" presStyleIdx="2" presStyleCnt="8"/>
      <dgm:spPr/>
      <dgm:t>
        <a:bodyPr/>
        <a:lstStyle/>
        <a:p>
          <a:endParaRPr lang="it-IT"/>
        </a:p>
      </dgm:t>
    </dgm:pt>
    <dgm:pt modelId="{5C612862-C20F-4758-B487-EA01929B82B1}" type="pres">
      <dgm:prSet presAssocID="{9F5A1BAC-FCA5-45F4-9850-49ACE9C12B61}" presName="node" presStyleLbl="node1" presStyleIdx="2" presStyleCnt="8" custScaleX="70865" custScaleY="70865">
        <dgm:presLayoutVars>
          <dgm:bulletEnabled val="1"/>
        </dgm:presLayoutVars>
      </dgm:prSet>
      <dgm:spPr/>
      <dgm:t>
        <a:bodyPr/>
        <a:lstStyle/>
        <a:p>
          <a:endParaRPr lang="it-IT"/>
        </a:p>
      </dgm:t>
    </dgm:pt>
    <dgm:pt modelId="{A4F9CCA2-918B-4B6B-B116-C588E72EB533}" type="pres">
      <dgm:prSet presAssocID="{30EF9910-4110-4C21-B294-D9BCA45359E4}" presName="Name9" presStyleLbl="parChTrans1D2" presStyleIdx="3" presStyleCnt="8"/>
      <dgm:spPr/>
      <dgm:t>
        <a:bodyPr/>
        <a:lstStyle/>
        <a:p>
          <a:endParaRPr lang="it-IT"/>
        </a:p>
      </dgm:t>
    </dgm:pt>
    <dgm:pt modelId="{DDBADA3F-39F4-44D0-A135-49F8AA360988}" type="pres">
      <dgm:prSet presAssocID="{30EF9910-4110-4C21-B294-D9BCA45359E4}" presName="connTx" presStyleLbl="parChTrans1D2" presStyleIdx="3" presStyleCnt="8"/>
      <dgm:spPr/>
      <dgm:t>
        <a:bodyPr/>
        <a:lstStyle/>
        <a:p>
          <a:endParaRPr lang="it-IT"/>
        </a:p>
      </dgm:t>
    </dgm:pt>
    <dgm:pt modelId="{5D38AF56-7B97-4280-8955-F97C6A4AD5DB}" type="pres">
      <dgm:prSet presAssocID="{AA187A57-2404-44A8-8D21-7E7ED61D2BBB}" presName="node" presStyleLbl="node1" presStyleIdx="3" presStyleCnt="8" custScaleX="70865" custScaleY="70865">
        <dgm:presLayoutVars>
          <dgm:bulletEnabled val="1"/>
        </dgm:presLayoutVars>
      </dgm:prSet>
      <dgm:spPr/>
      <dgm:t>
        <a:bodyPr/>
        <a:lstStyle/>
        <a:p>
          <a:endParaRPr lang="it-IT"/>
        </a:p>
      </dgm:t>
    </dgm:pt>
    <dgm:pt modelId="{477E859B-2825-444A-BAAC-EAF27009E4E5}" type="pres">
      <dgm:prSet presAssocID="{34BC8B5D-D2C1-498D-907D-A90FB279E15E}" presName="Name9" presStyleLbl="parChTrans1D2" presStyleIdx="4" presStyleCnt="8"/>
      <dgm:spPr/>
      <dgm:t>
        <a:bodyPr/>
        <a:lstStyle/>
        <a:p>
          <a:endParaRPr lang="it-IT"/>
        </a:p>
      </dgm:t>
    </dgm:pt>
    <dgm:pt modelId="{886267AD-565F-4EFD-9C00-80F257364650}" type="pres">
      <dgm:prSet presAssocID="{34BC8B5D-D2C1-498D-907D-A90FB279E15E}" presName="connTx" presStyleLbl="parChTrans1D2" presStyleIdx="4" presStyleCnt="8"/>
      <dgm:spPr/>
      <dgm:t>
        <a:bodyPr/>
        <a:lstStyle/>
        <a:p>
          <a:endParaRPr lang="it-IT"/>
        </a:p>
      </dgm:t>
    </dgm:pt>
    <dgm:pt modelId="{D7F1B47C-02B7-42F3-9494-AAB0AB697C3D}" type="pres">
      <dgm:prSet presAssocID="{98755471-0354-495D-9167-A82C0834E36B}" presName="node" presStyleLbl="node1" presStyleIdx="4" presStyleCnt="8" custScaleX="70865" custScaleY="70865">
        <dgm:presLayoutVars>
          <dgm:bulletEnabled val="1"/>
        </dgm:presLayoutVars>
      </dgm:prSet>
      <dgm:spPr/>
      <dgm:t>
        <a:bodyPr/>
        <a:lstStyle/>
        <a:p>
          <a:endParaRPr lang="it-IT"/>
        </a:p>
      </dgm:t>
    </dgm:pt>
    <dgm:pt modelId="{4C08703C-799F-4F57-AE9A-E5FE0945398E}" type="pres">
      <dgm:prSet presAssocID="{88BDDA8C-A22F-4E60-8276-93C1ECD27BAB}" presName="Name9" presStyleLbl="parChTrans1D2" presStyleIdx="5" presStyleCnt="8"/>
      <dgm:spPr/>
      <dgm:t>
        <a:bodyPr/>
        <a:lstStyle/>
        <a:p>
          <a:endParaRPr lang="it-IT"/>
        </a:p>
      </dgm:t>
    </dgm:pt>
    <dgm:pt modelId="{637C5FAC-4FF7-439C-A7F0-C46CED1790C6}" type="pres">
      <dgm:prSet presAssocID="{88BDDA8C-A22F-4E60-8276-93C1ECD27BAB}" presName="connTx" presStyleLbl="parChTrans1D2" presStyleIdx="5" presStyleCnt="8"/>
      <dgm:spPr/>
      <dgm:t>
        <a:bodyPr/>
        <a:lstStyle/>
        <a:p>
          <a:endParaRPr lang="it-IT"/>
        </a:p>
      </dgm:t>
    </dgm:pt>
    <dgm:pt modelId="{2948C47B-B13F-4A12-B2CF-7521C583EE1B}" type="pres">
      <dgm:prSet presAssocID="{68943B01-209E-455E-9C1E-24335732DA4D}" presName="node" presStyleLbl="node1" presStyleIdx="5" presStyleCnt="8" custScaleX="70865" custScaleY="70865">
        <dgm:presLayoutVars>
          <dgm:bulletEnabled val="1"/>
        </dgm:presLayoutVars>
      </dgm:prSet>
      <dgm:spPr/>
      <dgm:t>
        <a:bodyPr/>
        <a:lstStyle/>
        <a:p>
          <a:endParaRPr lang="it-IT"/>
        </a:p>
      </dgm:t>
    </dgm:pt>
    <dgm:pt modelId="{4A8C6752-F973-43F9-BAC2-3D8F15B243F8}" type="pres">
      <dgm:prSet presAssocID="{E31281B2-5857-4755-A5F2-72E93590C249}" presName="Name9" presStyleLbl="parChTrans1D2" presStyleIdx="6" presStyleCnt="8"/>
      <dgm:spPr/>
      <dgm:t>
        <a:bodyPr/>
        <a:lstStyle/>
        <a:p>
          <a:endParaRPr lang="it-IT"/>
        </a:p>
      </dgm:t>
    </dgm:pt>
    <dgm:pt modelId="{0FE34D97-0B66-4122-BD04-E691D788BC39}" type="pres">
      <dgm:prSet presAssocID="{E31281B2-5857-4755-A5F2-72E93590C249}" presName="connTx" presStyleLbl="parChTrans1D2" presStyleIdx="6" presStyleCnt="8"/>
      <dgm:spPr/>
      <dgm:t>
        <a:bodyPr/>
        <a:lstStyle/>
        <a:p>
          <a:endParaRPr lang="it-IT"/>
        </a:p>
      </dgm:t>
    </dgm:pt>
    <dgm:pt modelId="{4F81A41B-EBA8-43A0-935C-60DB2E14699E}" type="pres">
      <dgm:prSet presAssocID="{571EE1BC-5BE7-42D7-B8A1-77450F82EB76}" presName="node" presStyleLbl="node1" presStyleIdx="6" presStyleCnt="8" custScaleX="70865" custScaleY="70865">
        <dgm:presLayoutVars>
          <dgm:bulletEnabled val="1"/>
        </dgm:presLayoutVars>
      </dgm:prSet>
      <dgm:spPr/>
      <dgm:t>
        <a:bodyPr/>
        <a:lstStyle/>
        <a:p>
          <a:endParaRPr lang="it-IT"/>
        </a:p>
      </dgm:t>
    </dgm:pt>
    <dgm:pt modelId="{12191128-5046-429C-9AE0-D4B5CFE566E8}" type="pres">
      <dgm:prSet presAssocID="{08DF53CA-5DD8-4D7E-8115-E0754169DF87}" presName="Name9" presStyleLbl="parChTrans1D2" presStyleIdx="7" presStyleCnt="8"/>
      <dgm:spPr/>
      <dgm:t>
        <a:bodyPr/>
        <a:lstStyle/>
        <a:p>
          <a:endParaRPr lang="it-IT"/>
        </a:p>
      </dgm:t>
    </dgm:pt>
    <dgm:pt modelId="{D7BF7164-CE1D-4073-A04A-B24A2CD2FAF6}" type="pres">
      <dgm:prSet presAssocID="{08DF53CA-5DD8-4D7E-8115-E0754169DF87}" presName="connTx" presStyleLbl="parChTrans1D2" presStyleIdx="7" presStyleCnt="8"/>
      <dgm:spPr/>
      <dgm:t>
        <a:bodyPr/>
        <a:lstStyle/>
        <a:p>
          <a:endParaRPr lang="it-IT"/>
        </a:p>
      </dgm:t>
    </dgm:pt>
    <dgm:pt modelId="{69720B6F-FA71-4138-833F-A1928396EFE7}" type="pres">
      <dgm:prSet presAssocID="{94201605-60D2-48C7-8723-0C25BA2A044B}" presName="node" presStyleLbl="node1" presStyleIdx="7" presStyleCnt="8" custScaleX="70865" custScaleY="70865">
        <dgm:presLayoutVars>
          <dgm:bulletEnabled val="1"/>
        </dgm:presLayoutVars>
      </dgm:prSet>
      <dgm:spPr/>
      <dgm:t>
        <a:bodyPr/>
        <a:lstStyle/>
        <a:p>
          <a:endParaRPr lang="it-IT"/>
        </a:p>
      </dgm:t>
    </dgm:pt>
  </dgm:ptLst>
  <dgm:cxnLst>
    <dgm:cxn modelId="{96CEF86F-F7D2-4FE5-A5C4-47B76B97216A}" type="presOf" srcId="{34BC8B5D-D2C1-498D-907D-A90FB279E15E}" destId="{886267AD-565F-4EFD-9C00-80F257364650}" srcOrd="1" destOrd="0" presId="urn:microsoft.com/office/officeart/2005/8/layout/radial1"/>
    <dgm:cxn modelId="{7685DC36-E6B3-4987-9027-4B12E686897E}" type="presOf" srcId="{2C5D859D-F091-4CB8-8CC3-4E452321BC38}" destId="{09CABC68-1999-41D0-A55F-368A0764084D}" srcOrd="0" destOrd="0" presId="urn:microsoft.com/office/officeart/2005/8/layout/radial1"/>
    <dgm:cxn modelId="{2EA977E9-AD6E-46E9-B299-31F101E4A37E}" type="presOf" srcId="{7EEBD52B-94AF-49B3-A2D2-CB0B12D08A28}" destId="{C34AADEB-6E63-4BA6-AB4F-1710D829C914}" srcOrd="0" destOrd="0" presId="urn:microsoft.com/office/officeart/2005/8/layout/radial1"/>
    <dgm:cxn modelId="{62DFF980-662A-4F5D-A519-EDD712822288}" srcId="{A08134B7-0BF2-4578-9147-1AEB0271D591}" destId="{2C5D859D-F091-4CB8-8CC3-4E452321BC38}" srcOrd="1" destOrd="0" parTransId="{D8725EE0-F22D-4EF5-BBA9-332CBB278BF1}" sibTransId="{93FA8AB2-E4C3-47DD-8E60-656BDADD23EF}"/>
    <dgm:cxn modelId="{C468CF11-AB86-40B4-9C48-53C27DF3FDC7}" type="presOf" srcId="{DF43B8D8-A51F-4BE8-BD98-DD779C9E4A20}" destId="{04076834-97F1-4CBC-BDD0-DF9774CBEB1E}" srcOrd="0" destOrd="0" presId="urn:microsoft.com/office/officeart/2005/8/layout/radial1"/>
    <dgm:cxn modelId="{FF85FBE2-61AF-43D7-B61E-31844F42850B}" srcId="{A08134B7-0BF2-4578-9147-1AEB0271D591}" destId="{94201605-60D2-48C7-8723-0C25BA2A044B}" srcOrd="7" destOrd="0" parTransId="{08DF53CA-5DD8-4D7E-8115-E0754169DF87}" sibTransId="{5D8EF138-3503-4263-BA05-F41DD9156504}"/>
    <dgm:cxn modelId="{0089DE88-8D69-4AD9-AF65-D12C5C3237AE}" type="presOf" srcId="{98755471-0354-495D-9167-A82C0834E36B}" destId="{D7F1B47C-02B7-42F3-9494-AAB0AB697C3D}" srcOrd="0" destOrd="0" presId="urn:microsoft.com/office/officeart/2005/8/layout/radial1"/>
    <dgm:cxn modelId="{88A3A986-97D9-44EC-91F3-3E27AAFF4221}" type="presOf" srcId="{30EF9910-4110-4C21-B294-D9BCA45359E4}" destId="{A4F9CCA2-918B-4B6B-B116-C588E72EB533}" srcOrd="0" destOrd="0" presId="urn:microsoft.com/office/officeart/2005/8/layout/radial1"/>
    <dgm:cxn modelId="{0AE293F9-B1E3-4EAE-8BAD-E1579B7F0A1A}" srcId="{A08134B7-0BF2-4578-9147-1AEB0271D591}" destId="{68943B01-209E-455E-9C1E-24335732DA4D}" srcOrd="5" destOrd="0" parTransId="{88BDDA8C-A22F-4E60-8276-93C1ECD27BAB}" sibTransId="{B868B84E-073B-47D5-A4D1-72E973E9715D}"/>
    <dgm:cxn modelId="{125440A5-1512-462D-81BA-C167B065A31B}" type="presOf" srcId="{E31281B2-5857-4755-A5F2-72E93590C249}" destId="{4A8C6752-F973-43F9-BAC2-3D8F15B243F8}" srcOrd="0" destOrd="0" presId="urn:microsoft.com/office/officeart/2005/8/layout/radial1"/>
    <dgm:cxn modelId="{79503E6F-AF35-40BF-93F8-592CBA790C9C}" type="presOf" srcId="{DF43B8D8-A51F-4BE8-BD98-DD779C9E4A20}" destId="{A412EBB2-0930-49AB-9FB9-2F7F56C158DB}" srcOrd="1" destOrd="0" presId="urn:microsoft.com/office/officeart/2005/8/layout/radial1"/>
    <dgm:cxn modelId="{8570D0D5-C734-414A-9334-8CC942254255}" type="presOf" srcId="{34BC8B5D-D2C1-498D-907D-A90FB279E15E}" destId="{477E859B-2825-444A-BAAC-EAF27009E4E5}" srcOrd="0" destOrd="0" presId="urn:microsoft.com/office/officeart/2005/8/layout/radial1"/>
    <dgm:cxn modelId="{B1282530-B52F-441E-AF52-1E56871ED14A}" type="presOf" srcId="{7E0622A2-3DC8-4359-B1C9-6BC2CA80AC55}" destId="{6F0B3930-BD42-4C15-A51B-E59C6841AF3B}" srcOrd="0" destOrd="0" presId="urn:microsoft.com/office/officeart/2005/8/layout/radial1"/>
    <dgm:cxn modelId="{938718DA-101D-49C9-ACA6-86F25E304AF4}" srcId="{A08134B7-0BF2-4578-9147-1AEB0271D591}" destId="{9F5A1BAC-FCA5-45F4-9850-49ACE9C12B61}" srcOrd="2" destOrd="0" parTransId="{7EEBD52B-94AF-49B3-A2D2-CB0B12D08A28}" sibTransId="{53B835F4-8292-479D-806E-EE8A2DE3F45E}"/>
    <dgm:cxn modelId="{D6F9EE43-F9A9-4025-855A-D0DEE649607D}" type="presOf" srcId="{68943B01-209E-455E-9C1E-24335732DA4D}" destId="{2948C47B-B13F-4A12-B2CF-7521C583EE1B}" srcOrd="0" destOrd="0" presId="urn:microsoft.com/office/officeart/2005/8/layout/radial1"/>
    <dgm:cxn modelId="{0D876CC4-7C53-42B4-A9CB-AB2D8E81A75C}" srcId="{A08134B7-0BF2-4578-9147-1AEB0271D591}" destId="{571EE1BC-5BE7-42D7-B8A1-77450F82EB76}" srcOrd="6" destOrd="0" parTransId="{E31281B2-5857-4755-A5F2-72E93590C249}" sibTransId="{D51CCE88-E718-4A7F-87ED-AD43D4EF82C0}"/>
    <dgm:cxn modelId="{555F991C-9DA8-4822-BC00-59B4B4675258}" type="presOf" srcId="{571EE1BC-5BE7-42D7-B8A1-77450F82EB76}" destId="{4F81A41B-EBA8-43A0-935C-60DB2E14699E}" srcOrd="0" destOrd="0" presId="urn:microsoft.com/office/officeart/2005/8/layout/radial1"/>
    <dgm:cxn modelId="{400B1479-48D4-4958-B3A8-F0F79081B758}" type="presOf" srcId="{705CD3A5-23CF-4EEF-952C-BA99B70E973E}" destId="{DE63D907-0FAE-4FFF-9514-EB83BAD37C12}" srcOrd="0" destOrd="0" presId="urn:microsoft.com/office/officeart/2005/8/layout/radial1"/>
    <dgm:cxn modelId="{7860F7D0-A381-48EC-A01D-C246EEF6480E}" type="presOf" srcId="{08DF53CA-5DD8-4D7E-8115-E0754169DF87}" destId="{D7BF7164-CE1D-4073-A04A-B24A2CD2FAF6}" srcOrd="1" destOrd="0" presId="urn:microsoft.com/office/officeart/2005/8/layout/radial1"/>
    <dgm:cxn modelId="{9D171CF4-733F-4B4E-BF96-BE99DBE25077}" type="presOf" srcId="{7EEBD52B-94AF-49B3-A2D2-CB0B12D08A28}" destId="{15407161-422F-4B30-BE34-FDC198AC4310}" srcOrd="1" destOrd="0" presId="urn:microsoft.com/office/officeart/2005/8/layout/radial1"/>
    <dgm:cxn modelId="{A6BA677E-E304-4CBD-B515-34F904114AF5}" type="presOf" srcId="{08DF53CA-5DD8-4D7E-8115-E0754169DF87}" destId="{12191128-5046-429C-9AE0-D4B5CFE566E8}" srcOrd="0" destOrd="0" presId="urn:microsoft.com/office/officeart/2005/8/layout/radial1"/>
    <dgm:cxn modelId="{953E560E-6636-4EA7-823D-A96F9A88C7E7}" type="presOf" srcId="{A08134B7-0BF2-4578-9147-1AEB0271D591}" destId="{849098C2-1D1E-4AE9-BEEE-E557017A58E2}" srcOrd="0" destOrd="0" presId="urn:microsoft.com/office/officeart/2005/8/layout/radial1"/>
    <dgm:cxn modelId="{F28F2027-3820-47B8-8567-1FB0DCC777BC}" type="presOf" srcId="{88BDDA8C-A22F-4E60-8276-93C1ECD27BAB}" destId="{637C5FAC-4FF7-439C-A7F0-C46CED1790C6}" srcOrd="1" destOrd="0" presId="urn:microsoft.com/office/officeart/2005/8/layout/radial1"/>
    <dgm:cxn modelId="{18EDDA4A-B7F9-42AF-BD73-16F874DED276}" srcId="{705CD3A5-23CF-4EEF-952C-BA99B70E973E}" destId="{A08134B7-0BF2-4578-9147-1AEB0271D591}" srcOrd="0" destOrd="0" parTransId="{2D967D85-C358-4172-BE0E-F18AAF5E665D}" sibTransId="{69F21438-A9C4-4137-BC81-AAC1F05FB39E}"/>
    <dgm:cxn modelId="{3E2DCB55-CC7E-447F-A7E2-A623E51CCE48}" type="presOf" srcId="{D8725EE0-F22D-4EF5-BBA9-332CBB278BF1}" destId="{58ED7C34-63BE-482D-A624-02BAA68E9E0B}" srcOrd="0" destOrd="0" presId="urn:microsoft.com/office/officeart/2005/8/layout/radial1"/>
    <dgm:cxn modelId="{00014585-BD05-4457-A733-5009E7A34E09}" srcId="{A08134B7-0BF2-4578-9147-1AEB0271D591}" destId="{AA187A57-2404-44A8-8D21-7E7ED61D2BBB}" srcOrd="3" destOrd="0" parTransId="{30EF9910-4110-4C21-B294-D9BCA45359E4}" sibTransId="{53D15227-DA85-42FA-B9FD-A0672DAD7E26}"/>
    <dgm:cxn modelId="{5478747F-ABED-4EE0-9DA9-A210CBE5BA86}" type="presOf" srcId="{9F5A1BAC-FCA5-45F4-9850-49ACE9C12B61}" destId="{5C612862-C20F-4758-B487-EA01929B82B1}" srcOrd="0" destOrd="0" presId="urn:microsoft.com/office/officeart/2005/8/layout/radial1"/>
    <dgm:cxn modelId="{FD56110A-038C-4B08-A01C-50741A586617}" type="presOf" srcId="{D8725EE0-F22D-4EF5-BBA9-332CBB278BF1}" destId="{5D674739-8B18-424A-9454-BBBA183496B7}" srcOrd="1" destOrd="0" presId="urn:microsoft.com/office/officeart/2005/8/layout/radial1"/>
    <dgm:cxn modelId="{EB55B0B9-E3F9-40FA-836B-8180C22599E2}" type="presOf" srcId="{AA187A57-2404-44A8-8D21-7E7ED61D2BBB}" destId="{5D38AF56-7B97-4280-8955-F97C6A4AD5DB}" srcOrd="0" destOrd="0" presId="urn:microsoft.com/office/officeart/2005/8/layout/radial1"/>
    <dgm:cxn modelId="{961E3EAB-1C12-439D-81C4-9C0157465B96}" type="presOf" srcId="{94201605-60D2-48C7-8723-0C25BA2A044B}" destId="{69720B6F-FA71-4138-833F-A1928396EFE7}" srcOrd="0" destOrd="0" presId="urn:microsoft.com/office/officeart/2005/8/layout/radial1"/>
    <dgm:cxn modelId="{91DC3CBF-61A4-4051-A1E2-CE6BBE65BA7B}" srcId="{A08134B7-0BF2-4578-9147-1AEB0271D591}" destId="{98755471-0354-495D-9167-A82C0834E36B}" srcOrd="4" destOrd="0" parTransId="{34BC8B5D-D2C1-498D-907D-A90FB279E15E}" sibTransId="{FD729C84-2BB7-4F22-A364-9145ED693206}"/>
    <dgm:cxn modelId="{E7EA335E-573D-4051-8A57-BA3E975B0BD9}" type="presOf" srcId="{30EF9910-4110-4C21-B294-D9BCA45359E4}" destId="{DDBADA3F-39F4-44D0-A135-49F8AA360988}" srcOrd="1" destOrd="0" presId="urn:microsoft.com/office/officeart/2005/8/layout/radial1"/>
    <dgm:cxn modelId="{762FD142-139D-42E7-9B82-9C541C645132}" type="presOf" srcId="{88BDDA8C-A22F-4E60-8276-93C1ECD27BAB}" destId="{4C08703C-799F-4F57-AE9A-E5FE0945398E}" srcOrd="0" destOrd="0" presId="urn:microsoft.com/office/officeart/2005/8/layout/radial1"/>
    <dgm:cxn modelId="{ED602A84-209B-4A13-8BCF-8B1C9D1691FA}" srcId="{A08134B7-0BF2-4578-9147-1AEB0271D591}" destId="{7E0622A2-3DC8-4359-B1C9-6BC2CA80AC55}" srcOrd="0" destOrd="0" parTransId="{DF43B8D8-A51F-4BE8-BD98-DD779C9E4A20}" sibTransId="{65E7535F-A0C0-4028-BFC3-8BEAEECE1950}"/>
    <dgm:cxn modelId="{AC5EE082-869B-48BE-87A1-0080120E6F39}" type="presOf" srcId="{E31281B2-5857-4755-A5F2-72E93590C249}" destId="{0FE34D97-0B66-4122-BD04-E691D788BC39}" srcOrd="1" destOrd="0" presId="urn:microsoft.com/office/officeart/2005/8/layout/radial1"/>
    <dgm:cxn modelId="{8E257B52-33F0-44A9-8712-8DE49E2376D5}" type="presParOf" srcId="{DE63D907-0FAE-4FFF-9514-EB83BAD37C12}" destId="{849098C2-1D1E-4AE9-BEEE-E557017A58E2}" srcOrd="0" destOrd="0" presId="urn:microsoft.com/office/officeart/2005/8/layout/radial1"/>
    <dgm:cxn modelId="{97D244A9-D08F-49C0-B126-1DC54A70B444}" type="presParOf" srcId="{DE63D907-0FAE-4FFF-9514-EB83BAD37C12}" destId="{04076834-97F1-4CBC-BDD0-DF9774CBEB1E}" srcOrd="1" destOrd="0" presId="urn:microsoft.com/office/officeart/2005/8/layout/radial1"/>
    <dgm:cxn modelId="{9EA6D6EC-3DB4-4707-8B2A-ED00F8B91FFC}" type="presParOf" srcId="{04076834-97F1-4CBC-BDD0-DF9774CBEB1E}" destId="{A412EBB2-0930-49AB-9FB9-2F7F56C158DB}" srcOrd="0" destOrd="0" presId="urn:microsoft.com/office/officeart/2005/8/layout/radial1"/>
    <dgm:cxn modelId="{CE46ECCE-C72D-4B59-B76C-23507284F9C9}" type="presParOf" srcId="{DE63D907-0FAE-4FFF-9514-EB83BAD37C12}" destId="{6F0B3930-BD42-4C15-A51B-E59C6841AF3B}" srcOrd="2" destOrd="0" presId="urn:microsoft.com/office/officeart/2005/8/layout/radial1"/>
    <dgm:cxn modelId="{A6CF3EC0-B85B-46C1-B148-4672239713A1}" type="presParOf" srcId="{DE63D907-0FAE-4FFF-9514-EB83BAD37C12}" destId="{58ED7C34-63BE-482D-A624-02BAA68E9E0B}" srcOrd="3" destOrd="0" presId="urn:microsoft.com/office/officeart/2005/8/layout/radial1"/>
    <dgm:cxn modelId="{49842EB7-A6EE-4669-83EA-B817F8011AF7}" type="presParOf" srcId="{58ED7C34-63BE-482D-A624-02BAA68E9E0B}" destId="{5D674739-8B18-424A-9454-BBBA183496B7}" srcOrd="0" destOrd="0" presId="urn:microsoft.com/office/officeart/2005/8/layout/radial1"/>
    <dgm:cxn modelId="{AB3AB3A1-B7B9-4BEF-8D47-1622DA31D47F}" type="presParOf" srcId="{DE63D907-0FAE-4FFF-9514-EB83BAD37C12}" destId="{09CABC68-1999-41D0-A55F-368A0764084D}" srcOrd="4" destOrd="0" presId="urn:microsoft.com/office/officeart/2005/8/layout/radial1"/>
    <dgm:cxn modelId="{BED3800B-5B10-49A8-8B7F-E67DFAF5B1B5}" type="presParOf" srcId="{DE63D907-0FAE-4FFF-9514-EB83BAD37C12}" destId="{C34AADEB-6E63-4BA6-AB4F-1710D829C914}" srcOrd="5" destOrd="0" presId="urn:microsoft.com/office/officeart/2005/8/layout/radial1"/>
    <dgm:cxn modelId="{DBC64848-2C6F-4846-AB02-259B6E146775}" type="presParOf" srcId="{C34AADEB-6E63-4BA6-AB4F-1710D829C914}" destId="{15407161-422F-4B30-BE34-FDC198AC4310}" srcOrd="0" destOrd="0" presId="urn:microsoft.com/office/officeart/2005/8/layout/radial1"/>
    <dgm:cxn modelId="{6EDB81EE-F8CF-44CB-9321-539DE6D102CF}" type="presParOf" srcId="{DE63D907-0FAE-4FFF-9514-EB83BAD37C12}" destId="{5C612862-C20F-4758-B487-EA01929B82B1}" srcOrd="6" destOrd="0" presId="urn:microsoft.com/office/officeart/2005/8/layout/radial1"/>
    <dgm:cxn modelId="{C39EE0F4-6696-43D6-BF08-7FA5B82FEB17}" type="presParOf" srcId="{DE63D907-0FAE-4FFF-9514-EB83BAD37C12}" destId="{A4F9CCA2-918B-4B6B-B116-C588E72EB533}" srcOrd="7" destOrd="0" presId="urn:microsoft.com/office/officeart/2005/8/layout/radial1"/>
    <dgm:cxn modelId="{7B7B44C1-914E-4879-B845-525FE5C329E3}" type="presParOf" srcId="{A4F9CCA2-918B-4B6B-B116-C588E72EB533}" destId="{DDBADA3F-39F4-44D0-A135-49F8AA360988}" srcOrd="0" destOrd="0" presId="urn:microsoft.com/office/officeart/2005/8/layout/radial1"/>
    <dgm:cxn modelId="{8076E8D0-CF96-4685-B6F0-21A8D556F9D6}" type="presParOf" srcId="{DE63D907-0FAE-4FFF-9514-EB83BAD37C12}" destId="{5D38AF56-7B97-4280-8955-F97C6A4AD5DB}" srcOrd="8" destOrd="0" presId="urn:microsoft.com/office/officeart/2005/8/layout/radial1"/>
    <dgm:cxn modelId="{7397B973-EA4C-4EE4-A5FA-445767446782}" type="presParOf" srcId="{DE63D907-0FAE-4FFF-9514-EB83BAD37C12}" destId="{477E859B-2825-444A-BAAC-EAF27009E4E5}" srcOrd="9" destOrd="0" presId="urn:microsoft.com/office/officeart/2005/8/layout/radial1"/>
    <dgm:cxn modelId="{68CAFC0E-F857-424C-880F-AC3AF10B129E}" type="presParOf" srcId="{477E859B-2825-444A-BAAC-EAF27009E4E5}" destId="{886267AD-565F-4EFD-9C00-80F257364650}" srcOrd="0" destOrd="0" presId="urn:microsoft.com/office/officeart/2005/8/layout/radial1"/>
    <dgm:cxn modelId="{6F85F493-4BEA-47C0-B8A1-E4201C401063}" type="presParOf" srcId="{DE63D907-0FAE-4FFF-9514-EB83BAD37C12}" destId="{D7F1B47C-02B7-42F3-9494-AAB0AB697C3D}" srcOrd="10" destOrd="0" presId="urn:microsoft.com/office/officeart/2005/8/layout/radial1"/>
    <dgm:cxn modelId="{83EC17F2-2CC2-4C10-ADEF-A446D84E7235}" type="presParOf" srcId="{DE63D907-0FAE-4FFF-9514-EB83BAD37C12}" destId="{4C08703C-799F-4F57-AE9A-E5FE0945398E}" srcOrd="11" destOrd="0" presId="urn:microsoft.com/office/officeart/2005/8/layout/radial1"/>
    <dgm:cxn modelId="{DC1F2770-7288-4103-9D4C-16148703812B}" type="presParOf" srcId="{4C08703C-799F-4F57-AE9A-E5FE0945398E}" destId="{637C5FAC-4FF7-439C-A7F0-C46CED1790C6}" srcOrd="0" destOrd="0" presId="urn:microsoft.com/office/officeart/2005/8/layout/radial1"/>
    <dgm:cxn modelId="{BC082F5A-B819-4084-9BD4-654E3C2F0070}" type="presParOf" srcId="{DE63D907-0FAE-4FFF-9514-EB83BAD37C12}" destId="{2948C47B-B13F-4A12-B2CF-7521C583EE1B}" srcOrd="12" destOrd="0" presId="urn:microsoft.com/office/officeart/2005/8/layout/radial1"/>
    <dgm:cxn modelId="{51DB0F55-6EEA-4E57-90B1-EC05A0DD0CA8}" type="presParOf" srcId="{DE63D907-0FAE-4FFF-9514-EB83BAD37C12}" destId="{4A8C6752-F973-43F9-BAC2-3D8F15B243F8}" srcOrd="13" destOrd="0" presId="urn:microsoft.com/office/officeart/2005/8/layout/radial1"/>
    <dgm:cxn modelId="{DD1694EA-2A06-414C-AB80-FBDF3628C42B}" type="presParOf" srcId="{4A8C6752-F973-43F9-BAC2-3D8F15B243F8}" destId="{0FE34D97-0B66-4122-BD04-E691D788BC39}" srcOrd="0" destOrd="0" presId="urn:microsoft.com/office/officeart/2005/8/layout/radial1"/>
    <dgm:cxn modelId="{F4FFE9A9-C254-4C80-9984-6D4774995A1B}" type="presParOf" srcId="{DE63D907-0FAE-4FFF-9514-EB83BAD37C12}" destId="{4F81A41B-EBA8-43A0-935C-60DB2E14699E}" srcOrd="14" destOrd="0" presId="urn:microsoft.com/office/officeart/2005/8/layout/radial1"/>
    <dgm:cxn modelId="{B7146794-316F-4118-BC7E-C1FF0EECEADD}" type="presParOf" srcId="{DE63D907-0FAE-4FFF-9514-EB83BAD37C12}" destId="{12191128-5046-429C-9AE0-D4B5CFE566E8}" srcOrd="15" destOrd="0" presId="urn:microsoft.com/office/officeart/2005/8/layout/radial1"/>
    <dgm:cxn modelId="{C43F080D-46AD-476C-8517-153864A8C176}" type="presParOf" srcId="{12191128-5046-429C-9AE0-D4B5CFE566E8}" destId="{D7BF7164-CE1D-4073-A04A-B24A2CD2FAF6}" srcOrd="0" destOrd="0" presId="urn:microsoft.com/office/officeart/2005/8/layout/radial1"/>
    <dgm:cxn modelId="{46433112-D754-4CCA-AD33-E1E9F75A22AC}" type="presParOf" srcId="{DE63D907-0FAE-4FFF-9514-EB83BAD37C12}" destId="{69720B6F-FA71-4138-833F-A1928396EFE7}" srcOrd="16"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9098C2-1D1E-4AE9-BEEE-E557017A58E2}">
      <dsp:nvSpPr>
        <dsp:cNvPr id="0" name=""/>
        <dsp:cNvSpPr/>
      </dsp:nvSpPr>
      <dsp:spPr>
        <a:xfrm>
          <a:off x="3102588" y="1658170"/>
          <a:ext cx="1207205" cy="1042191"/>
        </a:xfrm>
        <a:prstGeom prst="hexagon">
          <a:avLst/>
        </a:prstGeom>
        <a:solidFill>
          <a:srgbClr val="FFE6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396000" numCol="1" spcCol="1270" anchor="ctr" anchorCtr="0">
          <a:noAutofit/>
        </a:bodyPr>
        <a:lstStyle/>
        <a:p>
          <a:pPr lvl="0" algn="ctr" defTabSz="444500">
            <a:lnSpc>
              <a:spcPct val="90000"/>
            </a:lnSpc>
            <a:spcBef>
              <a:spcPct val="0"/>
            </a:spcBef>
            <a:spcAft>
              <a:spcPct val="35000"/>
            </a:spcAft>
          </a:pPr>
          <a:r>
            <a:rPr lang="en-US" sz="1000" b="1" kern="1200" dirty="0">
              <a:solidFill>
                <a:srgbClr val="000000"/>
              </a:solidFill>
              <a:latin typeface="EYInterstate Light"/>
              <a:ea typeface="+mn-ea"/>
              <a:cs typeface="+mn-cs"/>
            </a:rPr>
            <a:t>Vantaggi Blockchain</a:t>
          </a:r>
        </a:p>
      </dsp:txBody>
      <dsp:txXfrm>
        <a:off x="3290038" y="1819997"/>
        <a:ext cx="832305" cy="718537"/>
      </dsp:txXfrm>
    </dsp:sp>
    <dsp:sp modelId="{04076834-97F1-4CBC-BDD0-DF9774CBEB1E}">
      <dsp:nvSpPr>
        <dsp:cNvPr id="0" name=""/>
        <dsp:cNvSpPr/>
      </dsp:nvSpPr>
      <dsp:spPr>
        <a:xfrm rot="16200000">
          <a:off x="3301156" y="1241116"/>
          <a:ext cx="810069" cy="24038"/>
        </a:xfrm>
        <a:custGeom>
          <a:avLst/>
          <a:gdLst/>
          <a:ahLst/>
          <a:cxnLst/>
          <a:rect l="0" t="0" r="0" b="0"/>
          <a:pathLst>
            <a:path>
              <a:moveTo>
                <a:pt x="0" y="12019"/>
              </a:moveTo>
              <a:lnTo>
                <a:pt x="810069"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a:off x="3685939" y="1273386"/>
        <a:ext cx="0" cy="0"/>
      </dsp:txXfrm>
    </dsp:sp>
    <dsp:sp modelId="{6F0B3930-BD42-4C15-A51B-E59C6841AF3B}">
      <dsp:nvSpPr>
        <dsp:cNvPr id="0" name=""/>
        <dsp:cNvSpPr/>
      </dsp:nvSpPr>
      <dsp:spPr>
        <a:xfrm>
          <a:off x="3355450" y="146618"/>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endParaRPr lang="en-US" sz="3400" kern="1200" dirty="0">
            <a:solidFill>
              <a:srgbClr val="646464"/>
            </a:solidFill>
            <a:latin typeface="EYInterstate Light"/>
            <a:ea typeface="+mn-ea"/>
            <a:cs typeface="+mn-cs"/>
          </a:endParaRPr>
        </a:p>
      </dsp:txBody>
      <dsp:txXfrm>
        <a:off x="3458180" y="249348"/>
        <a:ext cx="496022" cy="496022"/>
      </dsp:txXfrm>
    </dsp:sp>
    <dsp:sp modelId="{58ED7C34-63BE-482D-A624-02BAA68E9E0B}">
      <dsp:nvSpPr>
        <dsp:cNvPr id="0" name=""/>
        <dsp:cNvSpPr/>
      </dsp:nvSpPr>
      <dsp:spPr>
        <a:xfrm rot="18900000">
          <a:off x="3987379" y="1499388"/>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a:off x="4346708" y="1511407"/>
        <a:ext cx="0" cy="0"/>
      </dsp:txXfrm>
    </dsp:sp>
    <dsp:sp modelId="{09CABC68-1999-41D0-A55F-368A0764084D}">
      <dsp:nvSpPr>
        <dsp:cNvPr id="0" name=""/>
        <dsp:cNvSpPr/>
      </dsp:nvSpPr>
      <dsp:spPr>
        <a:xfrm>
          <a:off x="4544737" y="639237"/>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r>
            <a:rPr lang="en-US" sz="3400" kern="1200" dirty="0">
              <a:solidFill>
                <a:srgbClr val="646464"/>
              </a:solidFill>
              <a:latin typeface="EYInterstate Light"/>
              <a:ea typeface="+mn-ea"/>
              <a:cs typeface="+mn-cs"/>
            </a:rPr>
            <a:t> </a:t>
          </a:r>
        </a:p>
      </dsp:txBody>
      <dsp:txXfrm>
        <a:off x="4647467" y="741967"/>
        <a:ext cx="496022" cy="496022"/>
      </dsp:txXfrm>
    </dsp:sp>
    <dsp:sp modelId="{C34AADEB-6E63-4BA6-AB4F-1710D829C914}">
      <dsp:nvSpPr>
        <dsp:cNvPr id="0" name=""/>
        <dsp:cNvSpPr/>
      </dsp:nvSpPr>
      <dsp:spPr>
        <a:xfrm>
          <a:off x="4309794" y="2167246"/>
          <a:ext cx="727562" cy="24038"/>
        </a:xfrm>
        <a:custGeom>
          <a:avLst/>
          <a:gdLst/>
          <a:ahLst/>
          <a:cxnLst/>
          <a:rect l="0" t="0" r="0" b="0"/>
          <a:pathLst>
            <a:path>
              <a:moveTo>
                <a:pt x="0" y="12019"/>
              </a:moveTo>
              <a:lnTo>
                <a:pt x="727562"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a:off x="4655386" y="2161076"/>
        <a:ext cx="0" cy="0"/>
      </dsp:txXfrm>
    </dsp:sp>
    <dsp:sp modelId="{5C612862-C20F-4758-B487-EA01929B82B1}">
      <dsp:nvSpPr>
        <dsp:cNvPr id="0" name=""/>
        <dsp:cNvSpPr/>
      </dsp:nvSpPr>
      <dsp:spPr>
        <a:xfrm>
          <a:off x="5037356" y="1828524"/>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r>
            <a:rPr lang="en-US" sz="3400" kern="1200" dirty="0">
              <a:solidFill>
                <a:srgbClr val="646464"/>
              </a:solidFill>
              <a:latin typeface="EYInterstate Light"/>
              <a:ea typeface="+mn-ea"/>
              <a:cs typeface="+mn-cs"/>
            </a:rPr>
            <a:t> </a:t>
          </a:r>
        </a:p>
      </dsp:txBody>
      <dsp:txXfrm>
        <a:off x="5140086" y="1931254"/>
        <a:ext cx="496022" cy="496022"/>
      </dsp:txXfrm>
    </dsp:sp>
    <dsp:sp modelId="{A4F9CCA2-918B-4B6B-B116-C588E72EB533}">
      <dsp:nvSpPr>
        <dsp:cNvPr id="0" name=""/>
        <dsp:cNvSpPr/>
      </dsp:nvSpPr>
      <dsp:spPr>
        <a:xfrm rot="2700000">
          <a:off x="3987379" y="2835105"/>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a:off x="4374050" y="2819783"/>
        <a:ext cx="0" cy="0"/>
      </dsp:txXfrm>
    </dsp:sp>
    <dsp:sp modelId="{5D38AF56-7B97-4280-8955-F97C6A4AD5DB}">
      <dsp:nvSpPr>
        <dsp:cNvPr id="0" name=""/>
        <dsp:cNvSpPr/>
      </dsp:nvSpPr>
      <dsp:spPr>
        <a:xfrm>
          <a:off x="4544737" y="3017812"/>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r>
            <a:rPr lang="en-US" sz="3400" kern="1200" dirty="0">
              <a:solidFill>
                <a:srgbClr val="646464"/>
              </a:solidFill>
              <a:latin typeface="EYInterstate Light"/>
              <a:ea typeface="+mn-ea"/>
              <a:cs typeface="+mn-cs"/>
            </a:rPr>
            <a:t> </a:t>
          </a:r>
        </a:p>
      </dsp:txBody>
      <dsp:txXfrm>
        <a:off x="4647467" y="3120542"/>
        <a:ext cx="496022" cy="496022"/>
      </dsp:txXfrm>
    </dsp:sp>
    <dsp:sp modelId="{477E859B-2825-444A-BAAC-EAF27009E4E5}">
      <dsp:nvSpPr>
        <dsp:cNvPr id="0" name=""/>
        <dsp:cNvSpPr/>
      </dsp:nvSpPr>
      <dsp:spPr>
        <a:xfrm rot="5400000">
          <a:off x="3301156" y="3093377"/>
          <a:ext cx="810069" cy="24038"/>
        </a:xfrm>
        <a:custGeom>
          <a:avLst/>
          <a:gdLst/>
          <a:ahLst/>
          <a:cxnLst/>
          <a:rect l="0" t="0" r="0" b="0"/>
          <a:pathLst>
            <a:path>
              <a:moveTo>
                <a:pt x="0" y="12019"/>
              </a:moveTo>
              <a:lnTo>
                <a:pt x="810069"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a:off x="3726442" y="3085144"/>
        <a:ext cx="0" cy="0"/>
      </dsp:txXfrm>
    </dsp:sp>
    <dsp:sp modelId="{D7F1B47C-02B7-42F3-9494-AAB0AB697C3D}">
      <dsp:nvSpPr>
        <dsp:cNvPr id="0" name=""/>
        <dsp:cNvSpPr/>
      </dsp:nvSpPr>
      <dsp:spPr>
        <a:xfrm>
          <a:off x="3355450" y="3510431"/>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endParaRPr lang="en-US" sz="3400" kern="1200" dirty="0">
            <a:solidFill>
              <a:srgbClr val="646464"/>
            </a:solidFill>
            <a:latin typeface="EYInterstate Light"/>
            <a:ea typeface="+mn-ea"/>
            <a:cs typeface="+mn-cs"/>
          </a:endParaRPr>
        </a:p>
      </dsp:txBody>
      <dsp:txXfrm>
        <a:off x="3458180" y="3613161"/>
        <a:ext cx="496022" cy="496022"/>
      </dsp:txXfrm>
    </dsp:sp>
    <dsp:sp modelId="{4C08703C-799F-4F57-AE9A-E5FE0945398E}">
      <dsp:nvSpPr>
        <dsp:cNvPr id="0" name=""/>
        <dsp:cNvSpPr/>
      </dsp:nvSpPr>
      <dsp:spPr>
        <a:xfrm rot="8100000">
          <a:off x="2651662" y="2835105"/>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rot="10800000">
        <a:off x="3065674" y="2847125"/>
        <a:ext cx="0" cy="0"/>
      </dsp:txXfrm>
    </dsp:sp>
    <dsp:sp modelId="{2948C47B-B13F-4A12-B2CF-7521C583EE1B}">
      <dsp:nvSpPr>
        <dsp:cNvPr id="0" name=""/>
        <dsp:cNvSpPr/>
      </dsp:nvSpPr>
      <dsp:spPr>
        <a:xfrm>
          <a:off x="2166162" y="3017812"/>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endParaRPr lang="en-US" sz="3400" kern="1200" dirty="0">
            <a:solidFill>
              <a:srgbClr val="646464"/>
            </a:solidFill>
            <a:latin typeface="EYInterstate Light"/>
            <a:ea typeface="+mn-ea"/>
            <a:cs typeface="+mn-cs"/>
          </a:endParaRPr>
        </a:p>
      </dsp:txBody>
      <dsp:txXfrm>
        <a:off x="2268892" y="3120542"/>
        <a:ext cx="496022" cy="496022"/>
      </dsp:txXfrm>
    </dsp:sp>
    <dsp:sp modelId="{4A8C6752-F973-43F9-BAC2-3D8F15B243F8}">
      <dsp:nvSpPr>
        <dsp:cNvPr id="0" name=""/>
        <dsp:cNvSpPr/>
      </dsp:nvSpPr>
      <dsp:spPr>
        <a:xfrm rot="10800000">
          <a:off x="2375026" y="2167246"/>
          <a:ext cx="727562" cy="24038"/>
        </a:xfrm>
        <a:custGeom>
          <a:avLst/>
          <a:gdLst/>
          <a:ahLst/>
          <a:cxnLst/>
          <a:rect l="0" t="0" r="0" b="0"/>
          <a:pathLst>
            <a:path>
              <a:moveTo>
                <a:pt x="0" y="12019"/>
              </a:moveTo>
              <a:lnTo>
                <a:pt x="727562"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rot="10800000">
        <a:off x="2756996" y="2197454"/>
        <a:ext cx="0" cy="0"/>
      </dsp:txXfrm>
    </dsp:sp>
    <dsp:sp modelId="{4F81A41B-EBA8-43A0-935C-60DB2E14699E}">
      <dsp:nvSpPr>
        <dsp:cNvPr id="0" name=""/>
        <dsp:cNvSpPr/>
      </dsp:nvSpPr>
      <dsp:spPr>
        <a:xfrm>
          <a:off x="1673543" y="1828524"/>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endParaRPr lang="en-US" sz="3400" kern="1200" dirty="0">
            <a:solidFill>
              <a:srgbClr val="646464"/>
            </a:solidFill>
            <a:latin typeface="EYInterstate Light"/>
            <a:ea typeface="+mn-ea"/>
            <a:cs typeface="+mn-cs"/>
          </a:endParaRPr>
        </a:p>
      </dsp:txBody>
      <dsp:txXfrm>
        <a:off x="1776273" y="1931254"/>
        <a:ext cx="496022" cy="496022"/>
      </dsp:txXfrm>
    </dsp:sp>
    <dsp:sp modelId="{12191128-5046-429C-9AE0-D4B5CFE566E8}">
      <dsp:nvSpPr>
        <dsp:cNvPr id="0" name=""/>
        <dsp:cNvSpPr/>
      </dsp:nvSpPr>
      <dsp:spPr>
        <a:xfrm rot="13500000">
          <a:off x="2651662" y="1499388"/>
          <a:ext cx="773341" cy="24038"/>
        </a:xfrm>
        <a:custGeom>
          <a:avLst/>
          <a:gdLst/>
          <a:ahLst/>
          <a:cxnLst/>
          <a:rect l="0" t="0" r="0" b="0"/>
          <a:pathLst>
            <a:path>
              <a:moveTo>
                <a:pt x="0" y="12019"/>
              </a:moveTo>
              <a:lnTo>
                <a:pt x="773341" y="12019"/>
              </a:lnTo>
            </a:path>
          </a:pathLst>
        </a:custGeom>
        <a:noFill/>
        <a:ln w="25400" cap="flat" cmpd="sng" algn="ctr">
          <a:solidFill>
            <a:srgbClr val="808080">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solidFill>
              <a:srgbClr val="000000">
                <a:hueOff val="0"/>
                <a:satOff val="0"/>
                <a:lumOff val="0"/>
                <a:alphaOff val="0"/>
              </a:srgbClr>
            </a:solidFill>
            <a:latin typeface="EYInterstate Light"/>
            <a:ea typeface="+mn-ea"/>
            <a:cs typeface="+mn-cs"/>
          </a:endParaRPr>
        </a:p>
      </dsp:txBody>
      <dsp:txXfrm rot="10800000">
        <a:off x="3038333" y="1538748"/>
        <a:ext cx="0" cy="0"/>
      </dsp:txXfrm>
    </dsp:sp>
    <dsp:sp modelId="{69720B6F-FA71-4138-833F-A1928396EFE7}">
      <dsp:nvSpPr>
        <dsp:cNvPr id="0" name=""/>
        <dsp:cNvSpPr/>
      </dsp:nvSpPr>
      <dsp:spPr>
        <a:xfrm>
          <a:off x="2166162" y="639237"/>
          <a:ext cx="701482" cy="701482"/>
        </a:xfrm>
        <a:prstGeom prst="ellipse">
          <a:avLst/>
        </a:prstGeom>
        <a:noFill/>
        <a:ln w="25400" cap="flat" cmpd="sng" algn="ctr">
          <a:solidFill>
            <a:srgbClr val="FFE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1511300">
            <a:lnSpc>
              <a:spcPct val="90000"/>
            </a:lnSpc>
            <a:spcBef>
              <a:spcPct val="0"/>
            </a:spcBef>
            <a:spcAft>
              <a:spcPct val="35000"/>
            </a:spcAft>
          </a:pPr>
          <a:endParaRPr lang="en-US" sz="3400" kern="1200" dirty="0">
            <a:solidFill>
              <a:srgbClr val="646464"/>
            </a:solidFill>
            <a:latin typeface="EYInterstate Light"/>
            <a:ea typeface="+mn-ea"/>
            <a:cs typeface="+mn-cs"/>
          </a:endParaRPr>
        </a:p>
      </dsp:txBody>
      <dsp:txXfrm>
        <a:off x="2268892" y="741967"/>
        <a:ext cx="496022" cy="496022"/>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it-IT" dirty="0"/>
          </a:p>
        </p:txBody>
      </p:sp>
      <p:sp>
        <p:nvSpPr>
          <p:cNvPr id="3" name="Date Placeholder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9C736B0A-EA69-4CE6-AE78-A668EFEB1ACE}" type="datetimeFigureOut">
              <a:rPr lang="it-IT" smtClean="0"/>
              <a:t>24/02/2019</a:t>
            </a:fld>
            <a:endParaRPr lang="it-IT" dirty="0"/>
          </a:p>
        </p:txBody>
      </p:sp>
      <p:sp>
        <p:nvSpPr>
          <p:cNvPr id="4" name="Footer Placeholder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it-IT" dirty="0"/>
          </a:p>
        </p:txBody>
      </p:sp>
      <p:sp>
        <p:nvSpPr>
          <p:cNvPr id="5" name="Slide Number Placeholder 4"/>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92261397-F63C-4914-B7D6-D3E899D18C00}" type="slidenum">
              <a:rPr lang="it-IT" smtClean="0"/>
              <a:t>‹N›</a:t>
            </a:fld>
            <a:endParaRPr lang="it-IT" dirty="0"/>
          </a:p>
        </p:txBody>
      </p:sp>
    </p:spTree>
    <p:extLst>
      <p:ext uri="{BB962C8B-B14F-4D97-AF65-F5344CB8AC3E}">
        <p14:creationId xmlns:p14="http://schemas.microsoft.com/office/powerpoint/2010/main" val="17006158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it-IT"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51EA96FA-E1C1-4815-B08D-46A3DD4B3249}" type="datetimeFigureOut">
              <a:rPr lang="it-IT" smtClean="0"/>
              <a:t>24/02/2019</a:t>
            </a:fld>
            <a:endParaRPr lang="it-IT"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it-IT"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it-IT"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E4A96577-580A-471D-80C0-33DFBEA2FBC0}" type="slidenum">
              <a:rPr lang="it-IT" smtClean="0"/>
              <a:t>‹N›</a:t>
            </a:fld>
            <a:endParaRPr lang="it-IT" dirty="0"/>
          </a:p>
        </p:txBody>
      </p:sp>
    </p:spTree>
    <p:extLst>
      <p:ext uri="{BB962C8B-B14F-4D97-AF65-F5344CB8AC3E}">
        <p14:creationId xmlns:p14="http://schemas.microsoft.com/office/powerpoint/2010/main" val="36392720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E4A96577-580A-471D-80C0-33DFBEA2FBC0}" type="slidenum">
              <a:rPr lang="it-IT" smtClean="0"/>
              <a:t>2</a:t>
            </a:fld>
            <a:endParaRPr lang="it-IT" dirty="0"/>
          </a:p>
        </p:txBody>
      </p:sp>
    </p:spTree>
    <p:extLst>
      <p:ext uri="{BB962C8B-B14F-4D97-AF65-F5344CB8AC3E}">
        <p14:creationId xmlns:p14="http://schemas.microsoft.com/office/powerpoint/2010/main" val="2728090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E4A96577-580A-471D-80C0-33DFBEA2FBC0}" type="slidenum">
              <a:rPr lang="it-IT" smtClean="0"/>
              <a:t>4</a:t>
            </a:fld>
            <a:endParaRPr lang="it-IT" dirty="0"/>
          </a:p>
        </p:txBody>
      </p:sp>
    </p:spTree>
    <p:extLst>
      <p:ext uri="{BB962C8B-B14F-4D97-AF65-F5344CB8AC3E}">
        <p14:creationId xmlns:p14="http://schemas.microsoft.com/office/powerpoint/2010/main" val="650215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Footer Placeholder 3"/>
          <p:cNvSpPr>
            <a:spLocks noGrp="1"/>
          </p:cNvSpPr>
          <p:nvPr>
            <p:ph type="ftr" sz="quarter" idx="10"/>
          </p:nvPr>
        </p:nvSpPr>
        <p:spPr/>
        <p:txBody>
          <a:bodyPr/>
          <a:lstStyle/>
          <a:p>
            <a:endParaRPr lang="it-IT" dirty="0"/>
          </a:p>
        </p:txBody>
      </p:sp>
      <p:sp>
        <p:nvSpPr>
          <p:cNvPr id="5" name="Slide Number Placeholder 4"/>
          <p:cNvSpPr>
            <a:spLocks noGrp="1"/>
          </p:cNvSpPr>
          <p:nvPr>
            <p:ph type="sldNum" sz="quarter" idx="11"/>
          </p:nvPr>
        </p:nvSpPr>
        <p:spPr/>
        <p:txBody>
          <a:bodyPr/>
          <a:lstStyle/>
          <a:p>
            <a:fld id="{F1D11F82-A8D8-46D6-89E5-51A895FB8100}" type="slidenum">
              <a:rPr lang="it-IT" smtClean="0"/>
              <a:t>5</a:t>
            </a:fld>
            <a:endParaRPr lang="it-IT" dirty="0"/>
          </a:p>
        </p:txBody>
      </p:sp>
    </p:spTree>
    <p:extLst>
      <p:ext uri="{BB962C8B-B14F-4D97-AF65-F5344CB8AC3E}">
        <p14:creationId xmlns:p14="http://schemas.microsoft.com/office/powerpoint/2010/main" val="1367951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F1D11F82-A8D8-46D6-89E5-51A895FB8100}" type="slidenum">
              <a:rPr lang="it-IT" smtClean="0">
                <a:solidFill>
                  <a:prstClr val="black"/>
                </a:solidFill>
              </a:rPr>
              <a:pPr/>
              <a:t>6</a:t>
            </a:fld>
            <a:endParaRPr lang="it-IT" dirty="0">
              <a:solidFill>
                <a:prstClr val="black"/>
              </a:solidFill>
            </a:endParaRPr>
          </a:p>
        </p:txBody>
      </p:sp>
    </p:spTree>
    <p:extLst>
      <p:ext uri="{BB962C8B-B14F-4D97-AF65-F5344CB8AC3E}">
        <p14:creationId xmlns:p14="http://schemas.microsoft.com/office/powerpoint/2010/main" val="2716735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E4A96577-580A-471D-80C0-33DFBEA2FBC0}" type="slidenum">
              <a:rPr lang="it-IT" smtClean="0"/>
              <a:t>20</a:t>
            </a:fld>
            <a:endParaRPr lang="it-IT" dirty="0"/>
          </a:p>
        </p:txBody>
      </p:sp>
    </p:spTree>
    <p:extLst>
      <p:ext uri="{BB962C8B-B14F-4D97-AF65-F5344CB8AC3E}">
        <p14:creationId xmlns:p14="http://schemas.microsoft.com/office/powerpoint/2010/main" val="3355628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dirty="0"/>
          </a:p>
        </p:txBody>
      </p:sp>
      <p:sp>
        <p:nvSpPr>
          <p:cNvPr id="4" name="Slide Number Placeholder 3"/>
          <p:cNvSpPr>
            <a:spLocks noGrp="1"/>
          </p:cNvSpPr>
          <p:nvPr>
            <p:ph type="sldNum" sz="quarter" idx="10"/>
          </p:nvPr>
        </p:nvSpPr>
        <p:spPr/>
        <p:txBody>
          <a:bodyPr/>
          <a:lstStyle/>
          <a:p>
            <a:fld id="{E4A96577-580A-471D-80C0-33DFBEA2FBC0}" type="slidenum">
              <a:rPr lang="it-IT" smtClean="0"/>
              <a:t>21</a:t>
            </a:fld>
            <a:endParaRPr lang="it-IT" dirty="0"/>
          </a:p>
        </p:txBody>
      </p:sp>
    </p:spTree>
    <p:extLst>
      <p:ext uri="{BB962C8B-B14F-4D97-AF65-F5344CB8AC3E}">
        <p14:creationId xmlns:p14="http://schemas.microsoft.com/office/powerpoint/2010/main" val="1801613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egnaposto contenuto 2"/>
          <p:cNvSpPr>
            <a:spLocks noGrp="1"/>
          </p:cNvSpPr>
          <p:nvPr>
            <p:ph idx="1"/>
          </p:nvPr>
        </p:nvSpPr>
        <p:spPr>
          <a:xfrm>
            <a:off x="421964" y="1127760"/>
            <a:ext cx="11348073" cy="543337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Title 6"/>
          <p:cNvSpPr>
            <a:spLocks noGrp="1"/>
          </p:cNvSpPr>
          <p:nvPr>
            <p:ph type="title" idx="4294967295" hasCustomPrompt="1"/>
          </p:nvPr>
        </p:nvSpPr>
        <p:spPr>
          <a:xfrm>
            <a:off x="421964" y="365125"/>
            <a:ext cx="11348073" cy="659003"/>
          </a:xfrm>
          <a:prstGeom prst="rect">
            <a:avLst/>
          </a:prstGeom>
        </p:spPr>
        <p:txBody>
          <a:bodyPr/>
          <a:lstStyle/>
          <a:p>
            <a:r>
              <a:rPr lang="it-IT" sz="2400" b="1" dirty="0">
                <a:latin typeface="Calibri (Headings)"/>
              </a:rPr>
              <a:t/>
            </a:r>
            <a:br>
              <a:rPr lang="it-IT" sz="2400" b="1" dirty="0">
                <a:latin typeface="Calibri (Headings)"/>
              </a:rPr>
            </a:br>
            <a:endParaRPr lang="it-IT" sz="2400" b="1" dirty="0">
              <a:latin typeface="Calibri (Headings)"/>
            </a:endParaRPr>
          </a:p>
        </p:txBody>
      </p:sp>
    </p:spTree>
    <p:extLst>
      <p:ext uri="{BB962C8B-B14F-4D97-AF65-F5344CB8AC3E}">
        <p14:creationId xmlns:p14="http://schemas.microsoft.com/office/powerpoint/2010/main" val="1156762934"/>
      </p:ext>
    </p:extLst>
  </p:cSld>
  <p:clrMapOvr>
    <a:masterClrMapping/>
  </p:clrMapOvr>
  <p:hf hdr="0" ftr="0" dt="0"/>
  <p:extLst mod="1">
    <p:ext uri="{DCECCB84-F9BA-43D5-87BE-67443E8EF086}">
      <p15:sldGuideLst xmlns:p15="http://schemas.microsoft.com/office/powerpoint/2012/main" xmlns="">
        <p15:guide id="2" orient="horz" pos="413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8515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4" y="200030"/>
            <a:ext cx="10977033" cy="791461"/>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605370" y="1075567"/>
            <a:ext cx="10979151" cy="485692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0" y="825949"/>
            <a:ext cx="1127448" cy="827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2240803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15417600"/>
      </p:ext>
    </p:extLst>
  </p:cSld>
  <p:clrMapOvr>
    <a:masterClrMapping/>
  </p:clrMapOvr>
  <p:hf hdr="0" ftr="0" dt="0"/>
  <p:extLst mod="1">
    <p:ext uri="{DCECCB84-F9BA-43D5-87BE-67443E8EF086}">
      <p15:sldGuideLst xmlns:p15="http://schemas.microsoft.com/office/powerpoint/2012/main" xmlns=""/>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70" y="1075567"/>
            <a:ext cx="10979151" cy="4856926"/>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070943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33" name="Rectangle 9"/>
          <p:cNvSpPr>
            <a:spLocks noChangeArrowheads="1"/>
          </p:cNvSpPr>
          <p:nvPr/>
        </p:nvSpPr>
        <p:spPr bwMode="auto">
          <a:xfrm>
            <a:off x="607135" y="6413909"/>
            <a:ext cx="1672441" cy="223860"/>
          </a:xfrm>
          <a:prstGeom prst="rect">
            <a:avLst/>
          </a:prstGeom>
          <a:noFill/>
          <a:ln w="9525">
            <a:noFill/>
            <a:miter lim="800000"/>
            <a:headEnd/>
            <a:tailEnd/>
          </a:ln>
          <a:effectLst/>
        </p:spPr>
        <p:txBody>
          <a:bodyPr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fld id="{2E28958F-0633-44DB-A270-5E75B773E301}" type="slidenum">
              <a:rPr lang="en-US" sz="1000" smtClean="0">
                <a:solidFill>
                  <a:srgbClr val="646464"/>
                </a:solidFill>
                <a:latin typeface="EYInterstate" panose="02000503020000020004" pitchFamily="2" charset="0"/>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N›</a:t>
            </a:fld>
            <a:r>
              <a:rPr lang="en-US" sz="1000" dirty="0">
                <a:solidFill>
                  <a:srgbClr val="646464"/>
                </a:solidFill>
                <a:latin typeface="EYInterstate" panose="02000503020000020004" pitchFamily="2" charset="0"/>
                <a:cs typeface="Arial" charset="0"/>
              </a:rPr>
              <a:t> </a:t>
            </a:r>
            <a:endParaRPr lang="it-IT" sz="900" b="0" kern="0" dirty="0">
              <a:solidFill>
                <a:schemeClr val="tx2"/>
              </a:solidFill>
              <a:latin typeface="EYInterstate" panose="02000503020000020004" pitchFamily="2" charset="0"/>
            </a:endParaRPr>
          </a:p>
        </p:txBody>
      </p:sp>
      <p:sp>
        <p:nvSpPr>
          <p:cNvPr id="1035" name="Line 11"/>
          <p:cNvSpPr>
            <a:spLocks noChangeShapeType="1"/>
          </p:cNvSpPr>
          <p:nvPr/>
        </p:nvSpPr>
        <p:spPr bwMode="auto">
          <a:xfrm>
            <a:off x="211721" y="6243638"/>
            <a:ext cx="11764326" cy="0"/>
          </a:xfrm>
          <a:prstGeom prst="line">
            <a:avLst/>
          </a:prstGeom>
          <a:noFill/>
          <a:ln w="3175">
            <a:solidFill>
              <a:srgbClr val="646464"/>
            </a:solidFill>
            <a:round/>
            <a:headEnd/>
            <a:tailEnd/>
          </a:ln>
          <a:effectLst/>
        </p:spPr>
        <p:txBody>
          <a:bodyPr wrap="none" anchor="ctr"/>
          <a:lstStyle/>
          <a:p>
            <a:pPr fontAlgn="base">
              <a:spcBef>
                <a:spcPct val="0"/>
              </a:spcBef>
              <a:spcAft>
                <a:spcPct val="0"/>
              </a:spcAft>
              <a:defRPr/>
            </a:pPr>
            <a:endParaRPr lang="en-US" sz="1800" dirty="0">
              <a:solidFill>
                <a:srgbClr val="646464"/>
              </a:solidFill>
            </a:endParaRPr>
          </a:p>
        </p:txBody>
      </p:sp>
      <p:sp>
        <p:nvSpPr>
          <p:cNvPr id="11" name="Rectangle 2"/>
          <p:cNvSpPr txBox="1">
            <a:spLocks noChangeArrowheads="1"/>
          </p:cNvSpPr>
          <p:nvPr userDrawn="1"/>
        </p:nvSpPr>
        <p:spPr bwMode="auto">
          <a:xfrm>
            <a:off x="621788" y="510154"/>
            <a:ext cx="10944192" cy="492125"/>
          </a:xfrm>
          <a:prstGeom prst="rect">
            <a:avLst/>
          </a:prstGeom>
          <a:noFill/>
          <a:ln w="9525">
            <a:noFill/>
            <a:miter lim="800000"/>
            <a:headEnd/>
            <a:tailEnd/>
          </a:ln>
        </p:spPr>
        <p:txBody>
          <a:bodyPr vert="horz" wrap="square" lIns="0" tIns="36000" rIns="0" bIns="0" numCol="1" anchor="ctr" anchorCtr="0" compatLnSpc="1">
            <a:prstTxWarp prst="textNoShape">
              <a:avLst/>
            </a:prstTxWarp>
          </a:bodyPr>
          <a:lstStyle/>
          <a:p>
            <a:pPr fontAlgn="base">
              <a:spcBef>
                <a:spcPct val="0"/>
              </a:spcBef>
              <a:spcAft>
                <a:spcPct val="0"/>
              </a:spcAft>
              <a:defRPr/>
            </a:pPr>
            <a:endParaRPr lang="it-IT" sz="1600" i="1" kern="0" noProof="1">
              <a:solidFill>
                <a:srgbClr val="646464"/>
              </a:solidFill>
              <a:latin typeface="EYInterstate" panose="02000503020000020004" pitchFamily="2" charset="0"/>
            </a:endParaRPr>
          </a:p>
        </p:txBody>
      </p:sp>
      <p:sp>
        <p:nvSpPr>
          <p:cNvPr id="16" name="Title 6"/>
          <p:cNvSpPr txBox="1">
            <a:spLocks/>
          </p:cNvSpPr>
          <p:nvPr userDrawn="1"/>
        </p:nvSpPr>
        <p:spPr>
          <a:xfrm>
            <a:off x="421964" y="365125"/>
            <a:ext cx="11348073" cy="659003"/>
          </a:xfrm>
          <a:prstGeom prst="rect">
            <a:avLst/>
          </a:prstGeom>
        </p:spPr>
        <p:txBody>
          <a:bodyPr/>
          <a:lstStyle>
            <a:lvl1pPr algn="l" rtl="0" eaLnBrk="0" fontAlgn="base" hangingPunct="0">
              <a:spcBef>
                <a:spcPct val="0"/>
              </a:spcBef>
              <a:spcAft>
                <a:spcPct val="0"/>
              </a:spcAft>
              <a:defRPr sz="3000" b="1">
                <a:solidFill>
                  <a:srgbClr val="646464"/>
                </a:solidFill>
                <a:latin typeface="+mj-lt"/>
                <a:ea typeface="+mj-ea"/>
                <a:cs typeface="+mj-cs"/>
              </a:defRPr>
            </a:lvl1pPr>
            <a:lvl2pPr algn="l" rtl="0" eaLnBrk="0" fontAlgn="base" hangingPunct="0">
              <a:spcBef>
                <a:spcPct val="0"/>
              </a:spcBef>
              <a:spcAft>
                <a:spcPct val="0"/>
              </a:spcAft>
              <a:defRPr sz="3000" b="1">
                <a:solidFill>
                  <a:srgbClr val="646464"/>
                </a:solidFill>
                <a:latin typeface="Arial" charset="0"/>
              </a:defRPr>
            </a:lvl2pPr>
            <a:lvl3pPr algn="l" rtl="0" eaLnBrk="0" fontAlgn="base" hangingPunct="0">
              <a:spcBef>
                <a:spcPct val="0"/>
              </a:spcBef>
              <a:spcAft>
                <a:spcPct val="0"/>
              </a:spcAft>
              <a:defRPr sz="3000" b="1">
                <a:solidFill>
                  <a:srgbClr val="646464"/>
                </a:solidFill>
                <a:latin typeface="Arial" charset="0"/>
              </a:defRPr>
            </a:lvl3pPr>
            <a:lvl4pPr algn="l" rtl="0" eaLnBrk="0" fontAlgn="base" hangingPunct="0">
              <a:spcBef>
                <a:spcPct val="0"/>
              </a:spcBef>
              <a:spcAft>
                <a:spcPct val="0"/>
              </a:spcAft>
              <a:defRPr sz="3000" b="1">
                <a:solidFill>
                  <a:srgbClr val="646464"/>
                </a:solidFill>
                <a:latin typeface="Arial" charset="0"/>
              </a:defRPr>
            </a:lvl4pPr>
            <a:lvl5pPr algn="l" rtl="0" eaLnBrk="0" fontAlgn="base" hangingPunct="0">
              <a:spcBef>
                <a:spcPct val="0"/>
              </a:spcBef>
              <a:spcAft>
                <a:spcPct val="0"/>
              </a:spcAft>
              <a:defRPr sz="3000" b="1">
                <a:solidFill>
                  <a:srgbClr val="646464"/>
                </a:solidFill>
                <a:latin typeface="Arial" charset="0"/>
              </a:defRPr>
            </a:lvl5pPr>
            <a:lvl6pPr marL="457200" algn="l" rtl="0" fontAlgn="base">
              <a:spcBef>
                <a:spcPct val="0"/>
              </a:spcBef>
              <a:spcAft>
                <a:spcPct val="0"/>
              </a:spcAft>
              <a:defRPr sz="3000" b="1">
                <a:solidFill>
                  <a:srgbClr val="646464"/>
                </a:solidFill>
                <a:latin typeface="Arial" charset="0"/>
              </a:defRPr>
            </a:lvl6pPr>
            <a:lvl7pPr marL="914400" algn="l" rtl="0" fontAlgn="base">
              <a:spcBef>
                <a:spcPct val="0"/>
              </a:spcBef>
              <a:spcAft>
                <a:spcPct val="0"/>
              </a:spcAft>
              <a:defRPr sz="3000" b="1">
                <a:solidFill>
                  <a:srgbClr val="646464"/>
                </a:solidFill>
                <a:latin typeface="Arial" charset="0"/>
              </a:defRPr>
            </a:lvl7pPr>
            <a:lvl8pPr marL="1371600" algn="l" rtl="0" fontAlgn="base">
              <a:spcBef>
                <a:spcPct val="0"/>
              </a:spcBef>
              <a:spcAft>
                <a:spcPct val="0"/>
              </a:spcAft>
              <a:defRPr sz="3000" b="1">
                <a:solidFill>
                  <a:srgbClr val="646464"/>
                </a:solidFill>
                <a:latin typeface="Arial" charset="0"/>
              </a:defRPr>
            </a:lvl8pPr>
            <a:lvl9pPr marL="1828800" algn="l" rtl="0" fontAlgn="base">
              <a:spcBef>
                <a:spcPct val="0"/>
              </a:spcBef>
              <a:spcAft>
                <a:spcPct val="0"/>
              </a:spcAft>
              <a:defRPr sz="3000" b="1">
                <a:solidFill>
                  <a:srgbClr val="646464"/>
                </a:solidFill>
                <a:latin typeface="Arial" charset="0"/>
              </a:defRPr>
            </a:lvl9pPr>
          </a:lstStyle>
          <a:p>
            <a:r>
              <a:rPr lang="it-IT" sz="2400" kern="0" dirty="0">
                <a:latin typeface="Calibri (Headings)"/>
              </a:rPr>
              <a:t/>
            </a:r>
            <a:br>
              <a:rPr lang="it-IT" sz="2400" kern="0" dirty="0">
                <a:latin typeface="Calibri (Headings)"/>
              </a:rPr>
            </a:br>
            <a:endParaRPr lang="it-IT" sz="2400" kern="0" dirty="0">
              <a:latin typeface="Calibri (Headings)"/>
            </a:endParaRPr>
          </a:p>
        </p:txBody>
      </p:sp>
      <p:sp>
        <p:nvSpPr>
          <p:cNvPr id="13" name="Rectangle 12"/>
          <p:cNvSpPr/>
          <p:nvPr userDrawn="1"/>
        </p:nvSpPr>
        <p:spPr>
          <a:xfrm>
            <a:off x="0" y="825949"/>
            <a:ext cx="1127448" cy="827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9" name="Picture 2" descr="Risultati immagini per logo inps"/>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672287" y="6359046"/>
            <a:ext cx="303760" cy="422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4864794"/>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662" r:id="rId3"/>
    <p:sldLayoutId id="2147483708" r:id="rId4"/>
    <p:sldLayoutId id="2147483707" r:id="rId5"/>
  </p:sldLayoutIdLst>
  <p:txStyles>
    <p:titleStyle>
      <a:lvl1pPr algn="l" rtl="0" eaLnBrk="0" fontAlgn="base" hangingPunct="0">
        <a:spcBef>
          <a:spcPct val="0"/>
        </a:spcBef>
        <a:spcAft>
          <a:spcPct val="0"/>
        </a:spcAft>
        <a:defRPr sz="3000" b="1">
          <a:solidFill>
            <a:srgbClr val="646464"/>
          </a:solidFill>
          <a:latin typeface="+mj-lt"/>
          <a:ea typeface="+mj-ea"/>
          <a:cs typeface="+mj-cs"/>
        </a:defRPr>
      </a:lvl1pPr>
      <a:lvl2pPr algn="l" rtl="0" eaLnBrk="0" fontAlgn="base" hangingPunct="0">
        <a:spcBef>
          <a:spcPct val="0"/>
        </a:spcBef>
        <a:spcAft>
          <a:spcPct val="0"/>
        </a:spcAft>
        <a:defRPr sz="3000" b="1">
          <a:solidFill>
            <a:srgbClr val="646464"/>
          </a:solidFill>
          <a:latin typeface="Arial" charset="0"/>
        </a:defRPr>
      </a:lvl2pPr>
      <a:lvl3pPr algn="l" rtl="0" eaLnBrk="0" fontAlgn="base" hangingPunct="0">
        <a:spcBef>
          <a:spcPct val="0"/>
        </a:spcBef>
        <a:spcAft>
          <a:spcPct val="0"/>
        </a:spcAft>
        <a:defRPr sz="3000" b="1">
          <a:solidFill>
            <a:srgbClr val="646464"/>
          </a:solidFill>
          <a:latin typeface="Arial" charset="0"/>
        </a:defRPr>
      </a:lvl3pPr>
      <a:lvl4pPr algn="l" rtl="0" eaLnBrk="0" fontAlgn="base" hangingPunct="0">
        <a:spcBef>
          <a:spcPct val="0"/>
        </a:spcBef>
        <a:spcAft>
          <a:spcPct val="0"/>
        </a:spcAft>
        <a:defRPr sz="3000" b="1">
          <a:solidFill>
            <a:srgbClr val="646464"/>
          </a:solidFill>
          <a:latin typeface="Arial" charset="0"/>
        </a:defRPr>
      </a:lvl4pPr>
      <a:lvl5pPr algn="l" rtl="0" eaLnBrk="0" fontAlgn="base" hangingPunct="0">
        <a:spcBef>
          <a:spcPct val="0"/>
        </a:spcBef>
        <a:spcAft>
          <a:spcPct val="0"/>
        </a:spcAft>
        <a:defRPr sz="3000" b="1">
          <a:solidFill>
            <a:srgbClr val="646464"/>
          </a:solidFill>
          <a:latin typeface="Arial" charset="0"/>
        </a:defRPr>
      </a:lvl5pPr>
      <a:lvl6pPr marL="457200" algn="l" rtl="0" fontAlgn="base">
        <a:spcBef>
          <a:spcPct val="0"/>
        </a:spcBef>
        <a:spcAft>
          <a:spcPct val="0"/>
        </a:spcAft>
        <a:defRPr sz="3000" b="1">
          <a:solidFill>
            <a:srgbClr val="646464"/>
          </a:solidFill>
          <a:latin typeface="Arial" charset="0"/>
        </a:defRPr>
      </a:lvl6pPr>
      <a:lvl7pPr marL="914400" algn="l" rtl="0" fontAlgn="base">
        <a:spcBef>
          <a:spcPct val="0"/>
        </a:spcBef>
        <a:spcAft>
          <a:spcPct val="0"/>
        </a:spcAft>
        <a:defRPr sz="3000" b="1">
          <a:solidFill>
            <a:srgbClr val="646464"/>
          </a:solidFill>
          <a:latin typeface="Arial" charset="0"/>
        </a:defRPr>
      </a:lvl7pPr>
      <a:lvl8pPr marL="1371600" algn="l" rtl="0" fontAlgn="base">
        <a:spcBef>
          <a:spcPct val="0"/>
        </a:spcBef>
        <a:spcAft>
          <a:spcPct val="0"/>
        </a:spcAft>
        <a:defRPr sz="3000" b="1">
          <a:solidFill>
            <a:srgbClr val="646464"/>
          </a:solidFill>
          <a:latin typeface="Arial" charset="0"/>
        </a:defRPr>
      </a:lvl8pPr>
      <a:lvl9pPr marL="1828800" algn="l" rtl="0" fontAlgn="base">
        <a:spcBef>
          <a:spcPct val="0"/>
        </a:spcBef>
        <a:spcAft>
          <a:spcPct val="0"/>
        </a:spcAft>
        <a:defRPr sz="3000" b="1">
          <a:solidFill>
            <a:srgbClr val="646464"/>
          </a:solidFill>
          <a:latin typeface="Arial" charset="0"/>
        </a:defRPr>
      </a:lvl9pPr>
    </p:titleStyle>
    <p:body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png"/><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30.png"/><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3.png"/><Relationship Id="rId5" Type="http://schemas.openxmlformats.org/officeDocument/2006/relationships/tags" Target="../tags/tag30.xml"/><Relationship Id="rId10" Type="http://schemas.openxmlformats.org/officeDocument/2006/relationships/slideLayout" Target="../slideLayouts/slideLayout2.xml"/><Relationship Id="rId4" Type="http://schemas.openxmlformats.org/officeDocument/2006/relationships/tags" Target="../tags/tag29.xml"/><Relationship Id="rId9" Type="http://schemas.openxmlformats.org/officeDocument/2006/relationships/tags" Target="../tags/tag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tiff"/><Relationship Id="rId7" Type="http://schemas.openxmlformats.org/officeDocument/2006/relationships/image" Target="../media/image48.png"/><Relationship Id="rId12" Type="http://schemas.openxmlformats.org/officeDocument/2006/relationships/image" Target="../media/image53.jpeg"/><Relationship Id="rId2" Type="http://schemas.openxmlformats.org/officeDocument/2006/relationships/image" Target="../media/image43.jpeg"/><Relationship Id="rId1" Type="http://schemas.openxmlformats.org/officeDocument/2006/relationships/slideLayout" Target="../slideLayouts/slideLayout5.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jpeg"/><Relationship Id="rId9" Type="http://schemas.openxmlformats.org/officeDocument/2006/relationships/image" Target="../media/image50.jpeg"/></Relationships>
</file>

<file path=ppt/slides/_rels/slide1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3.jpeg"/><Relationship Id="rId7" Type="http://schemas.openxmlformats.org/officeDocument/2006/relationships/image" Target="../media/image49.png"/><Relationship Id="rId2" Type="http://schemas.openxmlformats.org/officeDocument/2006/relationships/image" Target="../media/image52.jpeg"/><Relationship Id="rId1" Type="http://schemas.openxmlformats.org/officeDocument/2006/relationships/slideLayout" Target="../slideLayouts/slideLayout5.xml"/><Relationship Id="rId6" Type="http://schemas.openxmlformats.org/officeDocument/2006/relationships/image" Target="../media/image48.png"/><Relationship Id="rId11" Type="http://schemas.openxmlformats.org/officeDocument/2006/relationships/image" Target="../media/image54.png"/><Relationship Id="rId5" Type="http://schemas.openxmlformats.org/officeDocument/2006/relationships/image" Target="../media/image47.png"/><Relationship Id="rId10" Type="http://schemas.openxmlformats.org/officeDocument/2006/relationships/image" Target="../media/image44.tiff"/><Relationship Id="rId4" Type="http://schemas.openxmlformats.org/officeDocument/2006/relationships/image" Target="../media/image46.png"/><Relationship Id="rId9" Type="http://schemas.openxmlformats.org/officeDocument/2006/relationships/image" Target="../media/image43.jpeg"/></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44.tiff"/><Relationship Id="rId3" Type="http://schemas.openxmlformats.org/officeDocument/2006/relationships/image" Target="../media/image55.png"/><Relationship Id="rId7" Type="http://schemas.openxmlformats.org/officeDocument/2006/relationships/image" Target="../media/image46.png"/><Relationship Id="rId12" Type="http://schemas.openxmlformats.org/officeDocument/2006/relationships/image" Target="../media/image43.jpeg"/><Relationship Id="rId2" Type="http://schemas.openxmlformats.org/officeDocument/2006/relationships/image" Target="../media/image54.png"/><Relationship Id="rId1" Type="http://schemas.openxmlformats.org/officeDocument/2006/relationships/slideLayout" Target="../slideLayouts/slideLayout5.xml"/><Relationship Id="rId6" Type="http://schemas.openxmlformats.org/officeDocument/2006/relationships/image" Target="../media/image53.jpeg"/><Relationship Id="rId11" Type="http://schemas.openxmlformats.org/officeDocument/2006/relationships/image" Target="../media/image51.png"/><Relationship Id="rId5" Type="http://schemas.openxmlformats.org/officeDocument/2006/relationships/image" Target="../media/image52.jpeg"/><Relationship Id="rId10" Type="http://schemas.openxmlformats.org/officeDocument/2006/relationships/image" Target="../media/image49.png"/><Relationship Id="rId4" Type="http://schemas.openxmlformats.org/officeDocument/2006/relationships/image" Target="../media/image57.svg"/><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3.png"/><Relationship Id="rId5" Type="http://schemas.openxmlformats.org/officeDocument/2006/relationships/tags" Target="../tags/tag39.xml"/><Relationship Id="rId10" Type="http://schemas.openxmlformats.org/officeDocument/2006/relationships/slideLayout" Target="../slideLayouts/slideLayout2.xml"/><Relationship Id="rId4" Type="http://schemas.openxmlformats.org/officeDocument/2006/relationships/tags" Target="../tags/tag38.xml"/><Relationship Id="rId9" Type="http://schemas.openxmlformats.org/officeDocument/2006/relationships/tags" Target="../tags/tag4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jp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3.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3.png"/><Relationship Id="rId5" Type="http://schemas.openxmlformats.org/officeDocument/2006/relationships/tags" Target="../tags/tag17.xml"/><Relationship Id="rId10" Type="http://schemas.openxmlformats.org/officeDocument/2006/relationships/slideLayout" Target="../slideLayouts/slideLayout2.xml"/><Relationship Id="rId4" Type="http://schemas.openxmlformats.org/officeDocument/2006/relationships/tags" Target="../tags/tag16.xml"/><Relationship Id="rId9" Type="http://schemas.openxmlformats.org/officeDocument/2006/relationships/tags" Target="../tags/tag21.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2.emf"/><Relationship Id="rId11" Type="http://schemas.openxmlformats.org/officeDocument/2006/relationships/image" Target="../media/image8.svg"/><Relationship Id="rId5" Type="http://schemas.openxmlformats.org/officeDocument/2006/relationships/oleObject" Target="../embeddings/oleObject4.bin"/><Relationship Id="rId15" Type="http://schemas.openxmlformats.org/officeDocument/2006/relationships/image" Target="../media/image9.png"/><Relationship Id="rId10" Type="http://schemas.openxmlformats.org/officeDocument/2006/relationships/image" Target="../media/image6.png"/><Relationship Id="rId4" Type="http://schemas.openxmlformats.org/officeDocument/2006/relationships/notesSlide" Target="../notesSlides/notesSlide2.xml"/><Relationship Id="rId9" Type="http://schemas.openxmlformats.org/officeDocument/2006/relationships/image" Target="../media/image6.svg"/><Relationship Id="rId1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4.png"/><Relationship Id="rId11" Type="http://schemas.openxmlformats.org/officeDocument/2006/relationships/image" Target="../media/image12.png"/><Relationship Id="rId5" Type="http://schemas.openxmlformats.org/officeDocument/2006/relationships/image" Target="../media/image10.png"/><Relationship Id="rId10" Type="http://schemas.openxmlformats.org/officeDocument/2006/relationships/image" Target="../media/image11.svg"/><Relationship Id="rId4" Type="http://schemas.openxmlformats.org/officeDocument/2006/relationships/image" Target="../media/image8.svg"/><Relationship Id="rId9"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6.png"/><Relationship Id="rId1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4.png"/><Relationship Id="rId12" Type="http://schemas.openxmlformats.org/officeDocument/2006/relationships/image" Target="../media/image4.png"/><Relationship Id="rId17" Type="http://schemas.openxmlformats.org/officeDocument/2006/relationships/image" Target="../media/image11.svg"/><Relationship Id="rId2" Type="http://schemas.openxmlformats.org/officeDocument/2006/relationships/tags" Target="../tags/tag23.xml"/><Relationship Id="rId16" Type="http://schemas.openxmlformats.org/officeDocument/2006/relationships/image" Target="../media/image8.png"/><Relationship Id="rId1" Type="http://schemas.openxmlformats.org/officeDocument/2006/relationships/vmlDrawing" Target="../drawings/vmlDrawing5.v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2.emf"/><Relationship Id="rId15" Type="http://schemas.openxmlformats.org/officeDocument/2006/relationships/image" Target="../media/image7.png"/><Relationship Id="rId10" Type="http://schemas.openxmlformats.org/officeDocument/2006/relationships/image" Target="../media/image17.png"/><Relationship Id="rId4" Type="http://schemas.openxmlformats.org/officeDocument/2006/relationships/oleObject" Target="../embeddings/oleObject5.bin"/><Relationship Id="rId9" Type="http://schemas.openxmlformats.org/officeDocument/2006/relationships/image" Target="../media/image16.png"/><Relationship Id="rId14" Type="http://schemas.openxmlformats.org/officeDocument/2006/relationships/image" Target="../media/image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10.png"/><Relationship Id="rId12" Type="http://schemas.openxmlformats.org/officeDocument/2006/relationships/image" Target="../media/image24.png"/><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image" Target="../media/image20.png"/><Relationship Id="rId11" Type="http://schemas.openxmlformats.org/officeDocument/2006/relationships/image" Target="../media/image23.png"/><Relationship Id="rId5" Type="http://schemas.openxmlformats.org/officeDocument/2006/relationships/image" Target="../media/image2.emf"/><Relationship Id="rId15" Type="http://schemas.openxmlformats.org/officeDocument/2006/relationships/image" Target="../media/image26.png"/><Relationship Id="rId10" Type="http://schemas.openxmlformats.org/officeDocument/2006/relationships/image" Target="../media/image22.png"/><Relationship Id="rId4" Type="http://schemas.openxmlformats.org/officeDocument/2006/relationships/oleObject" Target="../embeddings/oleObject6.bin"/><Relationship Id="rId9" Type="http://schemas.microsoft.com/office/2007/relationships/hdphoto" Target="../media/hdphoto1.wdp"/><Relationship Id="rId1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16"/>
          <p:cNvSpPr/>
          <p:nvPr>
            <p:custDataLst>
              <p:tags r:id="rId1"/>
            </p:custDataLst>
          </p:nvPr>
        </p:nvSpPr>
        <p:spPr bwMode="gray">
          <a:xfrm rot="1800000" flipH="1" flipV="1">
            <a:off x="10015441" y="221328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7" name="Rechteck 17"/>
          <p:cNvSpPr/>
          <p:nvPr>
            <p:custDataLst>
              <p:tags r:id="rId2"/>
            </p:custDataLst>
          </p:nvPr>
        </p:nvSpPr>
        <p:spPr bwMode="gray">
          <a:xfrm rot="1800000" flipH="1" flipV="1">
            <a:off x="5631677" y="4785590"/>
            <a:ext cx="1245079" cy="124507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8" name="Rechteck 16"/>
          <p:cNvSpPr/>
          <p:nvPr>
            <p:custDataLst>
              <p:tags r:id="rId3"/>
            </p:custDataLst>
          </p:nvPr>
        </p:nvSpPr>
        <p:spPr bwMode="gray">
          <a:xfrm rot="1800000" flipH="1" flipV="1">
            <a:off x="7445595" y="2949727"/>
            <a:ext cx="5137342" cy="5154903"/>
          </a:xfrm>
          <a:custGeom>
            <a:avLst/>
            <a:gdLst/>
            <a:ahLst/>
            <a:cxnLst/>
            <a:rect l="l" t="t" r="r" b="b"/>
            <a:pathLst>
              <a:path w="5140018" h="5157588">
                <a:moveTo>
                  <a:pt x="5140017" y="5157588"/>
                </a:moveTo>
                <a:lnTo>
                  <a:pt x="1518682" y="5157588"/>
                </a:lnTo>
                <a:lnTo>
                  <a:pt x="0" y="2527151"/>
                </a:lnTo>
                <a:lnTo>
                  <a:pt x="4377154" y="0"/>
                </a:lnTo>
                <a:lnTo>
                  <a:pt x="514001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29"/>
            <a:endParaRPr lang="en-GB" sz="1199" dirty="0">
              <a:solidFill>
                <a:schemeClr val="tx1"/>
              </a:solidFill>
              <a:latin typeface="Calibri" panose="020F0502020204030204" pitchFamily="34" charset="0"/>
              <a:cs typeface="Calibri" panose="020F0502020204030204" pitchFamily="34" charset="0"/>
            </a:endParaRPr>
          </a:p>
        </p:txBody>
      </p:sp>
      <p:sp>
        <p:nvSpPr>
          <p:cNvPr id="9" name="Rechteck 17"/>
          <p:cNvSpPr/>
          <p:nvPr>
            <p:custDataLst>
              <p:tags r:id="rId4"/>
            </p:custDataLst>
          </p:nvPr>
        </p:nvSpPr>
        <p:spPr bwMode="gray">
          <a:xfrm rot="1800000" flipH="1" flipV="1">
            <a:off x="6350054" y="6700953"/>
            <a:ext cx="537850" cy="310527"/>
          </a:xfrm>
          <a:custGeom>
            <a:avLst/>
            <a:gdLst/>
            <a:ahLst/>
            <a:cxnLst/>
            <a:rect l="l" t="t" r="r" b="b"/>
            <a:pathLst>
              <a:path w="538130" h="310689">
                <a:moveTo>
                  <a:pt x="538130" y="310689"/>
                </a:moveTo>
                <a:lnTo>
                  <a:pt x="0" y="310689"/>
                </a:lnTo>
                <a:lnTo>
                  <a:pt x="538130"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0" name="Rechteck 18"/>
          <p:cNvSpPr/>
          <p:nvPr>
            <p:custDataLst>
              <p:tags r:id="rId5"/>
            </p:custDataLst>
          </p:nvPr>
        </p:nvSpPr>
        <p:spPr bwMode="gray">
          <a:xfrm rot="1800000" flipH="1" flipV="1">
            <a:off x="5261772" y="6670171"/>
            <a:ext cx="644475" cy="372088"/>
          </a:xfrm>
          <a:custGeom>
            <a:avLst/>
            <a:gdLst/>
            <a:ahLst/>
            <a:cxnLst/>
            <a:rect l="l" t="t" r="r" b="b"/>
            <a:pathLst>
              <a:path w="644811" h="372282">
                <a:moveTo>
                  <a:pt x="644811" y="372282"/>
                </a:moveTo>
                <a:lnTo>
                  <a:pt x="0" y="372282"/>
                </a:lnTo>
                <a:lnTo>
                  <a:pt x="644811"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1" name="Rechteck 21"/>
          <p:cNvSpPr/>
          <p:nvPr>
            <p:custDataLst>
              <p:tags r:id="rId6"/>
            </p:custDataLst>
          </p:nvPr>
        </p:nvSpPr>
        <p:spPr bwMode="gray">
          <a:xfrm rot="1800000" flipH="1" flipV="1">
            <a:off x="5778730" y="6202254"/>
            <a:ext cx="555609" cy="555609"/>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4" name="Rechteck 22"/>
          <p:cNvSpPr/>
          <p:nvPr>
            <p:custDataLst>
              <p:tags r:id="rId7"/>
            </p:custDataLst>
          </p:nvPr>
        </p:nvSpPr>
        <p:spPr bwMode="gray">
          <a:xfrm rot="1800000" flipH="1" flipV="1">
            <a:off x="10399840" y="1950152"/>
            <a:ext cx="838228" cy="83822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5" name="Rechteck 21"/>
          <p:cNvSpPr/>
          <p:nvPr>
            <p:custDataLst>
              <p:tags r:id="rId8"/>
            </p:custDataLst>
          </p:nvPr>
        </p:nvSpPr>
        <p:spPr bwMode="gray">
          <a:xfrm rot="1800000" flipH="1" flipV="1">
            <a:off x="11316017" y="2131434"/>
            <a:ext cx="1296490" cy="1296489"/>
          </a:xfrm>
          <a:custGeom>
            <a:avLst/>
            <a:gdLst/>
            <a:ahLst/>
            <a:cxnLst/>
            <a:rect l="l" t="t" r="r" b="b"/>
            <a:pathLst>
              <a:path w="1530425" h="1530424">
                <a:moveTo>
                  <a:pt x="1530425" y="1530424"/>
                </a:moveTo>
                <a:lnTo>
                  <a:pt x="867973" y="1530424"/>
                </a:lnTo>
                <a:lnTo>
                  <a:pt x="0" y="27050"/>
                </a:lnTo>
                <a:lnTo>
                  <a:pt x="0" y="0"/>
                </a:lnTo>
                <a:lnTo>
                  <a:pt x="1530425"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6" name="Rechteck 24"/>
          <p:cNvSpPr/>
          <p:nvPr>
            <p:custDataLst>
              <p:tags r:id="rId9"/>
            </p:custDataLst>
          </p:nvPr>
        </p:nvSpPr>
        <p:spPr bwMode="gray">
          <a:xfrm rot="1800000" flipH="1" flipV="1">
            <a:off x="11170209" y="180913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9" name="Title 11"/>
          <p:cNvSpPr txBox="1">
            <a:spLocks/>
          </p:cNvSpPr>
          <p:nvPr/>
        </p:nvSpPr>
        <p:spPr>
          <a:xfrm>
            <a:off x="7679013" y="3794485"/>
            <a:ext cx="4401292" cy="204590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3998" b="1" kern="1200">
                <a:solidFill>
                  <a:srgbClr val="333333"/>
                </a:solidFill>
                <a:latin typeface="+mn-lt"/>
                <a:ea typeface="+mj-ea"/>
                <a:cs typeface="Arial" pitchFamily="34" charset="0"/>
              </a:defRPr>
            </a:lvl1pPr>
          </a:lstStyle>
          <a:p>
            <a:pPr algn="r"/>
            <a:r>
              <a:rPr lang="it-IT" sz="3198" dirty="0">
                <a:solidFill>
                  <a:schemeClr val="tx1"/>
                </a:solidFill>
                <a:latin typeface="Calibri" panose="020F0502020204030204" pitchFamily="34" charset="0"/>
                <a:cs typeface="Calibri" panose="020F0502020204030204" pitchFamily="34" charset="0"/>
              </a:rPr>
              <a:t>Blockchain:</a:t>
            </a:r>
          </a:p>
          <a:p>
            <a:pPr algn="r"/>
            <a:r>
              <a:rPr lang="it-IT" sz="3198" dirty="0">
                <a:solidFill>
                  <a:schemeClr val="tx1"/>
                </a:solidFill>
                <a:latin typeface="Calibri" panose="020F0502020204030204" pitchFamily="34" charset="0"/>
                <a:cs typeface="Calibri" panose="020F0502020204030204" pitchFamily="34" charset="0"/>
              </a:rPr>
              <a:t>innovazioni e </a:t>
            </a:r>
          </a:p>
          <a:p>
            <a:pPr algn="r"/>
            <a:r>
              <a:rPr lang="it-IT" sz="3198" dirty="0">
                <a:solidFill>
                  <a:schemeClr val="tx1"/>
                </a:solidFill>
                <a:latin typeface="Calibri" panose="020F0502020204030204" pitchFamily="34" charset="0"/>
                <a:cs typeface="Calibri" panose="020F0502020204030204" pitchFamily="34" charset="0"/>
              </a:rPr>
              <a:t>applicazioni sociali</a:t>
            </a:r>
          </a:p>
          <a:p>
            <a:pPr algn="r"/>
            <a:r>
              <a:rPr lang="it-IT" sz="3198" dirty="0">
                <a:solidFill>
                  <a:schemeClr val="tx1"/>
                </a:solidFill>
                <a:latin typeface="Calibri" panose="020F0502020204030204" pitchFamily="34" charset="0"/>
                <a:cs typeface="Calibri" panose="020F0502020204030204" pitchFamily="34" charset="0"/>
              </a:rPr>
              <a:t>approfondimenti, scenari</a:t>
            </a:r>
          </a:p>
          <a:p>
            <a:pPr algn="r"/>
            <a:r>
              <a:rPr lang="it-IT" sz="3198" dirty="0">
                <a:solidFill>
                  <a:schemeClr val="tx1"/>
                </a:solidFill>
                <a:latin typeface="Calibri" panose="020F0502020204030204" pitchFamily="34" charset="0"/>
                <a:cs typeface="Calibri" panose="020F0502020204030204" pitchFamily="34" charset="0"/>
              </a:rPr>
              <a:t>e soluzioni</a:t>
            </a:r>
            <a:endParaRPr lang="en-US" sz="3198" dirty="0">
              <a:solidFill>
                <a:schemeClr val="tx1"/>
              </a:solidFill>
              <a:latin typeface="Calibri" panose="020F0502020204030204" pitchFamily="34" charset="0"/>
              <a:cs typeface="Calibri" panose="020F0502020204030204" pitchFamily="34" charset="0"/>
            </a:endParaRPr>
          </a:p>
        </p:txBody>
      </p:sp>
      <p:sp>
        <p:nvSpPr>
          <p:cNvPr id="12" name="Title 11"/>
          <p:cNvSpPr txBox="1">
            <a:spLocks/>
          </p:cNvSpPr>
          <p:nvPr/>
        </p:nvSpPr>
        <p:spPr>
          <a:xfrm>
            <a:off x="7679013" y="6258533"/>
            <a:ext cx="4401292" cy="48283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3998" b="1" kern="1200">
                <a:solidFill>
                  <a:srgbClr val="333333"/>
                </a:solidFill>
                <a:latin typeface="+mn-lt"/>
                <a:ea typeface="+mj-ea"/>
                <a:cs typeface="Arial" pitchFamily="34" charset="0"/>
              </a:defRPr>
            </a:lvl1pPr>
          </a:lstStyle>
          <a:p>
            <a:pPr algn="r"/>
            <a:r>
              <a:rPr lang="it-IT" sz="3198" b="0" i="1" dirty="0">
                <a:solidFill>
                  <a:schemeClr val="tx1"/>
                </a:solidFill>
                <a:latin typeface="Calibri" panose="020F0502020204030204" pitchFamily="34" charset="0"/>
                <a:cs typeface="Calibri" panose="020F0502020204030204" pitchFamily="34" charset="0"/>
              </a:rPr>
              <a:t>CNEL 25 febbraio 2019</a:t>
            </a:r>
            <a:endParaRPr lang="en-US" sz="3198" b="0" i="1" dirty="0">
              <a:solidFill>
                <a:schemeClr val="tx1"/>
              </a:solidFill>
              <a:latin typeface="Calibri" panose="020F0502020204030204" pitchFamily="34" charset="0"/>
              <a:cs typeface="Calibri" panose="020F0502020204030204" pitchFamily="34" charset="0"/>
            </a:endParaRPr>
          </a:p>
        </p:txBody>
      </p:sp>
      <p:pic>
        <p:nvPicPr>
          <p:cNvPr id="17" name="Picture 2" descr="Risultati immagini per logo inp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74175" y="173747"/>
            <a:ext cx="787875" cy="1095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2518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 name="Rectangle 379"/>
          <p:cNvSpPr/>
          <p:nvPr/>
        </p:nvSpPr>
        <p:spPr>
          <a:xfrm>
            <a:off x="268231" y="1692725"/>
            <a:ext cx="2593904" cy="4464000"/>
          </a:xfrm>
          <a:prstGeom prst="rect">
            <a:avLst/>
          </a:prstGeom>
          <a:solidFill>
            <a:schemeClr val="bg1"/>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spcBef>
                <a:spcPts val="600"/>
              </a:spcBef>
              <a:buAutoNum type="arabicPeriod"/>
            </a:pPr>
            <a:r>
              <a:rPr lang="it-IT" sz="1400" b="1" dirty="0">
                <a:solidFill>
                  <a:srgbClr val="646464"/>
                </a:solidFill>
              </a:rPr>
              <a:t>Maria Rossi va in INPS e viene identificata tramite network ESSN</a:t>
            </a:r>
          </a:p>
          <a:p>
            <a:pPr marL="176213" indent="-176213">
              <a:spcBef>
                <a:spcPts val="600"/>
              </a:spcBef>
              <a:buAutoNum type="arabicPeriod"/>
            </a:pPr>
            <a:r>
              <a:rPr lang="it-IT" sz="1400" b="1" dirty="0">
                <a:solidFill>
                  <a:srgbClr val="646464"/>
                </a:solidFill>
              </a:rPr>
              <a:t>Dopo il riconoscimento e a seguito della sua richiesta di distacco, il suo status di «lavoratrice distaccata in Polonia» viene aggiornato su tutti i nodi del network ESSN</a:t>
            </a:r>
          </a:p>
          <a:p>
            <a:pPr marL="176213" indent="-176213">
              <a:spcBef>
                <a:spcPts val="600"/>
              </a:spcBef>
              <a:buAutoNum type="arabicPeriod"/>
            </a:pPr>
            <a:r>
              <a:rPr lang="it-IT" sz="1400" b="1" dirty="0">
                <a:solidFill>
                  <a:srgbClr val="646464"/>
                </a:solidFill>
              </a:rPr>
              <a:t>La comunicazione con i dettagli sul distacco viene inviata tramite EESSI alla Polonia</a:t>
            </a:r>
          </a:p>
          <a:p>
            <a:pPr marL="176213" indent="-176213">
              <a:spcBef>
                <a:spcPts val="600"/>
              </a:spcBef>
              <a:buAutoNum type="arabicPeriod"/>
            </a:pPr>
            <a:r>
              <a:rPr lang="it-IT" sz="1400" b="1" dirty="0">
                <a:solidFill>
                  <a:srgbClr val="646464"/>
                </a:solidFill>
              </a:rPr>
              <a:t>Maria Rossi va in ZUS e viene identificata tramite network ESSN</a:t>
            </a:r>
          </a:p>
          <a:p>
            <a:pPr marL="176213" indent="-176213">
              <a:spcBef>
                <a:spcPts val="600"/>
              </a:spcBef>
              <a:buAutoNum type="arabicPeriod"/>
            </a:pPr>
            <a:r>
              <a:rPr lang="it-IT" sz="1400" b="1" dirty="0">
                <a:solidFill>
                  <a:srgbClr val="646464"/>
                </a:solidFill>
              </a:rPr>
              <a:t>Dopo il riconoscimento il sistema segnala che Maria è già distaccata</a:t>
            </a:r>
            <a:endParaRPr lang="it-IT" sz="1600" b="1" dirty="0">
              <a:solidFill>
                <a:srgbClr val="646464"/>
              </a:solidFill>
            </a:endParaRPr>
          </a:p>
        </p:txBody>
      </p:sp>
      <p:cxnSp>
        <p:nvCxnSpPr>
          <p:cNvPr id="1084" name="Straight Connector 1083"/>
          <p:cNvCxnSpPr>
            <a:stCxn id="1041" idx="1"/>
          </p:cNvCxnSpPr>
          <p:nvPr/>
        </p:nvCxnSpPr>
        <p:spPr>
          <a:xfrm>
            <a:off x="5778464" y="3073093"/>
            <a:ext cx="1557602" cy="643973"/>
          </a:xfrm>
          <a:prstGeom prst="line">
            <a:avLst/>
          </a:prstGeom>
          <a:noFill/>
          <a:ln w="6350" cap="flat" cmpd="sng" algn="ctr">
            <a:solidFill>
              <a:srgbClr val="898784"/>
            </a:solidFill>
            <a:prstDash val="solid"/>
            <a:miter lim="800000"/>
          </a:ln>
          <a:effectLst/>
        </p:spPr>
      </p:cxnSp>
      <p:cxnSp>
        <p:nvCxnSpPr>
          <p:cNvPr id="1076" name="Straight Connector 1075"/>
          <p:cNvCxnSpPr/>
          <p:nvPr/>
        </p:nvCxnSpPr>
        <p:spPr>
          <a:xfrm flipV="1">
            <a:off x="7537386" y="3212414"/>
            <a:ext cx="344305" cy="116346"/>
          </a:xfrm>
          <a:prstGeom prst="line">
            <a:avLst/>
          </a:prstGeom>
          <a:noFill/>
          <a:ln w="6350" cap="flat" cmpd="sng" algn="ctr">
            <a:solidFill>
              <a:srgbClr val="898784"/>
            </a:solidFill>
            <a:prstDash val="solid"/>
            <a:miter lim="800000"/>
          </a:ln>
          <a:effectLst/>
        </p:spPr>
      </p:cxnSp>
      <p:cxnSp>
        <p:nvCxnSpPr>
          <p:cNvPr id="1085" name="Straight Connector 1084"/>
          <p:cNvCxnSpPr/>
          <p:nvPr/>
        </p:nvCxnSpPr>
        <p:spPr>
          <a:xfrm flipV="1">
            <a:off x="5759239" y="3519173"/>
            <a:ext cx="857059" cy="411859"/>
          </a:xfrm>
          <a:prstGeom prst="line">
            <a:avLst/>
          </a:prstGeom>
          <a:noFill/>
          <a:ln w="6350" cap="flat" cmpd="sng" algn="ctr">
            <a:solidFill>
              <a:srgbClr val="898784"/>
            </a:solidFill>
            <a:prstDash val="solid"/>
            <a:miter lim="800000"/>
          </a:ln>
          <a:effectLst/>
        </p:spPr>
      </p:cxnSp>
      <p:cxnSp>
        <p:nvCxnSpPr>
          <p:cNvPr id="1110" name="Straight Connector 1109"/>
          <p:cNvCxnSpPr>
            <a:stCxn id="1095" idx="1"/>
          </p:cNvCxnSpPr>
          <p:nvPr/>
        </p:nvCxnSpPr>
        <p:spPr>
          <a:xfrm flipH="1" flipV="1">
            <a:off x="7287912" y="3558834"/>
            <a:ext cx="965916" cy="879481"/>
          </a:xfrm>
          <a:prstGeom prst="line">
            <a:avLst/>
          </a:prstGeom>
          <a:noFill/>
          <a:ln w="6350" cap="flat" cmpd="sng" algn="ctr">
            <a:solidFill>
              <a:srgbClr val="E7E6E6">
                <a:lumMod val="50000"/>
              </a:srgbClr>
            </a:solidFill>
            <a:prstDash val="solid"/>
            <a:miter lim="800000"/>
          </a:ln>
          <a:effectLst/>
        </p:spPr>
      </p:cxnSp>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8"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51" name="Rounded Rectangle 950"/>
          <p:cNvSpPr/>
          <p:nvPr/>
        </p:nvSpPr>
        <p:spPr>
          <a:xfrm>
            <a:off x="4125807" y="1958284"/>
            <a:ext cx="6492050" cy="4016193"/>
          </a:xfrm>
          <a:prstGeom prst="roundRect">
            <a:avLst>
              <a:gd name="adj" fmla="val 4105"/>
            </a:avLst>
          </a:prstGeom>
          <a:noFill/>
          <a:ln w="28575" cap="flat" cmpd="sng" algn="ctr">
            <a:solidFill>
              <a:srgbClr val="5B9BD5">
                <a:lumMod val="60000"/>
                <a:lumOff val="40000"/>
              </a:srgbClr>
            </a:solid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pic>
        <p:nvPicPr>
          <p:cNvPr id="952" name="Picture 9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65213" y="1709584"/>
            <a:ext cx="552709" cy="552709"/>
          </a:xfrm>
          <a:prstGeom prst="rect">
            <a:avLst/>
          </a:prstGeom>
        </p:spPr>
      </p:pic>
      <p:pic>
        <p:nvPicPr>
          <p:cNvPr id="953" name="Picture 9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34106" y="1668312"/>
            <a:ext cx="552709" cy="552709"/>
          </a:xfrm>
          <a:prstGeom prst="rect">
            <a:avLst/>
          </a:prstGeom>
        </p:spPr>
      </p:pic>
      <p:pic>
        <p:nvPicPr>
          <p:cNvPr id="954" name="Picture 9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34106" y="5714395"/>
            <a:ext cx="552709" cy="552709"/>
          </a:xfrm>
          <a:prstGeom prst="rect">
            <a:avLst/>
          </a:prstGeom>
        </p:spPr>
      </p:pic>
      <p:pic>
        <p:nvPicPr>
          <p:cNvPr id="955" name="Picture 9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65213" y="5714395"/>
            <a:ext cx="552709" cy="552709"/>
          </a:xfrm>
          <a:prstGeom prst="rect">
            <a:avLst/>
          </a:prstGeom>
        </p:spPr>
      </p:pic>
      <p:grpSp>
        <p:nvGrpSpPr>
          <p:cNvPr id="956" name="Group 955"/>
          <p:cNvGrpSpPr/>
          <p:nvPr/>
        </p:nvGrpSpPr>
        <p:grpSpPr>
          <a:xfrm>
            <a:off x="2845057" y="5842099"/>
            <a:ext cx="797191" cy="354948"/>
            <a:chOff x="1072692" y="5911852"/>
            <a:chExt cx="797191" cy="354948"/>
          </a:xfrm>
        </p:grpSpPr>
        <p:sp>
          <p:nvSpPr>
            <p:cNvPr id="957" name="Rectangle 956"/>
            <p:cNvSpPr/>
            <p:nvPr/>
          </p:nvSpPr>
          <p:spPr>
            <a:xfrm>
              <a:off x="1072692" y="5911852"/>
              <a:ext cx="797191" cy="354948"/>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958" name="Group 957"/>
            <p:cNvGrpSpPr/>
            <p:nvPr/>
          </p:nvGrpSpPr>
          <p:grpSpPr>
            <a:xfrm>
              <a:off x="1125029" y="5937244"/>
              <a:ext cx="687046" cy="296945"/>
              <a:chOff x="771124" y="5147377"/>
              <a:chExt cx="1106493" cy="478233"/>
            </a:xfrm>
          </p:grpSpPr>
          <p:grpSp>
            <p:nvGrpSpPr>
              <p:cNvPr id="959" name="Group 9708"/>
              <p:cNvGrpSpPr>
                <a:grpSpLocks noChangeAspect="1"/>
              </p:cNvGrpSpPr>
              <p:nvPr/>
            </p:nvGrpSpPr>
            <p:grpSpPr bwMode="auto">
              <a:xfrm>
                <a:off x="771124" y="5147377"/>
                <a:ext cx="310964" cy="478233"/>
                <a:chOff x="5135530" y="4046934"/>
                <a:chExt cx="439689" cy="676275"/>
              </a:xfrm>
            </p:grpSpPr>
            <p:sp>
              <p:nvSpPr>
                <p:cNvPr id="961"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2"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3"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4"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5"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6"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7"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8"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69"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0"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1"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2"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3"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4"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5"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76"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960" name="Rectangle 959"/>
              <p:cNvSpPr/>
              <p:nvPr/>
            </p:nvSpPr>
            <p:spPr>
              <a:xfrm>
                <a:off x="1148814" y="5233818"/>
                <a:ext cx="728803"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a:t>
                </a:r>
              </a:p>
            </p:txBody>
          </p:sp>
        </p:grpSp>
      </p:grpSp>
      <p:grpSp>
        <p:nvGrpSpPr>
          <p:cNvPr id="977" name="Group 976"/>
          <p:cNvGrpSpPr/>
          <p:nvPr/>
        </p:nvGrpSpPr>
        <p:grpSpPr>
          <a:xfrm>
            <a:off x="2845057" y="1730142"/>
            <a:ext cx="797191" cy="354948"/>
            <a:chOff x="1072692" y="5911852"/>
            <a:chExt cx="797191" cy="354948"/>
          </a:xfrm>
        </p:grpSpPr>
        <p:sp>
          <p:nvSpPr>
            <p:cNvPr id="978" name="Rectangle 977"/>
            <p:cNvSpPr/>
            <p:nvPr/>
          </p:nvSpPr>
          <p:spPr>
            <a:xfrm>
              <a:off x="1072692" y="5911852"/>
              <a:ext cx="797191" cy="354948"/>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979" name="Group 978"/>
            <p:cNvGrpSpPr/>
            <p:nvPr/>
          </p:nvGrpSpPr>
          <p:grpSpPr>
            <a:xfrm>
              <a:off x="1125029" y="5937244"/>
              <a:ext cx="687046" cy="296945"/>
              <a:chOff x="771124" y="5147377"/>
              <a:chExt cx="1106493" cy="478233"/>
            </a:xfrm>
          </p:grpSpPr>
          <p:grpSp>
            <p:nvGrpSpPr>
              <p:cNvPr id="980" name="Group 9708"/>
              <p:cNvGrpSpPr>
                <a:grpSpLocks noChangeAspect="1"/>
              </p:cNvGrpSpPr>
              <p:nvPr/>
            </p:nvGrpSpPr>
            <p:grpSpPr bwMode="auto">
              <a:xfrm>
                <a:off x="771124" y="5147377"/>
                <a:ext cx="310964" cy="478233"/>
                <a:chOff x="5135530" y="4046934"/>
                <a:chExt cx="439689" cy="676275"/>
              </a:xfrm>
            </p:grpSpPr>
            <p:sp>
              <p:nvSpPr>
                <p:cNvPr id="982"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3"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4"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5"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6"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7"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8"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89"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0"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1"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2"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3"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4"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5"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6"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997"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981" name="Rectangle 980"/>
              <p:cNvSpPr/>
              <p:nvPr/>
            </p:nvSpPr>
            <p:spPr>
              <a:xfrm>
                <a:off x="1148814" y="5233818"/>
                <a:ext cx="728803"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a:t>
                </a:r>
              </a:p>
            </p:txBody>
          </p:sp>
        </p:grpSp>
      </p:grpSp>
      <p:grpSp>
        <p:nvGrpSpPr>
          <p:cNvPr id="998" name="Group 997"/>
          <p:cNvGrpSpPr/>
          <p:nvPr/>
        </p:nvGrpSpPr>
        <p:grpSpPr>
          <a:xfrm>
            <a:off x="11086289" y="1801920"/>
            <a:ext cx="797191" cy="354948"/>
            <a:chOff x="1072692" y="5911852"/>
            <a:chExt cx="797191" cy="354948"/>
          </a:xfrm>
        </p:grpSpPr>
        <p:sp>
          <p:nvSpPr>
            <p:cNvPr id="999" name="Rectangle 998"/>
            <p:cNvSpPr/>
            <p:nvPr/>
          </p:nvSpPr>
          <p:spPr>
            <a:xfrm>
              <a:off x="1072692" y="5911852"/>
              <a:ext cx="797191" cy="354948"/>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000" name="Group 999"/>
            <p:cNvGrpSpPr/>
            <p:nvPr/>
          </p:nvGrpSpPr>
          <p:grpSpPr>
            <a:xfrm>
              <a:off x="1125029" y="5937244"/>
              <a:ext cx="687046" cy="296945"/>
              <a:chOff x="771124" y="5147377"/>
              <a:chExt cx="1106493" cy="478233"/>
            </a:xfrm>
          </p:grpSpPr>
          <p:grpSp>
            <p:nvGrpSpPr>
              <p:cNvPr id="1001" name="Group 9708"/>
              <p:cNvGrpSpPr>
                <a:grpSpLocks noChangeAspect="1"/>
              </p:cNvGrpSpPr>
              <p:nvPr/>
            </p:nvGrpSpPr>
            <p:grpSpPr bwMode="auto">
              <a:xfrm>
                <a:off x="771124" y="5147377"/>
                <a:ext cx="310964" cy="478233"/>
                <a:chOff x="5135530" y="4046934"/>
                <a:chExt cx="439689" cy="676275"/>
              </a:xfrm>
            </p:grpSpPr>
            <p:sp>
              <p:nvSpPr>
                <p:cNvPr id="1003"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04"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05"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06"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07"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08"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09"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0"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1"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2"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3"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4"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5"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6"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7"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18"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002" name="Rectangle 1001"/>
              <p:cNvSpPr/>
              <p:nvPr/>
            </p:nvSpPr>
            <p:spPr>
              <a:xfrm>
                <a:off x="1148814" y="5233818"/>
                <a:ext cx="728803"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a:t>
                </a:r>
              </a:p>
            </p:txBody>
          </p:sp>
        </p:grpSp>
      </p:grpSp>
      <p:grpSp>
        <p:nvGrpSpPr>
          <p:cNvPr id="1019" name="Group 1018"/>
          <p:cNvGrpSpPr/>
          <p:nvPr/>
        </p:nvGrpSpPr>
        <p:grpSpPr>
          <a:xfrm>
            <a:off x="11086289" y="5842099"/>
            <a:ext cx="797191" cy="354948"/>
            <a:chOff x="1072692" y="5911852"/>
            <a:chExt cx="797191" cy="354948"/>
          </a:xfrm>
        </p:grpSpPr>
        <p:sp>
          <p:nvSpPr>
            <p:cNvPr id="1020" name="Rectangle 1019"/>
            <p:cNvSpPr/>
            <p:nvPr/>
          </p:nvSpPr>
          <p:spPr>
            <a:xfrm>
              <a:off x="1072692" y="5911852"/>
              <a:ext cx="797191" cy="354948"/>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021" name="Group 1020"/>
            <p:cNvGrpSpPr/>
            <p:nvPr/>
          </p:nvGrpSpPr>
          <p:grpSpPr>
            <a:xfrm>
              <a:off x="1125029" y="5937244"/>
              <a:ext cx="687046" cy="296945"/>
              <a:chOff x="771124" y="5147377"/>
              <a:chExt cx="1106493" cy="478233"/>
            </a:xfrm>
          </p:grpSpPr>
          <p:grpSp>
            <p:nvGrpSpPr>
              <p:cNvPr id="1022" name="Group 9708"/>
              <p:cNvGrpSpPr>
                <a:grpSpLocks noChangeAspect="1"/>
              </p:cNvGrpSpPr>
              <p:nvPr/>
            </p:nvGrpSpPr>
            <p:grpSpPr bwMode="auto">
              <a:xfrm>
                <a:off x="771124" y="5147377"/>
                <a:ext cx="310964" cy="478233"/>
                <a:chOff x="5135530" y="4046934"/>
                <a:chExt cx="439689" cy="676275"/>
              </a:xfrm>
            </p:grpSpPr>
            <p:sp>
              <p:nvSpPr>
                <p:cNvPr id="1024"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25"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26"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27"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28"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29"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0"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1"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2"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3"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4"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5"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6"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7"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8"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039"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023" name="Rectangle 1022"/>
              <p:cNvSpPr/>
              <p:nvPr/>
            </p:nvSpPr>
            <p:spPr>
              <a:xfrm>
                <a:off x="1148814" y="5233818"/>
                <a:ext cx="728803"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a:t>
                </a:r>
              </a:p>
            </p:txBody>
          </p:sp>
        </p:grpSp>
      </p:grpSp>
      <p:sp>
        <p:nvSpPr>
          <p:cNvPr id="1040" name="Cloud 1039"/>
          <p:cNvSpPr/>
          <p:nvPr/>
        </p:nvSpPr>
        <p:spPr>
          <a:xfrm>
            <a:off x="6106206" y="3013829"/>
            <a:ext cx="1521467" cy="831161"/>
          </a:xfrm>
          <a:prstGeom prst="cloud">
            <a:avLst/>
          </a:prstGeom>
          <a:pattFill prst="wdUpDiag">
            <a:fgClr>
              <a:srgbClr val="5B9BD5">
                <a:lumMod val="20000"/>
                <a:lumOff val="80000"/>
              </a:srgbClr>
            </a:fgClr>
            <a:bgClr>
              <a:sysClr val="window" lastClr="FFFFFF"/>
            </a:bgClr>
          </a:pattFill>
          <a:ln w="12700" cap="flat" cmpd="sng" algn="ctr">
            <a:solidFill>
              <a:srgbClr val="5B9BD5">
                <a:lumMod val="75000"/>
              </a:srgbClr>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400" b="1" i="0" u="none" strike="noStrike" kern="0" cap="none" spc="0" normalizeH="0" baseline="0" noProof="0" dirty="0">
                <a:ln>
                  <a:noFill/>
                </a:ln>
                <a:solidFill>
                  <a:prstClr val="black"/>
                </a:solidFill>
                <a:effectLst/>
                <a:uLnTx/>
                <a:uFillTx/>
                <a:latin typeface="Calibri" panose="020F0502020204030204"/>
                <a:ea typeface="+mn-ea"/>
                <a:cs typeface="+mn-cs"/>
              </a:rPr>
              <a:t>EESSI</a:t>
            </a:r>
          </a:p>
        </p:txBody>
      </p:sp>
      <p:sp>
        <p:nvSpPr>
          <p:cNvPr id="1041" name="Freeform 1040"/>
          <p:cNvSpPr/>
          <p:nvPr/>
        </p:nvSpPr>
        <p:spPr>
          <a:xfrm>
            <a:off x="3856261" y="1751998"/>
            <a:ext cx="1995927" cy="1640715"/>
          </a:xfrm>
          <a:custGeom>
            <a:avLst/>
            <a:gdLst>
              <a:gd name="connsiteX0" fmla="*/ 0 w 1367587"/>
              <a:gd name="connsiteY0" fmla="*/ 1937857 h 1937857"/>
              <a:gd name="connsiteX1" fmla="*/ 1317072 w 1367587"/>
              <a:gd name="connsiteY1" fmla="*/ 1560352 h 1937857"/>
              <a:gd name="connsiteX2" fmla="*/ 1115736 w 1367587"/>
              <a:gd name="connsiteY2" fmla="*/ 0 h 1937857"/>
              <a:gd name="connsiteX3" fmla="*/ 1115736 w 1367587"/>
              <a:gd name="connsiteY3" fmla="*/ 0 h 1937857"/>
            </a:gdLst>
            <a:ahLst/>
            <a:cxnLst>
              <a:cxn ang="0">
                <a:pos x="connsiteX0" y="connsiteY0"/>
              </a:cxn>
              <a:cxn ang="0">
                <a:pos x="connsiteX1" y="connsiteY1"/>
              </a:cxn>
              <a:cxn ang="0">
                <a:pos x="connsiteX2" y="connsiteY2"/>
              </a:cxn>
              <a:cxn ang="0">
                <a:pos x="connsiteX3" y="connsiteY3"/>
              </a:cxn>
            </a:cxnLst>
            <a:rect l="l" t="t" r="r" b="b"/>
            <a:pathLst>
              <a:path w="1367587" h="1937857">
                <a:moveTo>
                  <a:pt x="0" y="1937857"/>
                </a:moveTo>
                <a:cubicBezTo>
                  <a:pt x="565558" y="1910592"/>
                  <a:pt x="1131116" y="1883328"/>
                  <a:pt x="1317072" y="1560352"/>
                </a:cubicBezTo>
                <a:cubicBezTo>
                  <a:pt x="1503028" y="1237376"/>
                  <a:pt x="1115736" y="0"/>
                  <a:pt x="1115736" y="0"/>
                </a:cubicBezTo>
                <a:lnTo>
                  <a:pt x="1115736" y="0"/>
                </a:lnTo>
              </a:path>
            </a:pathLst>
          </a:custGeom>
          <a:noFill/>
          <a:ln w="12700" cap="flat" cmpd="sng" algn="ctr">
            <a:solidFill>
              <a:srgbClr val="E7E6E6">
                <a:lumMod val="7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52" name="Freeform 1051"/>
          <p:cNvSpPr/>
          <p:nvPr/>
        </p:nvSpPr>
        <p:spPr>
          <a:xfrm flipV="1">
            <a:off x="3863752" y="3803108"/>
            <a:ext cx="2636344" cy="2359105"/>
          </a:xfrm>
          <a:custGeom>
            <a:avLst/>
            <a:gdLst>
              <a:gd name="connsiteX0" fmla="*/ 0 w 1367587"/>
              <a:gd name="connsiteY0" fmla="*/ 1937857 h 1937857"/>
              <a:gd name="connsiteX1" fmla="*/ 1317072 w 1367587"/>
              <a:gd name="connsiteY1" fmla="*/ 1560352 h 1937857"/>
              <a:gd name="connsiteX2" fmla="*/ 1115736 w 1367587"/>
              <a:gd name="connsiteY2" fmla="*/ 0 h 1937857"/>
              <a:gd name="connsiteX3" fmla="*/ 1115736 w 1367587"/>
              <a:gd name="connsiteY3" fmla="*/ 0 h 1937857"/>
            </a:gdLst>
            <a:ahLst/>
            <a:cxnLst>
              <a:cxn ang="0">
                <a:pos x="connsiteX0" y="connsiteY0"/>
              </a:cxn>
              <a:cxn ang="0">
                <a:pos x="connsiteX1" y="connsiteY1"/>
              </a:cxn>
              <a:cxn ang="0">
                <a:pos x="connsiteX2" y="connsiteY2"/>
              </a:cxn>
              <a:cxn ang="0">
                <a:pos x="connsiteX3" y="connsiteY3"/>
              </a:cxn>
            </a:cxnLst>
            <a:rect l="l" t="t" r="r" b="b"/>
            <a:pathLst>
              <a:path w="1367587" h="1937857">
                <a:moveTo>
                  <a:pt x="0" y="1937857"/>
                </a:moveTo>
                <a:cubicBezTo>
                  <a:pt x="565558" y="1910592"/>
                  <a:pt x="1131116" y="1883328"/>
                  <a:pt x="1317072" y="1560352"/>
                </a:cubicBezTo>
                <a:cubicBezTo>
                  <a:pt x="1503028" y="1237376"/>
                  <a:pt x="1115736" y="0"/>
                  <a:pt x="1115736" y="0"/>
                </a:cubicBezTo>
                <a:lnTo>
                  <a:pt x="1115736" y="0"/>
                </a:lnTo>
              </a:path>
            </a:pathLst>
          </a:custGeom>
          <a:noFill/>
          <a:ln w="12700" cap="flat" cmpd="sng" algn="ctr">
            <a:solidFill>
              <a:srgbClr val="E7E6E6">
                <a:lumMod val="7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64" name="Rectangle 1063"/>
          <p:cNvSpPr/>
          <p:nvPr/>
        </p:nvSpPr>
        <p:spPr>
          <a:xfrm>
            <a:off x="4224671" y="2636430"/>
            <a:ext cx="1673614"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b="1" kern="0" dirty="0">
                <a:solidFill>
                  <a:prstClr val="black"/>
                </a:solidFill>
                <a:latin typeface="Calibri" panose="020F0502020204030204"/>
              </a:rPr>
              <a:t>SPAGNA - INSS</a:t>
            </a: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065" name="Rectangle 1064"/>
          <p:cNvSpPr/>
          <p:nvPr/>
        </p:nvSpPr>
        <p:spPr>
          <a:xfrm>
            <a:off x="4224671" y="4570546"/>
            <a:ext cx="1673614"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0" u="none" strike="noStrike" kern="0" cap="none" spc="0" normalizeH="0" baseline="0" noProof="0" dirty="0">
                <a:ln>
                  <a:noFill/>
                </a:ln>
                <a:solidFill>
                  <a:prstClr val="black"/>
                </a:solidFill>
                <a:effectLst/>
                <a:uLnTx/>
                <a:uFillTx/>
                <a:latin typeface="Calibri" panose="020F0502020204030204"/>
                <a:ea typeface="+mn-ea"/>
                <a:cs typeface="+mn-cs"/>
              </a:rPr>
              <a:t>ITALIA - INPS</a:t>
            </a:r>
          </a:p>
        </p:txBody>
      </p:sp>
      <p:sp>
        <p:nvSpPr>
          <p:cNvPr id="1073" name="Freeform 1072"/>
          <p:cNvSpPr/>
          <p:nvPr/>
        </p:nvSpPr>
        <p:spPr>
          <a:xfrm rot="5158080">
            <a:off x="8054097" y="1161164"/>
            <a:ext cx="1982949" cy="2886539"/>
          </a:xfrm>
          <a:custGeom>
            <a:avLst/>
            <a:gdLst>
              <a:gd name="connsiteX0" fmla="*/ 0 w 1367587"/>
              <a:gd name="connsiteY0" fmla="*/ 1937857 h 1937857"/>
              <a:gd name="connsiteX1" fmla="*/ 1317072 w 1367587"/>
              <a:gd name="connsiteY1" fmla="*/ 1560352 h 1937857"/>
              <a:gd name="connsiteX2" fmla="*/ 1115736 w 1367587"/>
              <a:gd name="connsiteY2" fmla="*/ 0 h 1937857"/>
              <a:gd name="connsiteX3" fmla="*/ 1115736 w 1367587"/>
              <a:gd name="connsiteY3" fmla="*/ 0 h 1937857"/>
            </a:gdLst>
            <a:ahLst/>
            <a:cxnLst>
              <a:cxn ang="0">
                <a:pos x="connsiteX0" y="connsiteY0"/>
              </a:cxn>
              <a:cxn ang="0">
                <a:pos x="connsiteX1" y="connsiteY1"/>
              </a:cxn>
              <a:cxn ang="0">
                <a:pos x="connsiteX2" y="connsiteY2"/>
              </a:cxn>
              <a:cxn ang="0">
                <a:pos x="connsiteX3" y="connsiteY3"/>
              </a:cxn>
            </a:cxnLst>
            <a:rect l="l" t="t" r="r" b="b"/>
            <a:pathLst>
              <a:path w="1367587" h="1937857">
                <a:moveTo>
                  <a:pt x="0" y="1937857"/>
                </a:moveTo>
                <a:cubicBezTo>
                  <a:pt x="565558" y="1910592"/>
                  <a:pt x="1131116" y="1883328"/>
                  <a:pt x="1317072" y="1560352"/>
                </a:cubicBezTo>
                <a:cubicBezTo>
                  <a:pt x="1503028" y="1237376"/>
                  <a:pt x="1115736" y="0"/>
                  <a:pt x="1115736" y="0"/>
                </a:cubicBezTo>
                <a:lnTo>
                  <a:pt x="1115736" y="0"/>
                </a:lnTo>
              </a:path>
            </a:pathLst>
          </a:custGeom>
          <a:noFill/>
          <a:ln w="12700" cap="flat" cmpd="sng" algn="ctr">
            <a:solidFill>
              <a:srgbClr val="E7E6E6">
                <a:lumMod val="7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86" name="Rectangle 1085"/>
          <p:cNvSpPr/>
          <p:nvPr/>
        </p:nvSpPr>
        <p:spPr>
          <a:xfrm>
            <a:off x="8245146" y="2636430"/>
            <a:ext cx="1673614"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0" u="none" strike="noStrike" kern="0" cap="none" spc="0" normalizeH="0" baseline="0" noProof="0" dirty="0">
                <a:ln>
                  <a:noFill/>
                </a:ln>
                <a:solidFill>
                  <a:prstClr val="black"/>
                </a:solidFill>
                <a:effectLst/>
                <a:uLnTx/>
                <a:uFillTx/>
                <a:latin typeface="Calibri" panose="020F0502020204030204"/>
                <a:ea typeface="+mn-ea"/>
                <a:cs typeface="+mn-cs"/>
              </a:rPr>
              <a:t>POLONIA - ZUS</a:t>
            </a:r>
          </a:p>
        </p:txBody>
      </p:sp>
      <p:sp>
        <p:nvSpPr>
          <p:cNvPr id="1095" name="Freeform 1094"/>
          <p:cNvSpPr/>
          <p:nvPr/>
        </p:nvSpPr>
        <p:spPr>
          <a:xfrm flipH="1" flipV="1">
            <a:off x="8157073" y="4041356"/>
            <a:ext cx="2619447" cy="2037722"/>
          </a:xfrm>
          <a:custGeom>
            <a:avLst/>
            <a:gdLst>
              <a:gd name="connsiteX0" fmla="*/ 0 w 1367587"/>
              <a:gd name="connsiteY0" fmla="*/ 1937857 h 1937857"/>
              <a:gd name="connsiteX1" fmla="*/ 1317072 w 1367587"/>
              <a:gd name="connsiteY1" fmla="*/ 1560352 h 1937857"/>
              <a:gd name="connsiteX2" fmla="*/ 1115736 w 1367587"/>
              <a:gd name="connsiteY2" fmla="*/ 0 h 1937857"/>
              <a:gd name="connsiteX3" fmla="*/ 1115736 w 1367587"/>
              <a:gd name="connsiteY3" fmla="*/ 0 h 1937857"/>
            </a:gdLst>
            <a:ahLst/>
            <a:cxnLst>
              <a:cxn ang="0">
                <a:pos x="connsiteX0" y="connsiteY0"/>
              </a:cxn>
              <a:cxn ang="0">
                <a:pos x="connsiteX1" y="connsiteY1"/>
              </a:cxn>
              <a:cxn ang="0">
                <a:pos x="connsiteX2" y="connsiteY2"/>
              </a:cxn>
              <a:cxn ang="0">
                <a:pos x="connsiteX3" y="connsiteY3"/>
              </a:cxn>
            </a:cxnLst>
            <a:rect l="l" t="t" r="r" b="b"/>
            <a:pathLst>
              <a:path w="1367587" h="1937857">
                <a:moveTo>
                  <a:pt x="0" y="1937857"/>
                </a:moveTo>
                <a:cubicBezTo>
                  <a:pt x="565558" y="1910592"/>
                  <a:pt x="1131116" y="1883328"/>
                  <a:pt x="1317072" y="1560352"/>
                </a:cubicBezTo>
                <a:cubicBezTo>
                  <a:pt x="1503028" y="1237376"/>
                  <a:pt x="1115736" y="0"/>
                  <a:pt x="1115736" y="0"/>
                </a:cubicBezTo>
                <a:lnTo>
                  <a:pt x="1115736" y="0"/>
                </a:lnTo>
              </a:path>
            </a:pathLst>
          </a:custGeom>
          <a:noFill/>
          <a:ln w="12700" cap="flat" cmpd="sng" algn="ctr">
            <a:solidFill>
              <a:srgbClr val="E7E6E6">
                <a:lumMod val="7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07" name="Rectangle 1106"/>
          <p:cNvSpPr/>
          <p:nvPr/>
        </p:nvSpPr>
        <p:spPr>
          <a:xfrm>
            <a:off x="8245146" y="4570546"/>
            <a:ext cx="1840975"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0" u="none" strike="noStrike" kern="0" cap="none" spc="0" normalizeH="0" baseline="0" noProof="0" dirty="0">
                <a:ln>
                  <a:noFill/>
                </a:ln>
                <a:solidFill>
                  <a:prstClr val="black"/>
                </a:solidFill>
                <a:effectLst/>
                <a:uLnTx/>
                <a:uFillTx/>
                <a:latin typeface="Calibri" panose="020F0502020204030204"/>
                <a:ea typeface="+mn-ea"/>
                <a:cs typeface="+mn-cs"/>
              </a:rPr>
              <a:t>OLANDA - SVB</a:t>
            </a:r>
          </a:p>
        </p:txBody>
      </p:sp>
      <p:grpSp>
        <p:nvGrpSpPr>
          <p:cNvPr id="1111" name="Group 1110"/>
          <p:cNvGrpSpPr/>
          <p:nvPr/>
        </p:nvGrpSpPr>
        <p:grpSpPr>
          <a:xfrm>
            <a:off x="4746293" y="4608181"/>
            <a:ext cx="343175" cy="296945"/>
            <a:chOff x="771124" y="5147377"/>
            <a:chExt cx="552686" cy="478233"/>
          </a:xfrm>
        </p:grpSpPr>
        <p:grpSp>
          <p:nvGrpSpPr>
            <p:cNvPr id="1112" name="Group 9708"/>
            <p:cNvGrpSpPr>
              <a:grpSpLocks noChangeAspect="1"/>
            </p:cNvGrpSpPr>
            <p:nvPr/>
          </p:nvGrpSpPr>
          <p:grpSpPr bwMode="auto">
            <a:xfrm>
              <a:off x="771124" y="5147377"/>
              <a:ext cx="310964" cy="478233"/>
              <a:chOff x="5135530" y="4046934"/>
              <a:chExt cx="439689" cy="676275"/>
            </a:xfrm>
          </p:grpSpPr>
          <p:sp>
            <p:nvSpPr>
              <p:cNvPr id="1114"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15"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16"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17"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18"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19"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0"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1"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2"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3"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4"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5"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6"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7"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8"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29"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113" name="Rectangle 1112"/>
            <p:cNvSpPr/>
            <p:nvPr/>
          </p:nvSpPr>
          <p:spPr>
            <a:xfrm>
              <a:off x="1052011" y="5218443"/>
              <a:ext cx="271799"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000" b="1" i="0" u="none" strike="noStrike" kern="0" cap="none" spc="0" normalizeH="0" baseline="0" noProof="0" dirty="0">
                  <a:ln>
                    <a:noFill/>
                  </a:ln>
                  <a:solidFill>
                    <a:prstClr val="black"/>
                  </a:solidFill>
                  <a:effectLst/>
                  <a:uLnTx/>
                  <a:uFillTx/>
                  <a:latin typeface="Calibri" panose="020F0502020204030204"/>
                  <a:ea typeface="+mn-ea"/>
                  <a:cs typeface="+mn-cs"/>
                </a:rPr>
                <a:t>?</a:t>
              </a:r>
            </a:p>
          </p:txBody>
        </p:sp>
      </p:grpSp>
      <p:grpSp>
        <p:nvGrpSpPr>
          <p:cNvPr id="1130" name="Group 1129"/>
          <p:cNvGrpSpPr/>
          <p:nvPr/>
        </p:nvGrpSpPr>
        <p:grpSpPr>
          <a:xfrm>
            <a:off x="4434713" y="5555724"/>
            <a:ext cx="797191" cy="354948"/>
            <a:chOff x="1072692" y="5911852"/>
            <a:chExt cx="797191" cy="354948"/>
          </a:xfrm>
        </p:grpSpPr>
        <p:sp>
          <p:nvSpPr>
            <p:cNvPr id="1131" name="Rectangle 1130"/>
            <p:cNvSpPr/>
            <p:nvPr/>
          </p:nvSpPr>
          <p:spPr>
            <a:xfrm>
              <a:off x="1072692" y="5911852"/>
              <a:ext cx="797191" cy="354948"/>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132" name="Group 1131"/>
            <p:cNvGrpSpPr/>
            <p:nvPr/>
          </p:nvGrpSpPr>
          <p:grpSpPr>
            <a:xfrm>
              <a:off x="1125029" y="5937244"/>
              <a:ext cx="687046" cy="296945"/>
              <a:chOff x="771124" y="5147377"/>
              <a:chExt cx="1106493" cy="478233"/>
            </a:xfrm>
          </p:grpSpPr>
          <p:grpSp>
            <p:nvGrpSpPr>
              <p:cNvPr id="1133" name="Group 9708"/>
              <p:cNvGrpSpPr>
                <a:grpSpLocks noChangeAspect="1"/>
              </p:cNvGrpSpPr>
              <p:nvPr/>
            </p:nvGrpSpPr>
            <p:grpSpPr bwMode="auto">
              <a:xfrm>
                <a:off x="771124" y="5147377"/>
                <a:ext cx="310964" cy="478233"/>
                <a:chOff x="5135530" y="4046934"/>
                <a:chExt cx="439689" cy="676275"/>
              </a:xfrm>
            </p:grpSpPr>
            <p:sp>
              <p:nvSpPr>
                <p:cNvPr id="1135"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36"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37"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38"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39"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0"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1"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2"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3"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4"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5"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6"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7"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8"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49"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50"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134" name="Rectangle 1133"/>
              <p:cNvSpPr/>
              <p:nvPr/>
            </p:nvSpPr>
            <p:spPr>
              <a:xfrm>
                <a:off x="1148814" y="5233818"/>
                <a:ext cx="728803"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a:t>
                </a:r>
              </a:p>
            </p:txBody>
          </p:sp>
        </p:grpSp>
      </p:grpSp>
      <p:grpSp>
        <p:nvGrpSpPr>
          <p:cNvPr id="1151" name="Group 1150"/>
          <p:cNvGrpSpPr/>
          <p:nvPr/>
        </p:nvGrpSpPr>
        <p:grpSpPr>
          <a:xfrm>
            <a:off x="4188270" y="4425423"/>
            <a:ext cx="1240379" cy="557859"/>
            <a:chOff x="1072692" y="5911851"/>
            <a:chExt cx="1240379" cy="557859"/>
          </a:xfrm>
        </p:grpSpPr>
        <p:sp>
          <p:nvSpPr>
            <p:cNvPr id="1152" name="Rectangle 1151"/>
            <p:cNvSpPr/>
            <p:nvPr/>
          </p:nvSpPr>
          <p:spPr>
            <a:xfrm>
              <a:off x="1072692" y="5911851"/>
              <a:ext cx="1202928" cy="557859"/>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153" name="Group 1152"/>
            <p:cNvGrpSpPr/>
            <p:nvPr/>
          </p:nvGrpSpPr>
          <p:grpSpPr>
            <a:xfrm>
              <a:off x="1125029" y="5937242"/>
              <a:ext cx="1188042" cy="413899"/>
              <a:chOff x="771124" y="5147377"/>
              <a:chExt cx="1913351" cy="666589"/>
            </a:xfrm>
          </p:grpSpPr>
          <p:grpSp>
            <p:nvGrpSpPr>
              <p:cNvPr id="1154" name="Group 9708"/>
              <p:cNvGrpSpPr>
                <a:grpSpLocks noChangeAspect="1"/>
              </p:cNvGrpSpPr>
              <p:nvPr/>
            </p:nvGrpSpPr>
            <p:grpSpPr bwMode="auto">
              <a:xfrm>
                <a:off x="771124" y="5147377"/>
                <a:ext cx="310964" cy="478233"/>
                <a:chOff x="5135530" y="4046934"/>
                <a:chExt cx="439689" cy="676275"/>
              </a:xfrm>
            </p:grpSpPr>
            <p:sp>
              <p:nvSpPr>
                <p:cNvPr id="1156"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57"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58"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59"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0"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1"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2"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3"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4"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5"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6"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7"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8"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69"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70"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71"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155" name="Rectangle 1154"/>
              <p:cNvSpPr/>
              <p:nvPr/>
            </p:nvSpPr>
            <p:spPr>
              <a:xfrm>
                <a:off x="1119061" y="5233820"/>
                <a:ext cx="1565414" cy="580146"/>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lvl="0">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a:t>
                </a:r>
                <a:r>
                  <a:rPr lang="it-IT" sz="1100" b="1" kern="0" dirty="0">
                    <a:solidFill>
                      <a:prstClr val="black"/>
                    </a:solidFill>
                  </a:rPr>
                  <a:t>: distaccata in PL</a:t>
                </a:r>
                <a:endPar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172" name="Group 1171"/>
          <p:cNvGrpSpPr/>
          <p:nvPr/>
        </p:nvGrpSpPr>
        <p:grpSpPr>
          <a:xfrm>
            <a:off x="2495600" y="1628800"/>
            <a:ext cx="1240379" cy="557859"/>
            <a:chOff x="1072692" y="5911851"/>
            <a:chExt cx="1240379" cy="557859"/>
          </a:xfrm>
        </p:grpSpPr>
        <p:sp>
          <p:nvSpPr>
            <p:cNvPr id="1173" name="Rectangle 1172"/>
            <p:cNvSpPr/>
            <p:nvPr/>
          </p:nvSpPr>
          <p:spPr>
            <a:xfrm>
              <a:off x="1072692" y="5911851"/>
              <a:ext cx="1202928" cy="557859"/>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174" name="Group 1173"/>
            <p:cNvGrpSpPr/>
            <p:nvPr/>
          </p:nvGrpSpPr>
          <p:grpSpPr>
            <a:xfrm>
              <a:off x="1125029" y="5937242"/>
              <a:ext cx="1188042" cy="413899"/>
              <a:chOff x="771124" y="5147377"/>
              <a:chExt cx="1913351" cy="666589"/>
            </a:xfrm>
          </p:grpSpPr>
          <p:grpSp>
            <p:nvGrpSpPr>
              <p:cNvPr id="1175" name="Group 9708"/>
              <p:cNvGrpSpPr>
                <a:grpSpLocks noChangeAspect="1"/>
              </p:cNvGrpSpPr>
              <p:nvPr/>
            </p:nvGrpSpPr>
            <p:grpSpPr bwMode="auto">
              <a:xfrm>
                <a:off x="771124" y="5147377"/>
                <a:ext cx="310964" cy="478233"/>
                <a:chOff x="5135530" y="4046934"/>
                <a:chExt cx="439689" cy="676275"/>
              </a:xfrm>
            </p:grpSpPr>
            <p:sp>
              <p:nvSpPr>
                <p:cNvPr id="1177"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78"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79"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0"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1"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2"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3"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4"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5"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6"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7"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8"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89"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90"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91"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92"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176" name="Rectangle 1175"/>
              <p:cNvSpPr/>
              <p:nvPr/>
            </p:nvSpPr>
            <p:spPr>
              <a:xfrm>
                <a:off x="1119061" y="5233820"/>
                <a:ext cx="1565414" cy="580146"/>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 distaccata in PL</a:t>
                </a:r>
              </a:p>
            </p:txBody>
          </p:sp>
        </p:grpSp>
      </p:grpSp>
      <p:grpSp>
        <p:nvGrpSpPr>
          <p:cNvPr id="1193" name="Group 1192"/>
          <p:cNvGrpSpPr/>
          <p:nvPr/>
        </p:nvGrpSpPr>
        <p:grpSpPr>
          <a:xfrm>
            <a:off x="10911523" y="1652812"/>
            <a:ext cx="1240379" cy="557859"/>
            <a:chOff x="1072692" y="5911851"/>
            <a:chExt cx="1240379" cy="557859"/>
          </a:xfrm>
        </p:grpSpPr>
        <p:sp>
          <p:nvSpPr>
            <p:cNvPr id="1194" name="Rectangle 1193"/>
            <p:cNvSpPr/>
            <p:nvPr/>
          </p:nvSpPr>
          <p:spPr>
            <a:xfrm>
              <a:off x="1072692" y="5911851"/>
              <a:ext cx="1202928" cy="557859"/>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195" name="Group 1194"/>
            <p:cNvGrpSpPr/>
            <p:nvPr/>
          </p:nvGrpSpPr>
          <p:grpSpPr>
            <a:xfrm>
              <a:off x="1125029" y="5937242"/>
              <a:ext cx="1188042" cy="413899"/>
              <a:chOff x="771124" y="5147377"/>
              <a:chExt cx="1913351" cy="666589"/>
            </a:xfrm>
          </p:grpSpPr>
          <p:grpSp>
            <p:nvGrpSpPr>
              <p:cNvPr id="1196" name="Group 9708"/>
              <p:cNvGrpSpPr>
                <a:grpSpLocks noChangeAspect="1"/>
              </p:cNvGrpSpPr>
              <p:nvPr/>
            </p:nvGrpSpPr>
            <p:grpSpPr bwMode="auto">
              <a:xfrm>
                <a:off x="771124" y="5147377"/>
                <a:ext cx="310964" cy="478233"/>
                <a:chOff x="5135530" y="4046934"/>
                <a:chExt cx="439689" cy="676275"/>
              </a:xfrm>
            </p:grpSpPr>
            <p:sp>
              <p:nvSpPr>
                <p:cNvPr id="1198"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199"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0"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1"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2"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3"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4"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5"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6"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7"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8"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09"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10"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11"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12"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13"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197" name="Rectangle 1196"/>
              <p:cNvSpPr/>
              <p:nvPr/>
            </p:nvSpPr>
            <p:spPr>
              <a:xfrm>
                <a:off x="1119061" y="5233820"/>
                <a:ext cx="1565414" cy="580146"/>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lvl="0">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 </a:t>
                </a:r>
                <a:r>
                  <a:rPr lang="it-IT" sz="1100" b="1" kern="0" dirty="0">
                    <a:solidFill>
                      <a:prstClr val="black"/>
                    </a:solidFill>
                  </a:rPr>
                  <a:t>distaccata in PL</a:t>
                </a:r>
                <a:endPar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14" name="Group 1213"/>
          <p:cNvGrpSpPr/>
          <p:nvPr/>
        </p:nvGrpSpPr>
        <p:grpSpPr>
          <a:xfrm>
            <a:off x="10917502" y="5679950"/>
            <a:ext cx="1231144" cy="557859"/>
            <a:chOff x="1072692" y="5911851"/>
            <a:chExt cx="1231144" cy="557859"/>
          </a:xfrm>
        </p:grpSpPr>
        <p:sp>
          <p:nvSpPr>
            <p:cNvPr id="1215" name="Rectangle 1214"/>
            <p:cNvSpPr/>
            <p:nvPr/>
          </p:nvSpPr>
          <p:spPr>
            <a:xfrm>
              <a:off x="1072692" y="5911851"/>
              <a:ext cx="1202928" cy="557859"/>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216" name="Group 1215"/>
            <p:cNvGrpSpPr/>
            <p:nvPr/>
          </p:nvGrpSpPr>
          <p:grpSpPr>
            <a:xfrm>
              <a:off x="1125029" y="5937242"/>
              <a:ext cx="1178807" cy="413899"/>
              <a:chOff x="771124" y="5147377"/>
              <a:chExt cx="1898477" cy="666589"/>
            </a:xfrm>
          </p:grpSpPr>
          <p:grpSp>
            <p:nvGrpSpPr>
              <p:cNvPr id="1217" name="Group 9708"/>
              <p:cNvGrpSpPr>
                <a:grpSpLocks noChangeAspect="1"/>
              </p:cNvGrpSpPr>
              <p:nvPr/>
            </p:nvGrpSpPr>
            <p:grpSpPr bwMode="auto">
              <a:xfrm>
                <a:off x="771124" y="5147377"/>
                <a:ext cx="310964" cy="478233"/>
                <a:chOff x="5135530" y="4046934"/>
                <a:chExt cx="439689" cy="676275"/>
              </a:xfrm>
            </p:grpSpPr>
            <p:sp>
              <p:nvSpPr>
                <p:cNvPr id="1219"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0"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1"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2"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3"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4"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5"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6"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7"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8"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29"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30"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31"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32"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33"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34"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218" name="Rectangle 1217"/>
              <p:cNvSpPr/>
              <p:nvPr/>
            </p:nvSpPr>
            <p:spPr>
              <a:xfrm>
                <a:off x="1104188" y="5233820"/>
                <a:ext cx="1565413" cy="580146"/>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lvl="0">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 </a:t>
                </a:r>
                <a:r>
                  <a:rPr lang="it-IT" sz="1100" b="1" kern="0" dirty="0">
                    <a:solidFill>
                      <a:prstClr val="black"/>
                    </a:solidFill>
                  </a:rPr>
                  <a:t>distaccata in PL</a:t>
                </a:r>
                <a:endPar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35" name="Group 1234"/>
          <p:cNvGrpSpPr/>
          <p:nvPr/>
        </p:nvGrpSpPr>
        <p:grpSpPr>
          <a:xfrm>
            <a:off x="9043531" y="2074954"/>
            <a:ext cx="343175" cy="296945"/>
            <a:chOff x="771124" y="5147377"/>
            <a:chExt cx="552686" cy="478233"/>
          </a:xfrm>
        </p:grpSpPr>
        <p:grpSp>
          <p:nvGrpSpPr>
            <p:cNvPr id="1236" name="Group 9708"/>
            <p:cNvGrpSpPr>
              <a:grpSpLocks noChangeAspect="1"/>
            </p:cNvGrpSpPr>
            <p:nvPr/>
          </p:nvGrpSpPr>
          <p:grpSpPr bwMode="auto">
            <a:xfrm>
              <a:off x="771124" y="5147377"/>
              <a:ext cx="310964" cy="478233"/>
              <a:chOff x="5135530" y="4046934"/>
              <a:chExt cx="439689" cy="676275"/>
            </a:xfrm>
          </p:grpSpPr>
          <p:sp>
            <p:nvSpPr>
              <p:cNvPr id="1238"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39"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0"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1"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2"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3"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4"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5"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6"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7"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8"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49"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50"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51"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52"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53"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237" name="Rectangle 1236"/>
            <p:cNvSpPr/>
            <p:nvPr/>
          </p:nvSpPr>
          <p:spPr>
            <a:xfrm>
              <a:off x="1052011" y="5218443"/>
              <a:ext cx="271799"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000" b="1" i="0" u="none" strike="noStrike" kern="0" cap="none" spc="0" normalizeH="0" baseline="0" noProof="0" dirty="0">
                  <a:ln>
                    <a:noFill/>
                  </a:ln>
                  <a:solidFill>
                    <a:prstClr val="black"/>
                  </a:solidFill>
                  <a:effectLst/>
                  <a:uLnTx/>
                  <a:uFillTx/>
                  <a:latin typeface="Calibri" panose="020F0502020204030204"/>
                  <a:ea typeface="+mn-ea"/>
                  <a:cs typeface="+mn-cs"/>
                </a:rPr>
                <a:t>?</a:t>
              </a:r>
            </a:p>
          </p:txBody>
        </p:sp>
      </p:grpSp>
      <p:grpSp>
        <p:nvGrpSpPr>
          <p:cNvPr id="1254" name="Group 1253"/>
          <p:cNvGrpSpPr/>
          <p:nvPr/>
        </p:nvGrpSpPr>
        <p:grpSpPr>
          <a:xfrm>
            <a:off x="10175140" y="4634887"/>
            <a:ext cx="1076227" cy="296945"/>
            <a:chOff x="771124" y="5147377"/>
            <a:chExt cx="1733272" cy="478233"/>
          </a:xfrm>
        </p:grpSpPr>
        <p:grpSp>
          <p:nvGrpSpPr>
            <p:cNvPr id="1255" name="Group 9708"/>
            <p:cNvGrpSpPr>
              <a:grpSpLocks noChangeAspect="1"/>
            </p:cNvGrpSpPr>
            <p:nvPr/>
          </p:nvGrpSpPr>
          <p:grpSpPr bwMode="auto">
            <a:xfrm>
              <a:off x="771124" y="5147377"/>
              <a:ext cx="310964" cy="478233"/>
              <a:chOff x="5135530" y="4046934"/>
              <a:chExt cx="439689" cy="676275"/>
            </a:xfrm>
          </p:grpSpPr>
          <p:sp>
            <p:nvSpPr>
              <p:cNvPr id="1257"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58"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59"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0"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1"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2"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3"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4"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5"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6"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7"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8"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69"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70"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71"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72"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256" name="Rectangle 1255"/>
            <p:cNvSpPr/>
            <p:nvPr/>
          </p:nvSpPr>
          <p:spPr>
            <a:xfrm>
              <a:off x="865083" y="5268391"/>
              <a:ext cx="1639313" cy="344870"/>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Nuov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richiesta distacco</a:t>
              </a:r>
            </a:p>
          </p:txBody>
        </p:sp>
      </p:grpSp>
      <p:grpSp>
        <p:nvGrpSpPr>
          <p:cNvPr id="1273" name="Group 1272"/>
          <p:cNvGrpSpPr/>
          <p:nvPr/>
        </p:nvGrpSpPr>
        <p:grpSpPr>
          <a:xfrm>
            <a:off x="10291374" y="5413674"/>
            <a:ext cx="1448921" cy="296945"/>
            <a:chOff x="771124" y="5147377"/>
            <a:chExt cx="2333499" cy="478233"/>
          </a:xfrm>
        </p:grpSpPr>
        <p:grpSp>
          <p:nvGrpSpPr>
            <p:cNvPr id="1274" name="Group 9708"/>
            <p:cNvGrpSpPr>
              <a:grpSpLocks noChangeAspect="1"/>
            </p:cNvGrpSpPr>
            <p:nvPr/>
          </p:nvGrpSpPr>
          <p:grpSpPr bwMode="auto">
            <a:xfrm>
              <a:off x="771124" y="5147377"/>
              <a:ext cx="310964" cy="478233"/>
              <a:chOff x="5135530" y="4046934"/>
              <a:chExt cx="439689" cy="676275"/>
            </a:xfrm>
          </p:grpSpPr>
          <p:sp>
            <p:nvSpPr>
              <p:cNvPr id="1276"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77"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78"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79"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0"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1"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2"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3"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4"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5"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6"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7"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8"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89"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90"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291"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275" name="Rectangle 1274"/>
            <p:cNvSpPr/>
            <p:nvPr/>
          </p:nvSpPr>
          <p:spPr>
            <a:xfrm>
              <a:off x="1014680" y="5218106"/>
              <a:ext cx="2089943" cy="33581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defRPr/>
              </a:pPr>
              <a:r>
                <a:rPr lang="it-IT" sz="1100" b="1" kern="0" dirty="0">
                  <a:solidFill>
                    <a:prstClr val="black"/>
                  </a:solidFill>
                </a:rPr>
                <a:t>Richiesta respinta poiché Maria è già distaccata</a:t>
              </a:r>
            </a:p>
          </p:txBody>
        </p:sp>
      </p:grpSp>
      <p:sp>
        <p:nvSpPr>
          <p:cNvPr id="1292" name="Rectangle 1291"/>
          <p:cNvSpPr/>
          <p:nvPr/>
        </p:nvSpPr>
        <p:spPr>
          <a:xfrm>
            <a:off x="2869515" y="5100087"/>
            <a:ext cx="1028546" cy="561161"/>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defRPr/>
            </a:pPr>
            <a:r>
              <a:rPr lang="it-IT" sz="1100" b="1" kern="0" dirty="0">
                <a:solidFill>
                  <a:prstClr val="black"/>
                </a:solidFill>
              </a:rPr>
              <a:t>Aggiornamento status su tutti i nodi</a:t>
            </a:r>
          </a:p>
        </p:txBody>
      </p:sp>
      <p:sp>
        <p:nvSpPr>
          <p:cNvPr id="1293" name="Rectangle 1292"/>
          <p:cNvSpPr/>
          <p:nvPr/>
        </p:nvSpPr>
        <p:spPr>
          <a:xfrm>
            <a:off x="3627294" y="4982495"/>
            <a:ext cx="1028546" cy="561161"/>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entificazione</a:t>
            </a:r>
          </a:p>
        </p:txBody>
      </p:sp>
      <p:sp>
        <p:nvSpPr>
          <p:cNvPr id="1294" name="Rectangle 1293"/>
          <p:cNvSpPr/>
          <p:nvPr/>
        </p:nvSpPr>
        <p:spPr>
          <a:xfrm>
            <a:off x="2941523" y="3911198"/>
            <a:ext cx="1028546" cy="561161"/>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Normale processo con EESSI</a:t>
            </a:r>
          </a:p>
        </p:txBody>
      </p:sp>
      <p:sp>
        <p:nvSpPr>
          <p:cNvPr id="1295" name="Rectangle 1294"/>
          <p:cNvSpPr/>
          <p:nvPr/>
        </p:nvSpPr>
        <p:spPr>
          <a:xfrm>
            <a:off x="11108736" y="4140501"/>
            <a:ext cx="1028546" cy="561161"/>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defRPr/>
            </a:pPr>
            <a:r>
              <a:rPr lang="it-IT" sz="1100" b="1" kern="0" dirty="0">
                <a:solidFill>
                  <a:prstClr val="black"/>
                </a:solidFill>
              </a:rPr>
              <a:t>Processo prevenzione delle frodi</a:t>
            </a:r>
          </a:p>
        </p:txBody>
      </p:sp>
      <p:sp>
        <p:nvSpPr>
          <p:cNvPr id="1296" name="Rectangle 1295"/>
          <p:cNvSpPr/>
          <p:nvPr/>
        </p:nvSpPr>
        <p:spPr>
          <a:xfrm>
            <a:off x="10632504" y="2373727"/>
            <a:ext cx="1028546" cy="561161"/>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defRPr/>
            </a:pPr>
            <a:r>
              <a:rPr lang="it-IT" sz="1100" b="1" kern="0" dirty="0">
                <a:solidFill>
                  <a:prstClr val="black"/>
                </a:solidFill>
              </a:rPr>
              <a:t>Identificazione</a:t>
            </a:r>
          </a:p>
        </p:txBody>
      </p:sp>
      <p:grpSp>
        <p:nvGrpSpPr>
          <p:cNvPr id="1297" name="Group 1296"/>
          <p:cNvGrpSpPr/>
          <p:nvPr/>
        </p:nvGrpSpPr>
        <p:grpSpPr>
          <a:xfrm>
            <a:off x="4433691" y="4472516"/>
            <a:ext cx="723387" cy="900700"/>
            <a:chOff x="55912" y="4001025"/>
            <a:chExt cx="723387" cy="900700"/>
          </a:xfrm>
        </p:grpSpPr>
        <p:pic>
          <p:nvPicPr>
            <p:cNvPr id="1298" name="Picture 1297"/>
            <p:cNvPicPr>
              <a:picLocks noChangeAspect="1"/>
            </p:cNvPicPr>
            <p:nvPr/>
          </p:nvPicPr>
          <p:blipFill rotWithShape="1">
            <a:blip r:embed="rId7"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050" t="3471" r="16213" b="4960"/>
            <a:stretch/>
          </p:blipFill>
          <p:spPr>
            <a:xfrm>
              <a:off x="291422" y="4001025"/>
              <a:ext cx="453007" cy="612397"/>
            </a:xfrm>
            <a:prstGeom prst="rect">
              <a:avLst/>
            </a:prstGeom>
            <a:solidFill>
              <a:sysClr val="window" lastClr="FFFFFF"/>
            </a:solidFill>
          </p:spPr>
        </p:pic>
        <p:sp>
          <p:nvSpPr>
            <p:cNvPr id="1299" name="Rectangle 1298"/>
            <p:cNvSpPr/>
            <p:nvPr/>
          </p:nvSpPr>
          <p:spPr>
            <a:xfrm>
              <a:off x="55912" y="4549231"/>
              <a:ext cx="723387" cy="35249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black"/>
                  </a:solidFill>
                  <a:effectLst/>
                  <a:uLnTx/>
                  <a:uFillTx/>
                  <a:latin typeface="Calibri" panose="020F0502020204030204"/>
                  <a:ea typeface="+mn-ea"/>
                  <a:cs typeface="+mn-cs"/>
                </a:rPr>
                <a:t>Comunicazione</a:t>
              </a:r>
              <a:r>
                <a:rPr kumimoji="0" lang="it-IT" sz="800" b="1" i="0" u="none" strike="noStrike" kern="0" cap="none" spc="0" normalizeH="0" noProof="0" dirty="0">
                  <a:ln>
                    <a:noFill/>
                  </a:ln>
                  <a:solidFill>
                    <a:prstClr val="black"/>
                  </a:solidFill>
                  <a:effectLst/>
                  <a:uLnTx/>
                  <a:uFillTx/>
                  <a:latin typeface="Calibri" panose="020F0502020204030204"/>
                  <a:ea typeface="+mn-ea"/>
                  <a:cs typeface="+mn-cs"/>
                </a:rPr>
                <a:t>  distacco</a:t>
              </a:r>
              <a:endParaRPr kumimoji="0" lang="it-IT" sz="8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00" name="Group 1299"/>
          <p:cNvGrpSpPr/>
          <p:nvPr/>
        </p:nvGrpSpPr>
        <p:grpSpPr>
          <a:xfrm>
            <a:off x="3118935" y="1745623"/>
            <a:ext cx="456785" cy="4131649"/>
            <a:chOff x="600859" y="1739179"/>
            <a:chExt cx="456785" cy="4131649"/>
          </a:xfrm>
        </p:grpSpPr>
        <p:pic>
          <p:nvPicPr>
            <p:cNvPr id="1301" name="Picture 1300"/>
            <p:cNvPicPr>
              <a:picLocks noChangeAspect="1"/>
            </p:cNvPicPr>
            <p:nvPr/>
          </p:nvPicPr>
          <p:blipFill>
            <a:blip r:embed="rId8" cstate="print">
              <a:duotone>
                <a:srgbClr val="FFC000">
                  <a:shade val="45000"/>
                  <a:satMod val="135000"/>
                </a:srgbClr>
                <a:prstClr val="white"/>
              </a:duotone>
              <a:extLst>
                <a:ext uri="{28A0092B-C50C-407E-A947-70E740481C1C}">
                  <a14:useLocalDpi xmlns:a14="http://schemas.microsoft.com/office/drawing/2010/main" val="0"/>
                </a:ext>
              </a:extLst>
            </a:blip>
            <a:stretch>
              <a:fillRect/>
            </a:stretch>
          </p:blipFill>
          <p:spPr>
            <a:xfrm>
              <a:off x="600859" y="1739179"/>
              <a:ext cx="456785" cy="456785"/>
            </a:xfrm>
            <a:prstGeom prst="rect">
              <a:avLst/>
            </a:prstGeom>
          </p:spPr>
        </p:pic>
        <p:cxnSp>
          <p:nvCxnSpPr>
            <p:cNvPr id="1302" name="Straight Arrow Connector 1301"/>
            <p:cNvCxnSpPr/>
            <p:nvPr/>
          </p:nvCxnSpPr>
          <p:spPr>
            <a:xfrm flipV="1">
              <a:off x="842845" y="2171470"/>
              <a:ext cx="0" cy="3699358"/>
            </a:xfrm>
            <a:prstGeom prst="straightConnector1">
              <a:avLst/>
            </a:prstGeom>
            <a:noFill/>
            <a:ln w="28575" cap="flat" cmpd="sng" algn="ctr">
              <a:solidFill>
                <a:srgbClr val="FFC000"/>
              </a:solidFill>
              <a:prstDash val="solid"/>
              <a:miter lim="800000"/>
              <a:tailEnd type="triangle"/>
            </a:ln>
            <a:effectLst/>
          </p:spPr>
        </p:cxnSp>
      </p:grpSp>
      <p:grpSp>
        <p:nvGrpSpPr>
          <p:cNvPr id="1303" name="Group 1302"/>
          <p:cNvGrpSpPr/>
          <p:nvPr/>
        </p:nvGrpSpPr>
        <p:grpSpPr>
          <a:xfrm>
            <a:off x="3891062" y="6002352"/>
            <a:ext cx="6467505" cy="456785"/>
            <a:chOff x="3004433" y="6370283"/>
            <a:chExt cx="6467505" cy="456785"/>
          </a:xfrm>
        </p:grpSpPr>
        <p:cxnSp>
          <p:nvCxnSpPr>
            <p:cNvPr id="1304" name="Straight Arrow Connector 1303"/>
            <p:cNvCxnSpPr/>
            <p:nvPr/>
          </p:nvCxnSpPr>
          <p:spPr>
            <a:xfrm>
              <a:off x="3004433" y="6635035"/>
              <a:ext cx="6023802" cy="0"/>
            </a:xfrm>
            <a:prstGeom prst="straightConnector1">
              <a:avLst/>
            </a:prstGeom>
            <a:noFill/>
            <a:ln w="28575" cap="flat" cmpd="sng" algn="ctr">
              <a:solidFill>
                <a:srgbClr val="FFC000"/>
              </a:solidFill>
              <a:prstDash val="solid"/>
              <a:miter lim="800000"/>
              <a:tailEnd type="triangle"/>
            </a:ln>
            <a:effectLst/>
          </p:spPr>
        </p:cxnSp>
        <p:pic>
          <p:nvPicPr>
            <p:cNvPr id="1305" name="Picture 1304"/>
            <p:cNvPicPr>
              <a:picLocks noChangeAspect="1"/>
            </p:cNvPicPr>
            <p:nvPr/>
          </p:nvPicPr>
          <p:blipFill>
            <a:blip r:embed="rId8" cstate="print">
              <a:duotone>
                <a:srgbClr val="FFC000">
                  <a:shade val="45000"/>
                  <a:satMod val="135000"/>
                </a:srgbClr>
                <a:prstClr val="white"/>
              </a:duotone>
              <a:extLst>
                <a:ext uri="{28A0092B-C50C-407E-A947-70E740481C1C}">
                  <a14:useLocalDpi xmlns:a14="http://schemas.microsoft.com/office/drawing/2010/main" val="0"/>
                </a:ext>
              </a:extLst>
            </a:blip>
            <a:stretch>
              <a:fillRect/>
            </a:stretch>
          </p:blipFill>
          <p:spPr>
            <a:xfrm>
              <a:off x="9015153" y="6370283"/>
              <a:ext cx="456785" cy="456785"/>
            </a:xfrm>
            <a:prstGeom prst="rect">
              <a:avLst/>
            </a:prstGeom>
          </p:spPr>
        </p:pic>
      </p:grpSp>
      <p:grpSp>
        <p:nvGrpSpPr>
          <p:cNvPr id="1306" name="Group 1305"/>
          <p:cNvGrpSpPr/>
          <p:nvPr/>
        </p:nvGrpSpPr>
        <p:grpSpPr>
          <a:xfrm>
            <a:off x="3860735" y="1866498"/>
            <a:ext cx="8355945" cy="4024842"/>
            <a:chOff x="2432909" y="1688850"/>
            <a:chExt cx="8355945" cy="4024842"/>
          </a:xfrm>
        </p:grpSpPr>
        <p:cxnSp>
          <p:nvCxnSpPr>
            <p:cNvPr id="1307" name="Straight Arrow Connector 1306"/>
            <p:cNvCxnSpPr/>
            <p:nvPr/>
          </p:nvCxnSpPr>
          <p:spPr>
            <a:xfrm flipV="1">
              <a:off x="2432909" y="2047941"/>
              <a:ext cx="7781090" cy="3665751"/>
            </a:xfrm>
            <a:prstGeom prst="straightConnector1">
              <a:avLst/>
            </a:prstGeom>
            <a:noFill/>
            <a:ln w="28575" cap="flat" cmpd="sng" algn="ctr">
              <a:solidFill>
                <a:srgbClr val="FFC000"/>
              </a:solidFill>
              <a:prstDash val="solid"/>
              <a:miter lim="800000"/>
              <a:tailEnd type="triangle"/>
            </a:ln>
            <a:effectLst/>
          </p:spPr>
        </p:cxnSp>
        <p:pic>
          <p:nvPicPr>
            <p:cNvPr id="1308" name="Picture 1307"/>
            <p:cNvPicPr>
              <a:picLocks noChangeAspect="1"/>
            </p:cNvPicPr>
            <p:nvPr/>
          </p:nvPicPr>
          <p:blipFill>
            <a:blip r:embed="rId8" cstate="print">
              <a:duotone>
                <a:srgbClr val="FFC000">
                  <a:shade val="45000"/>
                  <a:satMod val="135000"/>
                </a:srgbClr>
                <a:prstClr val="white"/>
              </a:duotone>
              <a:extLst>
                <a:ext uri="{28A0092B-C50C-407E-A947-70E740481C1C}">
                  <a14:useLocalDpi xmlns:a14="http://schemas.microsoft.com/office/drawing/2010/main" val="0"/>
                </a:ext>
              </a:extLst>
            </a:blip>
            <a:stretch>
              <a:fillRect/>
            </a:stretch>
          </p:blipFill>
          <p:spPr>
            <a:xfrm>
              <a:off x="10332069" y="1688850"/>
              <a:ext cx="456785" cy="456785"/>
            </a:xfrm>
            <a:prstGeom prst="rect">
              <a:avLst/>
            </a:prstGeom>
          </p:spPr>
        </p:pic>
      </p:grpSp>
      <p:grpSp>
        <p:nvGrpSpPr>
          <p:cNvPr id="1309" name="Group 1308"/>
          <p:cNvGrpSpPr/>
          <p:nvPr/>
        </p:nvGrpSpPr>
        <p:grpSpPr>
          <a:xfrm>
            <a:off x="9641067" y="1879221"/>
            <a:ext cx="1240379" cy="557859"/>
            <a:chOff x="1072692" y="5911851"/>
            <a:chExt cx="1240379" cy="557859"/>
          </a:xfrm>
        </p:grpSpPr>
        <p:sp>
          <p:nvSpPr>
            <p:cNvPr id="1310" name="Rectangle 1309"/>
            <p:cNvSpPr/>
            <p:nvPr/>
          </p:nvSpPr>
          <p:spPr>
            <a:xfrm>
              <a:off x="1072692" y="5911851"/>
              <a:ext cx="1202928" cy="557859"/>
            </a:xfrm>
            <a:prstGeom prst="rect">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1311" name="Group 1310"/>
            <p:cNvGrpSpPr/>
            <p:nvPr/>
          </p:nvGrpSpPr>
          <p:grpSpPr>
            <a:xfrm>
              <a:off x="1125029" y="5937242"/>
              <a:ext cx="1188042" cy="413899"/>
              <a:chOff x="771124" y="5147377"/>
              <a:chExt cx="1913351" cy="666589"/>
            </a:xfrm>
          </p:grpSpPr>
          <p:grpSp>
            <p:nvGrpSpPr>
              <p:cNvPr id="1312" name="Group 9708"/>
              <p:cNvGrpSpPr>
                <a:grpSpLocks noChangeAspect="1"/>
              </p:cNvGrpSpPr>
              <p:nvPr/>
            </p:nvGrpSpPr>
            <p:grpSpPr bwMode="auto">
              <a:xfrm>
                <a:off x="771124" y="5147377"/>
                <a:ext cx="310964" cy="478233"/>
                <a:chOff x="5135530" y="4046934"/>
                <a:chExt cx="439689" cy="676275"/>
              </a:xfrm>
            </p:grpSpPr>
            <p:sp>
              <p:nvSpPr>
                <p:cNvPr id="1314" name="Freeform 1490"/>
                <p:cNvSpPr>
                  <a:spLocks noChangeArrowheads="1"/>
                </p:cNvSpPr>
                <p:nvPr/>
              </p:nvSpPr>
              <p:spPr bwMode="auto">
                <a:xfrm>
                  <a:off x="5270452" y="4135834"/>
                  <a:ext cx="287307" cy="287337"/>
                </a:xfrm>
                <a:custGeom>
                  <a:avLst/>
                  <a:gdLst>
                    <a:gd name="T0" fmla="*/ 38844880 w 2124"/>
                    <a:gd name="T1" fmla="*/ 19290007 h 2131"/>
                    <a:gd name="T2" fmla="*/ 38844880 w 2124"/>
                    <a:gd name="T3" fmla="*/ 19290007 h 2131"/>
                    <a:gd name="T4" fmla="*/ 19413242 w 2124"/>
                    <a:gd name="T5" fmla="*/ 0 h 2131"/>
                    <a:gd name="T6" fmla="*/ 0 w 2124"/>
                    <a:gd name="T7" fmla="*/ 19290007 h 2131"/>
                    <a:gd name="T8" fmla="*/ 19413242 w 2124"/>
                    <a:gd name="T9" fmla="*/ 38725369 h 2131"/>
                    <a:gd name="T10" fmla="*/ 38844880 w 2124"/>
                    <a:gd name="T11" fmla="*/ 19290007 h 2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31">
                      <a:moveTo>
                        <a:pt x="2123" y="1061"/>
                      </a:moveTo>
                      <a:lnTo>
                        <a:pt x="2123" y="1061"/>
                      </a:lnTo>
                      <a:cubicBezTo>
                        <a:pt x="2123" y="481"/>
                        <a:pt x="1649" y="0"/>
                        <a:pt x="1061" y="0"/>
                      </a:cubicBezTo>
                      <a:cubicBezTo>
                        <a:pt x="473" y="0"/>
                        <a:pt x="0" y="481"/>
                        <a:pt x="0" y="1061"/>
                      </a:cubicBezTo>
                      <a:cubicBezTo>
                        <a:pt x="0" y="1649"/>
                        <a:pt x="473" y="2130"/>
                        <a:pt x="1061" y="2130"/>
                      </a:cubicBezTo>
                      <a:cubicBezTo>
                        <a:pt x="1649" y="2130"/>
                        <a:pt x="2123" y="1649"/>
                        <a:pt x="2123" y="1061"/>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15" name="Freeform 1491"/>
                <p:cNvSpPr>
                  <a:spLocks noChangeArrowheads="1"/>
                </p:cNvSpPr>
                <p:nvPr/>
              </p:nvSpPr>
              <p:spPr bwMode="auto">
                <a:xfrm>
                  <a:off x="5365692" y="4480321"/>
                  <a:ext cx="96828" cy="242888"/>
                </a:xfrm>
                <a:custGeom>
                  <a:avLst/>
                  <a:gdLst>
                    <a:gd name="T0" fmla="*/ 13058005 w 717"/>
                    <a:gd name="T1" fmla="*/ 14350170 h 1793"/>
                    <a:gd name="T2" fmla="*/ 6401317 w 717"/>
                    <a:gd name="T3" fmla="*/ 32884434 h 1793"/>
                    <a:gd name="T4" fmla="*/ 0 w 717"/>
                    <a:gd name="T5" fmla="*/ 14350170 h 1793"/>
                    <a:gd name="T6" fmla="*/ 0 w 717"/>
                    <a:gd name="T7" fmla="*/ 0 h 1793"/>
                    <a:gd name="T8" fmla="*/ 13058005 w 717"/>
                    <a:gd name="T9" fmla="*/ 0 h 1793"/>
                    <a:gd name="T10" fmla="*/ 13058005 w 717"/>
                    <a:gd name="T11" fmla="*/ 14350170 h 17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7" h="1793">
                      <a:moveTo>
                        <a:pt x="716" y="782"/>
                      </a:moveTo>
                      <a:lnTo>
                        <a:pt x="351" y="1792"/>
                      </a:lnTo>
                      <a:lnTo>
                        <a:pt x="0" y="782"/>
                      </a:lnTo>
                      <a:lnTo>
                        <a:pt x="0" y="0"/>
                      </a:lnTo>
                      <a:lnTo>
                        <a:pt x="716" y="0"/>
                      </a:lnTo>
                      <a:lnTo>
                        <a:pt x="716" y="782"/>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16" name="Freeform 1492"/>
                <p:cNvSpPr>
                  <a:spLocks noChangeArrowheads="1"/>
                </p:cNvSpPr>
                <p:nvPr/>
              </p:nvSpPr>
              <p:spPr bwMode="auto">
                <a:xfrm>
                  <a:off x="5294262" y="4189809"/>
                  <a:ext cx="120637" cy="319087"/>
                </a:xfrm>
                <a:custGeom>
                  <a:avLst/>
                  <a:gdLst>
                    <a:gd name="T0" fmla="*/ 16315376 w 891"/>
                    <a:gd name="T1" fmla="*/ 0 h 2367"/>
                    <a:gd name="T2" fmla="*/ 16315376 w 891"/>
                    <a:gd name="T3" fmla="*/ 0 h 2367"/>
                    <a:gd name="T4" fmla="*/ 0 w 891"/>
                    <a:gd name="T5" fmla="*/ 20189970 h 2367"/>
                    <a:gd name="T6" fmla="*/ 5151241 w 891"/>
                    <a:gd name="T7" fmla="*/ 36200265 h 2367"/>
                    <a:gd name="T8" fmla="*/ 16315376 w 891"/>
                    <a:gd name="T9" fmla="*/ 42996805 h 2367"/>
                    <a:gd name="T10" fmla="*/ 16315376 w 891"/>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1" h="2367">
                      <a:moveTo>
                        <a:pt x="890" y="0"/>
                      </a:moveTo>
                      <a:lnTo>
                        <a:pt x="890" y="0"/>
                      </a:lnTo>
                      <a:cubicBezTo>
                        <a:pt x="545" y="0"/>
                        <a:pt x="0" y="193"/>
                        <a:pt x="0" y="1111"/>
                      </a:cubicBezTo>
                      <a:cubicBezTo>
                        <a:pt x="0" y="1641"/>
                        <a:pt x="208" y="1892"/>
                        <a:pt x="281" y="1992"/>
                      </a:cubicBezTo>
                      <a:cubicBezTo>
                        <a:pt x="352" y="2079"/>
                        <a:pt x="703" y="2366"/>
                        <a:pt x="890" y="2366"/>
                      </a:cubicBezTo>
                      <a:cubicBezTo>
                        <a:pt x="890" y="1434"/>
                        <a:pt x="890" y="0"/>
                        <a:pt x="89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17" name="Freeform 1493"/>
                <p:cNvSpPr>
                  <a:spLocks noChangeArrowheads="1"/>
                </p:cNvSpPr>
                <p:nvPr/>
              </p:nvSpPr>
              <p:spPr bwMode="auto">
                <a:xfrm>
                  <a:off x="5268865" y="4327921"/>
                  <a:ext cx="53969" cy="76200"/>
                </a:xfrm>
                <a:custGeom>
                  <a:avLst/>
                  <a:gdLst>
                    <a:gd name="T0" fmla="*/ 279956 w 395"/>
                    <a:gd name="T1" fmla="*/ 5700874 h 561"/>
                    <a:gd name="T2" fmla="*/ 279956 w 395"/>
                    <a:gd name="T3" fmla="*/ 5700874 h 561"/>
                    <a:gd name="T4" fmla="*/ 3229532 w 395"/>
                    <a:gd name="T5" fmla="*/ 258347 h 561"/>
                    <a:gd name="T6" fmla="*/ 7093849 w 395"/>
                    <a:gd name="T7" fmla="*/ 4759987 h 561"/>
                    <a:gd name="T8" fmla="*/ 4162991 w 395"/>
                    <a:gd name="T9" fmla="*/ 10055004 h 561"/>
                    <a:gd name="T10" fmla="*/ 279956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15" y="309"/>
                      </a:moveTo>
                      <a:lnTo>
                        <a:pt x="15" y="309"/>
                      </a:lnTo>
                      <a:cubicBezTo>
                        <a:pt x="0" y="158"/>
                        <a:pt x="65" y="28"/>
                        <a:pt x="173" y="14"/>
                      </a:cubicBezTo>
                      <a:cubicBezTo>
                        <a:pt x="273" y="0"/>
                        <a:pt x="366" y="108"/>
                        <a:pt x="380" y="258"/>
                      </a:cubicBezTo>
                      <a:cubicBezTo>
                        <a:pt x="394" y="402"/>
                        <a:pt x="323" y="538"/>
                        <a:pt x="223" y="545"/>
                      </a:cubicBezTo>
                      <a:cubicBezTo>
                        <a:pt x="123" y="560"/>
                        <a:pt x="30" y="452"/>
                        <a:pt x="15"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18" name="Freeform 1494"/>
                <p:cNvSpPr>
                  <a:spLocks noChangeArrowheads="1"/>
                </p:cNvSpPr>
                <p:nvPr/>
              </p:nvSpPr>
              <p:spPr bwMode="auto">
                <a:xfrm>
                  <a:off x="5414899" y="4189809"/>
                  <a:ext cx="119049" cy="319087"/>
                </a:xfrm>
                <a:custGeom>
                  <a:avLst/>
                  <a:gdLst>
                    <a:gd name="T0" fmla="*/ 0 w 890"/>
                    <a:gd name="T1" fmla="*/ 0 h 2367"/>
                    <a:gd name="T2" fmla="*/ 0 w 890"/>
                    <a:gd name="T3" fmla="*/ 0 h 2367"/>
                    <a:gd name="T4" fmla="*/ 15906418 w 890"/>
                    <a:gd name="T5" fmla="*/ 20189970 h 2367"/>
                    <a:gd name="T6" fmla="*/ 10789183 w 890"/>
                    <a:gd name="T7" fmla="*/ 36200265 h 2367"/>
                    <a:gd name="T8" fmla="*/ 0 w 890"/>
                    <a:gd name="T9" fmla="*/ 42996805 h 2367"/>
                    <a:gd name="T10" fmla="*/ 0 w 890"/>
                    <a:gd name="T11" fmla="*/ 0 h 23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0" h="2367">
                      <a:moveTo>
                        <a:pt x="0" y="0"/>
                      </a:moveTo>
                      <a:lnTo>
                        <a:pt x="0" y="0"/>
                      </a:lnTo>
                      <a:cubicBezTo>
                        <a:pt x="344" y="0"/>
                        <a:pt x="889" y="193"/>
                        <a:pt x="889" y="1111"/>
                      </a:cubicBezTo>
                      <a:cubicBezTo>
                        <a:pt x="889" y="1641"/>
                        <a:pt x="681" y="1892"/>
                        <a:pt x="603" y="1992"/>
                      </a:cubicBezTo>
                      <a:cubicBezTo>
                        <a:pt x="538" y="2079"/>
                        <a:pt x="179" y="2366"/>
                        <a:pt x="0" y="2366"/>
                      </a:cubicBezTo>
                      <a:cubicBezTo>
                        <a:pt x="0" y="1434"/>
                        <a:pt x="0" y="0"/>
                        <a:pt x="0" y="0"/>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19" name="Freeform 1495"/>
                <p:cNvSpPr>
                  <a:spLocks noChangeArrowheads="1"/>
                </p:cNvSpPr>
                <p:nvPr/>
              </p:nvSpPr>
              <p:spPr bwMode="auto">
                <a:xfrm>
                  <a:off x="5505377" y="4327921"/>
                  <a:ext cx="53969" cy="76200"/>
                </a:xfrm>
                <a:custGeom>
                  <a:avLst/>
                  <a:gdLst>
                    <a:gd name="T0" fmla="*/ 7112431 w 395"/>
                    <a:gd name="T1" fmla="*/ 5700874 h 561"/>
                    <a:gd name="T2" fmla="*/ 7112431 w 395"/>
                    <a:gd name="T3" fmla="*/ 5700874 h 561"/>
                    <a:gd name="T4" fmla="*/ 4162991 w 395"/>
                    <a:gd name="T5" fmla="*/ 258347 h 561"/>
                    <a:gd name="T6" fmla="*/ 279956 w 395"/>
                    <a:gd name="T7" fmla="*/ 4759987 h 561"/>
                    <a:gd name="T8" fmla="*/ 3229532 w 395"/>
                    <a:gd name="T9" fmla="*/ 10055004 h 561"/>
                    <a:gd name="T10" fmla="*/ 7112431 w 395"/>
                    <a:gd name="T11" fmla="*/ 5700874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61">
                      <a:moveTo>
                        <a:pt x="381" y="309"/>
                      </a:moveTo>
                      <a:lnTo>
                        <a:pt x="381" y="309"/>
                      </a:lnTo>
                      <a:cubicBezTo>
                        <a:pt x="394" y="158"/>
                        <a:pt x="329" y="28"/>
                        <a:pt x="223" y="14"/>
                      </a:cubicBezTo>
                      <a:cubicBezTo>
                        <a:pt x="122" y="0"/>
                        <a:pt x="28" y="108"/>
                        <a:pt x="15" y="258"/>
                      </a:cubicBezTo>
                      <a:cubicBezTo>
                        <a:pt x="0" y="402"/>
                        <a:pt x="72" y="538"/>
                        <a:pt x="173" y="545"/>
                      </a:cubicBezTo>
                      <a:cubicBezTo>
                        <a:pt x="273" y="560"/>
                        <a:pt x="366" y="452"/>
                        <a:pt x="381" y="309"/>
                      </a:cubicBezTo>
                    </a:path>
                  </a:pathLst>
                </a:custGeom>
                <a:solidFill>
                  <a:srgbClr val="F2D8BC"/>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0" name="Freeform 1496"/>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8544720 h 1442"/>
                    <a:gd name="T6" fmla="*/ 15963517 w 1198"/>
                    <a:gd name="T7" fmla="*/ 3410467 h 1442"/>
                    <a:gd name="T8" fmla="*/ 15452118 w 1198"/>
                    <a:gd name="T9" fmla="*/ 0 h 1442"/>
                    <a:gd name="T10" fmla="*/ 2484016 w 1198"/>
                    <a:gd name="T11" fmla="*/ 7352830 h 1442"/>
                    <a:gd name="T12" fmla="*/ 0 w 1198"/>
                    <a:gd name="T13" fmla="*/ 26422523 h 1442"/>
                    <a:gd name="T14" fmla="*/ 21863121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1197" y="1441"/>
                      </a:moveTo>
                      <a:lnTo>
                        <a:pt x="1197" y="1441"/>
                      </a:lnTo>
                      <a:cubicBezTo>
                        <a:pt x="1197" y="466"/>
                        <a:pt x="1197" y="466"/>
                        <a:pt x="1197" y="466"/>
                      </a:cubicBezTo>
                      <a:cubicBezTo>
                        <a:pt x="1197" y="466"/>
                        <a:pt x="931" y="401"/>
                        <a:pt x="874" y="186"/>
                      </a:cubicBezTo>
                      <a:cubicBezTo>
                        <a:pt x="846" y="86"/>
                        <a:pt x="846" y="0"/>
                        <a:pt x="846" y="0"/>
                      </a:cubicBezTo>
                      <a:cubicBezTo>
                        <a:pt x="846" y="0"/>
                        <a:pt x="272" y="193"/>
                        <a:pt x="136" y="401"/>
                      </a:cubicBezTo>
                      <a:cubicBezTo>
                        <a:pt x="28" y="717"/>
                        <a:pt x="0" y="1441"/>
                        <a:pt x="0" y="1441"/>
                      </a:cubicBezTo>
                      <a:lnTo>
                        <a:pt x="1197"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1" name="Freeform 1497"/>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8544720 h 1442"/>
                    <a:gd name="T6" fmla="*/ 6009209 w 1198"/>
                    <a:gd name="T7" fmla="*/ 3410467 h 1442"/>
                    <a:gd name="T8" fmla="*/ 6411004 w 1198"/>
                    <a:gd name="T9" fmla="*/ 0 h 1442"/>
                    <a:gd name="T10" fmla="*/ 19379106 w 1198"/>
                    <a:gd name="T11" fmla="*/ 7352830 h 1442"/>
                    <a:gd name="T12" fmla="*/ 21863121 w 1198"/>
                    <a:gd name="T13" fmla="*/ 26422523 h 1442"/>
                    <a:gd name="T14" fmla="*/ 0 w 1198"/>
                    <a:gd name="T15" fmla="*/ 26422523 h 14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42">
                      <a:moveTo>
                        <a:pt x="0" y="1441"/>
                      </a:moveTo>
                      <a:lnTo>
                        <a:pt x="0" y="1441"/>
                      </a:lnTo>
                      <a:cubicBezTo>
                        <a:pt x="0" y="466"/>
                        <a:pt x="0" y="466"/>
                        <a:pt x="0" y="466"/>
                      </a:cubicBezTo>
                      <a:cubicBezTo>
                        <a:pt x="0" y="466"/>
                        <a:pt x="264" y="401"/>
                        <a:pt x="329" y="186"/>
                      </a:cubicBezTo>
                      <a:cubicBezTo>
                        <a:pt x="351" y="86"/>
                        <a:pt x="351" y="0"/>
                        <a:pt x="351" y="0"/>
                      </a:cubicBezTo>
                      <a:cubicBezTo>
                        <a:pt x="351" y="0"/>
                        <a:pt x="932" y="193"/>
                        <a:pt x="1061" y="401"/>
                      </a:cubicBezTo>
                      <a:cubicBezTo>
                        <a:pt x="1168" y="717"/>
                        <a:pt x="1197" y="1441"/>
                        <a:pt x="1197" y="1441"/>
                      </a:cubicBezTo>
                      <a:lnTo>
                        <a:pt x="0" y="1441"/>
                      </a:lnTo>
                    </a:path>
                  </a:pathLst>
                </a:custGeom>
                <a:solidFill>
                  <a:srgbClr val="EAC8AE"/>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2" name="Freeform 1498"/>
                <p:cNvSpPr>
                  <a:spLocks noChangeArrowheads="1"/>
                </p:cNvSpPr>
                <p:nvPr/>
              </p:nvSpPr>
              <p:spPr bwMode="auto">
                <a:xfrm>
                  <a:off x="5381565" y="4440634"/>
                  <a:ext cx="66668" cy="25400"/>
                </a:xfrm>
                <a:custGeom>
                  <a:avLst/>
                  <a:gdLst>
                    <a:gd name="T0" fmla="*/ 4535200 w 488"/>
                    <a:gd name="T1" fmla="*/ 3413463 h 188"/>
                    <a:gd name="T2" fmla="*/ 4535200 w 488"/>
                    <a:gd name="T3" fmla="*/ 3413463 h 188"/>
                    <a:gd name="T4" fmla="*/ 9089116 w 488"/>
                    <a:gd name="T5" fmla="*/ 0 h 188"/>
                    <a:gd name="T6" fmla="*/ 0 w 488"/>
                    <a:gd name="T7" fmla="*/ 0 h 188"/>
                    <a:gd name="T8" fmla="*/ 4535200 w 488"/>
                    <a:gd name="T9" fmla="*/ 3413463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88">
                      <a:moveTo>
                        <a:pt x="243" y="187"/>
                      </a:moveTo>
                      <a:lnTo>
                        <a:pt x="243" y="187"/>
                      </a:lnTo>
                      <a:cubicBezTo>
                        <a:pt x="379" y="187"/>
                        <a:pt x="487" y="101"/>
                        <a:pt x="487" y="0"/>
                      </a:cubicBezTo>
                      <a:cubicBezTo>
                        <a:pt x="0" y="0"/>
                        <a:pt x="0" y="0"/>
                        <a:pt x="0" y="0"/>
                      </a:cubicBezTo>
                      <a:cubicBezTo>
                        <a:pt x="0" y="101"/>
                        <a:pt x="106" y="187"/>
                        <a:pt x="243"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3" name="Freeform 1499"/>
                <p:cNvSpPr>
                  <a:spLocks noChangeArrowheads="1"/>
                </p:cNvSpPr>
                <p:nvPr/>
              </p:nvSpPr>
              <p:spPr bwMode="auto">
                <a:xfrm>
                  <a:off x="5265691" y="4153296"/>
                  <a:ext cx="223813" cy="203200"/>
                </a:xfrm>
                <a:custGeom>
                  <a:avLst/>
                  <a:gdLst>
                    <a:gd name="T0" fmla="*/ 19229413 w 1657"/>
                    <a:gd name="T1" fmla="*/ 0 h 1507"/>
                    <a:gd name="T2" fmla="*/ 19229413 w 1657"/>
                    <a:gd name="T3" fmla="*/ 0 h 1507"/>
                    <a:gd name="T4" fmla="*/ 4177888 w 1657"/>
                    <a:gd name="T5" fmla="*/ 14599387 h 1507"/>
                    <a:gd name="T6" fmla="*/ 7845071 w 1657"/>
                    <a:gd name="T7" fmla="*/ 27380762 h 1507"/>
                    <a:gd name="T8" fmla="*/ 7845071 w 1657"/>
                    <a:gd name="T9" fmla="*/ 24526388 h 1507"/>
                    <a:gd name="T10" fmla="*/ 16729920 w 1657"/>
                    <a:gd name="T11" fmla="*/ 17999313 h 1507"/>
                    <a:gd name="T12" fmla="*/ 27074484 w 1657"/>
                    <a:gd name="T13" fmla="*/ 11217800 h 1507"/>
                    <a:gd name="T14" fmla="*/ 19229413 w 1657"/>
                    <a:gd name="T15" fmla="*/ 0 h 15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7" h="1507">
                      <a:moveTo>
                        <a:pt x="1054" y="0"/>
                      </a:moveTo>
                      <a:lnTo>
                        <a:pt x="1054" y="0"/>
                      </a:lnTo>
                      <a:cubicBezTo>
                        <a:pt x="422" y="0"/>
                        <a:pt x="229" y="552"/>
                        <a:pt x="229" y="803"/>
                      </a:cubicBezTo>
                      <a:cubicBezTo>
                        <a:pt x="0" y="1126"/>
                        <a:pt x="251" y="1405"/>
                        <a:pt x="430" y="1506"/>
                      </a:cubicBezTo>
                      <a:cubicBezTo>
                        <a:pt x="430" y="1449"/>
                        <a:pt x="430" y="1427"/>
                        <a:pt x="430" y="1349"/>
                      </a:cubicBezTo>
                      <a:cubicBezTo>
                        <a:pt x="430" y="1148"/>
                        <a:pt x="623" y="955"/>
                        <a:pt x="917" y="990"/>
                      </a:cubicBezTo>
                      <a:cubicBezTo>
                        <a:pt x="1183" y="1018"/>
                        <a:pt x="1348" y="868"/>
                        <a:pt x="1484" y="617"/>
                      </a:cubicBezTo>
                      <a:cubicBezTo>
                        <a:pt x="1656" y="273"/>
                        <a:pt x="1441" y="0"/>
                        <a:pt x="1054" y="0"/>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4" name="Freeform 1500"/>
                <p:cNvSpPr>
                  <a:spLocks noChangeArrowheads="1"/>
                </p:cNvSpPr>
                <p:nvPr/>
              </p:nvSpPr>
              <p:spPr bwMode="auto">
                <a:xfrm>
                  <a:off x="5462519" y="4169171"/>
                  <a:ext cx="88890" cy="161925"/>
                </a:xfrm>
                <a:custGeom>
                  <a:avLst/>
                  <a:gdLst>
                    <a:gd name="T0" fmla="*/ 0 w 661"/>
                    <a:gd name="T1" fmla="*/ 7325822 h 1198"/>
                    <a:gd name="T2" fmla="*/ 0 w 661"/>
                    <a:gd name="T3" fmla="*/ 7325822 h 1198"/>
                    <a:gd name="T4" fmla="*/ 9874052 w 661"/>
                    <a:gd name="T5" fmla="*/ 21867985 h 1198"/>
                    <a:gd name="T6" fmla="*/ 9874052 w 661"/>
                    <a:gd name="T7" fmla="*/ 9024818 h 1198"/>
                    <a:gd name="T8" fmla="*/ 0 w 661"/>
                    <a:gd name="T9" fmla="*/ 0 h 1198"/>
                    <a:gd name="T10" fmla="*/ 0 w 661"/>
                    <a:gd name="T11" fmla="*/ 7325822 h 11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 h="1198">
                      <a:moveTo>
                        <a:pt x="0" y="401"/>
                      </a:moveTo>
                      <a:lnTo>
                        <a:pt x="0" y="401"/>
                      </a:lnTo>
                      <a:cubicBezTo>
                        <a:pt x="0" y="401"/>
                        <a:pt x="144" y="1003"/>
                        <a:pt x="546" y="1197"/>
                      </a:cubicBezTo>
                      <a:cubicBezTo>
                        <a:pt x="617" y="659"/>
                        <a:pt x="660" y="774"/>
                        <a:pt x="546" y="494"/>
                      </a:cubicBezTo>
                      <a:cubicBezTo>
                        <a:pt x="431" y="208"/>
                        <a:pt x="0" y="0"/>
                        <a:pt x="0" y="0"/>
                      </a:cubicBezTo>
                      <a:lnTo>
                        <a:pt x="0" y="401"/>
                      </a:ln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5" name="Freeform 1501"/>
                <p:cNvSpPr>
                  <a:spLocks noChangeArrowheads="1"/>
                </p:cNvSpPr>
                <p:nvPr/>
              </p:nvSpPr>
              <p:spPr bwMode="auto">
                <a:xfrm>
                  <a:off x="5251404" y="4527946"/>
                  <a:ext cx="161907" cy="195263"/>
                </a:xfrm>
                <a:custGeom>
                  <a:avLst/>
                  <a:gdLst>
                    <a:gd name="T0" fmla="*/ 21863121 w 1198"/>
                    <a:gd name="T1" fmla="*/ 26422523 h 1442"/>
                    <a:gd name="T2" fmla="*/ 21863121 w 1198"/>
                    <a:gd name="T3" fmla="*/ 26422523 h 1442"/>
                    <a:gd name="T4" fmla="*/ 21863121 w 1198"/>
                    <a:gd name="T5" fmla="*/ 2622103 h 1442"/>
                    <a:gd name="T6" fmla="*/ 15452118 w 1198"/>
                    <a:gd name="T7" fmla="*/ 0 h 1442"/>
                    <a:gd name="T8" fmla="*/ 2484016 w 1198"/>
                    <a:gd name="T9" fmla="*/ 7352830 h 1442"/>
                    <a:gd name="T10" fmla="*/ 0 w 1198"/>
                    <a:gd name="T11" fmla="*/ 26422523 h 1442"/>
                    <a:gd name="T12" fmla="*/ 21863121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1197" y="1441"/>
                      </a:moveTo>
                      <a:lnTo>
                        <a:pt x="1197" y="1441"/>
                      </a:lnTo>
                      <a:cubicBezTo>
                        <a:pt x="1197" y="143"/>
                        <a:pt x="1197" y="143"/>
                        <a:pt x="1197" y="143"/>
                      </a:cubicBezTo>
                      <a:cubicBezTo>
                        <a:pt x="846" y="0"/>
                        <a:pt x="846" y="0"/>
                        <a:pt x="846" y="0"/>
                      </a:cubicBezTo>
                      <a:cubicBezTo>
                        <a:pt x="846" y="0"/>
                        <a:pt x="272" y="193"/>
                        <a:pt x="136" y="401"/>
                      </a:cubicBezTo>
                      <a:cubicBezTo>
                        <a:pt x="28" y="717"/>
                        <a:pt x="0" y="1441"/>
                        <a:pt x="0" y="1441"/>
                      </a:cubicBezTo>
                      <a:lnTo>
                        <a:pt x="1197"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6" name="Freeform 1502"/>
                <p:cNvSpPr>
                  <a:spLocks noChangeArrowheads="1"/>
                </p:cNvSpPr>
                <p:nvPr/>
              </p:nvSpPr>
              <p:spPr bwMode="auto">
                <a:xfrm>
                  <a:off x="5413312" y="4527946"/>
                  <a:ext cx="161907" cy="195263"/>
                </a:xfrm>
                <a:custGeom>
                  <a:avLst/>
                  <a:gdLst>
                    <a:gd name="T0" fmla="*/ 0 w 1198"/>
                    <a:gd name="T1" fmla="*/ 26422523 h 1442"/>
                    <a:gd name="T2" fmla="*/ 0 w 1198"/>
                    <a:gd name="T3" fmla="*/ 26422523 h 1442"/>
                    <a:gd name="T4" fmla="*/ 0 w 1198"/>
                    <a:gd name="T5" fmla="*/ 2622103 h 1442"/>
                    <a:gd name="T6" fmla="*/ 6411004 w 1198"/>
                    <a:gd name="T7" fmla="*/ 0 h 1442"/>
                    <a:gd name="T8" fmla="*/ 19379106 w 1198"/>
                    <a:gd name="T9" fmla="*/ 7352830 h 1442"/>
                    <a:gd name="T10" fmla="*/ 21863121 w 1198"/>
                    <a:gd name="T11" fmla="*/ 26422523 h 1442"/>
                    <a:gd name="T12" fmla="*/ 0 w 1198"/>
                    <a:gd name="T13" fmla="*/ 26422523 h 14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42">
                      <a:moveTo>
                        <a:pt x="0" y="1441"/>
                      </a:moveTo>
                      <a:lnTo>
                        <a:pt x="0" y="1441"/>
                      </a:lnTo>
                      <a:cubicBezTo>
                        <a:pt x="0" y="143"/>
                        <a:pt x="0" y="143"/>
                        <a:pt x="0" y="143"/>
                      </a:cubicBezTo>
                      <a:cubicBezTo>
                        <a:pt x="351" y="0"/>
                        <a:pt x="351" y="0"/>
                        <a:pt x="351" y="0"/>
                      </a:cubicBezTo>
                      <a:cubicBezTo>
                        <a:pt x="351" y="0"/>
                        <a:pt x="932" y="193"/>
                        <a:pt x="1061" y="401"/>
                      </a:cubicBezTo>
                      <a:cubicBezTo>
                        <a:pt x="1168" y="717"/>
                        <a:pt x="1197" y="1441"/>
                        <a:pt x="1197" y="1441"/>
                      </a:cubicBezTo>
                      <a:lnTo>
                        <a:pt x="0" y="1441"/>
                      </a:ln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7" name="Freeform 1503"/>
                <p:cNvSpPr>
                  <a:spLocks noChangeArrowheads="1"/>
                </p:cNvSpPr>
                <p:nvPr/>
              </p:nvSpPr>
              <p:spPr bwMode="auto">
                <a:xfrm>
                  <a:off x="5135530" y="4046934"/>
                  <a:ext cx="252385" cy="361950"/>
                </a:xfrm>
                <a:custGeom>
                  <a:avLst/>
                  <a:gdLst>
                    <a:gd name="T0" fmla="*/ 34136255 w 1865"/>
                    <a:gd name="T1" fmla="*/ 15160079 h 2683"/>
                    <a:gd name="T2" fmla="*/ 34136255 w 1865"/>
                    <a:gd name="T3" fmla="*/ 15160079 h 2683"/>
                    <a:gd name="T4" fmla="*/ 12196759 w 1865"/>
                    <a:gd name="T5" fmla="*/ 11756832 h 2683"/>
                    <a:gd name="T6" fmla="*/ 6684346 w 1865"/>
                    <a:gd name="T7" fmla="*/ 48810637 h 2683"/>
                    <a:gd name="T8" fmla="*/ 15877791 w 1865"/>
                    <a:gd name="T9" fmla="*/ 26771214 h 2683"/>
                    <a:gd name="T10" fmla="*/ 28880287 w 1865"/>
                    <a:gd name="T11" fmla="*/ 17362133 h 2683"/>
                    <a:gd name="T12" fmla="*/ 34136255 w 1865"/>
                    <a:gd name="T13" fmla="*/ 15160079 h 268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5" h="2683">
                      <a:moveTo>
                        <a:pt x="1864" y="833"/>
                      </a:moveTo>
                      <a:lnTo>
                        <a:pt x="1864" y="833"/>
                      </a:lnTo>
                      <a:cubicBezTo>
                        <a:pt x="1864" y="833"/>
                        <a:pt x="1326" y="0"/>
                        <a:pt x="666" y="646"/>
                      </a:cubicBezTo>
                      <a:cubicBezTo>
                        <a:pt x="0" y="1298"/>
                        <a:pt x="768" y="2495"/>
                        <a:pt x="365" y="2682"/>
                      </a:cubicBezTo>
                      <a:cubicBezTo>
                        <a:pt x="803" y="2625"/>
                        <a:pt x="911" y="2008"/>
                        <a:pt x="867" y="1471"/>
                      </a:cubicBezTo>
                      <a:cubicBezTo>
                        <a:pt x="831" y="990"/>
                        <a:pt x="1248" y="753"/>
                        <a:pt x="1577" y="954"/>
                      </a:cubicBezTo>
                      <a:cubicBezTo>
                        <a:pt x="1714" y="1034"/>
                        <a:pt x="1864" y="833"/>
                        <a:pt x="1864" y="833"/>
                      </a:cubicBezTo>
                    </a:path>
                  </a:pathLst>
                </a:custGeom>
                <a:solidFill>
                  <a:srgbClr val="451A14"/>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8" name="Freeform 1504"/>
                <p:cNvSpPr>
                  <a:spLocks noChangeArrowheads="1"/>
                </p:cNvSpPr>
                <p:nvPr/>
              </p:nvSpPr>
              <p:spPr bwMode="auto">
                <a:xfrm>
                  <a:off x="5352993" y="4527946"/>
                  <a:ext cx="60318" cy="66675"/>
                </a:xfrm>
                <a:custGeom>
                  <a:avLst/>
                  <a:gdLst>
                    <a:gd name="T0" fmla="*/ 8139278 w 446"/>
                    <a:gd name="T1" fmla="*/ 2669459 h 488"/>
                    <a:gd name="T2" fmla="*/ 1573001 w 446"/>
                    <a:gd name="T3" fmla="*/ 0 h 488"/>
                    <a:gd name="T4" fmla="*/ 0 w 446"/>
                    <a:gd name="T5" fmla="*/ 1736146 h 488"/>
                    <a:gd name="T6" fmla="*/ 3273942 w 446"/>
                    <a:gd name="T7" fmla="*/ 9091027 h 488"/>
                    <a:gd name="T8" fmla="*/ 8139278 w 446"/>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6" h="488">
                      <a:moveTo>
                        <a:pt x="445" y="143"/>
                      </a:moveTo>
                      <a:lnTo>
                        <a:pt x="86" y="0"/>
                      </a:lnTo>
                      <a:lnTo>
                        <a:pt x="0" y="93"/>
                      </a:lnTo>
                      <a:lnTo>
                        <a:pt x="179" y="487"/>
                      </a:lnTo>
                      <a:lnTo>
                        <a:pt x="445"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sp>
              <p:nvSpPr>
                <p:cNvPr id="1329" name="Freeform 1505"/>
                <p:cNvSpPr>
                  <a:spLocks noChangeArrowheads="1"/>
                </p:cNvSpPr>
                <p:nvPr/>
              </p:nvSpPr>
              <p:spPr bwMode="auto">
                <a:xfrm>
                  <a:off x="5413312" y="4527946"/>
                  <a:ext cx="61906" cy="66675"/>
                </a:xfrm>
                <a:custGeom>
                  <a:avLst/>
                  <a:gdLst>
                    <a:gd name="T0" fmla="*/ 0 w 453"/>
                    <a:gd name="T1" fmla="*/ 2669459 h 488"/>
                    <a:gd name="T2" fmla="*/ 6816493 w 453"/>
                    <a:gd name="T3" fmla="*/ 0 h 488"/>
                    <a:gd name="T4" fmla="*/ 8441218 w 453"/>
                    <a:gd name="T5" fmla="*/ 1736146 h 488"/>
                    <a:gd name="T6" fmla="*/ 5079708 w 453"/>
                    <a:gd name="T7" fmla="*/ 9091027 h 488"/>
                    <a:gd name="T8" fmla="*/ 0 w 453"/>
                    <a:gd name="T9" fmla="*/ 2669459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488">
                      <a:moveTo>
                        <a:pt x="0" y="143"/>
                      </a:moveTo>
                      <a:lnTo>
                        <a:pt x="365" y="0"/>
                      </a:lnTo>
                      <a:lnTo>
                        <a:pt x="452" y="93"/>
                      </a:lnTo>
                      <a:lnTo>
                        <a:pt x="272" y="487"/>
                      </a:lnTo>
                      <a:lnTo>
                        <a:pt x="0" y="14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lIns="34290" tIns="17145" rIns="34290" bIns="1714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black"/>
                    </a:solidFill>
                    <a:effectLst/>
                    <a:uLnTx/>
                    <a:uFillTx/>
                  </a:endParaRPr>
                </a:p>
              </p:txBody>
            </p:sp>
          </p:grpSp>
          <p:sp>
            <p:nvSpPr>
              <p:cNvPr id="1313" name="Rectangle 1312"/>
              <p:cNvSpPr/>
              <p:nvPr/>
            </p:nvSpPr>
            <p:spPr>
              <a:xfrm>
                <a:off x="1119061" y="5233820"/>
                <a:ext cx="1565414" cy="580146"/>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ID: X1</a:t>
                </a:r>
              </a:p>
              <a:p>
                <a:pPr lvl="0">
                  <a:defRPr/>
                </a:pPr>
                <a:r>
                  <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rPr>
                  <a:t>Status: </a:t>
                </a:r>
                <a:r>
                  <a:rPr lang="it-IT" sz="1100" b="1" kern="0" dirty="0">
                    <a:solidFill>
                      <a:prstClr val="black"/>
                    </a:solidFill>
                  </a:rPr>
                  <a:t>distaccata in PL</a:t>
                </a:r>
                <a:endParaRPr kumimoji="0" lang="it-IT" sz="11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79" name="Rectangle 35">
            <a:extLst>
              <a:ext uri="{FF2B5EF4-FFF2-40B4-BE49-F238E27FC236}">
                <a16:creationId xmlns:a16="http://schemas.microsoft.com/office/drawing/2014/main" xmlns="" id="{AA4EAE5E-F8E8-4358-A149-C99B3887A1BB}"/>
              </a:ext>
            </a:extLst>
          </p:cNvPr>
          <p:cNvSpPr>
            <a:spLocks noChangeArrowheads="1"/>
          </p:cNvSpPr>
          <p:nvPr/>
        </p:nvSpPr>
        <p:spPr bwMode="auto">
          <a:xfrm>
            <a:off x="623888" y="832502"/>
            <a:ext cx="1092837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lvl="0" algn="just" eaLnBrk="0" fontAlgn="base" hangingPunct="0">
              <a:lnSpc>
                <a:spcPct val="100000"/>
              </a:lnSpc>
              <a:spcBef>
                <a:spcPct val="0"/>
              </a:spcBef>
              <a:spcAft>
                <a:spcPct val="0"/>
              </a:spcAft>
              <a:buNone/>
            </a:pPr>
            <a:r>
              <a:rPr lang="it-IT" altLang="it-IT" sz="1600" dirty="0">
                <a:latin typeface="Calibri" panose="020F0502020204030204" pitchFamily="34" charset="0"/>
              </a:rPr>
              <a:t>Il processo illustra il funzionamento del network </a:t>
            </a:r>
            <a:r>
              <a:rPr lang="it-IT" altLang="it-IT" sz="1600" dirty="0" err="1">
                <a:latin typeface="Calibri" panose="020F0502020204030204" pitchFamily="34" charset="0"/>
              </a:rPr>
              <a:t>blockchain</a:t>
            </a:r>
            <a:r>
              <a:rPr lang="it-IT" altLang="it-IT" sz="1600" dirty="0">
                <a:latin typeface="Calibri" panose="020F0502020204030204" pitchFamily="34" charset="0"/>
              </a:rPr>
              <a:t> ESSN nel caso di una lavoratrice italiana che richiede ed ottiene da INPS il certificato di distacco per lavorare in Polonia. Successivamente, dalla Polonia la stessa chiede di essere distaccata in Olanda e la richiesta le viene negata poi già distaccata in Polonia.</a:t>
            </a:r>
          </a:p>
        </p:txBody>
      </p:sp>
      <p:sp>
        <p:nvSpPr>
          <p:cNvPr id="327"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en-US" sz="2800" b="1" dirty="0">
                <a:latin typeface="Calibri" panose="020F0502020204030204" pitchFamily="34" charset="0"/>
                <a:cs typeface="Calibri" panose="020F0502020204030204" pitchFamily="34" charset="0"/>
              </a:rPr>
              <a:t>Use case</a:t>
            </a:r>
          </a:p>
          <a:p>
            <a:r>
              <a:rPr lang="it-IT" sz="2399" i="1" dirty="0">
                <a:latin typeface="Calibri" panose="020F0502020204030204" pitchFamily="34" charset="0"/>
                <a:cs typeface="Calibri" panose="020F0502020204030204" pitchFamily="34" charset="0"/>
              </a:rPr>
              <a:t>I lavoratori distaccati all’estero</a:t>
            </a:r>
          </a:p>
        </p:txBody>
      </p:sp>
    </p:spTree>
    <p:extLst>
      <p:ext uri="{BB962C8B-B14F-4D97-AF65-F5344CB8AC3E}">
        <p14:creationId xmlns:p14="http://schemas.microsoft.com/office/powerpoint/2010/main" val="2812630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11"/>
                                        </p:tgtEl>
                                        <p:attrNameLst>
                                          <p:attrName>style.visibility</p:attrName>
                                        </p:attrNameLst>
                                      </p:cBhvr>
                                      <p:to>
                                        <p:strVal val="visible"/>
                                      </p:to>
                                    </p:set>
                                  </p:childTnLst>
                                </p:cTn>
                              </p:par>
                            </p:childTnLst>
                          </p:cTn>
                        </p:par>
                        <p:par>
                          <p:cTn id="7" fill="hold">
                            <p:stCondLst>
                              <p:cond delay="0"/>
                            </p:stCondLst>
                            <p:childTnLst>
                              <p:par>
                                <p:cTn id="8" presetID="22" presetClass="entr" presetSubtype="4" fill="hold" nodeType="afterEffect">
                                  <p:stCondLst>
                                    <p:cond delay="0"/>
                                  </p:stCondLst>
                                  <p:childTnLst>
                                    <p:set>
                                      <p:cBhvr>
                                        <p:cTn id="9" dur="1" fill="hold">
                                          <p:stCondLst>
                                            <p:cond delay="0"/>
                                          </p:stCondLst>
                                        </p:cTn>
                                        <p:tgtEl>
                                          <p:spTgt spid="380">
                                            <p:txEl>
                                              <p:pRg st="0" end="0"/>
                                            </p:txEl>
                                          </p:spTgt>
                                        </p:tgtEl>
                                        <p:attrNameLst>
                                          <p:attrName>style.visibility</p:attrName>
                                        </p:attrNameLst>
                                      </p:cBhvr>
                                      <p:to>
                                        <p:strVal val="visible"/>
                                      </p:to>
                                    </p:set>
                                    <p:animEffect transition="in" filter="wipe(down)">
                                      <p:cBhvr>
                                        <p:cTn id="10" dur="500"/>
                                        <p:tgtEl>
                                          <p:spTgt spid="380">
                                            <p:txEl>
                                              <p:pRg st="0" end="0"/>
                                            </p:txEl>
                                          </p:spTgt>
                                        </p:tgtEl>
                                      </p:cBhvr>
                                    </p:animEffec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1293"/>
                                        </p:tgtEl>
                                        <p:attrNameLst>
                                          <p:attrName>style.visibility</p:attrName>
                                        </p:attrNameLst>
                                      </p:cBhvr>
                                      <p:to>
                                        <p:strVal val="visible"/>
                                      </p:to>
                                    </p:set>
                                  </p:childTnLst>
                                </p:cTn>
                              </p:par>
                            </p:childTnLst>
                          </p:cTn>
                        </p:par>
                        <p:par>
                          <p:cTn id="14" fill="hold">
                            <p:stCondLst>
                              <p:cond delay="1000"/>
                            </p:stCondLst>
                            <p:childTnLst>
                              <p:par>
                                <p:cTn id="15" presetID="0" presetClass="path" presetSubtype="0" accel="50000" decel="50000" fill="hold" nodeType="afterEffect">
                                  <p:stCondLst>
                                    <p:cond delay="0"/>
                                  </p:stCondLst>
                                  <p:childTnLst>
                                    <p:animMotion origin="layout" path="M 4.58333E-6 1.48148E-6 L -0.03842 0.15 L -0.03842 0.15023 " pathEditMode="relative" rAng="0" ptsTypes="AAA">
                                      <p:cBhvr>
                                        <p:cTn id="16" dur="2000" fill="hold"/>
                                        <p:tgtEl>
                                          <p:spTgt spid="1111"/>
                                        </p:tgtEl>
                                        <p:attrNameLst>
                                          <p:attrName>ppt_x</p:attrName>
                                          <p:attrName>ppt_y</p:attrName>
                                        </p:attrNameLst>
                                      </p:cBhvr>
                                      <p:rCtr x="-1927" y="7500"/>
                                    </p:animMotion>
                                  </p:childTnLst>
                                </p:cTn>
                              </p:par>
                            </p:childTnLst>
                          </p:cTn>
                        </p:par>
                        <p:par>
                          <p:cTn id="17" fill="hold">
                            <p:stCondLst>
                              <p:cond delay="3000"/>
                            </p:stCondLst>
                            <p:childTnLst>
                              <p:par>
                                <p:cTn id="18" presetID="1" presetClass="exit" presetSubtype="0" fill="hold" nodeType="afterEffect">
                                  <p:stCondLst>
                                    <p:cond delay="0"/>
                                  </p:stCondLst>
                                  <p:childTnLst>
                                    <p:set>
                                      <p:cBhvr>
                                        <p:cTn id="19" dur="1" fill="hold">
                                          <p:stCondLst>
                                            <p:cond delay="0"/>
                                          </p:stCondLst>
                                        </p:cTn>
                                        <p:tgtEl>
                                          <p:spTgt spid="1111"/>
                                        </p:tgtEl>
                                        <p:attrNameLst>
                                          <p:attrName>style.visibility</p:attrName>
                                        </p:attrNameLst>
                                      </p:cBhvr>
                                      <p:to>
                                        <p:strVal val="hidden"/>
                                      </p:to>
                                    </p:set>
                                  </p:childTnLst>
                                </p:cTn>
                              </p:par>
                            </p:childTnLst>
                          </p:cTn>
                        </p:par>
                        <p:par>
                          <p:cTn id="20" fill="hold">
                            <p:stCondLst>
                              <p:cond delay="3000"/>
                            </p:stCondLst>
                            <p:childTnLst>
                              <p:par>
                                <p:cTn id="21" presetID="1" presetClass="entr" presetSubtype="0" fill="hold" nodeType="afterEffect">
                                  <p:stCondLst>
                                    <p:cond delay="0"/>
                                  </p:stCondLst>
                                  <p:childTnLst>
                                    <p:set>
                                      <p:cBhvr>
                                        <p:cTn id="22" dur="1" fill="hold">
                                          <p:stCondLst>
                                            <p:cond delay="0"/>
                                          </p:stCondLst>
                                        </p:cTn>
                                        <p:tgtEl>
                                          <p:spTgt spid="1130"/>
                                        </p:tgtEl>
                                        <p:attrNameLst>
                                          <p:attrName>style.visibility</p:attrName>
                                        </p:attrNameLst>
                                      </p:cBhvr>
                                      <p:to>
                                        <p:strVal val="visible"/>
                                      </p:to>
                                    </p:set>
                                  </p:childTnLst>
                                </p:cTn>
                              </p:par>
                            </p:childTnLst>
                          </p:cTn>
                        </p:par>
                        <p:par>
                          <p:cTn id="23" fill="hold">
                            <p:stCondLst>
                              <p:cond delay="3000"/>
                            </p:stCondLst>
                            <p:childTnLst>
                              <p:par>
                                <p:cTn id="24" presetID="42" presetClass="path" presetSubtype="0" accel="50000" decel="50000" fill="hold" nodeType="afterEffect">
                                  <p:stCondLst>
                                    <p:cond delay="0"/>
                                  </p:stCondLst>
                                  <p:childTnLst>
                                    <p:animMotion origin="layout" path="M -4.375E-6 3.7037E-7 L 0.04675 -0.14236 " pathEditMode="relative" rAng="0" ptsTypes="AA">
                                      <p:cBhvr>
                                        <p:cTn id="25" dur="2000" fill="hold"/>
                                        <p:tgtEl>
                                          <p:spTgt spid="1130"/>
                                        </p:tgtEl>
                                        <p:attrNameLst>
                                          <p:attrName>ppt_x</p:attrName>
                                          <p:attrName>ppt_y</p:attrName>
                                        </p:attrNameLst>
                                      </p:cBhvr>
                                      <p:rCtr x="2331" y="-7130"/>
                                    </p:animMotion>
                                  </p:childTnLst>
                                </p:cTn>
                              </p:par>
                            </p:childTnLst>
                          </p:cTn>
                        </p:par>
                        <p:par>
                          <p:cTn id="26" fill="hold">
                            <p:stCondLst>
                              <p:cond delay="5000"/>
                            </p:stCondLst>
                            <p:childTnLst>
                              <p:par>
                                <p:cTn id="27" presetID="1" presetClass="exit" presetSubtype="0" fill="hold" nodeType="afterEffect">
                                  <p:stCondLst>
                                    <p:cond delay="0"/>
                                  </p:stCondLst>
                                  <p:childTnLst>
                                    <p:set>
                                      <p:cBhvr>
                                        <p:cTn id="28" dur="1" fill="hold">
                                          <p:stCondLst>
                                            <p:cond delay="0"/>
                                          </p:stCondLst>
                                        </p:cTn>
                                        <p:tgtEl>
                                          <p:spTgt spid="1130"/>
                                        </p:tgtEl>
                                        <p:attrNameLst>
                                          <p:attrName>style.visibility</p:attrName>
                                        </p:attrNameLst>
                                      </p:cBhvr>
                                      <p:to>
                                        <p:strVal val="hidden"/>
                                      </p:to>
                                    </p:set>
                                  </p:childTnLst>
                                </p:cTn>
                              </p:par>
                            </p:childTnLst>
                          </p:cTn>
                        </p:par>
                        <p:par>
                          <p:cTn id="29" fill="hold">
                            <p:stCondLst>
                              <p:cond delay="5000"/>
                            </p:stCondLst>
                            <p:childTnLst>
                              <p:par>
                                <p:cTn id="30" presetID="1" presetClass="exit" presetSubtype="0" fill="hold" grpId="1" nodeType="afterEffect">
                                  <p:stCondLst>
                                    <p:cond delay="0"/>
                                  </p:stCondLst>
                                  <p:childTnLst>
                                    <p:set>
                                      <p:cBhvr>
                                        <p:cTn id="31" dur="1" fill="hold">
                                          <p:stCondLst>
                                            <p:cond delay="0"/>
                                          </p:stCondLst>
                                        </p:cTn>
                                        <p:tgtEl>
                                          <p:spTgt spid="1293"/>
                                        </p:tgtEl>
                                        <p:attrNameLst>
                                          <p:attrName>style.visibility</p:attrName>
                                        </p:attrNameLst>
                                      </p:cBhvr>
                                      <p:to>
                                        <p:strVal val="hidden"/>
                                      </p:to>
                                    </p:set>
                                  </p:childTnLst>
                                </p:cTn>
                              </p:par>
                            </p:childTnLst>
                          </p:cTn>
                        </p:par>
                        <p:par>
                          <p:cTn id="32" fill="hold">
                            <p:stCondLst>
                              <p:cond delay="5000"/>
                            </p:stCondLst>
                            <p:childTnLst>
                              <p:par>
                                <p:cTn id="33" presetID="22" presetClass="entr" presetSubtype="4" fill="hold" nodeType="afterEffect">
                                  <p:stCondLst>
                                    <p:cond delay="0"/>
                                  </p:stCondLst>
                                  <p:childTnLst>
                                    <p:set>
                                      <p:cBhvr>
                                        <p:cTn id="34" dur="1" fill="hold">
                                          <p:stCondLst>
                                            <p:cond delay="0"/>
                                          </p:stCondLst>
                                        </p:cTn>
                                        <p:tgtEl>
                                          <p:spTgt spid="380">
                                            <p:txEl>
                                              <p:pRg st="1" end="1"/>
                                            </p:txEl>
                                          </p:spTgt>
                                        </p:tgtEl>
                                        <p:attrNameLst>
                                          <p:attrName>style.visibility</p:attrName>
                                        </p:attrNameLst>
                                      </p:cBhvr>
                                      <p:to>
                                        <p:strVal val="visible"/>
                                      </p:to>
                                    </p:set>
                                    <p:animEffect transition="in" filter="wipe(down)">
                                      <p:cBhvr>
                                        <p:cTn id="35" dur="500"/>
                                        <p:tgtEl>
                                          <p:spTgt spid="380">
                                            <p:txEl>
                                              <p:pRg st="1" end="1"/>
                                            </p:txEl>
                                          </p:spTgt>
                                        </p:tgtEl>
                                      </p:cBhvr>
                                    </p:animEffect>
                                  </p:childTnLst>
                                </p:cTn>
                              </p:par>
                            </p:childTnLst>
                          </p:cTn>
                        </p:par>
                        <p:par>
                          <p:cTn id="36" fill="hold">
                            <p:stCondLst>
                              <p:cond delay="6000"/>
                            </p:stCondLst>
                            <p:childTnLst>
                              <p:par>
                                <p:cTn id="37" presetID="1" presetClass="entr" presetSubtype="0" fill="hold" grpId="0" nodeType="afterEffect">
                                  <p:stCondLst>
                                    <p:cond delay="0"/>
                                  </p:stCondLst>
                                  <p:childTnLst>
                                    <p:set>
                                      <p:cBhvr>
                                        <p:cTn id="38" dur="1" fill="hold">
                                          <p:stCondLst>
                                            <p:cond delay="0"/>
                                          </p:stCondLst>
                                        </p:cTn>
                                        <p:tgtEl>
                                          <p:spTgt spid="1292"/>
                                        </p:tgtEl>
                                        <p:attrNameLst>
                                          <p:attrName>style.visibility</p:attrName>
                                        </p:attrNameLst>
                                      </p:cBhvr>
                                      <p:to>
                                        <p:strVal val="visible"/>
                                      </p:to>
                                    </p:set>
                                  </p:childTnLst>
                                </p:cTn>
                              </p:par>
                            </p:childTnLst>
                          </p:cTn>
                        </p:par>
                        <p:par>
                          <p:cTn id="39" fill="hold">
                            <p:stCondLst>
                              <p:cond delay="6000"/>
                            </p:stCondLst>
                            <p:childTnLst>
                              <p:par>
                                <p:cTn id="40" presetID="1" presetClass="entr" presetSubtype="0" fill="hold" nodeType="afterEffect">
                                  <p:stCondLst>
                                    <p:cond delay="0"/>
                                  </p:stCondLst>
                                  <p:childTnLst>
                                    <p:set>
                                      <p:cBhvr>
                                        <p:cTn id="41" dur="1" fill="hold">
                                          <p:stCondLst>
                                            <p:cond delay="0"/>
                                          </p:stCondLst>
                                        </p:cTn>
                                        <p:tgtEl>
                                          <p:spTgt spid="1151"/>
                                        </p:tgtEl>
                                        <p:attrNameLst>
                                          <p:attrName>style.visibility</p:attrName>
                                        </p:attrNameLst>
                                      </p:cBhvr>
                                      <p:to>
                                        <p:strVal val="visible"/>
                                      </p:to>
                                    </p:set>
                                  </p:childTnLst>
                                </p:cTn>
                              </p:par>
                            </p:childTnLst>
                          </p:cTn>
                        </p:par>
                        <p:par>
                          <p:cTn id="42" fill="hold">
                            <p:stCondLst>
                              <p:cond delay="6000"/>
                            </p:stCondLst>
                            <p:childTnLst>
                              <p:par>
                                <p:cTn id="43" presetID="42" presetClass="path" presetSubtype="0" accel="50000" decel="50000" fill="hold" nodeType="afterEffect">
                                  <p:stCondLst>
                                    <p:cond delay="0"/>
                                  </p:stCondLst>
                                  <p:childTnLst>
                                    <p:animMotion origin="layout" path="M -1.04167E-6 3.7037E-7 L -0.13086 0.18264 " pathEditMode="relative" rAng="0" ptsTypes="AA">
                                      <p:cBhvr>
                                        <p:cTn id="44" dur="2000" fill="hold"/>
                                        <p:tgtEl>
                                          <p:spTgt spid="1151"/>
                                        </p:tgtEl>
                                        <p:attrNameLst>
                                          <p:attrName>ppt_x</p:attrName>
                                          <p:attrName>ppt_y</p:attrName>
                                        </p:attrNameLst>
                                      </p:cBhvr>
                                      <p:rCtr x="-6549" y="9120"/>
                                    </p:animMotion>
                                  </p:childTnLst>
                                </p:cTn>
                              </p:par>
                            </p:childTnLst>
                          </p:cTn>
                        </p:par>
                        <p:par>
                          <p:cTn id="45" fill="hold">
                            <p:stCondLst>
                              <p:cond delay="8000"/>
                            </p:stCondLst>
                            <p:childTnLst>
                              <p:par>
                                <p:cTn id="46" presetID="2" presetClass="entr" presetSubtype="4" fill="hold" nodeType="afterEffect">
                                  <p:stCondLst>
                                    <p:cond delay="0"/>
                                  </p:stCondLst>
                                  <p:childTnLst>
                                    <p:set>
                                      <p:cBhvr>
                                        <p:cTn id="47" dur="1" fill="hold">
                                          <p:stCondLst>
                                            <p:cond delay="0"/>
                                          </p:stCondLst>
                                        </p:cTn>
                                        <p:tgtEl>
                                          <p:spTgt spid="1300"/>
                                        </p:tgtEl>
                                        <p:attrNameLst>
                                          <p:attrName>style.visibility</p:attrName>
                                        </p:attrNameLst>
                                      </p:cBhvr>
                                      <p:to>
                                        <p:strVal val="visible"/>
                                      </p:to>
                                    </p:set>
                                    <p:anim calcmode="lin" valueType="num">
                                      <p:cBhvr additive="base">
                                        <p:cTn id="48" dur="1200" fill="hold"/>
                                        <p:tgtEl>
                                          <p:spTgt spid="1300"/>
                                        </p:tgtEl>
                                        <p:attrNameLst>
                                          <p:attrName>ppt_x</p:attrName>
                                        </p:attrNameLst>
                                      </p:cBhvr>
                                      <p:tavLst>
                                        <p:tav tm="0">
                                          <p:val>
                                            <p:strVal val="#ppt_x"/>
                                          </p:val>
                                        </p:tav>
                                        <p:tav tm="100000">
                                          <p:val>
                                            <p:strVal val="#ppt_x"/>
                                          </p:val>
                                        </p:tav>
                                      </p:tavLst>
                                    </p:anim>
                                    <p:anim calcmode="lin" valueType="num">
                                      <p:cBhvr additive="base">
                                        <p:cTn id="49" dur="1200" fill="hold"/>
                                        <p:tgtEl>
                                          <p:spTgt spid="1300"/>
                                        </p:tgtEl>
                                        <p:attrNameLst>
                                          <p:attrName>ppt_y</p:attrName>
                                        </p:attrNameLst>
                                      </p:cBhvr>
                                      <p:tavLst>
                                        <p:tav tm="0">
                                          <p:val>
                                            <p:strVal val="1+#ppt_h/2"/>
                                          </p:val>
                                        </p:tav>
                                        <p:tav tm="100000">
                                          <p:val>
                                            <p:strVal val="#ppt_y"/>
                                          </p:val>
                                        </p:tav>
                                      </p:tavLst>
                                    </p:anim>
                                  </p:childTnLst>
                                </p:cTn>
                              </p:par>
                              <p:par>
                                <p:cTn id="50" presetID="2" presetClass="entr" presetSubtype="12" fill="hold" nodeType="withEffect">
                                  <p:stCondLst>
                                    <p:cond delay="0"/>
                                  </p:stCondLst>
                                  <p:childTnLst>
                                    <p:set>
                                      <p:cBhvr>
                                        <p:cTn id="51" dur="1" fill="hold">
                                          <p:stCondLst>
                                            <p:cond delay="0"/>
                                          </p:stCondLst>
                                        </p:cTn>
                                        <p:tgtEl>
                                          <p:spTgt spid="1306"/>
                                        </p:tgtEl>
                                        <p:attrNameLst>
                                          <p:attrName>style.visibility</p:attrName>
                                        </p:attrNameLst>
                                      </p:cBhvr>
                                      <p:to>
                                        <p:strVal val="visible"/>
                                      </p:to>
                                    </p:set>
                                    <p:anim calcmode="lin" valueType="num">
                                      <p:cBhvr additive="base">
                                        <p:cTn id="52" dur="1200" fill="hold"/>
                                        <p:tgtEl>
                                          <p:spTgt spid="1306"/>
                                        </p:tgtEl>
                                        <p:attrNameLst>
                                          <p:attrName>ppt_x</p:attrName>
                                        </p:attrNameLst>
                                      </p:cBhvr>
                                      <p:tavLst>
                                        <p:tav tm="0">
                                          <p:val>
                                            <p:strVal val="0-#ppt_w/2"/>
                                          </p:val>
                                        </p:tav>
                                        <p:tav tm="100000">
                                          <p:val>
                                            <p:strVal val="#ppt_x"/>
                                          </p:val>
                                        </p:tav>
                                      </p:tavLst>
                                    </p:anim>
                                    <p:anim calcmode="lin" valueType="num">
                                      <p:cBhvr additive="base">
                                        <p:cTn id="53" dur="1200" fill="hold"/>
                                        <p:tgtEl>
                                          <p:spTgt spid="1306"/>
                                        </p:tgtEl>
                                        <p:attrNameLst>
                                          <p:attrName>ppt_y</p:attrName>
                                        </p:attrNameLst>
                                      </p:cBhvr>
                                      <p:tavLst>
                                        <p:tav tm="0">
                                          <p:val>
                                            <p:strVal val="1+#ppt_h/2"/>
                                          </p:val>
                                        </p:tav>
                                        <p:tav tm="100000">
                                          <p:val>
                                            <p:strVal val="#ppt_y"/>
                                          </p:val>
                                        </p:tav>
                                      </p:tavLst>
                                    </p:anim>
                                  </p:childTnLst>
                                </p:cTn>
                              </p:par>
                              <p:par>
                                <p:cTn id="54" presetID="2" presetClass="entr" presetSubtype="8" fill="hold" nodeType="withEffect">
                                  <p:stCondLst>
                                    <p:cond delay="0"/>
                                  </p:stCondLst>
                                  <p:childTnLst>
                                    <p:set>
                                      <p:cBhvr>
                                        <p:cTn id="55" dur="1" fill="hold">
                                          <p:stCondLst>
                                            <p:cond delay="0"/>
                                          </p:stCondLst>
                                        </p:cTn>
                                        <p:tgtEl>
                                          <p:spTgt spid="1303"/>
                                        </p:tgtEl>
                                        <p:attrNameLst>
                                          <p:attrName>style.visibility</p:attrName>
                                        </p:attrNameLst>
                                      </p:cBhvr>
                                      <p:to>
                                        <p:strVal val="visible"/>
                                      </p:to>
                                    </p:set>
                                    <p:anim calcmode="lin" valueType="num">
                                      <p:cBhvr additive="base">
                                        <p:cTn id="56" dur="1200" fill="hold"/>
                                        <p:tgtEl>
                                          <p:spTgt spid="1303"/>
                                        </p:tgtEl>
                                        <p:attrNameLst>
                                          <p:attrName>ppt_x</p:attrName>
                                        </p:attrNameLst>
                                      </p:cBhvr>
                                      <p:tavLst>
                                        <p:tav tm="0">
                                          <p:val>
                                            <p:strVal val="0-#ppt_w/2"/>
                                          </p:val>
                                        </p:tav>
                                        <p:tav tm="100000">
                                          <p:val>
                                            <p:strVal val="#ppt_x"/>
                                          </p:val>
                                        </p:tav>
                                      </p:tavLst>
                                    </p:anim>
                                    <p:anim calcmode="lin" valueType="num">
                                      <p:cBhvr additive="base">
                                        <p:cTn id="57" dur="1200" fill="hold"/>
                                        <p:tgtEl>
                                          <p:spTgt spid="1303"/>
                                        </p:tgtEl>
                                        <p:attrNameLst>
                                          <p:attrName>ppt_y</p:attrName>
                                        </p:attrNameLst>
                                      </p:cBhvr>
                                      <p:tavLst>
                                        <p:tav tm="0">
                                          <p:val>
                                            <p:strVal val="#ppt_y"/>
                                          </p:val>
                                        </p:tav>
                                        <p:tav tm="100000">
                                          <p:val>
                                            <p:strVal val="#ppt_y"/>
                                          </p:val>
                                        </p:tav>
                                      </p:tavLst>
                                    </p:anim>
                                  </p:childTnLst>
                                </p:cTn>
                              </p:par>
                            </p:childTnLst>
                          </p:cTn>
                        </p:par>
                        <p:par>
                          <p:cTn id="58" fill="hold">
                            <p:stCondLst>
                              <p:cond delay="9200"/>
                            </p:stCondLst>
                            <p:childTnLst>
                              <p:par>
                                <p:cTn id="59" presetID="1" presetClass="entr" presetSubtype="0" fill="hold" nodeType="afterEffect">
                                  <p:stCondLst>
                                    <p:cond delay="0"/>
                                  </p:stCondLst>
                                  <p:childTnLst>
                                    <p:set>
                                      <p:cBhvr>
                                        <p:cTn id="60" dur="1" fill="hold">
                                          <p:stCondLst>
                                            <p:cond delay="0"/>
                                          </p:stCondLst>
                                        </p:cTn>
                                        <p:tgtEl>
                                          <p:spTgt spid="1172"/>
                                        </p:tgtEl>
                                        <p:attrNameLst>
                                          <p:attrName>style.visibility</p:attrName>
                                        </p:attrNameLst>
                                      </p:cBhvr>
                                      <p:to>
                                        <p:strVal val="visible"/>
                                      </p:to>
                                    </p:set>
                                  </p:childTnLst>
                                </p:cTn>
                              </p:par>
                            </p:childTnLst>
                          </p:cTn>
                        </p:par>
                        <p:par>
                          <p:cTn id="61" fill="hold">
                            <p:stCondLst>
                              <p:cond delay="9200"/>
                            </p:stCondLst>
                            <p:childTnLst>
                              <p:par>
                                <p:cTn id="62" presetID="1" presetClass="entr" presetSubtype="0" fill="hold" nodeType="afterEffect">
                                  <p:stCondLst>
                                    <p:cond delay="0"/>
                                  </p:stCondLst>
                                  <p:childTnLst>
                                    <p:set>
                                      <p:cBhvr>
                                        <p:cTn id="63" dur="1" fill="hold">
                                          <p:stCondLst>
                                            <p:cond delay="0"/>
                                          </p:stCondLst>
                                        </p:cTn>
                                        <p:tgtEl>
                                          <p:spTgt spid="1193"/>
                                        </p:tgtEl>
                                        <p:attrNameLst>
                                          <p:attrName>style.visibility</p:attrName>
                                        </p:attrNameLst>
                                      </p:cBhvr>
                                      <p:to>
                                        <p:strVal val="visible"/>
                                      </p:to>
                                    </p:set>
                                  </p:childTnLst>
                                </p:cTn>
                              </p:par>
                            </p:childTnLst>
                          </p:cTn>
                        </p:par>
                        <p:par>
                          <p:cTn id="64" fill="hold">
                            <p:stCondLst>
                              <p:cond delay="9200"/>
                            </p:stCondLst>
                            <p:childTnLst>
                              <p:par>
                                <p:cTn id="65" presetID="1" presetClass="entr" presetSubtype="0" fill="hold" nodeType="afterEffect">
                                  <p:stCondLst>
                                    <p:cond delay="0"/>
                                  </p:stCondLst>
                                  <p:childTnLst>
                                    <p:set>
                                      <p:cBhvr>
                                        <p:cTn id="66" dur="1" fill="hold">
                                          <p:stCondLst>
                                            <p:cond delay="0"/>
                                          </p:stCondLst>
                                        </p:cTn>
                                        <p:tgtEl>
                                          <p:spTgt spid="1214"/>
                                        </p:tgtEl>
                                        <p:attrNameLst>
                                          <p:attrName>style.visibility</p:attrName>
                                        </p:attrNameLst>
                                      </p:cBhvr>
                                      <p:to>
                                        <p:strVal val="visible"/>
                                      </p:to>
                                    </p:set>
                                  </p:childTnLst>
                                </p:cTn>
                              </p:par>
                            </p:childTnLst>
                          </p:cTn>
                        </p:par>
                        <p:par>
                          <p:cTn id="67" fill="hold">
                            <p:stCondLst>
                              <p:cond delay="9200"/>
                            </p:stCondLst>
                            <p:childTnLst>
                              <p:par>
                                <p:cTn id="68" presetID="1" presetClass="exit" presetSubtype="0" fill="hold" nodeType="afterEffect">
                                  <p:stCondLst>
                                    <p:cond delay="1300"/>
                                  </p:stCondLst>
                                  <p:childTnLst>
                                    <p:set>
                                      <p:cBhvr>
                                        <p:cTn id="69" dur="1" fill="hold">
                                          <p:stCondLst>
                                            <p:cond delay="0"/>
                                          </p:stCondLst>
                                        </p:cTn>
                                        <p:tgtEl>
                                          <p:spTgt spid="1300"/>
                                        </p:tgtEl>
                                        <p:attrNameLst>
                                          <p:attrName>style.visibility</p:attrName>
                                        </p:attrNameLst>
                                      </p:cBhvr>
                                      <p:to>
                                        <p:strVal val="hidden"/>
                                      </p:to>
                                    </p:set>
                                  </p:childTnLst>
                                </p:cTn>
                              </p:par>
                              <p:par>
                                <p:cTn id="70" presetID="1" presetClass="exit" presetSubtype="0" fill="hold" nodeType="withEffect">
                                  <p:stCondLst>
                                    <p:cond delay="1300"/>
                                  </p:stCondLst>
                                  <p:childTnLst>
                                    <p:set>
                                      <p:cBhvr>
                                        <p:cTn id="71" dur="1" fill="hold">
                                          <p:stCondLst>
                                            <p:cond delay="0"/>
                                          </p:stCondLst>
                                        </p:cTn>
                                        <p:tgtEl>
                                          <p:spTgt spid="1306"/>
                                        </p:tgtEl>
                                        <p:attrNameLst>
                                          <p:attrName>style.visibility</p:attrName>
                                        </p:attrNameLst>
                                      </p:cBhvr>
                                      <p:to>
                                        <p:strVal val="hidden"/>
                                      </p:to>
                                    </p:set>
                                  </p:childTnLst>
                                </p:cTn>
                              </p:par>
                              <p:par>
                                <p:cTn id="72" presetID="1" presetClass="exit" presetSubtype="0" fill="hold" nodeType="withEffect">
                                  <p:stCondLst>
                                    <p:cond delay="1300"/>
                                  </p:stCondLst>
                                  <p:childTnLst>
                                    <p:set>
                                      <p:cBhvr>
                                        <p:cTn id="73" dur="1" fill="hold">
                                          <p:stCondLst>
                                            <p:cond delay="0"/>
                                          </p:stCondLst>
                                        </p:cTn>
                                        <p:tgtEl>
                                          <p:spTgt spid="1303"/>
                                        </p:tgtEl>
                                        <p:attrNameLst>
                                          <p:attrName>style.visibility</p:attrName>
                                        </p:attrNameLst>
                                      </p:cBhvr>
                                      <p:to>
                                        <p:strVal val="hidden"/>
                                      </p:to>
                                    </p:set>
                                  </p:childTnLst>
                                </p:cTn>
                              </p:par>
                            </p:childTnLst>
                          </p:cTn>
                        </p:par>
                        <p:par>
                          <p:cTn id="74" fill="hold">
                            <p:stCondLst>
                              <p:cond delay="10500"/>
                            </p:stCondLst>
                            <p:childTnLst>
                              <p:par>
                                <p:cTn id="75" presetID="1" presetClass="exit" presetSubtype="0" fill="hold" grpId="1" nodeType="afterEffect">
                                  <p:stCondLst>
                                    <p:cond delay="2200"/>
                                  </p:stCondLst>
                                  <p:childTnLst>
                                    <p:set>
                                      <p:cBhvr>
                                        <p:cTn id="76" dur="1" fill="hold">
                                          <p:stCondLst>
                                            <p:cond delay="0"/>
                                          </p:stCondLst>
                                        </p:cTn>
                                        <p:tgtEl>
                                          <p:spTgt spid="1292"/>
                                        </p:tgtEl>
                                        <p:attrNameLst>
                                          <p:attrName>style.visibility</p:attrName>
                                        </p:attrNameLst>
                                      </p:cBhvr>
                                      <p:to>
                                        <p:strVal val="hidden"/>
                                      </p:to>
                                    </p:set>
                                  </p:childTnLst>
                                </p:cTn>
                              </p:par>
                            </p:childTnLst>
                          </p:cTn>
                        </p:par>
                        <p:par>
                          <p:cTn id="77" fill="hold">
                            <p:stCondLst>
                              <p:cond delay="12700"/>
                            </p:stCondLst>
                            <p:childTnLst>
                              <p:par>
                                <p:cTn id="78" presetID="22" presetClass="entr" presetSubtype="4" fill="hold" nodeType="afterEffect">
                                  <p:stCondLst>
                                    <p:cond delay="0"/>
                                  </p:stCondLst>
                                  <p:childTnLst>
                                    <p:set>
                                      <p:cBhvr>
                                        <p:cTn id="79" dur="1" fill="hold">
                                          <p:stCondLst>
                                            <p:cond delay="0"/>
                                          </p:stCondLst>
                                        </p:cTn>
                                        <p:tgtEl>
                                          <p:spTgt spid="380">
                                            <p:txEl>
                                              <p:pRg st="2" end="2"/>
                                            </p:txEl>
                                          </p:spTgt>
                                        </p:tgtEl>
                                        <p:attrNameLst>
                                          <p:attrName>style.visibility</p:attrName>
                                        </p:attrNameLst>
                                      </p:cBhvr>
                                      <p:to>
                                        <p:strVal val="visible"/>
                                      </p:to>
                                    </p:set>
                                    <p:animEffect transition="in" filter="wipe(down)">
                                      <p:cBhvr>
                                        <p:cTn id="80" dur="500"/>
                                        <p:tgtEl>
                                          <p:spTgt spid="380">
                                            <p:txEl>
                                              <p:pRg st="2" end="2"/>
                                            </p:txEl>
                                          </p:spTgt>
                                        </p:tgtEl>
                                      </p:cBhvr>
                                    </p:animEffect>
                                  </p:childTnLst>
                                </p:cTn>
                              </p:par>
                            </p:childTnLst>
                          </p:cTn>
                        </p:par>
                        <p:par>
                          <p:cTn id="81" fill="hold">
                            <p:stCondLst>
                              <p:cond delay="13700"/>
                            </p:stCondLst>
                            <p:childTnLst>
                              <p:par>
                                <p:cTn id="82" presetID="1" presetClass="entr" presetSubtype="0" fill="hold" grpId="0" nodeType="afterEffect">
                                  <p:stCondLst>
                                    <p:cond delay="0"/>
                                  </p:stCondLst>
                                  <p:childTnLst>
                                    <p:set>
                                      <p:cBhvr>
                                        <p:cTn id="83" dur="1" fill="hold">
                                          <p:stCondLst>
                                            <p:cond delay="0"/>
                                          </p:stCondLst>
                                        </p:cTn>
                                        <p:tgtEl>
                                          <p:spTgt spid="1294"/>
                                        </p:tgtEl>
                                        <p:attrNameLst>
                                          <p:attrName>style.visibility</p:attrName>
                                        </p:attrNameLst>
                                      </p:cBhvr>
                                      <p:to>
                                        <p:strVal val="visible"/>
                                      </p:to>
                                    </p:set>
                                  </p:childTnLst>
                                </p:cTn>
                              </p:par>
                            </p:childTnLst>
                          </p:cTn>
                        </p:par>
                        <p:par>
                          <p:cTn id="84" fill="hold">
                            <p:stCondLst>
                              <p:cond delay="13700"/>
                            </p:stCondLst>
                            <p:childTnLst>
                              <p:par>
                                <p:cTn id="85" presetID="1" presetClass="entr" presetSubtype="0" fill="hold" nodeType="afterEffect">
                                  <p:stCondLst>
                                    <p:cond delay="0"/>
                                  </p:stCondLst>
                                  <p:childTnLst>
                                    <p:set>
                                      <p:cBhvr>
                                        <p:cTn id="86" dur="1" fill="hold">
                                          <p:stCondLst>
                                            <p:cond delay="0"/>
                                          </p:stCondLst>
                                        </p:cTn>
                                        <p:tgtEl>
                                          <p:spTgt spid="1297"/>
                                        </p:tgtEl>
                                        <p:attrNameLst>
                                          <p:attrName>style.visibility</p:attrName>
                                        </p:attrNameLst>
                                      </p:cBhvr>
                                      <p:to>
                                        <p:strVal val="visible"/>
                                      </p:to>
                                    </p:set>
                                  </p:childTnLst>
                                </p:cTn>
                              </p:par>
                            </p:childTnLst>
                          </p:cTn>
                        </p:par>
                        <p:par>
                          <p:cTn id="87" fill="hold">
                            <p:stCondLst>
                              <p:cond delay="13700"/>
                            </p:stCondLst>
                            <p:childTnLst>
                              <p:par>
                                <p:cTn id="88" presetID="42" presetClass="path" presetSubtype="0" fill="hold" nodeType="afterEffect">
                                  <p:stCondLst>
                                    <p:cond delay="0"/>
                                  </p:stCondLst>
                                  <p:childTnLst>
                                    <p:animMotion origin="layout" path="M 6.25E-7 -4.07407E-6 L 0.14206 -0.11759 " pathEditMode="relative" rAng="0" ptsTypes="AA">
                                      <p:cBhvr>
                                        <p:cTn id="89" dur="2000" fill="hold"/>
                                        <p:tgtEl>
                                          <p:spTgt spid="1297"/>
                                        </p:tgtEl>
                                        <p:attrNameLst>
                                          <p:attrName>ppt_x</p:attrName>
                                          <p:attrName>ppt_y</p:attrName>
                                        </p:attrNameLst>
                                      </p:cBhvr>
                                      <p:rCtr x="7096" y="-5880"/>
                                    </p:animMotion>
                                  </p:childTnLst>
                                </p:cTn>
                              </p:par>
                            </p:childTnLst>
                          </p:cTn>
                        </p:par>
                        <p:par>
                          <p:cTn id="90" fill="hold">
                            <p:stCondLst>
                              <p:cond delay="15700"/>
                            </p:stCondLst>
                            <p:childTnLst>
                              <p:par>
                                <p:cTn id="91" presetID="42" presetClass="path" presetSubtype="0" fill="hold" nodeType="afterEffect">
                                  <p:stCondLst>
                                    <p:cond delay="0"/>
                                  </p:stCondLst>
                                  <p:childTnLst>
                                    <p:animMotion origin="layout" path="M 0.14206 -0.11759 L 0.4151 -0.38912 " pathEditMode="relative" rAng="0" ptsTypes="AA">
                                      <p:cBhvr>
                                        <p:cTn id="92" dur="2000" fill="hold"/>
                                        <p:tgtEl>
                                          <p:spTgt spid="1297"/>
                                        </p:tgtEl>
                                        <p:attrNameLst>
                                          <p:attrName>ppt_x</p:attrName>
                                          <p:attrName>ppt_y</p:attrName>
                                        </p:attrNameLst>
                                      </p:cBhvr>
                                      <p:rCtr x="13646" y="-13588"/>
                                    </p:animMotion>
                                  </p:childTnLst>
                                </p:cTn>
                              </p:par>
                            </p:childTnLst>
                          </p:cTn>
                        </p:par>
                        <p:par>
                          <p:cTn id="93" fill="hold">
                            <p:stCondLst>
                              <p:cond delay="17700"/>
                            </p:stCondLst>
                            <p:childTnLst>
                              <p:par>
                                <p:cTn id="94" presetID="42" presetClass="path" presetSubtype="0" fill="hold" nodeType="afterEffect">
                                  <p:stCondLst>
                                    <p:cond delay="0"/>
                                  </p:stCondLst>
                                  <p:childTnLst>
                                    <p:animMotion origin="layout" path="M 0.4151 -0.38912 L 0.45182 -0.4618 " pathEditMode="relative" rAng="0" ptsTypes="AA">
                                      <p:cBhvr>
                                        <p:cTn id="95" dur="2000" fill="hold"/>
                                        <p:tgtEl>
                                          <p:spTgt spid="1297"/>
                                        </p:tgtEl>
                                        <p:attrNameLst>
                                          <p:attrName>ppt_x</p:attrName>
                                          <p:attrName>ppt_y</p:attrName>
                                        </p:attrNameLst>
                                      </p:cBhvr>
                                      <p:rCtr x="1836" y="-3634"/>
                                    </p:animMotion>
                                  </p:childTnLst>
                                </p:cTn>
                              </p:par>
                            </p:childTnLst>
                          </p:cTn>
                        </p:par>
                        <p:par>
                          <p:cTn id="96" fill="hold">
                            <p:stCondLst>
                              <p:cond delay="19700"/>
                            </p:stCondLst>
                            <p:childTnLst>
                              <p:par>
                                <p:cTn id="97" presetID="22" presetClass="entr" presetSubtype="4" fill="hold" nodeType="afterEffect">
                                  <p:stCondLst>
                                    <p:cond delay="0"/>
                                  </p:stCondLst>
                                  <p:childTnLst>
                                    <p:set>
                                      <p:cBhvr>
                                        <p:cTn id="98" dur="1" fill="hold">
                                          <p:stCondLst>
                                            <p:cond delay="0"/>
                                          </p:stCondLst>
                                        </p:cTn>
                                        <p:tgtEl>
                                          <p:spTgt spid="380">
                                            <p:txEl>
                                              <p:pRg st="3" end="3"/>
                                            </p:txEl>
                                          </p:spTgt>
                                        </p:tgtEl>
                                        <p:attrNameLst>
                                          <p:attrName>style.visibility</p:attrName>
                                        </p:attrNameLst>
                                      </p:cBhvr>
                                      <p:to>
                                        <p:strVal val="visible"/>
                                      </p:to>
                                    </p:set>
                                    <p:animEffect transition="in" filter="wipe(down)">
                                      <p:cBhvr>
                                        <p:cTn id="99" dur="500"/>
                                        <p:tgtEl>
                                          <p:spTgt spid="380">
                                            <p:txEl>
                                              <p:pRg st="3" end="3"/>
                                            </p:txEl>
                                          </p:spTgt>
                                        </p:tgtEl>
                                      </p:cBhvr>
                                    </p:animEffect>
                                  </p:childTnLst>
                                </p:cTn>
                              </p:par>
                            </p:childTnLst>
                          </p:cTn>
                        </p:par>
                        <p:par>
                          <p:cTn id="100" fill="hold">
                            <p:stCondLst>
                              <p:cond delay="20200"/>
                            </p:stCondLst>
                            <p:childTnLst>
                              <p:par>
                                <p:cTn id="101" presetID="1" presetClass="entr" presetSubtype="0" fill="hold" grpId="0" nodeType="afterEffect">
                                  <p:stCondLst>
                                    <p:cond delay="0"/>
                                  </p:stCondLst>
                                  <p:childTnLst>
                                    <p:set>
                                      <p:cBhvr>
                                        <p:cTn id="102" dur="1" fill="hold">
                                          <p:stCondLst>
                                            <p:cond delay="0"/>
                                          </p:stCondLst>
                                        </p:cTn>
                                        <p:tgtEl>
                                          <p:spTgt spid="1296"/>
                                        </p:tgtEl>
                                        <p:attrNameLst>
                                          <p:attrName>style.visibility</p:attrName>
                                        </p:attrNameLst>
                                      </p:cBhvr>
                                      <p:to>
                                        <p:strVal val="visible"/>
                                      </p:to>
                                    </p:set>
                                  </p:childTnLst>
                                </p:cTn>
                              </p:par>
                            </p:childTnLst>
                          </p:cTn>
                        </p:par>
                        <p:par>
                          <p:cTn id="103" fill="hold">
                            <p:stCondLst>
                              <p:cond delay="20200"/>
                            </p:stCondLst>
                            <p:childTnLst>
                              <p:par>
                                <p:cTn id="104" presetID="1" presetClass="entr" presetSubtype="0" fill="hold" nodeType="afterEffect">
                                  <p:stCondLst>
                                    <p:cond delay="0"/>
                                  </p:stCondLst>
                                  <p:childTnLst>
                                    <p:set>
                                      <p:cBhvr>
                                        <p:cTn id="105" dur="1" fill="hold">
                                          <p:stCondLst>
                                            <p:cond delay="0"/>
                                          </p:stCondLst>
                                        </p:cTn>
                                        <p:tgtEl>
                                          <p:spTgt spid="1235"/>
                                        </p:tgtEl>
                                        <p:attrNameLst>
                                          <p:attrName>style.visibility</p:attrName>
                                        </p:attrNameLst>
                                      </p:cBhvr>
                                      <p:to>
                                        <p:strVal val="visible"/>
                                      </p:to>
                                    </p:set>
                                  </p:childTnLst>
                                </p:cTn>
                              </p:par>
                            </p:childTnLst>
                          </p:cTn>
                        </p:par>
                        <p:par>
                          <p:cTn id="106" fill="hold">
                            <p:stCondLst>
                              <p:cond delay="20200"/>
                            </p:stCondLst>
                            <p:childTnLst>
                              <p:par>
                                <p:cTn id="107" presetID="0" presetClass="path" presetSubtype="0" accel="50000" decel="50000" fill="hold" nodeType="afterEffect">
                                  <p:stCondLst>
                                    <p:cond delay="0"/>
                                  </p:stCondLst>
                                  <p:childTnLst>
                                    <p:animMotion origin="layout" path="M -0.01263 0.00556 L 0.10768 -0.04814 L 0.10768 -0.04791 " pathEditMode="relative" rAng="0" ptsTypes="AAA">
                                      <p:cBhvr>
                                        <p:cTn id="108" dur="2000" fill="hold"/>
                                        <p:tgtEl>
                                          <p:spTgt spid="1235"/>
                                        </p:tgtEl>
                                        <p:attrNameLst>
                                          <p:attrName>ppt_x</p:attrName>
                                          <p:attrName>ppt_y</p:attrName>
                                        </p:attrNameLst>
                                      </p:cBhvr>
                                      <p:rCtr x="6016" y="-2685"/>
                                    </p:animMotion>
                                  </p:childTnLst>
                                </p:cTn>
                              </p:par>
                            </p:childTnLst>
                          </p:cTn>
                        </p:par>
                        <p:par>
                          <p:cTn id="109" fill="hold">
                            <p:stCondLst>
                              <p:cond delay="22200"/>
                            </p:stCondLst>
                            <p:childTnLst>
                              <p:par>
                                <p:cTn id="110" presetID="1" presetClass="exit" presetSubtype="0" fill="hold" nodeType="afterEffect">
                                  <p:stCondLst>
                                    <p:cond delay="0"/>
                                  </p:stCondLst>
                                  <p:childTnLst>
                                    <p:set>
                                      <p:cBhvr>
                                        <p:cTn id="111" dur="1" fill="hold">
                                          <p:stCondLst>
                                            <p:cond delay="0"/>
                                          </p:stCondLst>
                                        </p:cTn>
                                        <p:tgtEl>
                                          <p:spTgt spid="1235"/>
                                        </p:tgtEl>
                                        <p:attrNameLst>
                                          <p:attrName>style.visibility</p:attrName>
                                        </p:attrNameLst>
                                      </p:cBhvr>
                                      <p:to>
                                        <p:strVal val="hidden"/>
                                      </p:to>
                                    </p:set>
                                  </p:childTnLst>
                                </p:cTn>
                              </p:par>
                            </p:childTnLst>
                          </p:cTn>
                        </p:par>
                        <p:par>
                          <p:cTn id="112" fill="hold">
                            <p:stCondLst>
                              <p:cond delay="22200"/>
                            </p:stCondLst>
                            <p:childTnLst>
                              <p:par>
                                <p:cTn id="113" presetID="1" presetClass="entr" presetSubtype="0" fill="hold" nodeType="afterEffect">
                                  <p:stCondLst>
                                    <p:cond delay="0"/>
                                  </p:stCondLst>
                                  <p:childTnLst>
                                    <p:set>
                                      <p:cBhvr>
                                        <p:cTn id="114" dur="1" fill="hold">
                                          <p:stCondLst>
                                            <p:cond delay="0"/>
                                          </p:stCondLst>
                                        </p:cTn>
                                        <p:tgtEl>
                                          <p:spTgt spid="1309"/>
                                        </p:tgtEl>
                                        <p:attrNameLst>
                                          <p:attrName>style.visibility</p:attrName>
                                        </p:attrNameLst>
                                      </p:cBhvr>
                                      <p:to>
                                        <p:strVal val="visible"/>
                                      </p:to>
                                    </p:set>
                                  </p:childTnLst>
                                </p:cTn>
                              </p:par>
                            </p:childTnLst>
                          </p:cTn>
                        </p:par>
                        <p:par>
                          <p:cTn id="115" fill="hold">
                            <p:stCondLst>
                              <p:cond delay="22200"/>
                            </p:stCondLst>
                            <p:childTnLst>
                              <p:par>
                                <p:cTn id="116" presetID="42" presetClass="path" presetSubtype="0" accel="50000" decel="50000" fill="hold" nodeType="afterEffect">
                                  <p:stCondLst>
                                    <p:cond delay="0"/>
                                  </p:stCondLst>
                                  <p:childTnLst>
                                    <p:animMotion origin="layout" path="M 3.54167E-6 -3.33333E-6 L -0.10521 0.04954 " pathEditMode="relative" rAng="0" ptsTypes="AA">
                                      <p:cBhvr>
                                        <p:cTn id="117" dur="2000" fill="hold"/>
                                        <p:tgtEl>
                                          <p:spTgt spid="1309"/>
                                        </p:tgtEl>
                                        <p:attrNameLst>
                                          <p:attrName>ppt_x</p:attrName>
                                          <p:attrName>ppt_y</p:attrName>
                                        </p:attrNameLst>
                                      </p:cBhvr>
                                      <p:rCtr x="-5260" y="2477"/>
                                    </p:animMotion>
                                  </p:childTnLst>
                                </p:cTn>
                              </p:par>
                            </p:childTnLst>
                          </p:cTn>
                        </p:par>
                        <p:par>
                          <p:cTn id="118" fill="hold">
                            <p:stCondLst>
                              <p:cond delay="24200"/>
                            </p:stCondLst>
                            <p:childTnLst>
                              <p:par>
                                <p:cTn id="119" presetID="1" presetClass="exit" presetSubtype="0" fill="hold" nodeType="afterEffect">
                                  <p:stCondLst>
                                    <p:cond delay="0"/>
                                  </p:stCondLst>
                                  <p:childTnLst>
                                    <p:set>
                                      <p:cBhvr>
                                        <p:cTn id="120" dur="1" fill="hold">
                                          <p:stCondLst>
                                            <p:cond delay="0"/>
                                          </p:stCondLst>
                                        </p:cTn>
                                        <p:tgtEl>
                                          <p:spTgt spid="1309"/>
                                        </p:tgtEl>
                                        <p:attrNameLst>
                                          <p:attrName>style.visibility</p:attrName>
                                        </p:attrNameLst>
                                      </p:cBhvr>
                                      <p:to>
                                        <p:strVal val="hidden"/>
                                      </p:to>
                                    </p:set>
                                  </p:childTnLst>
                                </p:cTn>
                              </p:par>
                            </p:childTnLst>
                          </p:cTn>
                        </p:par>
                        <p:par>
                          <p:cTn id="121" fill="hold">
                            <p:stCondLst>
                              <p:cond delay="24200"/>
                            </p:stCondLst>
                            <p:childTnLst>
                              <p:par>
                                <p:cTn id="122" presetID="1" presetClass="exit" presetSubtype="0" fill="hold" grpId="1" nodeType="afterEffect">
                                  <p:stCondLst>
                                    <p:cond delay="0"/>
                                  </p:stCondLst>
                                  <p:childTnLst>
                                    <p:set>
                                      <p:cBhvr>
                                        <p:cTn id="123" dur="1" fill="hold">
                                          <p:stCondLst>
                                            <p:cond delay="0"/>
                                          </p:stCondLst>
                                        </p:cTn>
                                        <p:tgtEl>
                                          <p:spTgt spid="1296"/>
                                        </p:tgtEl>
                                        <p:attrNameLst>
                                          <p:attrName>style.visibility</p:attrName>
                                        </p:attrNameLst>
                                      </p:cBhvr>
                                      <p:to>
                                        <p:strVal val="hidden"/>
                                      </p:to>
                                    </p:set>
                                  </p:childTnLst>
                                </p:cTn>
                              </p:par>
                            </p:childTnLst>
                          </p:cTn>
                        </p:par>
                        <p:par>
                          <p:cTn id="124" fill="hold">
                            <p:stCondLst>
                              <p:cond delay="24200"/>
                            </p:stCondLst>
                            <p:childTnLst>
                              <p:par>
                                <p:cTn id="125" presetID="1" presetClass="exit" presetSubtype="0" fill="hold" grpId="1" nodeType="afterEffect">
                                  <p:stCondLst>
                                    <p:cond delay="0"/>
                                  </p:stCondLst>
                                  <p:childTnLst>
                                    <p:set>
                                      <p:cBhvr>
                                        <p:cTn id="126" dur="1" fill="hold">
                                          <p:stCondLst>
                                            <p:cond delay="0"/>
                                          </p:stCondLst>
                                        </p:cTn>
                                        <p:tgtEl>
                                          <p:spTgt spid="1294"/>
                                        </p:tgtEl>
                                        <p:attrNameLst>
                                          <p:attrName>style.visibility</p:attrName>
                                        </p:attrNameLst>
                                      </p:cBhvr>
                                      <p:to>
                                        <p:strVal val="hidden"/>
                                      </p:to>
                                    </p:set>
                                  </p:childTnLst>
                                </p:cTn>
                              </p:par>
                            </p:childTnLst>
                          </p:cTn>
                        </p:par>
                        <p:par>
                          <p:cTn id="127" fill="hold">
                            <p:stCondLst>
                              <p:cond delay="24200"/>
                            </p:stCondLst>
                            <p:childTnLst>
                              <p:par>
                                <p:cTn id="128" presetID="22" presetClass="entr" presetSubtype="4" fill="hold" nodeType="afterEffect">
                                  <p:stCondLst>
                                    <p:cond delay="0"/>
                                  </p:stCondLst>
                                  <p:childTnLst>
                                    <p:set>
                                      <p:cBhvr>
                                        <p:cTn id="129" dur="1" fill="hold">
                                          <p:stCondLst>
                                            <p:cond delay="0"/>
                                          </p:stCondLst>
                                        </p:cTn>
                                        <p:tgtEl>
                                          <p:spTgt spid="380">
                                            <p:txEl>
                                              <p:pRg st="4" end="4"/>
                                            </p:txEl>
                                          </p:spTgt>
                                        </p:tgtEl>
                                        <p:attrNameLst>
                                          <p:attrName>style.visibility</p:attrName>
                                        </p:attrNameLst>
                                      </p:cBhvr>
                                      <p:to>
                                        <p:strVal val="visible"/>
                                      </p:to>
                                    </p:set>
                                    <p:animEffect transition="in" filter="wipe(down)">
                                      <p:cBhvr>
                                        <p:cTn id="130" dur="500"/>
                                        <p:tgtEl>
                                          <p:spTgt spid="380">
                                            <p:txEl>
                                              <p:pRg st="4" end="4"/>
                                            </p:txEl>
                                          </p:spTgt>
                                        </p:tgtEl>
                                      </p:cBhvr>
                                    </p:animEffect>
                                  </p:childTnLst>
                                </p:cTn>
                              </p:par>
                            </p:childTnLst>
                          </p:cTn>
                        </p:par>
                        <p:par>
                          <p:cTn id="131" fill="hold">
                            <p:stCondLst>
                              <p:cond delay="24700"/>
                            </p:stCondLst>
                            <p:childTnLst>
                              <p:par>
                                <p:cTn id="132" presetID="1" presetClass="entr" presetSubtype="0" fill="hold" grpId="0" nodeType="afterEffect">
                                  <p:stCondLst>
                                    <p:cond delay="0"/>
                                  </p:stCondLst>
                                  <p:childTnLst>
                                    <p:set>
                                      <p:cBhvr>
                                        <p:cTn id="133" dur="1" fill="hold">
                                          <p:stCondLst>
                                            <p:cond delay="0"/>
                                          </p:stCondLst>
                                        </p:cTn>
                                        <p:tgtEl>
                                          <p:spTgt spid="1295"/>
                                        </p:tgtEl>
                                        <p:attrNameLst>
                                          <p:attrName>style.visibility</p:attrName>
                                        </p:attrNameLst>
                                      </p:cBhvr>
                                      <p:to>
                                        <p:strVal val="visible"/>
                                      </p:to>
                                    </p:set>
                                  </p:childTnLst>
                                </p:cTn>
                              </p:par>
                            </p:childTnLst>
                          </p:cTn>
                        </p:par>
                        <p:par>
                          <p:cTn id="134" fill="hold">
                            <p:stCondLst>
                              <p:cond delay="24700"/>
                            </p:stCondLst>
                            <p:childTnLst>
                              <p:par>
                                <p:cTn id="135" presetID="1" presetClass="entr" presetSubtype="0" fill="hold" nodeType="afterEffect">
                                  <p:stCondLst>
                                    <p:cond delay="1800"/>
                                  </p:stCondLst>
                                  <p:childTnLst>
                                    <p:set>
                                      <p:cBhvr>
                                        <p:cTn id="136" dur="1" fill="hold">
                                          <p:stCondLst>
                                            <p:cond delay="0"/>
                                          </p:stCondLst>
                                        </p:cTn>
                                        <p:tgtEl>
                                          <p:spTgt spid="1254"/>
                                        </p:tgtEl>
                                        <p:attrNameLst>
                                          <p:attrName>style.visibility</p:attrName>
                                        </p:attrNameLst>
                                      </p:cBhvr>
                                      <p:to>
                                        <p:strVal val="visible"/>
                                      </p:to>
                                    </p:set>
                                  </p:childTnLst>
                                </p:cTn>
                              </p:par>
                            </p:childTnLst>
                          </p:cTn>
                        </p:par>
                        <p:par>
                          <p:cTn id="137" fill="hold">
                            <p:stCondLst>
                              <p:cond delay="26500"/>
                            </p:stCondLst>
                            <p:childTnLst>
                              <p:par>
                                <p:cTn id="138" presetID="0" presetClass="path" presetSubtype="0" accel="50000" decel="50000" fill="hold" nodeType="afterEffect">
                                  <p:stCondLst>
                                    <p:cond delay="0"/>
                                  </p:stCondLst>
                                  <p:childTnLst>
                                    <p:animMotion origin="layout" path="M 4.16667E-6 -3.7037E-6 L 0.00416 0.15949 L 0.00416 0.15857 " pathEditMode="relative" rAng="0" ptsTypes="AAA">
                                      <p:cBhvr>
                                        <p:cTn id="139" dur="5200" fill="hold"/>
                                        <p:tgtEl>
                                          <p:spTgt spid="1254"/>
                                        </p:tgtEl>
                                        <p:attrNameLst>
                                          <p:attrName>ppt_x</p:attrName>
                                          <p:attrName>ppt_y</p:attrName>
                                        </p:attrNameLst>
                                      </p:cBhvr>
                                      <p:rCtr x="208" y="7963"/>
                                    </p:animMotion>
                                  </p:childTnLst>
                                </p:cTn>
                              </p:par>
                            </p:childTnLst>
                          </p:cTn>
                        </p:par>
                        <p:par>
                          <p:cTn id="140" fill="hold">
                            <p:stCondLst>
                              <p:cond delay="31700"/>
                            </p:stCondLst>
                            <p:childTnLst>
                              <p:par>
                                <p:cTn id="141" presetID="1" presetClass="exit" presetSubtype="0" fill="hold" nodeType="afterEffect">
                                  <p:stCondLst>
                                    <p:cond delay="0"/>
                                  </p:stCondLst>
                                  <p:childTnLst>
                                    <p:set>
                                      <p:cBhvr>
                                        <p:cTn id="142" dur="1" fill="hold">
                                          <p:stCondLst>
                                            <p:cond delay="0"/>
                                          </p:stCondLst>
                                        </p:cTn>
                                        <p:tgtEl>
                                          <p:spTgt spid="1254"/>
                                        </p:tgtEl>
                                        <p:attrNameLst>
                                          <p:attrName>style.visibility</p:attrName>
                                        </p:attrNameLst>
                                      </p:cBhvr>
                                      <p:to>
                                        <p:strVal val="hidden"/>
                                      </p:to>
                                    </p:set>
                                  </p:childTnLst>
                                </p:cTn>
                              </p:par>
                            </p:childTnLst>
                          </p:cTn>
                        </p:par>
                        <p:par>
                          <p:cTn id="143" fill="hold">
                            <p:stCondLst>
                              <p:cond delay="31700"/>
                            </p:stCondLst>
                            <p:childTnLst>
                              <p:par>
                                <p:cTn id="144" presetID="1" presetClass="entr" presetSubtype="0" fill="hold" nodeType="afterEffect">
                                  <p:stCondLst>
                                    <p:cond delay="1800"/>
                                  </p:stCondLst>
                                  <p:childTnLst>
                                    <p:set>
                                      <p:cBhvr>
                                        <p:cTn id="145" dur="1" fill="hold">
                                          <p:stCondLst>
                                            <p:cond delay="0"/>
                                          </p:stCondLst>
                                        </p:cTn>
                                        <p:tgtEl>
                                          <p:spTgt spid="1273"/>
                                        </p:tgtEl>
                                        <p:attrNameLst>
                                          <p:attrName>style.visibility</p:attrName>
                                        </p:attrNameLst>
                                      </p:cBhvr>
                                      <p:to>
                                        <p:strVal val="visible"/>
                                      </p:to>
                                    </p:set>
                                  </p:childTnLst>
                                </p:cTn>
                              </p:par>
                            </p:childTnLst>
                          </p:cTn>
                        </p:par>
                        <p:par>
                          <p:cTn id="146" fill="hold">
                            <p:stCondLst>
                              <p:cond delay="33500"/>
                            </p:stCondLst>
                            <p:childTnLst>
                              <p:par>
                                <p:cTn id="147" presetID="0" presetClass="path" presetSubtype="0" accel="50000" decel="50000" fill="hold" nodeType="afterEffect">
                                  <p:stCondLst>
                                    <p:cond delay="0"/>
                                  </p:stCondLst>
                                  <p:childTnLst>
                                    <p:animMotion origin="layout" path="M -0.02435 0.04491 L -0.02058 -0.09028 L -0.02058 -0.09005 " pathEditMode="relative" rAng="0" ptsTypes="AAA">
                                      <p:cBhvr>
                                        <p:cTn id="148" dur="4600" fill="hold"/>
                                        <p:tgtEl>
                                          <p:spTgt spid="1273"/>
                                        </p:tgtEl>
                                        <p:attrNameLst>
                                          <p:attrName>ppt_x</p:attrName>
                                          <p:attrName>ppt_y</p:attrName>
                                        </p:attrNameLst>
                                      </p:cBhvr>
                                      <p:rCtr x="182" y="-6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2" grpId="0"/>
      <p:bldP spid="1292" grpId="1"/>
      <p:bldP spid="1293" grpId="0"/>
      <p:bldP spid="1293" grpId="1"/>
      <p:bldP spid="1294" grpId="0"/>
      <p:bldP spid="1294" grpId="1"/>
      <p:bldP spid="1295" grpId="0"/>
      <p:bldP spid="1296" grpId="0"/>
      <p:bldP spid="1296"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16"/>
          <p:cNvSpPr/>
          <p:nvPr>
            <p:custDataLst>
              <p:tags r:id="rId1"/>
            </p:custDataLst>
          </p:nvPr>
        </p:nvSpPr>
        <p:spPr bwMode="gray">
          <a:xfrm rot="1800000" flipH="1" flipV="1">
            <a:off x="10015441" y="221328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7" name="Rechteck 17"/>
          <p:cNvSpPr/>
          <p:nvPr>
            <p:custDataLst>
              <p:tags r:id="rId2"/>
            </p:custDataLst>
          </p:nvPr>
        </p:nvSpPr>
        <p:spPr bwMode="gray">
          <a:xfrm rot="1800000" flipH="1" flipV="1">
            <a:off x="5631677" y="4785590"/>
            <a:ext cx="1245079" cy="124507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8" name="Rechteck 16"/>
          <p:cNvSpPr/>
          <p:nvPr>
            <p:custDataLst>
              <p:tags r:id="rId3"/>
            </p:custDataLst>
          </p:nvPr>
        </p:nvSpPr>
        <p:spPr bwMode="gray">
          <a:xfrm rot="1800000" flipH="1" flipV="1">
            <a:off x="7445595" y="2949727"/>
            <a:ext cx="5137342" cy="5154903"/>
          </a:xfrm>
          <a:custGeom>
            <a:avLst/>
            <a:gdLst/>
            <a:ahLst/>
            <a:cxnLst/>
            <a:rect l="l" t="t" r="r" b="b"/>
            <a:pathLst>
              <a:path w="5140018" h="5157588">
                <a:moveTo>
                  <a:pt x="5140017" y="5157588"/>
                </a:moveTo>
                <a:lnTo>
                  <a:pt x="1518682" y="5157588"/>
                </a:lnTo>
                <a:lnTo>
                  <a:pt x="0" y="2527151"/>
                </a:lnTo>
                <a:lnTo>
                  <a:pt x="4377154" y="0"/>
                </a:lnTo>
                <a:lnTo>
                  <a:pt x="514001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29"/>
            <a:endParaRPr lang="en-GB" sz="1199" dirty="0">
              <a:solidFill>
                <a:schemeClr val="tx1"/>
              </a:solidFill>
              <a:latin typeface="Calibri" panose="020F0502020204030204" pitchFamily="34" charset="0"/>
              <a:cs typeface="Calibri" panose="020F0502020204030204" pitchFamily="34" charset="0"/>
            </a:endParaRPr>
          </a:p>
        </p:txBody>
      </p:sp>
      <p:sp>
        <p:nvSpPr>
          <p:cNvPr id="9" name="Rechteck 17"/>
          <p:cNvSpPr/>
          <p:nvPr>
            <p:custDataLst>
              <p:tags r:id="rId4"/>
            </p:custDataLst>
          </p:nvPr>
        </p:nvSpPr>
        <p:spPr bwMode="gray">
          <a:xfrm rot="1800000" flipH="1" flipV="1">
            <a:off x="6350054" y="6700953"/>
            <a:ext cx="537850" cy="310527"/>
          </a:xfrm>
          <a:custGeom>
            <a:avLst/>
            <a:gdLst/>
            <a:ahLst/>
            <a:cxnLst/>
            <a:rect l="l" t="t" r="r" b="b"/>
            <a:pathLst>
              <a:path w="538130" h="310689">
                <a:moveTo>
                  <a:pt x="538130" y="310689"/>
                </a:moveTo>
                <a:lnTo>
                  <a:pt x="0" y="310689"/>
                </a:lnTo>
                <a:lnTo>
                  <a:pt x="538130"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0" name="Rechteck 18"/>
          <p:cNvSpPr/>
          <p:nvPr>
            <p:custDataLst>
              <p:tags r:id="rId5"/>
            </p:custDataLst>
          </p:nvPr>
        </p:nvSpPr>
        <p:spPr bwMode="gray">
          <a:xfrm rot="1800000" flipH="1" flipV="1">
            <a:off x="5261772" y="6670171"/>
            <a:ext cx="644475" cy="372088"/>
          </a:xfrm>
          <a:custGeom>
            <a:avLst/>
            <a:gdLst/>
            <a:ahLst/>
            <a:cxnLst/>
            <a:rect l="l" t="t" r="r" b="b"/>
            <a:pathLst>
              <a:path w="644811" h="372282">
                <a:moveTo>
                  <a:pt x="644811" y="372282"/>
                </a:moveTo>
                <a:lnTo>
                  <a:pt x="0" y="372282"/>
                </a:lnTo>
                <a:lnTo>
                  <a:pt x="644811"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1" name="Rechteck 21"/>
          <p:cNvSpPr/>
          <p:nvPr>
            <p:custDataLst>
              <p:tags r:id="rId6"/>
            </p:custDataLst>
          </p:nvPr>
        </p:nvSpPr>
        <p:spPr bwMode="gray">
          <a:xfrm rot="1800000" flipH="1" flipV="1">
            <a:off x="5778730" y="6202254"/>
            <a:ext cx="555609" cy="555609"/>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4" name="Rechteck 22"/>
          <p:cNvSpPr/>
          <p:nvPr>
            <p:custDataLst>
              <p:tags r:id="rId7"/>
            </p:custDataLst>
          </p:nvPr>
        </p:nvSpPr>
        <p:spPr bwMode="gray">
          <a:xfrm rot="1800000" flipH="1" flipV="1">
            <a:off x="10399840" y="1950152"/>
            <a:ext cx="838228" cy="83822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5" name="Rechteck 21"/>
          <p:cNvSpPr/>
          <p:nvPr>
            <p:custDataLst>
              <p:tags r:id="rId8"/>
            </p:custDataLst>
          </p:nvPr>
        </p:nvSpPr>
        <p:spPr bwMode="gray">
          <a:xfrm rot="1800000" flipH="1" flipV="1">
            <a:off x="11316017" y="2131434"/>
            <a:ext cx="1296490" cy="1296489"/>
          </a:xfrm>
          <a:custGeom>
            <a:avLst/>
            <a:gdLst/>
            <a:ahLst/>
            <a:cxnLst/>
            <a:rect l="l" t="t" r="r" b="b"/>
            <a:pathLst>
              <a:path w="1530425" h="1530424">
                <a:moveTo>
                  <a:pt x="1530425" y="1530424"/>
                </a:moveTo>
                <a:lnTo>
                  <a:pt x="867973" y="1530424"/>
                </a:lnTo>
                <a:lnTo>
                  <a:pt x="0" y="27050"/>
                </a:lnTo>
                <a:lnTo>
                  <a:pt x="0" y="0"/>
                </a:lnTo>
                <a:lnTo>
                  <a:pt x="1530425"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6" name="Rechteck 24"/>
          <p:cNvSpPr/>
          <p:nvPr>
            <p:custDataLst>
              <p:tags r:id="rId9"/>
            </p:custDataLst>
          </p:nvPr>
        </p:nvSpPr>
        <p:spPr bwMode="gray">
          <a:xfrm rot="1800000" flipH="1" flipV="1">
            <a:off x="11170209" y="180913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9" name="Title 11"/>
          <p:cNvSpPr txBox="1">
            <a:spLocks/>
          </p:cNvSpPr>
          <p:nvPr/>
        </p:nvSpPr>
        <p:spPr>
          <a:xfrm>
            <a:off x="8323876" y="4407431"/>
            <a:ext cx="3374591" cy="1685394"/>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3998" b="1" kern="1200">
                <a:solidFill>
                  <a:srgbClr val="333333"/>
                </a:solidFill>
                <a:latin typeface="+mn-lt"/>
                <a:ea typeface="+mj-ea"/>
                <a:cs typeface="Arial" pitchFamily="34" charset="0"/>
              </a:defRPr>
            </a:lvl1pPr>
          </a:lstStyle>
          <a:p>
            <a:pPr algn="r"/>
            <a:r>
              <a:rPr lang="it-IT" sz="3198" dirty="0">
                <a:solidFill>
                  <a:schemeClr val="tx1"/>
                </a:solidFill>
                <a:latin typeface="Calibri" panose="020F0502020204030204" pitchFamily="34" charset="0"/>
                <a:cs typeface="Calibri" panose="020F0502020204030204" pitchFamily="34" charset="0"/>
              </a:rPr>
              <a:t>La Piattaforma Welfare per un marketplace evoluto</a:t>
            </a:r>
          </a:p>
        </p:txBody>
      </p:sp>
      <p:pic>
        <p:nvPicPr>
          <p:cNvPr id="12" name="Picture 2" descr="Risultati immagini per logo inp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74175" y="173747"/>
            <a:ext cx="787875" cy="1095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043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3190" y="2492896"/>
            <a:ext cx="3237414" cy="3599929"/>
          </a:xfrm>
          <a:prstGeom prst="rect">
            <a:avLst/>
          </a:prstGeom>
          <a:solidFill>
            <a:srgbClr val="D1EB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785" tIns="432000" rIns="182785" bIns="182785" rtlCol="0" anchor="t" anchorCtr="0"/>
          <a:lstStyle/>
          <a:p>
            <a:pPr algn="ctr">
              <a:spcAft>
                <a:spcPts val="600"/>
              </a:spcAft>
            </a:pPr>
            <a:r>
              <a:rPr lang="it-IT" sz="1600" b="1" dirty="0">
                <a:solidFill>
                  <a:schemeClr val="tx1"/>
                </a:solidFill>
                <a:latin typeface="Calibri" panose="020F0502020204030204" pitchFamily="34" charset="0"/>
                <a:cs typeface="Calibri" panose="020F0502020204030204" pitchFamily="34" charset="0"/>
              </a:rPr>
              <a:t>TRASFORMAZIONE DEL MONDO DEL LAVORO</a:t>
            </a:r>
            <a:endParaRPr lang="it-IT" sz="1600" dirty="0">
              <a:solidFill>
                <a:schemeClr val="tx1"/>
              </a:solidFill>
              <a:latin typeface="Calibri" panose="020F0502020204030204" pitchFamily="34" charset="0"/>
              <a:cs typeface="Calibri" panose="020F0502020204030204" pitchFamily="34" charset="0"/>
            </a:endParaRPr>
          </a:p>
          <a:p>
            <a:pPr marL="285607" indent="-285607" algn="just">
              <a:spcAft>
                <a:spcPts val="600"/>
              </a:spcAft>
              <a:buFont typeface="Wingdings" pitchFamily="2" charset="2"/>
              <a:buChar char="ü"/>
            </a:pPr>
            <a:r>
              <a:rPr lang="it-IT" sz="1600" dirty="0">
                <a:solidFill>
                  <a:schemeClr val="tx1"/>
                </a:solidFill>
                <a:latin typeface="Calibri" panose="020F0502020204030204" pitchFamily="34" charset="0"/>
                <a:cs typeface="Calibri" panose="020F0502020204030204" pitchFamily="34" charset="0"/>
              </a:rPr>
              <a:t>Crescita del </a:t>
            </a:r>
            <a:r>
              <a:rPr lang="it-IT" sz="1600" b="1" dirty="0">
                <a:solidFill>
                  <a:schemeClr val="tx1"/>
                </a:solidFill>
                <a:latin typeface="Calibri" panose="020F0502020204030204" pitchFamily="34" charset="0"/>
                <a:cs typeface="Calibri" panose="020F0502020204030204" pitchFamily="34" charset="0"/>
              </a:rPr>
              <a:t>lavoro autonomo e temporaneo </a:t>
            </a:r>
          </a:p>
          <a:p>
            <a:pPr marL="285607" indent="-285607" algn="just">
              <a:spcAft>
                <a:spcPts val="600"/>
              </a:spcAft>
              <a:buFont typeface="Wingdings" pitchFamily="2" charset="2"/>
              <a:buChar char="ü"/>
            </a:pPr>
            <a:r>
              <a:rPr lang="it-IT" sz="1600" dirty="0">
                <a:solidFill>
                  <a:schemeClr val="tx1"/>
                </a:solidFill>
                <a:latin typeface="Calibri" panose="020F0502020204030204" pitchFamily="34" charset="0"/>
                <a:cs typeface="Calibri" panose="020F0502020204030204" pitchFamily="34" charset="0"/>
              </a:rPr>
              <a:t>Nuovi fenomeni legati alla digital economy come i </a:t>
            </a:r>
            <a:r>
              <a:rPr lang="it-IT" sz="1600" b="1" dirty="0">
                <a:solidFill>
                  <a:schemeClr val="tx1"/>
                </a:solidFill>
                <a:latin typeface="Calibri" panose="020F0502020204030204" pitchFamily="34" charset="0"/>
                <a:cs typeface="Calibri" panose="020F0502020204030204" pitchFamily="34" charset="0"/>
              </a:rPr>
              <a:t>Gig Workers</a:t>
            </a:r>
          </a:p>
          <a:p>
            <a:pPr marL="285607" indent="-285607" algn="just">
              <a:spcAft>
                <a:spcPts val="600"/>
              </a:spcAft>
              <a:buFont typeface="Wingdings" pitchFamily="2" charset="2"/>
              <a:buChar char="ü"/>
            </a:pPr>
            <a:r>
              <a:rPr lang="it-IT" sz="1600" dirty="0">
                <a:solidFill>
                  <a:schemeClr val="tx1"/>
                </a:solidFill>
                <a:latin typeface="Calibri" panose="020F0502020204030204" pitchFamily="34" charset="0"/>
                <a:cs typeface="Calibri" panose="020F0502020204030204" pitchFamily="34" charset="0"/>
              </a:rPr>
              <a:t>Necessità di garantire </a:t>
            </a:r>
            <a:r>
              <a:rPr lang="it-IT" sz="1600" b="1" dirty="0">
                <a:solidFill>
                  <a:schemeClr val="tx1"/>
                </a:solidFill>
                <a:latin typeface="Calibri" panose="020F0502020204030204" pitchFamily="34" charset="0"/>
                <a:cs typeface="Calibri" panose="020F0502020204030204" pitchFamily="34" charset="0"/>
              </a:rPr>
              <a:t>tutele minime alle nuove categorie </a:t>
            </a:r>
            <a:r>
              <a:rPr lang="it-IT" sz="1600" dirty="0">
                <a:solidFill>
                  <a:schemeClr val="tx1"/>
                </a:solidFill>
                <a:latin typeface="Calibri" panose="020F0502020204030204" pitchFamily="34" charset="0"/>
                <a:cs typeface="Calibri" panose="020F0502020204030204" pitchFamily="34" charset="0"/>
              </a:rPr>
              <a:t>di lavoratori</a:t>
            </a:r>
          </a:p>
        </p:txBody>
      </p:sp>
      <p:sp>
        <p:nvSpPr>
          <p:cNvPr id="14" name="Rectangle 5">
            <a:extLst>
              <a:ext uri="{FF2B5EF4-FFF2-40B4-BE49-F238E27FC236}">
                <a16:creationId xmlns:a16="http://schemas.microsoft.com/office/drawing/2014/main" xmlns="" id="{331855AA-46BD-9F40-9ADA-2A4809B08ED5}"/>
              </a:ext>
            </a:extLst>
          </p:cNvPr>
          <p:cNvSpPr/>
          <p:nvPr/>
        </p:nvSpPr>
        <p:spPr>
          <a:xfrm>
            <a:off x="4493126" y="2492896"/>
            <a:ext cx="3237414" cy="3599929"/>
          </a:xfrm>
          <a:prstGeom prst="rect">
            <a:avLst/>
          </a:prstGeom>
          <a:solidFill>
            <a:srgbClr val="FCEE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785" tIns="432000" rIns="182785" bIns="182785" rtlCol="0" anchor="t" anchorCtr="0"/>
          <a:lstStyle/>
          <a:p>
            <a:pPr algn="ctr"/>
            <a:r>
              <a:rPr lang="it-IT" sz="1600" b="1" dirty="0">
                <a:solidFill>
                  <a:schemeClr val="tx1"/>
                </a:solidFill>
                <a:latin typeface="Calibri" panose="020F0502020204030204" pitchFamily="34" charset="0"/>
                <a:cs typeface="Calibri" panose="020F0502020204030204" pitchFamily="34" charset="0"/>
              </a:rPr>
              <a:t>NUOVE TENDENZE DEL </a:t>
            </a:r>
          </a:p>
          <a:p>
            <a:pPr algn="ctr">
              <a:spcAft>
                <a:spcPts val="600"/>
              </a:spcAft>
            </a:pPr>
            <a:r>
              <a:rPr lang="it-IT" sz="1600" b="1" dirty="0">
                <a:solidFill>
                  <a:schemeClr val="tx1"/>
                </a:solidFill>
                <a:latin typeface="Calibri" panose="020F0502020204030204" pitchFamily="34" charset="0"/>
                <a:cs typeface="Calibri" panose="020F0502020204030204" pitchFamily="34" charset="0"/>
              </a:rPr>
              <a:t>WELFARE 4.0</a:t>
            </a:r>
            <a:endParaRPr lang="it-IT" sz="1600" dirty="0">
              <a:solidFill>
                <a:schemeClr val="tx1"/>
              </a:solidFill>
              <a:latin typeface="Calibri" panose="020F0502020204030204" pitchFamily="34" charset="0"/>
              <a:cs typeface="Calibri" panose="020F0502020204030204" pitchFamily="34" charset="0"/>
            </a:endParaRPr>
          </a:p>
          <a:p>
            <a:pPr marL="285607" indent="-285607" algn="just">
              <a:spcAft>
                <a:spcPts val="600"/>
              </a:spcAft>
              <a:buFont typeface="Wingdings" pitchFamily="2" charset="2"/>
              <a:buChar char="ü"/>
            </a:pPr>
            <a:r>
              <a:rPr lang="it-IT" sz="1600" dirty="0">
                <a:solidFill>
                  <a:schemeClr val="tx1"/>
                </a:solidFill>
                <a:latin typeface="Calibri" panose="020F0502020204030204" pitchFamily="34" charset="0"/>
                <a:cs typeface="Calibri" panose="020F0502020204030204" pitchFamily="34" charset="0"/>
              </a:rPr>
              <a:t>Sistema previdenziale ed assicurativo basato su </a:t>
            </a:r>
            <a:r>
              <a:rPr lang="it-IT" sz="1600" b="1" dirty="0">
                <a:solidFill>
                  <a:schemeClr val="tx1"/>
                </a:solidFill>
                <a:latin typeface="Calibri" panose="020F0502020204030204" pitchFamily="34" charset="0"/>
                <a:cs typeface="Calibri" panose="020F0502020204030204" pitchFamily="34" charset="0"/>
              </a:rPr>
              <a:t>scambi di asset digitali</a:t>
            </a:r>
            <a:endParaRPr lang="it-IT" sz="1600" dirty="0">
              <a:solidFill>
                <a:schemeClr val="tx1"/>
              </a:solidFill>
              <a:latin typeface="Calibri" panose="020F0502020204030204" pitchFamily="34" charset="0"/>
              <a:cs typeface="Calibri" panose="020F0502020204030204" pitchFamily="34" charset="0"/>
            </a:endParaRPr>
          </a:p>
          <a:p>
            <a:pPr marL="285607" indent="-285607" algn="just">
              <a:spcAft>
                <a:spcPts val="600"/>
              </a:spcAft>
              <a:buFont typeface="Wingdings" pitchFamily="2" charset="2"/>
              <a:buChar char="ü"/>
            </a:pPr>
            <a:r>
              <a:rPr lang="it-IT" sz="1600" dirty="0">
                <a:solidFill>
                  <a:schemeClr val="tx1"/>
                </a:solidFill>
                <a:latin typeface="Calibri" panose="020F0502020204030204" pitchFamily="34" charset="0"/>
                <a:cs typeface="Calibri" panose="020F0502020204030204" pitchFamily="34" charset="0"/>
              </a:rPr>
              <a:t>Capacità di gestire i </a:t>
            </a:r>
            <a:r>
              <a:rPr lang="it-IT" sz="1600" b="1" dirty="0">
                <a:solidFill>
                  <a:schemeClr val="tx1"/>
                </a:solidFill>
                <a:latin typeface="Calibri" panose="020F0502020204030204" pitchFamily="34" charset="0"/>
                <a:cs typeface="Calibri" panose="020F0502020204030204" pitchFamily="34" charset="0"/>
              </a:rPr>
              <a:t>volumi</a:t>
            </a:r>
            <a:r>
              <a:rPr lang="it-IT" sz="1600" dirty="0">
                <a:solidFill>
                  <a:schemeClr val="tx1"/>
                </a:solidFill>
                <a:latin typeface="Calibri" panose="020F0502020204030204" pitchFamily="34" charset="0"/>
                <a:cs typeface="Calibri" panose="020F0502020204030204" pitchFamily="34" charset="0"/>
              </a:rPr>
              <a:t> e la </a:t>
            </a:r>
            <a:r>
              <a:rPr lang="it-IT" sz="1600" b="1" dirty="0">
                <a:solidFill>
                  <a:schemeClr val="tx1"/>
                </a:solidFill>
                <a:latin typeface="Calibri" panose="020F0502020204030204" pitchFamily="34" charset="0"/>
                <a:cs typeface="Calibri" panose="020F0502020204030204" pitchFamily="34" charset="0"/>
              </a:rPr>
              <a:t>variabilità dell’economia digitale</a:t>
            </a:r>
            <a:endParaRPr lang="it-IT" sz="1600" dirty="0">
              <a:solidFill>
                <a:schemeClr val="tx1"/>
              </a:solidFill>
              <a:latin typeface="Calibri" panose="020F0502020204030204" pitchFamily="34" charset="0"/>
              <a:cs typeface="Calibri" panose="020F0502020204030204" pitchFamily="34" charset="0"/>
            </a:endParaRPr>
          </a:p>
          <a:p>
            <a:pPr marL="285607" indent="-285607" algn="just">
              <a:spcAft>
                <a:spcPts val="600"/>
              </a:spcAft>
              <a:buFont typeface="Wingdings" pitchFamily="2" charset="2"/>
              <a:buChar char="ü"/>
            </a:pPr>
            <a:r>
              <a:rPr lang="it-IT" sz="1600" b="1" dirty="0">
                <a:solidFill>
                  <a:schemeClr val="tx1"/>
                </a:solidFill>
                <a:latin typeface="Calibri" panose="020F0502020204030204" pitchFamily="34" charset="0"/>
                <a:cs typeface="Calibri" panose="020F0502020204030204" pitchFamily="34" charset="0"/>
              </a:rPr>
              <a:t>Sicuro, affidabile</a:t>
            </a:r>
            <a:r>
              <a:rPr lang="it-IT" sz="1600" dirty="0">
                <a:solidFill>
                  <a:schemeClr val="tx1"/>
                </a:solidFill>
                <a:latin typeface="Calibri" panose="020F0502020204030204" pitchFamily="34" charset="0"/>
                <a:cs typeface="Calibri" panose="020F0502020204030204" pitchFamily="34" charset="0"/>
              </a:rPr>
              <a:t> e </a:t>
            </a:r>
            <a:r>
              <a:rPr lang="it-IT" sz="1600" b="1" dirty="0">
                <a:solidFill>
                  <a:schemeClr val="tx1"/>
                </a:solidFill>
                <a:latin typeface="Calibri" panose="020F0502020204030204" pitchFamily="34" charset="0"/>
                <a:cs typeface="Calibri" panose="020F0502020204030204" pitchFamily="34" charset="0"/>
              </a:rPr>
              <a:t>semplice</a:t>
            </a:r>
            <a:r>
              <a:rPr lang="it-IT" sz="1600" dirty="0">
                <a:solidFill>
                  <a:schemeClr val="tx1"/>
                </a:solidFill>
                <a:latin typeface="Calibri" panose="020F0502020204030204" pitchFamily="34" charset="0"/>
                <a:cs typeface="Calibri" panose="020F0502020204030204" pitchFamily="34" charset="0"/>
              </a:rPr>
              <a:t> per gli utenti</a:t>
            </a:r>
          </a:p>
        </p:txBody>
      </p:sp>
      <p:sp>
        <p:nvSpPr>
          <p:cNvPr id="16" name="Rectangle 5">
            <a:extLst>
              <a:ext uri="{FF2B5EF4-FFF2-40B4-BE49-F238E27FC236}">
                <a16:creationId xmlns:a16="http://schemas.microsoft.com/office/drawing/2014/main" xmlns="" id="{4FD587DD-CB41-4948-B789-50C0A7A9CDDC}"/>
              </a:ext>
            </a:extLst>
          </p:cNvPr>
          <p:cNvSpPr/>
          <p:nvPr/>
        </p:nvSpPr>
        <p:spPr>
          <a:xfrm>
            <a:off x="8383062" y="2492896"/>
            <a:ext cx="3237414" cy="3599929"/>
          </a:xfrm>
          <a:prstGeom prst="rect">
            <a:avLst/>
          </a:prstGeom>
          <a:solidFill>
            <a:srgbClr val="D1E8F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785" tIns="432000" rIns="182785" bIns="182785" rtlCol="0" anchor="t" anchorCtr="0"/>
          <a:lstStyle/>
          <a:p>
            <a:pPr algn="ctr"/>
            <a:r>
              <a:rPr lang="it-IT" sz="1600" b="1" dirty="0">
                <a:solidFill>
                  <a:schemeClr val="tx1"/>
                </a:solidFill>
                <a:latin typeface="Calibri" panose="020F0502020204030204" pitchFamily="34" charset="0"/>
                <a:cs typeface="Calibri" panose="020F0502020204030204" pitchFamily="34" charset="0"/>
              </a:rPr>
              <a:t>BENEFICI </a:t>
            </a:r>
          </a:p>
          <a:p>
            <a:pPr algn="ctr">
              <a:spcAft>
                <a:spcPts val="600"/>
              </a:spcAft>
            </a:pPr>
            <a:r>
              <a:rPr lang="it-IT" sz="1600" b="1" dirty="0">
                <a:solidFill>
                  <a:schemeClr val="tx1"/>
                </a:solidFill>
                <a:latin typeface="Calibri" panose="020F0502020204030204" pitchFamily="34" charset="0"/>
                <a:cs typeface="Calibri" panose="020F0502020204030204" pitchFamily="34" charset="0"/>
              </a:rPr>
              <a:t>ATTESI</a:t>
            </a:r>
          </a:p>
          <a:p>
            <a:pPr marL="285607" indent="-285607" algn="just">
              <a:spcAft>
                <a:spcPts val="600"/>
              </a:spcAft>
              <a:buFont typeface="Wingdings" pitchFamily="2" charset="2"/>
              <a:buChar char="ü"/>
            </a:pPr>
            <a:r>
              <a:rPr lang="it-IT" sz="1600" b="1" dirty="0">
                <a:solidFill>
                  <a:schemeClr val="tx1"/>
                </a:solidFill>
                <a:latin typeface="Calibri" panose="020F0502020204030204" pitchFamily="34" charset="0"/>
                <a:cs typeface="Calibri" panose="020F0502020204030204" pitchFamily="34" charset="0"/>
              </a:rPr>
              <a:t>Ampliamento della platea contributiva </a:t>
            </a:r>
            <a:r>
              <a:rPr lang="it-IT" sz="1600" dirty="0">
                <a:solidFill>
                  <a:schemeClr val="tx1"/>
                </a:solidFill>
                <a:latin typeface="Calibri" panose="020F0502020204030204" pitchFamily="34" charset="0"/>
                <a:cs typeface="Calibri" panose="020F0502020204030204" pitchFamily="34" charset="0"/>
              </a:rPr>
              <a:t>includendo categorie non servite</a:t>
            </a:r>
          </a:p>
          <a:p>
            <a:pPr marL="285607" indent="-285607" algn="just">
              <a:spcAft>
                <a:spcPts val="600"/>
              </a:spcAft>
              <a:buFont typeface="Wingdings" pitchFamily="2" charset="2"/>
              <a:buChar char="ü"/>
            </a:pPr>
            <a:r>
              <a:rPr lang="it-IT" sz="1600" b="1" dirty="0">
                <a:solidFill>
                  <a:schemeClr val="tx1"/>
                </a:solidFill>
                <a:latin typeface="Calibri" panose="020F0502020204030204" pitchFamily="34" charset="0"/>
                <a:cs typeface="Calibri" panose="020F0502020204030204" pitchFamily="34" charset="0"/>
              </a:rPr>
              <a:t>Maggiore sicurezza sociale </a:t>
            </a:r>
            <a:r>
              <a:rPr lang="it-IT" sz="1600" dirty="0">
                <a:solidFill>
                  <a:schemeClr val="tx1"/>
                </a:solidFill>
                <a:latin typeface="Calibri" panose="020F0502020204030204" pitchFamily="34" charset="0"/>
                <a:cs typeface="Calibri" panose="020F0502020204030204" pitchFamily="34" charset="0"/>
              </a:rPr>
              <a:t>dei lavoratori e riduzione rischi di esposizione delle imprese </a:t>
            </a:r>
          </a:p>
          <a:p>
            <a:pPr marL="285607" indent="-285607" algn="just">
              <a:spcAft>
                <a:spcPts val="600"/>
              </a:spcAft>
              <a:buFont typeface="Wingdings" pitchFamily="2" charset="2"/>
              <a:buChar char="ü"/>
            </a:pPr>
            <a:r>
              <a:rPr lang="it-IT" sz="1600" dirty="0">
                <a:solidFill>
                  <a:schemeClr val="tx1"/>
                </a:solidFill>
                <a:latin typeface="Calibri" panose="020F0502020204030204" pitchFamily="34" charset="0"/>
                <a:cs typeface="Calibri" panose="020F0502020204030204" pitchFamily="34" charset="0"/>
              </a:rPr>
              <a:t>Monitoraggio del fenomeno in ottica di </a:t>
            </a:r>
            <a:r>
              <a:rPr lang="it-IT" sz="1600" b="1" dirty="0">
                <a:solidFill>
                  <a:schemeClr val="tx1"/>
                </a:solidFill>
                <a:latin typeface="Calibri" panose="020F0502020204030204" pitchFamily="34" charset="0"/>
                <a:cs typeface="Calibri" panose="020F0502020204030204" pitchFamily="34" charset="0"/>
              </a:rPr>
              <a:t>inclusione nelle politiche attive </a:t>
            </a:r>
            <a:r>
              <a:rPr lang="it-IT" sz="1600" dirty="0">
                <a:solidFill>
                  <a:schemeClr val="tx1"/>
                </a:solidFill>
                <a:latin typeface="Calibri" panose="020F0502020204030204" pitchFamily="34" charset="0"/>
                <a:cs typeface="Calibri" panose="020F0502020204030204" pitchFamily="34" charset="0"/>
              </a:rPr>
              <a:t>e </a:t>
            </a:r>
            <a:r>
              <a:rPr lang="it-IT" sz="1600" b="1" dirty="0">
                <a:solidFill>
                  <a:schemeClr val="tx1"/>
                </a:solidFill>
                <a:latin typeface="Calibri" panose="020F0502020204030204" pitchFamily="34" charset="0"/>
                <a:cs typeface="Calibri" panose="020F0502020204030204" pitchFamily="34" charset="0"/>
              </a:rPr>
              <a:t>contrasto al lavoro nero</a:t>
            </a:r>
          </a:p>
          <a:p>
            <a:endParaRPr lang="it-IT" sz="1600" dirty="0">
              <a:solidFill>
                <a:schemeClr val="tx1"/>
              </a:solidFill>
              <a:latin typeface="Calibri" panose="020F0502020204030204" pitchFamily="34" charset="0"/>
              <a:cs typeface="Calibri" panose="020F0502020204030204" pitchFamily="34" charset="0"/>
            </a:endParaRPr>
          </a:p>
        </p:txBody>
      </p:sp>
      <p:sp>
        <p:nvSpPr>
          <p:cNvPr id="8"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400" i="1" dirty="0">
                <a:latin typeface="Calibri" panose="020F0502020204030204" pitchFamily="34" charset="0"/>
                <a:cs typeface="Calibri" panose="020F0502020204030204" pitchFamily="34" charset="0"/>
              </a:rPr>
              <a:t>Trasformazione del mercato del lavoro e l’evoluzione del Welfare</a:t>
            </a:r>
          </a:p>
        </p:txBody>
      </p:sp>
      <p:sp>
        <p:nvSpPr>
          <p:cNvPr id="31" name="Flowchart: Off-page Connector 30"/>
          <p:cNvSpPr/>
          <p:nvPr/>
        </p:nvSpPr>
        <p:spPr>
          <a:xfrm>
            <a:off x="9316039" y="2197559"/>
            <a:ext cx="1371460" cy="665981"/>
          </a:xfrm>
          <a:prstGeom prst="flowChartOffpageConnector">
            <a:avLst/>
          </a:prstGeom>
          <a:solidFill>
            <a:srgbClr val="196497"/>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FFFFFF"/>
              </a:solidFill>
              <a:effectLst/>
              <a:uLnTx/>
              <a:uFillTx/>
              <a:latin typeface="Roboto"/>
              <a:ea typeface="+mn-ea"/>
              <a:cs typeface="+mn-cs"/>
            </a:endParaRPr>
          </a:p>
        </p:txBody>
      </p:sp>
      <p:sp>
        <p:nvSpPr>
          <p:cNvPr id="36" name="Flowchart: Off-page Connector 35"/>
          <p:cNvSpPr/>
          <p:nvPr/>
        </p:nvSpPr>
        <p:spPr>
          <a:xfrm>
            <a:off x="5426103" y="2197559"/>
            <a:ext cx="1371460" cy="665981"/>
          </a:xfrm>
          <a:prstGeom prst="flowChartOffpageConnector">
            <a:avLst/>
          </a:prstGeom>
          <a:solidFill>
            <a:srgbClr val="F8D35E">
              <a:lumMod val="75000"/>
            </a:srgb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FFFFFF"/>
              </a:solidFill>
              <a:effectLst/>
              <a:uLnTx/>
              <a:uFillTx/>
              <a:latin typeface="Roboto"/>
              <a:ea typeface="+mn-ea"/>
              <a:cs typeface="+mn-cs"/>
            </a:endParaRPr>
          </a:p>
        </p:txBody>
      </p:sp>
      <p:sp>
        <p:nvSpPr>
          <p:cNvPr id="42" name="Flowchart: Off-page Connector 41"/>
          <p:cNvSpPr/>
          <p:nvPr/>
        </p:nvSpPr>
        <p:spPr>
          <a:xfrm>
            <a:off x="1536167" y="2197559"/>
            <a:ext cx="1371460" cy="665981"/>
          </a:xfrm>
          <a:prstGeom prst="flowChartOffpageConnector">
            <a:avLst/>
          </a:prstGeom>
          <a:solidFill>
            <a:srgbClr val="6DC1B9"/>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FFFFFF"/>
              </a:solidFill>
              <a:effectLst/>
              <a:uLnTx/>
              <a:uFillTx/>
              <a:latin typeface="Roboto"/>
              <a:ea typeface="+mn-ea"/>
              <a:cs typeface="+mn-cs"/>
            </a:endParaRPr>
          </a:p>
        </p:txBody>
      </p:sp>
      <p:sp>
        <p:nvSpPr>
          <p:cNvPr id="49" name="Rectangle 35"/>
          <p:cNvSpPr>
            <a:spLocks noChangeArrowheads="1"/>
          </p:cNvSpPr>
          <p:nvPr/>
        </p:nvSpPr>
        <p:spPr bwMode="auto">
          <a:xfrm>
            <a:off x="630855" y="994831"/>
            <a:ext cx="10937257"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algn="just">
              <a:lnSpc>
                <a:spcPct val="100000"/>
              </a:lnSpc>
              <a:spcBef>
                <a:spcPts val="0"/>
              </a:spcBef>
              <a:buNone/>
            </a:pPr>
            <a:r>
              <a:rPr lang="it-IT" sz="1600" dirty="0">
                <a:latin typeface="Calibri" panose="020F0502020204030204" pitchFamily="34" charset="0"/>
              </a:rPr>
              <a:t>La crisi economica degli ultimi anni ha inciso in maniera determinante sul mercato del lavoro e sulle politiche volte al suo sviluppo. Allo stesso tempo, la </a:t>
            </a:r>
            <a:r>
              <a:rPr lang="en-US" sz="1600" dirty="0">
                <a:latin typeface="Calibri" panose="020F0502020204030204" pitchFamily="34" charset="0"/>
              </a:rPr>
              <a:t>digital</a:t>
            </a:r>
            <a:r>
              <a:rPr lang="it-IT" sz="1600" dirty="0">
                <a:latin typeface="Calibri" panose="020F0502020204030204" pitchFamily="34" charset="0"/>
              </a:rPr>
              <a:t> </a:t>
            </a:r>
            <a:r>
              <a:rPr lang="en-US" sz="1600" dirty="0">
                <a:latin typeface="Calibri" panose="020F0502020204030204" pitchFamily="34" charset="0"/>
              </a:rPr>
              <a:t>transformation</a:t>
            </a:r>
            <a:r>
              <a:rPr lang="it-IT" sz="1600" dirty="0">
                <a:latin typeface="Calibri" panose="020F0502020204030204" pitchFamily="34" charset="0"/>
              </a:rPr>
              <a:t>, da un lato, ha reso possibile la nascita di </a:t>
            </a:r>
            <a:r>
              <a:rPr lang="it-IT" sz="1600" b="1" dirty="0">
                <a:latin typeface="Calibri" panose="020F0502020204030204" pitchFamily="34" charset="0"/>
              </a:rPr>
              <a:t>nuove modalità di lavoro </a:t>
            </a:r>
            <a:r>
              <a:rPr lang="it-IT" sz="1600" dirty="0">
                <a:latin typeface="Calibri" panose="020F0502020204030204" pitchFamily="34" charset="0"/>
              </a:rPr>
              <a:t>e, dall’altro, ha stimolato la nascita di </a:t>
            </a:r>
            <a:r>
              <a:rPr lang="it-IT" sz="1600" b="1" dirty="0">
                <a:latin typeface="Calibri" panose="020F0502020204030204" pitchFamily="34" charset="0"/>
              </a:rPr>
              <a:t>servizi di Welfare evoluti </a:t>
            </a:r>
            <a:r>
              <a:rPr lang="it-IT" sz="1600" dirty="0">
                <a:latin typeface="Calibri" panose="020F0502020204030204" pitchFamily="34" charset="0"/>
              </a:rPr>
              <a:t>che dovranno essere in grado di soddisfare le esigenze di </a:t>
            </a:r>
            <a:r>
              <a:rPr lang="it-IT" sz="1600" b="1" dirty="0">
                <a:latin typeface="Calibri" panose="020F0502020204030204" pitchFamily="34" charset="0"/>
              </a:rPr>
              <a:t>flessibilità e dinamicità coerenti con il nuovo scenario sociale e tecnologico</a:t>
            </a:r>
            <a:r>
              <a:rPr lang="it-IT" sz="1600" dirty="0">
                <a:latin typeface="Calibri" panose="020F0502020204030204" pitchFamily="34" charset="0"/>
              </a:rPr>
              <a:t>.</a:t>
            </a:r>
          </a:p>
        </p:txBody>
      </p:sp>
      <p:sp>
        <p:nvSpPr>
          <p:cNvPr id="4" name="Rectangle 3"/>
          <p:cNvSpPr/>
          <p:nvPr/>
        </p:nvSpPr>
        <p:spPr>
          <a:xfrm>
            <a:off x="3672342" y="3461002"/>
            <a:ext cx="989046" cy="1446550"/>
          </a:xfrm>
          <a:prstGeom prst="rect">
            <a:avLst/>
          </a:prstGeom>
        </p:spPr>
        <p:txBody>
          <a:bodyPr wrap="square">
            <a:spAutoFit/>
          </a:bodyPr>
          <a:lstStyle/>
          <a:p>
            <a:pPr algn="ctr"/>
            <a:r>
              <a:rPr lang="it-IT" sz="8800" b="1" dirty="0"/>
              <a:t>+</a:t>
            </a:r>
            <a:endParaRPr lang="it-IT" sz="1200" b="1" dirty="0"/>
          </a:p>
        </p:txBody>
      </p:sp>
      <p:sp>
        <p:nvSpPr>
          <p:cNvPr id="53" name="Rectangle 52"/>
          <p:cNvSpPr/>
          <p:nvPr/>
        </p:nvSpPr>
        <p:spPr>
          <a:xfrm>
            <a:off x="7562278" y="3467290"/>
            <a:ext cx="989046" cy="1446550"/>
          </a:xfrm>
          <a:prstGeom prst="rect">
            <a:avLst/>
          </a:prstGeom>
        </p:spPr>
        <p:txBody>
          <a:bodyPr wrap="square">
            <a:spAutoFit/>
          </a:bodyPr>
          <a:lstStyle/>
          <a:p>
            <a:pPr algn="ctr"/>
            <a:r>
              <a:rPr lang="it-IT" sz="8800" b="1" dirty="0"/>
              <a:t>=</a:t>
            </a:r>
            <a:endParaRPr lang="it-IT" sz="1200" b="1" dirty="0"/>
          </a:p>
        </p:txBody>
      </p:sp>
    </p:spTree>
    <p:extLst>
      <p:ext uri="{BB962C8B-B14F-4D97-AF65-F5344CB8AC3E}">
        <p14:creationId xmlns:p14="http://schemas.microsoft.com/office/powerpoint/2010/main" val="2688577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400" i="1" dirty="0">
                <a:latin typeface="Calibri" panose="020F0502020204030204" pitchFamily="34" charset="0"/>
                <a:cs typeface="Calibri" panose="020F0502020204030204" pitchFamily="34" charset="0"/>
              </a:rPr>
              <a:t>Crescita del fenomeno «Gig workers»</a:t>
            </a:r>
          </a:p>
        </p:txBody>
      </p:sp>
      <p:sp>
        <p:nvSpPr>
          <p:cNvPr id="151" name="Rectangle 35"/>
          <p:cNvSpPr>
            <a:spLocks noChangeArrowheads="1"/>
          </p:cNvSpPr>
          <p:nvPr/>
        </p:nvSpPr>
        <p:spPr bwMode="auto">
          <a:xfrm>
            <a:off x="630855" y="994831"/>
            <a:ext cx="1093725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algn="just">
              <a:lnSpc>
                <a:spcPct val="100000"/>
              </a:lnSpc>
              <a:spcBef>
                <a:spcPts val="0"/>
              </a:spcBef>
              <a:buNone/>
            </a:pPr>
            <a:r>
              <a:rPr lang="it-IT" sz="1600" dirty="0">
                <a:latin typeface="+mn-lt"/>
              </a:rPr>
              <a:t>L’evoluzione delle forme di business ha comportato la creazione di nuove tipologie di lavoro caratterizzate da modalità lavorative non continuative e on-demand, quali la </a:t>
            </a:r>
            <a:r>
              <a:rPr lang="it-IT" sz="1600" b="1" dirty="0">
                <a:latin typeface="+mn-lt"/>
              </a:rPr>
              <a:t>Gig Economy</a:t>
            </a:r>
            <a:r>
              <a:rPr lang="it-IT" sz="1600" dirty="0">
                <a:latin typeface="+mn-lt"/>
              </a:rPr>
              <a:t>.</a:t>
            </a:r>
          </a:p>
        </p:txBody>
      </p:sp>
      <p:sp>
        <p:nvSpPr>
          <p:cNvPr id="152" name="TextBox 9">
            <a:extLst>
              <a:ext uri="{FF2B5EF4-FFF2-40B4-BE49-F238E27FC236}">
                <a16:creationId xmlns:a16="http://schemas.microsoft.com/office/drawing/2014/main" xmlns="" id="{47DE2740-3364-274A-87C4-EB3C26E79A0F}"/>
              </a:ext>
            </a:extLst>
          </p:cNvPr>
          <p:cNvSpPr txBox="1"/>
          <p:nvPr/>
        </p:nvSpPr>
        <p:spPr>
          <a:xfrm>
            <a:off x="4404362" y="6260893"/>
            <a:ext cx="3383276" cy="461425"/>
          </a:xfrm>
          <a:prstGeom prst="rect">
            <a:avLst/>
          </a:prstGeom>
          <a:noFill/>
        </p:spPr>
        <p:txBody>
          <a:bodyPr wrap="square" rtlCol="0">
            <a:spAutoFit/>
          </a:bodyPr>
          <a:lstStyle/>
          <a:p>
            <a:pPr marL="228486" indent="-228486" defTabSz="913943">
              <a:buFontTx/>
              <a:buAutoNum type="arabicParenBoth"/>
              <a:defRPr/>
            </a:pPr>
            <a:r>
              <a:rPr lang="it-IT" sz="1199" dirty="0">
                <a:latin typeface="Calibri" panose="020F0502020204030204" pitchFamily="34" charset="0"/>
                <a:cs typeface="Calibri" panose="020F0502020204030204" pitchFamily="34" charset="0"/>
              </a:rPr>
              <a:t>Fonte Fondazione De Benedetti</a:t>
            </a:r>
          </a:p>
          <a:p>
            <a:pPr marL="228486" indent="-228486" defTabSz="913943">
              <a:buFontTx/>
              <a:buAutoNum type="arabicParenBoth"/>
              <a:defRPr/>
            </a:pPr>
            <a:r>
              <a:rPr lang="it-IT" sz="1199" dirty="0">
                <a:latin typeface="Calibri" panose="020F0502020204030204" pitchFamily="34" charset="0"/>
                <a:cs typeface="Calibri" panose="020F0502020204030204" pitchFamily="34" charset="0"/>
              </a:rPr>
              <a:t>Fonte Università degli Studi di Pavia</a:t>
            </a:r>
          </a:p>
        </p:txBody>
      </p:sp>
      <p:grpSp>
        <p:nvGrpSpPr>
          <p:cNvPr id="153" name="Group 152"/>
          <p:cNvGrpSpPr/>
          <p:nvPr/>
        </p:nvGrpSpPr>
        <p:grpSpPr>
          <a:xfrm>
            <a:off x="696000" y="1844824"/>
            <a:ext cx="10800000" cy="3986091"/>
            <a:chOff x="696000" y="1844824"/>
            <a:chExt cx="10800000" cy="3986091"/>
          </a:xfrm>
        </p:grpSpPr>
        <p:cxnSp>
          <p:nvCxnSpPr>
            <p:cNvPr id="106" name="Straight Connector 105"/>
            <p:cNvCxnSpPr/>
            <p:nvPr/>
          </p:nvCxnSpPr>
          <p:spPr>
            <a:xfrm flipH="1">
              <a:off x="2800944" y="1844826"/>
              <a:ext cx="1" cy="3986089"/>
            </a:xfrm>
            <a:prstGeom prst="line">
              <a:avLst/>
            </a:prstGeom>
            <a:noFill/>
            <a:ln w="22225" cap="flat" cmpd="sng" algn="ctr">
              <a:solidFill>
                <a:srgbClr val="3F3F3F">
                  <a:lumMod val="60000"/>
                  <a:lumOff val="40000"/>
                </a:srgbClr>
              </a:solidFill>
              <a:prstDash val="solid"/>
              <a:miter lim="800000"/>
            </a:ln>
            <a:effectLst/>
          </p:spPr>
        </p:cxnSp>
        <p:cxnSp>
          <p:nvCxnSpPr>
            <p:cNvPr id="107" name="Straight Connector 106"/>
            <p:cNvCxnSpPr/>
            <p:nvPr/>
          </p:nvCxnSpPr>
          <p:spPr>
            <a:xfrm flipH="1">
              <a:off x="5014996" y="1844826"/>
              <a:ext cx="1" cy="3986089"/>
            </a:xfrm>
            <a:prstGeom prst="line">
              <a:avLst/>
            </a:prstGeom>
            <a:noFill/>
            <a:ln w="22225" cap="flat" cmpd="sng" algn="ctr">
              <a:solidFill>
                <a:srgbClr val="3F3F3F">
                  <a:lumMod val="60000"/>
                  <a:lumOff val="40000"/>
                </a:srgbClr>
              </a:solidFill>
              <a:prstDash val="solid"/>
              <a:miter lim="800000"/>
            </a:ln>
            <a:effectLst/>
          </p:spPr>
        </p:cxnSp>
        <p:cxnSp>
          <p:nvCxnSpPr>
            <p:cNvPr id="108" name="Straight Connector 107"/>
            <p:cNvCxnSpPr/>
            <p:nvPr/>
          </p:nvCxnSpPr>
          <p:spPr>
            <a:xfrm flipH="1">
              <a:off x="7229048" y="1844826"/>
              <a:ext cx="1" cy="3986089"/>
            </a:xfrm>
            <a:prstGeom prst="line">
              <a:avLst/>
            </a:prstGeom>
            <a:noFill/>
            <a:ln w="22225" cap="flat" cmpd="sng" algn="ctr">
              <a:solidFill>
                <a:srgbClr val="3F3F3F">
                  <a:lumMod val="60000"/>
                  <a:lumOff val="40000"/>
                </a:srgbClr>
              </a:solidFill>
              <a:prstDash val="solid"/>
              <a:miter lim="800000"/>
            </a:ln>
            <a:effectLst/>
          </p:spPr>
        </p:cxnSp>
        <p:cxnSp>
          <p:nvCxnSpPr>
            <p:cNvPr id="109" name="Straight Connector 108"/>
            <p:cNvCxnSpPr/>
            <p:nvPr/>
          </p:nvCxnSpPr>
          <p:spPr>
            <a:xfrm flipH="1">
              <a:off x="9443099" y="1844826"/>
              <a:ext cx="1" cy="3986089"/>
            </a:xfrm>
            <a:prstGeom prst="line">
              <a:avLst/>
            </a:prstGeom>
            <a:noFill/>
            <a:ln w="22225" cap="flat" cmpd="sng" algn="ctr">
              <a:solidFill>
                <a:srgbClr val="3F3F3F">
                  <a:lumMod val="60000"/>
                  <a:lumOff val="40000"/>
                </a:srgbClr>
              </a:solidFill>
              <a:prstDash val="solid"/>
              <a:miter lim="800000"/>
            </a:ln>
            <a:effectLst/>
          </p:spPr>
        </p:cxnSp>
        <p:sp>
          <p:nvSpPr>
            <p:cNvPr id="110" name="Rectangle 109"/>
            <p:cNvSpPr/>
            <p:nvPr/>
          </p:nvSpPr>
          <p:spPr>
            <a:xfrm>
              <a:off x="757848" y="1844825"/>
              <a:ext cx="1858751" cy="475637"/>
            </a:xfrm>
            <a:prstGeom prst="rect">
              <a:avLst/>
            </a:prstGeom>
            <a:solidFill>
              <a:srgbClr val="1B6AA3"/>
            </a:solidFill>
            <a:ln w="12700" cap="flat" cmpd="sng" algn="ctr">
              <a:noFill/>
              <a:prstDash val="solid"/>
              <a:miter lim="800000"/>
            </a:ln>
            <a:effectLst/>
          </p:spPr>
          <p:txBody>
            <a:bodyPr rtlCol="0" anchor="ctr"/>
            <a:lstStyle/>
            <a:p>
              <a:pPr lvl="0" algn="ctr" defTabSz="685800"/>
              <a:r>
                <a:rPr kumimoji="0" lang="en-GB" sz="1400" b="1" i="0" u="none" strike="noStrike" kern="0" cap="none" spc="0" normalizeH="0" baseline="0" noProof="0" dirty="0">
                  <a:ln>
                    <a:noFill/>
                  </a:ln>
                  <a:solidFill>
                    <a:srgbClr val="FFFFFF"/>
                  </a:solidFill>
                  <a:effectLst/>
                  <a:uLnTx/>
                  <a:uFillTx/>
                </a:rPr>
                <a:t>GIG-WORKER</a:t>
              </a:r>
            </a:p>
          </p:txBody>
        </p:sp>
        <p:sp>
          <p:nvSpPr>
            <p:cNvPr id="111" name="Rectangle 110"/>
            <p:cNvSpPr/>
            <p:nvPr/>
          </p:nvSpPr>
          <p:spPr>
            <a:xfrm>
              <a:off x="2997586" y="1844824"/>
              <a:ext cx="1858751" cy="475637"/>
            </a:xfrm>
            <a:prstGeom prst="rect">
              <a:avLst/>
            </a:prstGeom>
            <a:solidFill>
              <a:srgbClr val="7CC8EC"/>
            </a:solidFill>
            <a:ln w="12700" cap="flat" cmpd="sng" algn="ctr">
              <a:noFill/>
              <a:prstDash val="solid"/>
              <a:miter lim="800000"/>
            </a:ln>
            <a:effectLst/>
          </p:spPr>
          <p:txBody>
            <a:bodyPr rtlCol="0" anchor="ctr"/>
            <a:lstStyle/>
            <a:p>
              <a:pPr lvl="0" algn="ctr" defTabSz="685800"/>
              <a:r>
                <a:rPr lang="en-GB" sz="1400" b="1" kern="0" dirty="0">
                  <a:solidFill>
                    <a:schemeClr val="bg1"/>
                  </a:solidFill>
                </a:rPr>
                <a:t>GIG-ECONOMY</a:t>
              </a:r>
              <a:endParaRPr kumimoji="0" lang="en-GB" sz="1200" b="1" i="0" u="none" strike="noStrike" kern="0" cap="none" spc="0" normalizeH="0" baseline="0" noProof="0" dirty="0">
                <a:ln>
                  <a:noFill/>
                </a:ln>
                <a:solidFill>
                  <a:schemeClr val="bg1"/>
                </a:solidFill>
                <a:effectLst/>
                <a:uLnTx/>
                <a:uFillTx/>
              </a:endParaRPr>
            </a:p>
          </p:txBody>
        </p:sp>
        <p:sp>
          <p:nvSpPr>
            <p:cNvPr id="112" name="Rectangle 111"/>
            <p:cNvSpPr/>
            <p:nvPr/>
          </p:nvSpPr>
          <p:spPr>
            <a:xfrm>
              <a:off x="5199892" y="1844824"/>
              <a:ext cx="1858751" cy="475637"/>
            </a:xfrm>
            <a:prstGeom prst="rect">
              <a:avLst/>
            </a:prstGeom>
            <a:solidFill>
              <a:srgbClr val="FFC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400" b="1" kern="0" dirty="0">
                  <a:solidFill>
                    <a:srgbClr val="FFFFFF"/>
                  </a:solidFill>
                </a:rPr>
                <a:t>PRESTAZIONI DI LAVORO</a:t>
              </a:r>
              <a:endParaRPr kumimoji="0" lang="en-GB" sz="1400" b="1" i="0" u="none" strike="noStrike" kern="0" cap="none" spc="0" normalizeH="0" baseline="0" noProof="0" dirty="0">
                <a:ln>
                  <a:noFill/>
                </a:ln>
                <a:solidFill>
                  <a:srgbClr val="FFFFFF"/>
                </a:solidFill>
                <a:effectLst/>
                <a:uLnTx/>
                <a:uFillTx/>
              </a:endParaRPr>
            </a:p>
          </p:txBody>
        </p:sp>
        <p:sp>
          <p:nvSpPr>
            <p:cNvPr id="113" name="Rectangle 112"/>
            <p:cNvSpPr/>
            <p:nvPr/>
          </p:nvSpPr>
          <p:spPr>
            <a:xfrm>
              <a:off x="7406298" y="1844824"/>
              <a:ext cx="1858751" cy="475637"/>
            </a:xfrm>
            <a:prstGeom prst="rect">
              <a:avLst/>
            </a:prstGeom>
            <a:solidFill>
              <a:srgbClr val="F4726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lang="en-GB" sz="1400" b="1" kern="0" dirty="0">
                  <a:solidFill>
                    <a:srgbClr val="FFFFFF"/>
                  </a:solidFill>
                </a:rPr>
                <a:t>RIDER</a:t>
              </a:r>
              <a:endParaRPr kumimoji="0" lang="en-GB" sz="1400" b="1" i="0" u="none" strike="noStrike" kern="0" cap="none" spc="0" normalizeH="0" baseline="0" noProof="0" dirty="0">
                <a:ln>
                  <a:noFill/>
                </a:ln>
                <a:solidFill>
                  <a:srgbClr val="FFFFFF"/>
                </a:solidFill>
                <a:effectLst/>
                <a:uLnTx/>
                <a:uFillTx/>
              </a:endParaRPr>
            </a:p>
          </p:txBody>
        </p:sp>
        <p:sp>
          <p:nvSpPr>
            <p:cNvPr id="114" name="Rectangle 113"/>
            <p:cNvSpPr/>
            <p:nvPr/>
          </p:nvSpPr>
          <p:spPr>
            <a:xfrm>
              <a:off x="9575402" y="1844824"/>
              <a:ext cx="1858751" cy="475637"/>
            </a:xfrm>
            <a:prstGeom prst="rect">
              <a:avLst/>
            </a:prstGeom>
            <a:solidFill>
              <a:srgbClr val="868AD1"/>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ea typeface="+mn-ea"/>
                  <a:cs typeface="+mn-cs"/>
                </a:rPr>
                <a:t>CONSEGNE</a:t>
              </a:r>
              <a:r>
                <a:rPr kumimoji="0" lang="en-GB" sz="1400" b="1" i="0" u="none" strike="noStrike" kern="0" cap="none" spc="0" normalizeH="0" noProof="0" dirty="0">
                  <a:ln>
                    <a:noFill/>
                  </a:ln>
                  <a:solidFill>
                    <a:srgbClr val="FFFFFF"/>
                  </a:solidFill>
                  <a:effectLst/>
                  <a:uLnTx/>
                  <a:uFillTx/>
                  <a:ea typeface="+mn-ea"/>
                  <a:cs typeface="+mn-cs"/>
                </a:rPr>
                <a:t> A DOMICILIO</a:t>
              </a:r>
              <a:endParaRPr kumimoji="0" lang="en-GB" sz="1400" b="1" i="0" u="none" strike="noStrike" kern="0" cap="none" spc="0" normalizeH="0" baseline="0" noProof="0" dirty="0">
                <a:ln>
                  <a:noFill/>
                </a:ln>
                <a:solidFill>
                  <a:srgbClr val="FFFFFF"/>
                </a:solidFill>
                <a:effectLst/>
                <a:uLnTx/>
                <a:uFillTx/>
                <a:ea typeface="+mn-ea"/>
                <a:cs typeface="+mn-cs"/>
              </a:endParaRPr>
            </a:p>
          </p:txBody>
        </p:sp>
        <p:sp>
          <p:nvSpPr>
            <p:cNvPr id="136" name="TextBox 135"/>
            <p:cNvSpPr txBox="1"/>
            <p:nvPr/>
          </p:nvSpPr>
          <p:spPr>
            <a:xfrm>
              <a:off x="1085135" y="3387207"/>
              <a:ext cx="1204176" cy="461665"/>
            </a:xfrm>
            <a:prstGeom prst="rect">
              <a:avLst/>
            </a:prstGeom>
            <a:noFill/>
          </p:spPr>
          <p:txBody>
            <a:bodyPr wrap="none" rtlCol="0">
              <a:spAutoFit/>
            </a:bodyPr>
            <a:lstStyle/>
            <a:p>
              <a:pPr algn="ctr" defTabSz="685800"/>
              <a:r>
                <a:rPr lang="en-GB" sz="2400" b="1" dirty="0">
                  <a:solidFill>
                    <a:srgbClr val="1B6AA3"/>
                  </a:solidFill>
                </a:rPr>
                <a:t>700mila</a:t>
              </a:r>
            </a:p>
          </p:txBody>
        </p:sp>
        <p:sp>
          <p:nvSpPr>
            <p:cNvPr id="137" name="TextBox 136"/>
            <p:cNvSpPr txBox="1"/>
            <p:nvPr/>
          </p:nvSpPr>
          <p:spPr>
            <a:xfrm>
              <a:off x="2920404" y="3387207"/>
              <a:ext cx="2013115" cy="461665"/>
            </a:xfrm>
            <a:prstGeom prst="rect">
              <a:avLst/>
            </a:prstGeom>
            <a:noFill/>
          </p:spPr>
          <p:txBody>
            <a:bodyPr wrap="none" rtlCol="0">
              <a:spAutoFit/>
            </a:bodyPr>
            <a:lstStyle/>
            <a:p>
              <a:pPr algn="ctr" defTabSz="685800"/>
              <a:r>
                <a:rPr lang="it-IT" sz="2400" b="1" dirty="0">
                  <a:solidFill>
                    <a:srgbClr val="7CC8EC"/>
                  </a:solidFill>
                </a:rPr>
                <a:t>14-25 miliardi </a:t>
              </a:r>
            </a:p>
          </p:txBody>
        </p:sp>
        <p:sp>
          <p:nvSpPr>
            <p:cNvPr id="138" name="TextBox 137"/>
            <p:cNvSpPr txBox="1"/>
            <p:nvPr/>
          </p:nvSpPr>
          <p:spPr>
            <a:xfrm>
              <a:off x="4962922" y="3387207"/>
              <a:ext cx="2332690" cy="461665"/>
            </a:xfrm>
            <a:prstGeom prst="rect">
              <a:avLst/>
            </a:prstGeom>
            <a:noFill/>
          </p:spPr>
          <p:txBody>
            <a:bodyPr wrap="none" rtlCol="0">
              <a:spAutoFit/>
            </a:bodyPr>
            <a:lstStyle/>
            <a:p>
              <a:pPr algn="ctr" defTabSz="685800"/>
              <a:r>
                <a:rPr lang="en-GB" sz="2400" b="1" dirty="0">
                  <a:solidFill>
                    <a:srgbClr val="FFC000"/>
                  </a:solidFill>
                </a:rPr>
                <a:t>Da 2€ a &gt; 1.000€</a:t>
              </a:r>
            </a:p>
          </p:txBody>
        </p:sp>
        <p:sp>
          <p:nvSpPr>
            <p:cNvPr id="139" name="TextBox 138"/>
            <p:cNvSpPr txBox="1"/>
            <p:nvPr/>
          </p:nvSpPr>
          <p:spPr>
            <a:xfrm>
              <a:off x="7811331" y="3387207"/>
              <a:ext cx="1048685" cy="461665"/>
            </a:xfrm>
            <a:prstGeom prst="rect">
              <a:avLst/>
            </a:prstGeom>
            <a:noFill/>
          </p:spPr>
          <p:txBody>
            <a:bodyPr wrap="none" rtlCol="0">
              <a:spAutoFit/>
            </a:bodyPr>
            <a:lstStyle/>
            <a:p>
              <a:pPr algn="ctr" defTabSz="685800"/>
              <a:r>
                <a:rPr lang="en-GB" sz="2400" b="1" dirty="0">
                  <a:solidFill>
                    <a:srgbClr val="F47264"/>
                  </a:solidFill>
                </a:rPr>
                <a:t>10mila</a:t>
              </a:r>
            </a:p>
          </p:txBody>
        </p:sp>
        <p:sp>
          <p:nvSpPr>
            <p:cNvPr id="140" name="TextBox 139"/>
            <p:cNvSpPr txBox="1"/>
            <p:nvPr/>
          </p:nvSpPr>
          <p:spPr>
            <a:xfrm>
              <a:off x="10019709" y="3387207"/>
              <a:ext cx="970137" cy="461665"/>
            </a:xfrm>
            <a:prstGeom prst="rect">
              <a:avLst/>
            </a:prstGeom>
            <a:noFill/>
          </p:spPr>
          <p:txBody>
            <a:bodyPr wrap="none" rtlCol="0">
              <a:spAutoFit/>
            </a:bodyPr>
            <a:lstStyle/>
            <a:p>
              <a:pPr algn="ctr" defTabSz="685800"/>
              <a:r>
                <a:rPr lang="en-GB" sz="2400" b="1" dirty="0">
                  <a:solidFill>
                    <a:srgbClr val="868AD1"/>
                  </a:solidFill>
                </a:rPr>
                <a:t>7-10%</a:t>
              </a:r>
            </a:p>
          </p:txBody>
        </p:sp>
        <p:cxnSp>
          <p:nvCxnSpPr>
            <p:cNvPr id="141" name="Straight Connector 140"/>
            <p:cNvCxnSpPr/>
            <p:nvPr/>
          </p:nvCxnSpPr>
          <p:spPr>
            <a:xfrm rot="16200000" flipH="1">
              <a:off x="3926961" y="3070687"/>
              <a:ext cx="1" cy="1859539"/>
            </a:xfrm>
            <a:prstGeom prst="line">
              <a:avLst/>
            </a:prstGeom>
            <a:noFill/>
            <a:ln w="22225" cap="flat" cmpd="sng" algn="ctr">
              <a:solidFill>
                <a:srgbClr val="3F3F3F">
                  <a:lumMod val="60000"/>
                  <a:lumOff val="40000"/>
                </a:srgbClr>
              </a:solidFill>
              <a:prstDash val="solid"/>
              <a:miter lim="800000"/>
            </a:ln>
            <a:effectLst/>
          </p:spPr>
        </p:cxnSp>
        <p:cxnSp>
          <p:nvCxnSpPr>
            <p:cNvPr id="142" name="Straight Connector 141"/>
            <p:cNvCxnSpPr/>
            <p:nvPr/>
          </p:nvCxnSpPr>
          <p:spPr>
            <a:xfrm rot="16200000" flipH="1">
              <a:off x="1687222" y="3070685"/>
              <a:ext cx="1" cy="1859539"/>
            </a:xfrm>
            <a:prstGeom prst="line">
              <a:avLst/>
            </a:prstGeom>
            <a:noFill/>
            <a:ln w="22225" cap="flat" cmpd="sng" algn="ctr">
              <a:solidFill>
                <a:srgbClr val="3F3F3F">
                  <a:lumMod val="60000"/>
                  <a:lumOff val="40000"/>
                </a:srgbClr>
              </a:solidFill>
              <a:prstDash val="solid"/>
              <a:miter lim="800000"/>
            </a:ln>
            <a:effectLst/>
          </p:spPr>
        </p:cxnSp>
        <p:cxnSp>
          <p:nvCxnSpPr>
            <p:cNvPr id="143" name="Straight Connector 142"/>
            <p:cNvCxnSpPr/>
            <p:nvPr/>
          </p:nvCxnSpPr>
          <p:spPr>
            <a:xfrm rot="16200000" flipH="1">
              <a:off x="6122017" y="3070685"/>
              <a:ext cx="1" cy="1859539"/>
            </a:xfrm>
            <a:prstGeom prst="line">
              <a:avLst/>
            </a:prstGeom>
            <a:noFill/>
            <a:ln w="22225" cap="flat" cmpd="sng" algn="ctr">
              <a:solidFill>
                <a:srgbClr val="3F3F3F">
                  <a:lumMod val="60000"/>
                  <a:lumOff val="40000"/>
                </a:srgbClr>
              </a:solidFill>
              <a:prstDash val="solid"/>
              <a:miter lim="800000"/>
            </a:ln>
            <a:effectLst/>
          </p:spPr>
        </p:cxnSp>
        <p:cxnSp>
          <p:nvCxnSpPr>
            <p:cNvPr id="144" name="Straight Connector 143"/>
            <p:cNvCxnSpPr/>
            <p:nvPr/>
          </p:nvCxnSpPr>
          <p:spPr>
            <a:xfrm rot="16200000" flipH="1">
              <a:off x="8335674" y="3059964"/>
              <a:ext cx="1" cy="1859539"/>
            </a:xfrm>
            <a:prstGeom prst="line">
              <a:avLst/>
            </a:prstGeom>
            <a:noFill/>
            <a:ln w="22225" cap="flat" cmpd="sng" algn="ctr">
              <a:solidFill>
                <a:srgbClr val="3F3F3F">
                  <a:lumMod val="60000"/>
                  <a:lumOff val="40000"/>
                </a:srgbClr>
              </a:solidFill>
              <a:prstDash val="solid"/>
              <a:miter lim="800000"/>
            </a:ln>
            <a:effectLst/>
          </p:spPr>
        </p:cxnSp>
        <p:cxnSp>
          <p:nvCxnSpPr>
            <p:cNvPr id="145" name="Straight Connector 144"/>
            <p:cNvCxnSpPr/>
            <p:nvPr/>
          </p:nvCxnSpPr>
          <p:spPr>
            <a:xfrm rot="16200000" flipH="1">
              <a:off x="10504777" y="3059963"/>
              <a:ext cx="1" cy="1859539"/>
            </a:xfrm>
            <a:prstGeom prst="line">
              <a:avLst/>
            </a:prstGeom>
            <a:noFill/>
            <a:ln w="22225" cap="flat" cmpd="sng" algn="ctr">
              <a:solidFill>
                <a:srgbClr val="3F3F3F">
                  <a:lumMod val="60000"/>
                  <a:lumOff val="40000"/>
                </a:srgbClr>
              </a:solidFill>
              <a:prstDash val="solid"/>
              <a:miter lim="800000"/>
            </a:ln>
            <a:effectLst/>
          </p:spPr>
        </p:cxnSp>
        <p:sp>
          <p:nvSpPr>
            <p:cNvPr id="146" name="Rectangle 145"/>
            <p:cNvSpPr/>
            <p:nvPr/>
          </p:nvSpPr>
          <p:spPr>
            <a:xfrm>
              <a:off x="696000" y="4220016"/>
              <a:ext cx="1982446" cy="1569660"/>
            </a:xfrm>
            <a:prstGeom prst="rect">
              <a:avLst/>
            </a:prstGeom>
          </p:spPr>
          <p:txBody>
            <a:bodyPr wrap="square">
              <a:spAutoFit/>
            </a:bodyPr>
            <a:lstStyle/>
            <a:p>
              <a:pPr lvl="0" algn="ctr" defTabSz="913943">
                <a:defRPr/>
              </a:pPr>
              <a:r>
                <a:rPr lang="en-US" sz="1600" b="1" dirty="0">
                  <a:cs typeface="Calibri" panose="020F0502020204030204" pitchFamily="34" charset="0"/>
                </a:rPr>
                <a:t>Gig-worker in Italia</a:t>
              </a:r>
            </a:p>
            <a:p>
              <a:pPr lvl="0" algn="ctr" defTabSz="913943">
                <a:defRPr/>
              </a:pPr>
              <a:r>
                <a:rPr lang="en-US" sz="1600" dirty="0">
                  <a:cs typeface="Calibri" panose="020F0502020204030204" pitchFamily="34" charset="0"/>
                </a:rPr>
                <a:t>(</a:t>
              </a:r>
              <a:r>
                <a:rPr lang="it-IT" sz="1600" dirty="0">
                  <a:cs typeface="Calibri" panose="020F0502020204030204" pitchFamily="34" charset="0"/>
                </a:rPr>
                <a:t>rider, baby sitter, idraulici, artigiani, addetti per le pulizie, traduttori, video e audio editor) (1)</a:t>
              </a:r>
            </a:p>
          </p:txBody>
        </p:sp>
        <p:sp>
          <p:nvSpPr>
            <p:cNvPr id="147" name="Rectangle 146"/>
            <p:cNvSpPr/>
            <p:nvPr/>
          </p:nvSpPr>
          <p:spPr>
            <a:xfrm>
              <a:off x="2935738" y="4220016"/>
              <a:ext cx="1982446" cy="1323439"/>
            </a:xfrm>
            <a:prstGeom prst="rect">
              <a:avLst/>
            </a:prstGeom>
          </p:spPr>
          <p:txBody>
            <a:bodyPr wrap="square">
              <a:spAutoFit/>
            </a:bodyPr>
            <a:lstStyle/>
            <a:p>
              <a:pPr algn="ctr" defTabSz="685800"/>
              <a:r>
                <a:rPr lang="it-IT" sz="1600" b="1" dirty="0"/>
                <a:t>Volume stimato della Gig Economy nel 2025</a:t>
              </a:r>
              <a:r>
                <a:rPr lang="it-IT" sz="1600" dirty="0"/>
                <a:t>, tra lo 0,7% e l’1,3% del prodotto interno lordo (2) </a:t>
              </a:r>
            </a:p>
          </p:txBody>
        </p:sp>
        <p:sp>
          <p:nvSpPr>
            <p:cNvPr id="148" name="Rectangle 147"/>
            <p:cNvSpPr/>
            <p:nvPr/>
          </p:nvSpPr>
          <p:spPr>
            <a:xfrm>
              <a:off x="5138044" y="4220016"/>
              <a:ext cx="1982446" cy="1323439"/>
            </a:xfrm>
            <a:prstGeom prst="rect">
              <a:avLst/>
            </a:prstGeom>
          </p:spPr>
          <p:txBody>
            <a:bodyPr wrap="square">
              <a:spAutoFit/>
            </a:bodyPr>
            <a:lstStyle/>
            <a:p>
              <a:pPr algn="ctr" defTabSz="685800"/>
              <a:r>
                <a:rPr lang="it-IT" sz="1600" dirty="0"/>
                <a:t>Il valore delle </a:t>
              </a:r>
              <a:r>
                <a:rPr lang="it-IT" sz="1600" b="1" dirty="0"/>
                <a:t>singole</a:t>
              </a:r>
              <a:r>
                <a:rPr lang="it-IT" sz="1600" dirty="0"/>
                <a:t> </a:t>
              </a:r>
              <a:r>
                <a:rPr lang="it-IT" sz="1600" b="1" dirty="0"/>
                <a:t>prestazioni di lavoro </a:t>
              </a:r>
              <a:r>
                <a:rPr lang="it-IT" sz="1600" dirty="0"/>
                <a:t>intermediate dalle </a:t>
              </a:r>
              <a:r>
                <a:rPr lang="it-IT" sz="1600" b="1" dirty="0"/>
                <a:t>piattaforme</a:t>
              </a:r>
              <a:r>
                <a:rPr lang="it-IT" sz="1600" dirty="0"/>
                <a:t> </a:t>
              </a:r>
              <a:r>
                <a:rPr lang="it-IT" sz="1600" b="1" dirty="0"/>
                <a:t>digitali </a:t>
              </a:r>
              <a:r>
                <a:rPr lang="it-IT" sz="1600" dirty="0"/>
                <a:t>(2) </a:t>
              </a:r>
            </a:p>
          </p:txBody>
        </p:sp>
        <p:sp>
          <p:nvSpPr>
            <p:cNvPr id="149" name="Rectangle 148"/>
            <p:cNvSpPr/>
            <p:nvPr/>
          </p:nvSpPr>
          <p:spPr>
            <a:xfrm>
              <a:off x="7344450" y="4220016"/>
              <a:ext cx="1982446" cy="584775"/>
            </a:xfrm>
            <a:prstGeom prst="rect">
              <a:avLst/>
            </a:prstGeom>
          </p:spPr>
          <p:txBody>
            <a:bodyPr wrap="square">
              <a:spAutoFit/>
            </a:bodyPr>
            <a:lstStyle/>
            <a:p>
              <a:pPr algn="ctr" defTabSz="685800"/>
              <a:r>
                <a:rPr lang="it-IT" sz="1600" b="1" dirty="0"/>
                <a:t>Rider</a:t>
              </a:r>
              <a:r>
                <a:rPr lang="it-IT" sz="1600" dirty="0"/>
                <a:t> impegnati nel food delivery (1)</a:t>
              </a:r>
            </a:p>
          </p:txBody>
        </p:sp>
        <p:sp>
          <p:nvSpPr>
            <p:cNvPr id="150" name="Rectangle 149"/>
            <p:cNvSpPr/>
            <p:nvPr/>
          </p:nvSpPr>
          <p:spPr>
            <a:xfrm>
              <a:off x="9513554" y="4220016"/>
              <a:ext cx="1982446" cy="1568891"/>
            </a:xfrm>
            <a:prstGeom prst="rect">
              <a:avLst/>
            </a:prstGeom>
          </p:spPr>
          <p:txBody>
            <a:bodyPr wrap="square">
              <a:spAutoFit/>
            </a:bodyPr>
            <a:lstStyle/>
            <a:p>
              <a:pPr lvl="0" algn="ctr" defTabSz="913943">
                <a:defRPr/>
              </a:pPr>
              <a:r>
                <a:rPr lang="it-IT" sz="1599" dirty="0">
                  <a:latin typeface="Calibri" panose="020F0502020204030204" pitchFamily="34" charset="0"/>
                  <a:cs typeface="Calibri" panose="020F0502020204030204" pitchFamily="34" charset="0"/>
                </a:rPr>
                <a:t>Percentuale delle </a:t>
              </a:r>
              <a:r>
                <a:rPr lang="it-IT" sz="1599" b="1" dirty="0">
                  <a:latin typeface="Calibri" panose="020F0502020204030204" pitchFamily="34" charset="0"/>
                  <a:cs typeface="Calibri" panose="020F0502020204030204" pitchFamily="34" charset="0"/>
                </a:rPr>
                <a:t>consegne di cibo a domicilio </a:t>
              </a:r>
              <a:r>
                <a:rPr lang="it-IT" sz="1599" dirty="0">
                  <a:latin typeface="Calibri" panose="020F0502020204030204" pitchFamily="34" charset="0"/>
                  <a:cs typeface="Calibri" panose="020F0502020204030204" pitchFamily="34" charset="0"/>
                </a:rPr>
                <a:t>che transitano </a:t>
              </a:r>
              <a:r>
                <a:rPr lang="it-IT" sz="1599" b="1" dirty="0">
                  <a:latin typeface="Calibri" panose="020F0502020204030204" pitchFamily="34" charset="0"/>
                  <a:cs typeface="Calibri" panose="020F0502020204030204" pitchFamily="34" charset="0"/>
                </a:rPr>
                <a:t>su piattaforme digitali </a:t>
              </a:r>
              <a:r>
                <a:rPr lang="it-IT" sz="1599" dirty="0">
                  <a:latin typeface="Calibri" panose="020F0502020204030204" pitchFamily="34" charset="0"/>
                  <a:cs typeface="Calibri" panose="020F0502020204030204" pitchFamily="34" charset="0"/>
                </a:rPr>
                <a:t>(</a:t>
              </a:r>
              <a:r>
                <a:rPr lang="it-IT" sz="1599" b="1" dirty="0">
                  <a:latin typeface="Calibri" panose="020F0502020204030204" pitchFamily="34" charset="0"/>
                  <a:cs typeface="Calibri" panose="020F0502020204030204" pitchFamily="34" charset="0"/>
                </a:rPr>
                <a:t>90% sommerso</a:t>
              </a:r>
              <a:r>
                <a:rPr lang="it-IT" sz="1599" dirty="0">
                  <a:latin typeface="Calibri" panose="020F0502020204030204" pitchFamily="34" charset="0"/>
                  <a:cs typeface="Calibri" panose="020F0502020204030204" pitchFamily="34" charset="0"/>
                </a:rPr>
                <a:t>)</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573" y="2548937"/>
              <a:ext cx="773299" cy="773299"/>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1836" y="2551342"/>
              <a:ext cx="726086" cy="726086"/>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6864" y="2548937"/>
              <a:ext cx="724806" cy="724806"/>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36325" y="2548937"/>
              <a:ext cx="798695" cy="798695"/>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41654" y="2597430"/>
              <a:ext cx="724806" cy="724806"/>
            </a:xfrm>
            <a:prstGeom prst="rect">
              <a:avLst/>
            </a:prstGeom>
          </p:spPr>
        </p:pic>
      </p:grpSp>
    </p:spTree>
    <p:extLst>
      <p:ext uri="{BB962C8B-B14F-4D97-AF65-F5344CB8AC3E}">
        <p14:creationId xmlns:p14="http://schemas.microsoft.com/office/powerpoint/2010/main" val="34848392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400" i="1" dirty="0">
                <a:latin typeface="Calibri" panose="020F0502020204030204" pitchFamily="34" charset="0"/>
                <a:cs typeface="Calibri" panose="020F0502020204030204" pitchFamily="34" charset="0"/>
              </a:rPr>
              <a:t>Piattaforma</a:t>
            </a:r>
            <a:r>
              <a:rPr lang="en-US" sz="2400" i="1" dirty="0">
                <a:latin typeface="Calibri" panose="020F0502020204030204" pitchFamily="34" charset="0"/>
                <a:cs typeface="Calibri" panose="020F0502020204030204" pitchFamily="34" charset="0"/>
              </a:rPr>
              <a:t> Welfare </a:t>
            </a:r>
            <a:r>
              <a:rPr lang="it-IT" sz="2400" i="1" dirty="0">
                <a:latin typeface="Calibri" panose="020F0502020204030204" pitchFamily="34" charset="0"/>
                <a:cs typeface="Calibri" panose="020F0502020204030204" pitchFamily="34" charset="0"/>
              </a:rPr>
              <a:t>per un marketplace evoluto</a:t>
            </a:r>
          </a:p>
        </p:txBody>
      </p:sp>
      <p:grpSp>
        <p:nvGrpSpPr>
          <p:cNvPr id="4" name="Group 3"/>
          <p:cNvGrpSpPr/>
          <p:nvPr/>
        </p:nvGrpSpPr>
        <p:grpSpPr>
          <a:xfrm>
            <a:off x="623888" y="2152142"/>
            <a:ext cx="10944000" cy="439292"/>
            <a:chOff x="623888" y="2152142"/>
            <a:chExt cx="10944000" cy="439292"/>
          </a:xfrm>
        </p:grpSpPr>
        <p:sp>
          <p:nvSpPr>
            <p:cNvPr id="51" name="TextBox 50"/>
            <p:cNvSpPr txBox="1"/>
            <p:nvPr/>
          </p:nvSpPr>
          <p:spPr>
            <a:xfrm>
              <a:off x="623888" y="2202511"/>
              <a:ext cx="10944000" cy="338554"/>
            </a:xfrm>
            <a:prstGeom prst="rect">
              <a:avLst/>
            </a:prstGeom>
            <a:noFill/>
          </p:spPr>
          <p:txBody>
            <a:bodyPr wrap="square" rtlCol="0">
              <a:spAutoFit/>
            </a:bodyPr>
            <a:lstStyle/>
            <a:p>
              <a:pPr lvl="2" algn="just"/>
              <a:r>
                <a:rPr lang="it-IT" sz="1600" dirty="0"/>
                <a:t>la fruizione per tutti gli attori coinvolti dei dati della PA al fine di </a:t>
              </a:r>
              <a:r>
                <a:rPr lang="it-IT" sz="1600" b="1" dirty="0"/>
                <a:t>migliorare i servizi per il cittadino</a:t>
              </a:r>
              <a:r>
                <a:rPr lang="it-IT" sz="1600" dirty="0"/>
                <a:t>;</a:t>
              </a:r>
            </a:p>
          </p:txBody>
        </p:sp>
        <p:sp>
          <p:nvSpPr>
            <p:cNvPr id="22" name="Freeform 219"/>
            <p:cNvSpPr>
              <a:spLocks noChangeAspect="1" noEditPoints="1"/>
            </p:cNvSpPr>
            <p:nvPr/>
          </p:nvSpPr>
          <p:spPr bwMode="auto">
            <a:xfrm>
              <a:off x="858783" y="2152142"/>
              <a:ext cx="445477" cy="439292"/>
            </a:xfrm>
            <a:custGeom>
              <a:avLst/>
              <a:gdLst>
                <a:gd name="T0" fmla="*/ 61 w 61"/>
                <a:gd name="T1" fmla="*/ 4 h 60"/>
                <a:gd name="T2" fmla="*/ 57 w 61"/>
                <a:gd name="T3" fmla="*/ 0 h 60"/>
                <a:gd name="T4" fmla="*/ 47 w 61"/>
                <a:gd name="T5" fmla="*/ 11 h 60"/>
                <a:gd name="T6" fmla="*/ 28 w 61"/>
                <a:gd name="T7" fmla="*/ 4 h 60"/>
                <a:gd name="T8" fmla="*/ 0 w 61"/>
                <a:gd name="T9" fmla="*/ 32 h 60"/>
                <a:gd name="T10" fmla="*/ 28 w 61"/>
                <a:gd name="T11" fmla="*/ 60 h 60"/>
                <a:gd name="T12" fmla="*/ 56 w 61"/>
                <a:gd name="T13" fmla="*/ 32 h 60"/>
                <a:gd name="T14" fmla="*/ 51 w 61"/>
                <a:gd name="T15" fmla="*/ 17 h 60"/>
                <a:gd name="T16" fmla="*/ 61 w 61"/>
                <a:gd name="T17" fmla="*/ 4 h 60"/>
                <a:gd name="T18" fmla="*/ 52 w 61"/>
                <a:gd name="T19" fmla="*/ 32 h 60"/>
                <a:gd name="T20" fmla="*/ 28 w 61"/>
                <a:gd name="T21" fmla="*/ 56 h 60"/>
                <a:gd name="T22" fmla="*/ 4 w 61"/>
                <a:gd name="T23" fmla="*/ 32 h 60"/>
                <a:gd name="T24" fmla="*/ 28 w 61"/>
                <a:gd name="T25" fmla="*/ 8 h 60"/>
                <a:gd name="T26" fmla="*/ 44 w 61"/>
                <a:gd name="T27" fmla="*/ 14 h 60"/>
                <a:gd name="T28" fmla="*/ 27 w 61"/>
                <a:gd name="T29" fmla="*/ 34 h 60"/>
                <a:gd name="T30" fmla="*/ 14 w 61"/>
                <a:gd name="T31" fmla="*/ 21 h 60"/>
                <a:gd name="T32" fmla="*/ 10 w 61"/>
                <a:gd name="T33" fmla="*/ 30 h 60"/>
                <a:gd name="T34" fmla="*/ 23 w 61"/>
                <a:gd name="T35" fmla="*/ 45 h 60"/>
                <a:gd name="T36" fmla="*/ 26 w 61"/>
                <a:gd name="T37" fmla="*/ 49 h 60"/>
                <a:gd name="T38" fmla="*/ 29 w 61"/>
                <a:gd name="T39" fmla="*/ 45 h 60"/>
                <a:gd name="T40" fmla="*/ 49 w 61"/>
                <a:gd name="T41" fmla="*/ 20 h 60"/>
                <a:gd name="T42" fmla="*/ 52 w 61"/>
                <a:gd name="T4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0">
                  <a:moveTo>
                    <a:pt x="61" y="4"/>
                  </a:moveTo>
                  <a:cubicBezTo>
                    <a:pt x="57" y="0"/>
                    <a:pt x="57" y="0"/>
                    <a:pt x="57" y="0"/>
                  </a:cubicBezTo>
                  <a:cubicBezTo>
                    <a:pt x="47" y="11"/>
                    <a:pt x="47" y="11"/>
                    <a:pt x="47" y="11"/>
                  </a:cubicBezTo>
                  <a:cubicBezTo>
                    <a:pt x="42" y="7"/>
                    <a:pt x="35" y="4"/>
                    <a:pt x="28" y="4"/>
                  </a:cubicBezTo>
                  <a:cubicBezTo>
                    <a:pt x="12" y="4"/>
                    <a:pt x="0" y="16"/>
                    <a:pt x="0" y="32"/>
                  </a:cubicBezTo>
                  <a:cubicBezTo>
                    <a:pt x="0" y="47"/>
                    <a:pt x="12" y="60"/>
                    <a:pt x="28" y="60"/>
                  </a:cubicBezTo>
                  <a:cubicBezTo>
                    <a:pt x="43" y="60"/>
                    <a:pt x="56" y="47"/>
                    <a:pt x="56" y="32"/>
                  </a:cubicBezTo>
                  <a:cubicBezTo>
                    <a:pt x="56" y="26"/>
                    <a:pt x="54" y="21"/>
                    <a:pt x="51" y="17"/>
                  </a:cubicBezTo>
                  <a:lnTo>
                    <a:pt x="61" y="4"/>
                  </a:lnTo>
                  <a:close/>
                  <a:moveTo>
                    <a:pt x="52" y="32"/>
                  </a:moveTo>
                  <a:cubicBezTo>
                    <a:pt x="52" y="45"/>
                    <a:pt x="41" y="56"/>
                    <a:pt x="28" y="56"/>
                  </a:cubicBezTo>
                  <a:cubicBezTo>
                    <a:pt x="14" y="56"/>
                    <a:pt x="4" y="45"/>
                    <a:pt x="4" y="32"/>
                  </a:cubicBezTo>
                  <a:cubicBezTo>
                    <a:pt x="4" y="19"/>
                    <a:pt x="14" y="8"/>
                    <a:pt x="28" y="8"/>
                  </a:cubicBezTo>
                  <a:cubicBezTo>
                    <a:pt x="34" y="8"/>
                    <a:pt x="40" y="10"/>
                    <a:pt x="44" y="14"/>
                  </a:cubicBezTo>
                  <a:cubicBezTo>
                    <a:pt x="27" y="34"/>
                    <a:pt x="27" y="34"/>
                    <a:pt x="27" y="34"/>
                  </a:cubicBezTo>
                  <a:cubicBezTo>
                    <a:pt x="14" y="21"/>
                    <a:pt x="14" y="21"/>
                    <a:pt x="14" y="21"/>
                  </a:cubicBezTo>
                  <a:cubicBezTo>
                    <a:pt x="10" y="30"/>
                    <a:pt x="10" y="30"/>
                    <a:pt x="10" y="30"/>
                  </a:cubicBezTo>
                  <a:cubicBezTo>
                    <a:pt x="23" y="45"/>
                    <a:pt x="23" y="45"/>
                    <a:pt x="23" y="45"/>
                  </a:cubicBezTo>
                  <a:cubicBezTo>
                    <a:pt x="26" y="49"/>
                    <a:pt x="26" y="49"/>
                    <a:pt x="26" y="49"/>
                  </a:cubicBezTo>
                  <a:cubicBezTo>
                    <a:pt x="29" y="45"/>
                    <a:pt x="29" y="45"/>
                    <a:pt x="29" y="45"/>
                  </a:cubicBezTo>
                  <a:cubicBezTo>
                    <a:pt x="49" y="20"/>
                    <a:pt x="49" y="20"/>
                    <a:pt x="49" y="20"/>
                  </a:cubicBezTo>
                  <a:cubicBezTo>
                    <a:pt x="51" y="24"/>
                    <a:pt x="52" y="28"/>
                    <a:pt x="52" y="32"/>
                  </a:cubicBezTo>
                  <a:close/>
                </a:path>
              </a:pathLst>
            </a:custGeom>
            <a:solidFill>
              <a:srgbClr val="45A198"/>
            </a:solidFill>
            <a:ln>
              <a:noFill/>
            </a:ln>
            <a:extLst/>
          </p:spPr>
          <p:txBody>
            <a:bodyPr vert="horz" wrap="square" lIns="91440" tIns="45720" rIns="91440" bIns="45720" numCol="1" anchor="t" anchorCtr="0" compatLnSpc="1">
              <a:prstTxWarp prst="textNoShape">
                <a:avLst/>
              </a:prstTxWarp>
            </a:bodyPr>
            <a:lstStyle/>
            <a:p>
              <a:endParaRPr lang="id-ID"/>
            </a:p>
          </p:txBody>
        </p:sp>
      </p:grpSp>
      <p:sp>
        <p:nvSpPr>
          <p:cNvPr id="21" name="Rectangle 35"/>
          <p:cNvSpPr>
            <a:spLocks noChangeArrowheads="1"/>
          </p:cNvSpPr>
          <p:nvPr/>
        </p:nvSpPr>
        <p:spPr bwMode="auto">
          <a:xfrm>
            <a:off x="630855" y="994831"/>
            <a:ext cx="10937257" cy="1077218"/>
          </a:xfrm>
          <a:prstGeom prst="rect">
            <a:avLst/>
          </a:prstGeom>
          <a:solidFill>
            <a:schemeClr val="bg1"/>
          </a:solidFill>
          <a:ln>
            <a:noFill/>
          </a:ln>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algn="just">
              <a:lnSpc>
                <a:spcPct val="100000"/>
              </a:lnSpc>
              <a:spcBef>
                <a:spcPts val="0"/>
              </a:spcBef>
              <a:buNone/>
            </a:pPr>
            <a:r>
              <a:rPr lang="it-IT" sz="1600" dirty="0">
                <a:latin typeface="+mn-lt"/>
              </a:rPr>
              <a:t>In questo contesto e dall’incontro di </a:t>
            </a:r>
            <a:r>
              <a:rPr lang="it-IT" sz="1600" b="1" dirty="0">
                <a:latin typeface="+mn-lt"/>
              </a:rPr>
              <a:t>diversi attori* della PA ad un tavolo sull’innovazione digitale come leva per l’evoluzione dell’ecosistema del welfare</a:t>
            </a:r>
            <a:r>
              <a:rPr lang="it-IT" sz="1600" dirty="0">
                <a:latin typeface="+mn-lt"/>
              </a:rPr>
              <a:t>, è nata l’idea di </a:t>
            </a:r>
            <a:r>
              <a:rPr lang="it-IT" sz="1600" b="1" dirty="0">
                <a:latin typeface="+mn-lt"/>
              </a:rPr>
              <a:t>creare una Piattaforma integrata contenente tutti i dati sulla vita lavorativa ed assistenziale dei cittadini</a:t>
            </a:r>
            <a:r>
              <a:rPr lang="it-IT" sz="1600" dirty="0">
                <a:latin typeface="+mn-lt"/>
              </a:rPr>
              <a:t>. La piattaforma consentirebbe di </a:t>
            </a:r>
            <a:r>
              <a:rPr lang="it-IT" sz="1600" b="1" dirty="0">
                <a:latin typeface="+mn-lt"/>
              </a:rPr>
              <a:t>agevolare</a:t>
            </a:r>
            <a:r>
              <a:rPr lang="it-IT" sz="1600" dirty="0">
                <a:latin typeface="+mn-lt"/>
              </a:rPr>
              <a:t> </a:t>
            </a:r>
            <a:r>
              <a:rPr lang="it-IT" sz="1600" b="1" dirty="0">
                <a:latin typeface="+mn-lt"/>
              </a:rPr>
              <a:t>l’incontro tra domanda e offerta </a:t>
            </a:r>
            <a:r>
              <a:rPr lang="it-IT" sz="1600" dirty="0">
                <a:latin typeface="+mn-lt"/>
              </a:rPr>
              <a:t>di lavoro </a:t>
            </a:r>
            <a:r>
              <a:rPr lang="it-IT" sz="1600" b="1" dirty="0">
                <a:latin typeface="+mn-lt"/>
              </a:rPr>
              <a:t>incentivando le politiche attive e</a:t>
            </a:r>
            <a:r>
              <a:rPr lang="it-IT" sz="1600" dirty="0">
                <a:latin typeface="+mn-lt"/>
              </a:rPr>
              <a:t> </a:t>
            </a:r>
            <a:r>
              <a:rPr lang="it-IT" sz="1600" b="1" dirty="0">
                <a:latin typeface="+mn-lt"/>
              </a:rPr>
              <a:t>riducendo</a:t>
            </a:r>
            <a:r>
              <a:rPr lang="it-IT" sz="1600" dirty="0">
                <a:latin typeface="+mn-lt"/>
              </a:rPr>
              <a:t> la </a:t>
            </a:r>
            <a:r>
              <a:rPr lang="it-IT" sz="1600" b="1" dirty="0">
                <a:latin typeface="+mn-lt"/>
              </a:rPr>
              <a:t>spesa per prestazioni </a:t>
            </a:r>
            <a:r>
              <a:rPr lang="it-IT" sz="1600" dirty="0">
                <a:latin typeface="+mn-lt"/>
              </a:rPr>
              <a:t>a sostegno del reddito.</a:t>
            </a:r>
            <a:r>
              <a:rPr lang="it-IT" sz="1600" dirty="0">
                <a:solidFill>
                  <a:srgbClr val="FF0000"/>
                </a:solidFill>
                <a:latin typeface="+mn-lt"/>
              </a:rPr>
              <a:t> </a:t>
            </a:r>
            <a:r>
              <a:rPr lang="it-IT" sz="1600" dirty="0">
                <a:latin typeface="+mn-lt"/>
              </a:rPr>
              <a:t>In particolare tale piattaforma consentirebbe:</a:t>
            </a:r>
          </a:p>
        </p:txBody>
      </p:sp>
      <p:grpSp>
        <p:nvGrpSpPr>
          <p:cNvPr id="6" name="Group 5"/>
          <p:cNvGrpSpPr/>
          <p:nvPr/>
        </p:nvGrpSpPr>
        <p:grpSpPr>
          <a:xfrm>
            <a:off x="623888" y="2779560"/>
            <a:ext cx="10944000" cy="830997"/>
            <a:chOff x="623888" y="2714727"/>
            <a:chExt cx="10944000" cy="830997"/>
          </a:xfrm>
        </p:grpSpPr>
        <p:sp>
          <p:nvSpPr>
            <p:cNvPr id="53" name="TextBox 52"/>
            <p:cNvSpPr txBox="1"/>
            <p:nvPr/>
          </p:nvSpPr>
          <p:spPr>
            <a:xfrm>
              <a:off x="623888" y="2714727"/>
              <a:ext cx="10944000" cy="830997"/>
            </a:xfrm>
            <a:prstGeom prst="rect">
              <a:avLst/>
            </a:prstGeom>
            <a:noFill/>
          </p:spPr>
          <p:txBody>
            <a:bodyPr wrap="square" rtlCol="0">
              <a:spAutoFit/>
            </a:bodyPr>
            <a:lstStyle/>
            <a:p>
              <a:pPr lvl="2" algn="just"/>
              <a:r>
                <a:rPr lang="it-IT" sz="1600" dirty="0"/>
                <a:t>la creazione di un vero e proprio marketplace per l’</a:t>
              </a:r>
              <a:r>
                <a:rPr lang="it-IT" sz="1600" b="1" dirty="0"/>
                <a:t>incontro di domanda e offerta di lavoro</a:t>
              </a:r>
              <a:r>
                <a:rPr lang="it-IT" sz="1600" dirty="0"/>
                <a:t>, anche offrendo ai datori di lavoro informazioni utili per l'utilizzo degli </a:t>
              </a:r>
              <a:r>
                <a:rPr lang="it-IT" sz="1600" b="1" dirty="0"/>
                <a:t>incentivi all'assunzione </a:t>
              </a:r>
              <a:r>
                <a:rPr lang="it-IT" sz="1600" dirty="0"/>
                <a:t>messi a loro disposizione dalla PA (es. voucher, sgravi contributivi per l’assunzione di percettori di Reddito di Cittadinanza, ecc.);</a:t>
              </a:r>
            </a:p>
          </p:txBody>
        </p:sp>
        <p:sp>
          <p:nvSpPr>
            <p:cNvPr id="23" name="Freeform 219"/>
            <p:cNvSpPr>
              <a:spLocks noChangeAspect="1" noEditPoints="1"/>
            </p:cNvSpPr>
            <p:nvPr/>
          </p:nvSpPr>
          <p:spPr bwMode="auto">
            <a:xfrm>
              <a:off x="858783" y="2910579"/>
              <a:ext cx="445477" cy="439292"/>
            </a:xfrm>
            <a:custGeom>
              <a:avLst/>
              <a:gdLst>
                <a:gd name="T0" fmla="*/ 61 w 61"/>
                <a:gd name="T1" fmla="*/ 4 h 60"/>
                <a:gd name="T2" fmla="*/ 57 w 61"/>
                <a:gd name="T3" fmla="*/ 0 h 60"/>
                <a:gd name="T4" fmla="*/ 47 w 61"/>
                <a:gd name="T5" fmla="*/ 11 h 60"/>
                <a:gd name="T6" fmla="*/ 28 w 61"/>
                <a:gd name="T7" fmla="*/ 4 h 60"/>
                <a:gd name="T8" fmla="*/ 0 w 61"/>
                <a:gd name="T9" fmla="*/ 32 h 60"/>
                <a:gd name="T10" fmla="*/ 28 w 61"/>
                <a:gd name="T11" fmla="*/ 60 h 60"/>
                <a:gd name="T12" fmla="*/ 56 w 61"/>
                <a:gd name="T13" fmla="*/ 32 h 60"/>
                <a:gd name="T14" fmla="*/ 51 w 61"/>
                <a:gd name="T15" fmla="*/ 17 h 60"/>
                <a:gd name="T16" fmla="*/ 61 w 61"/>
                <a:gd name="T17" fmla="*/ 4 h 60"/>
                <a:gd name="T18" fmla="*/ 52 w 61"/>
                <a:gd name="T19" fmla="*/ 32 h 60"/>
                <a:gd name="T20" fmla="*/ 28 w 61"/>
                <a:gd name="T21" fmla="*/ 56 h 60"/>
                <a:gd name="T22" fmla="*/ 4 w 61"/>
                <a:gd name="T23" fmla="*/ 32 h 60"/>
                <a:gd name="T24" fmla="*/ 28 w 61"/>
                <a:gd name="T25" fmla="*/ 8 h 60"/>
                <a:gd name="T26" fmla="*/ 44 w 61"/>
                <a:gd name="T27" fmla="*/ 14 h 60"/>
                <a:gd name="T28" fmla="*/ 27 w 61"/>
                <a:gd name="T29" fmla="*/ 34 h 60"/>
                <a:gd name="T30" fmla="*/ 14 w 61"/>
                <a:gd name="T31" fmla="*/ 21 h 60"/>
                <a:gd name="T32" fmla="*/ 10 w 61"/>
                <a:gd name="T33" fmla="*/ 30 h 60"/>
                <a:gd name="T34" fmla="*/ 23 w 61"/>
                <a:gd name="T35" fmla="*/ 45 h 60"/>
                <a:gd name="T36" fmla="*/ 26 w 61"/>
                <a:gd name="T37" fmla="*/ 49 h 60"/>
                <a:gd name="T38" fmla="*/ 29 w 61"/>
                <a:gd name="T39" fmla="*/ 45 h 60"/>
                <a:gd name="T40" fmla="*/ 49 w 61"/>
                <a:gd name="T41" fmla="*/ 20 h 60"/>
                <a:gd name="T42" fmla="*/ 52 w 61"/>
                <a:gd name="T4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0">
                  <a:moveTo>
                    <a:pt x="61" y="4"/>
                  </a:moveTo>
                  <a:cubicBezTo>
                    <a:pt x="57" y="0"/>
                    <a:pt x="57" y="0"/>
                    <a:pt x="57" y="0"/>
                  </a:cubicBezTo>
                  <a:cubicBezTo>
                    <a:pt x="47" y="11"/>
                    <a:pt x="47" y="11"/>
                    <a:pt x="47" y="11"/>
                  </a:cubicBezTo>
                  <a:cubicBezTo>
                    <a:pt x="42" y="7"/>
                    <a:pt x="35" y="4"/>
                    <a:pt x="28" y="4"/>
                  </a:cubicBezTo>
                  <a:cubicBezTo>
                    <a:pt x="12" y="4"/>
                    <a:pt x="0" y="16"/>
                    <a:pt x="0" y="32"/>
                  </a:cubicBezTo>
                  <a:cubicBezTo>
                    <a:pt x="0" y="47"/>
                    <a:pt x="12" y="60"/>
                    <a:pt x="28" y="60"/>
                  </a:cubicBezTo>
                  <a:cubicBezTo>
                    <a:pt x="43" y="60"/>
                    <a:pt x="56" y="47"/>
                    <a:pt x="56" y="32"/>
                  </a:cubicBezTo>
                  <a:cubicBezTo>
                    <a:pt x="56" y="26"/>
                    <a:pt x="54" y="21"/>
                    <a:pt x="51" y="17"/>
                  </a:cubicBezTo>
                  <a:lnTo>
                    <a:pt x="61" y="4"/>
                  </a:lnTo>
                  <a:close/>
                  <a:moveTo>
                    <a:pt x="52" y="32"/>
                  </a:moveTo>
                  <a:cubicBezTo>
                    <a:pt x="52" y="45"/>
                    <a:pt x="41" y="56"/>
                    <a:pt x="28" y="56"/>
                  </a:cubicBezTo>
                  <a:cubicBezTo>
                    <a:pt x="14" y="56"/>
                    <a:pt x="4" y="45"/>
                    <a:pt x="4" y="32"/>
                  </a:cubicBezTo>
                  <a:cubicBezTo>
                    <a:pt x="4" y="19"/>
                    <a:pt x="14" y="8"/>
                    <a:pt x="28" y="8"/>
                  </a:cubicBezTo>
                  <a:cubicBezTo>
                    <a:pt x="34" y="8"/>
                    <a:pt x="40" y="10"/>
                    <a:pt x="44" y="14"/>
                  </a:cubicBezTo>
                  <a:cubicBezTo>
                    <a:pt x="27" y="34"/>
                    <a:pt x="27" y="34"/>
                    <a:pt x="27" y="34"/>
                  </a:cubicBezTo>
                  <a:cubicBezTo>
                    <a:pt x="14" y="21"/>
                    <a:pt x="14" y="21"/>
                    <a:pt x="14" y="21"/>
                  </a:cubicBezTo>
                  <a:cubicBezTo>
                    <a:pt x="10" y="30"/>
                    <a:pt x="10" y="30"/>
                    <a:pt x="10" y="30"/>
                  </a:cubicBezTo>
                  <a:cubicBezTo>
                    <a:pt x="23" y="45"/>
                    <a:pt x="23" y="45"/>
                    <a:pt x="23" y="45"/>
                  </a:cubicBezTo>
                  <a:cubicBezTo>
                    <a:pt x="26" y="49"/>
                    <a:pt x="26" y="49"/>
                    <a:pt x="26" y="49"/>
                  </a:cubicBezTo>
                  <a:cubicBezTo>
                    <a:pt x="29" y="45"/>
                    <a:pt x="29" y="45"/>
                    <a:pt x="29" y="45"/>
                  </a:cubicBezTo>
                  <a:cubicBezTo>
                    <a:pt x="49" y="20"/>
                    <a:pt x="49" y="20"/>
                    <a:pt x="49" y="20"/>
                  </a:cubicBezTo>
                  <a:cubicBezTo>
                    <a:pt x="51" y="24"/>
                    <a:pt x="52" y="28"/>
                    <a:pt x="52" y="32"/>
                  </a:cubicBezTo>
                  <a:close/>
                </a:path>
              </a:pathLst>
            </a:custGeom>
            <a:solidFill>
              <a:srgbClr val="45A198"/>
            </a:solidFill>
            <a:ln>
              <a:noFill/>
            </a:ln>
            <a:extLst/>
          </p:spPr>
          <p:txBody>
            <a:bodyPr vert="horz" wrap="square" lIns="91440" tIns="45720" rIns="91440" bIns="45720" numCol="1" anchor="t" anchorCtr="0" compatLnSpc="1">
              <a:prstTxWarp prst="textNoShape">
                <a:avLst/>
              </a:prstTxWarp>
            </a:bodyPr>
            <a:lstStyle/>
            <a:p>
              <a:endParaRPr lang="id-ID"/>
            </a:p>
          </p:txBody>
        </p:sp>
      </p:grpSp>
      <p:grpSp>
        <p:nvGrpSpPr>
          <p:cNvPr id="7" name="Group 6"/>
          <p:cNvGrpSpPr/>
          <p:nvPr/>
        </p:nvGrpSpPr>
        <p:grpSpPr>
          <a:xfrm>
            <a:off x="623888" y="3798683"/>
            <a:ext cx="10944000" cy="439292"/>
            <a:chOff x="623888" y="3749863"/>
            <a:chExt cx="10944000" cy="439292"/>
          </a:xfrm>
        </p:grpSpPr>
        <p:sp>
          <p:nvSpPr>
            <p:cNvPr id="55" name="TextBox 54"/>
            <p:cNvSpPr txBox="1"/>
            <p:nvPr/>
          </p:nvSpPr>
          <p:spPr>
            <a:xfrm>
              <a:off x="623888" y="3800232"/>
              <a:ext cx="10944000" cy="338554"/>
            </a:xfrm>
            <a:prstGeom prst="rect">
              <a:avLst/>
            </a:prstGeom>
            <a:noFill/>
          </p:spPr>
          <p:txBody>
            <a:bodyPr wrap="square" rtlCol="0">
              <a:spAutoFit/>
            </a:bodyPr>
            <a:lstStyle/>
            <a:p>
              <a:pPr lvl="2" algn="just"/>
              <a:r>
                <a:rPr lang="it-IT" sz="1600" dirty="0"/>
                <a:t>la condivisione di dati e informazioni per il </a:t>
              </a:r>
              <a:r>
                <a:rPr lang="it-IT" sz="1600" b="1" dirty="0"/>
                <a:t>monitoraggio dell’efficacia delle misure di politica attiva e passiva</a:t>
              </a:r>
              <a:r>
                <a:rPr lang="it-IT" sz="1600" dirty="0"/>
                <a:t> in atto; </a:t>
              </a:r>
            </a:p>
          </p:txBody>
        </p:sp>
        <p:sp>
          <p:nvSpPr>
            <p:cNvPr id="24" name="Freeform 219"/>
            <p:cNvSpPr>
              <a:spLocks noChangeAspect="1" noEditPoints="1"/>
            </p:cNvSpPr>
            <p:nvPr/>
          </p:nvSpPr>
          <p:spPr bwMode="auto">
            <a:xfrm>
              <a:off x="858783" y="3749863"/>
              <a:ext cx="445477" cy="439292"/>
            </a:xfrm>
            <a:custGeom>
              <a:avLst/>
              <a:gdLst>
                <a:gd name="T0" fmla="*/ 61 w 61"/>
                <a:gd name="T1" fmla="*/ 4 h 60"/>
                <a:gd name="T2" fmla="*/ 57 w 61"/>
                <a:gd name="T3" fmla="*/ 0 h 60"/>
                <a:gd name="T4" fmla="*/ 47 w 61"/>
                <a:gd name="T5" fmla="*/ 11 h 60"/>
                <a:gd name="T6" fmla="*/ 28 w 61"/>
                <a:gd name="T7" fmla="*/ 4 h 60"/>
                <a:gd name="T8" fmla="*/ 0 w 61"/>
                <a:gd name="T9" fmla="*/ 32 h 60"/>
                <a:gd name="T10" fmla="*/ 28 w 61"/>
                <a:gd name="T11" fmla="*/ 60 h 60"/>
                <a:gd name="T12" fmla="*/ 56 w 61"/>
                <a:gd name="T13" fmla="*/ 32 h 60"/>
                <a:gd name="T14" fmla="*/ 51 w 61"/>
                <a:gd name="T15" fmla="*/ 17 h 60"/>
                <a:gd name="T16" fmla="*/ 61 w 61"/>
                <a:gd name="T17" fmla="*/ 4 h 60"/>
                <a:gd name="T18" fmla="*/ 52 w 61"/>
                <a:gd name="T19" fmla="*/ 32 h 60"/>
                <a:gd name="T20" fmla="*/ 28 w 61"/>
                <a:gd name="T21" fmla="*/ 56 h 60"/>
                <a:gd name="T22" fmla="*/ 4 w 61"/>
                <a:gd name="T23" fmla="*/ 32 h 60"/>
                <a:gd name="T24" fmla="*/ 28 w 61"/>
                <a:gd name="T25" fmla="*/ 8 h 60"/>
                <a:gd name="T26" fmla="*/ 44 w 61"/>
                <a:gd name="T27" fmla="*/ 14 h 60"/>
                <a:gd name="T28" fmla="*/ 27 w 61"/>
                <a:gd name="T29" fmla="*/ 34 h 60"/>
                <a:gd name="T30" fmla="*/ 14 w 61"/>
                <a:gd name="T31" fmla="*/ 21 h 60"/>
                <a:gd name="T32" fmla="*/ 10 w 61"/>
                <a:gd name="T33" fmla="*/ 30 h 60"/>
                <a:gd name="T34" fmla="*/ 23 w 61"/>
                <a:gd name="T35" fmla="*/ 45 h 60"/>
                <a:gd name="T36" fmla="*/ 26 w 61"/>
                <a:gd name="T37" fmla="*/ 49 h 60"/>
                <a:gd name="T38" fmla="*/ 29 w 61"/>
                <a:gd name="T39" fmla="*/ 45 h 60"/>
                <a:gd name="T40" fmla="*/ 49 w 61"/>
                <a:gd name="T41" fmla="*/ 20 h 60"/>
                <a:gd name="T42" fmla="*/ 52 w 61"/>
                <a:gd name="T4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0">
                  <a:moveTo>
                    <a:pt x="61" y="4"/>
                  </a:moveTo>
                  <a:cubicBezTo>
                    <a:pt x="57" y="0"/>
                    <a:pt x="57" y="0"/>
                    <a:pt x="57" y="0"/>
                  </a:cubicBezTo>
                  <a:cubicBezTo>
                    <a:pt x="47" y="11"/>
                    <a:pt x="47" y="11"/>
                    <a:pt x="47" y="11"/>
                  </a:cubicBezTo>
                  <a:cubicBezTo>
                    <a:pt x="42" y="7"/>
                    <a:pt x="35" y="4"/>
                    <a:pt x="28" y="4"/>
                  </a:cubicBezTo>
                  <a:cubicBezTo>
                    <a:pt x="12" y="4"/>
                    <a:pt x="0" y="16"/>
                    <a:pt x="0" y="32"/>
                  </a:cubicBezTo>
                  <a:cubicBezTo>
                    <a:pt x="0" y="47"/>
                    <a:pt x="12" y="60"/>
                    <a:pt x="28" y="60"/>
                  </a:cubicBezTo>
                  <a:cubicBezTo>
                    <a:pt x="43" y="60"/>
                    <a:pt x="56" y="47"/>
                    <a:pt x="56" y="32"/>
                  </a:cubicBezTo>
                  <a:cubicBezTo>
                    <a:pt x="56" y="26"/>
                    <a:pt x="54" y="21"/>
                    <a:pt x="51" y="17"/>
                  </a:cubicBezTo>
                  <a:lnTo>
                    <a:pt x="61" y="4"/>
                  </a:lnTo>
                  <a:close/>
                  <a:moveTo>
                    <a:pt x="52" y="32"/>
                  </a:moveTo>
                  <a:cubicBezTo>
                    <a:pt x="52" y="45"/>
                    <a:pt x="41" y="56"/>
                    <a:pt x="28" y="56"/>
                  </a:cubicBezTo>
                  <a:cubicBezTo>
                    <a:pt x="14" y="56"/>
                    <a:pt x="4" y="45"/>
                    <a:pt x="4" y="32"/>
                  </a:cubicBezTo>
                  <a:cubicBezTo>
                    <a:pt x="4" y="19"/>
                    <a:pt x="14" y="8"/>
                    <a:pt x="28" y="8"/>
                  </a:cubicBezTo>
                  <a:cubicBezTo>
                    <a:pt x="34" y="8"/>
                    <a:pt x="40" y="10"/>
                    <a:pt x="44" y="14"/>
                  </a:cubicBezTo>
                  <a:cubicBezTo>
                    <a:pt x="27" y="34"/>
                    <a:pt x="27" y="34"/>
                    <a:pt x="27" y="34"/>
                  </a:cubicBezTo>
                  <a:cubicBezTo>
                    <a:pt x="14" y="21"/>
                    <a:pt x="14" y="21"/>
                    <a:pt x="14" y="21"/>
                  </a:cubicBezTo>
                  <a:cubicBezTo>
                    <a:pt x="10" y="30"/>
                    <a:pt x="10" y="30"/>
                    <a:pt x="10" y="30"/>
                  </a:cubicBezTo>
                  <a:cubicBezTo>
                    <a:pt x="23" y="45"/>
                    <a:pt x="23" y="45"/>
                    <a:pt x="23" y="45"/>
                  </a:cubicBezTo>
                  <a:cubicBezTo>
                    <a:pt x="26" y="49"/>
                    <a:pt x="26" y="49"/>
                    <a:pt x="26" y="49"/>
                  </a:cubicBezTo>
                  <a:cubicBezTo>
                    <a:pt x="29" y="45"/>
                    <a:pt x="29" y="45"/>
                    <a:pt x="29" y="45"/>
                  </a:cubicBezTo>
                  <a:cubicBezTo>
                    <a:pt x="49" y="20"/>
                    <a:pt x="49" y="20"/>
                    <a:pt x="49" y="20"/>
                  </a:cubicBezTo>
                  <a:cubicBezTo>
                    <a:pt x="51" y="24"/>
                    <a:pt x="52" y="28"/>
                    <a:pt x="52" y="32"/>
                  </a:cubicBezTo>
                  <a:close/>
                </a:path>
              </a:pathLst>
            </a:custGeom>
            <a:solidFill>
              <a:srgbClr val="45A198"/>
            </a:solidFill>
            <a:ln>
              <a:noFill/>
            </a:ln>
            <a:extLst/>
          </p:spPr>
          <p:txBody>
            <a:bodyPr vert="horz" wrap="square" lIns="91440" tIns="45720" rIns="91440" bIns="45720" numCol="1" anchor="t" anchorCtr="0" compatLnSpc="1">
              <a:prstTxWarp prst="textNoShape">
                <a:avLst/>
              </a:prstTxWarp>
            </a:bodyPr>
            <a:lstStyle/>
            <a:p>
              <a:endParaRPr lang="id-ID"/>
            </a:p>
          </p:txBody>
        </p:sp>
      </p:grpSp>
      <p:grpSp>
        <p:nvGrpSpPr>
          <p:cNvPr id="8" name="Group 7"/>
          <p:cNvGrpSpPr/>
          <p:nvPr/>
        </p:nvGrpSpPr>
        <p:grpSpPr>
          <a:xfrm>
            <a:off x="623888" y="4426101"/>
            <a:ext cx="10944000" cy="830997"/>
            <a:chOff x="623888" y="4370910"/>
            <a:chExt cx="10944000" cy="830997"/>
          </a:xfrm>
        </p:grpSpPr>
        <p:sp>
          <p:nvSpPr>
            <p:cNvPr id="56" name="TextBox 55"/>
            <p:cNvSpPr txBox="1"/>
            <p:nvPr/>
          </p:nvSpPr>
          <p:spPr>
            <a:xfrm>
              <a:off x="623888" y="4370910"/>
              <a:ext cx="10944000" cy="830997"/>
            </a:xfrm>
            <a:prstGeom prst="rect">
              <a:avLst/>
            </a:prstGeom>
            <a:noFill/>
          </p:spPr>
          <p:txBody>
            <a:bodyPr wrap="square" rtlCol="0">
              <a:spAutoFit/>
            </a:bodyPr>
            <a:lstStyle/>
            <a:p>
              <a:pPr lvl="2" algn="just"/>
              <a:r>
                <a:rPr lang="it-IT" sz="1600" dirty="0"/>
                <a:t>il </a:t>
              </a:r>
              <a:r>
                <a:rPr lang="it-IT" sz="1600" b="1" dirty="0"/>
                <a:t>tracking delle nuove tipologie di lavoro </a:t>
              </a:r>
              <a:r>
                <a:rPr lang="it-IT" sz="1600" dirty="0"/>
                <a:t>discontinue e on-demand, appartenenti al mondo della </a:t>
              </a:r>
              <a:r>
                <a:rPr lang="it-IT" sz="1600" b="1" dirty="0"/>
                <a:t>Gig Economy</a:t>
              </a:r>
              <a:r>
                <a:rPr lang="it-IT" sz="1600" dirty="0"/>
                <a:t>, ad oggi solo parzialmente regolate dal sistema, </a:t>
              </a:r>
              <a:r>
                <a:rPr lang="it-IT" sz="1600" b="1" dirty="0"/>
                <a:t>contrastando il lavoro sommerso </a:t>
              </a:r>
              <a:r>
                <a:rPr lang="it-IT" sz="1600" dirty="0"/>
                <a:t>e favorendo la </a:t>
              </a:r>
              <a:r>
                <a:rPr lang="it-IT" sz="1600" b="1" dirty="0"/>
                <a:t>copertura previdenziale e assicurativa anche a questa categoria di lavoratori</a:t>
              </a:r>
              <a:r>
                <a:rPr lang="it-IT" sz="1600" dirty="0"/>
                <a:t>;</a:t>
              </a:r>
            </a:p>
          </p:txBody>
        </p:sp>
        <p:sp>
          <p:nvSpPr>
            <p:cNvPr id="25" name="Freeform 219"/>
            <p:cNvSpPr>
              <a:spLocks noChangeAspect="1" noEditPoints="1"/>
            </p:cNvSpPr>
            <p:nvPr/>
          </p:nvSpPr>
          <p:spPr bwMode="auto">
            <a:xfrm>
              <a:off x="858783" y="4566762"/>
              <a:ext cx="445477" cy="439292"/>
            </a:xfrm>
            <a:custGeom>
              <a:avLst/>
              <a:gdLst>
                <a:gd name="T0" fmla="*/ 61 w 61"/>
                <a:gd name="T1" fmla="*/ 4 h 60"/>
                <a:gd name="T2" fmla="*/ 57 w 61"/>
                <a:gd name="T3" fmla="*/ 0 h 60"/>
                <a:gd name="T4" fmla="*/ 47 w 61"/>
                <a:gd name="T5" fmla="*/ 11 h 60"/>
                <a:gd name="T6" fmla="*/ 28 w 61"/>
                <a:gd name="T7" fmla="*/ 4 h 60"/>
                <a:gd name="T8" fmla="*/ 0 w 61"/>
                <a:gd name="T9" fmla="*/ 32 h 60"/>
                <a:gd name="T10" fmla="*/ 28 w 61"/>
                <a:gd name="T11" fmla="*/ 60 h 60"/>
                <a:gd name="T12" fmla="*/ 56 w 61"/>
                <a:gd name="T13" fmla="*/ 32 h 60"/>
                <a:gd name="T14" fmla="*/ 51 w 61"/>
                <a:gd name="T15" fmla="*/ 17 h 60"/>
                <a:gd name="T16" fmla="*/ 61 w 61"/>
                <a:gd name="T17" fmla="*/ 4 h 60"/>
                <a:gd name="T18" fmla="*/ 52 w 61"/>
                <a:gd name="T19" fmla="*/ 32 h 60"/>
                <a:gd name="T20" fmla="*/ 28 w 61"/>
                <a:gd name="T21" fmla="*/ 56 h 60"/>
                <a:gd name="T22" fmla="*/ 4 w 61"/>
                <a:gd name="T23" fmla="*/ 32 h 60"/>
                <a:gd name="T24" fmla="*/ 28 w 61"/>
                <a:gd name="T25" fmla="*/ 8 h 60"/>
                <a:gd name="T26" fmla="*/ 44 w 61"/>
                <a:gd name="T27" fmla="*/ 14 h 60"/>
                <a:gd name="T28" fmla="*/ 27 w 61"/>
                <a:gd name="T29" fmla="*/ 34 h 60"/>
                <a:gd name="T30" fmla="*/ 14 w 61"/>
                <a:gd name="T31" fmla="*/ 21 h 60"/>
                <a:gd name="T32" fmla="*/ 10 w 61"/>
                <a:gd name="T33" fmla="*/ 30 h 60"/>
                <a:gd name="T34" fmla="*/ 23 w 61"/>
                <a:gd name="T35" fmla="*/ 45 h 60"/>
                <a:gd name="T36" fmla="*/ 26 w 61"/>
                <a:gd name="T37" fmla="*/ 49 h 60"/>
                <a:gd name="T38" fmla="*/ 29 w 61"/>
                <a:gd name="T39" fmla="*/ 45 h 60"/>
                <a:gd name="T40" fmla="*/ 49 w 61"/>
                <a:gd name="T41" fmla="*/ 20 h 60"/>
                <a:gd name="T42" fmla="*/ 52 w 61"/>
                <a:gd name="T4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0">
                  <a:moveTo>
                    <a:pt x="61" y="4"/>
                  </a:moveTo>
                  <a:cubicBezTo>
                    <a:pt x="57" y="0"/>
                    <a:pt x="57" y="0"/>
                    <a:pt x="57" y="0"/>
                  </a:cubicBezTo>
                  <a:cubicBezTo>
                    <a:pt x="47" y="11"/>
                    <a:pt x="47" y="11"/>
                    <a:pt x="47" y="11"/>
                  </a:cubicBezTo>
                  <a:cubicBezTo>
                    <a:pt x="42" y="7"/>
                    <a:pt x="35" y="4"/>
                    <a:pt x="28" y="4"/>
                  </a:cubicBezTo>
                  <a:cubicBezTo>
                    <a:pt x="12" y="4"/>
                    <a:pt x="0" y="16"/>
                    <a:pt x="0" y="32"/>
                  </a:cubicBezTo>
                  <a:cubicBezTo>
                    <a:pt x="0" y="47"/>
                    <a:pt x="12" y="60"/>
                    <a:pt x="28" y="60"/>
                  </a:cubicBezTo>
                  <a:cubicBezTo>
                    <a:pt x="43" y="60"/>
                    <a:pt x="56" y="47"/>
                    <a:pt x="56" y="32"/>
                  </a:cubicBezTo>
                  <a:cubicBezTo>
                    <a:pt x="56" y="26"/>
                    <a:pt x="54" y="21"/>
                    <a:pt x="51" y="17"/>
                  </a:cubicBezTo>
                  <a:lnTo>
                    <a:pt x="61" y="4"/>
                  </a:lnTo>
                  <a:close/>
                  <a:moveTo>
                    <a:pt x="52" y="32"/>
                  </a:moveTo>
                  <a:cubicBezTo>
                    <a:pt x="52" y="45"/>
                    <a:pt x="41" y="56"/>
                    <a:pt x="28" y="56"/>
                  </a:cubicBezTo>
                  <a:cubicBezTo>
                    <a:pt x="14" y="56"/>
                    <a:pt x="4" y="45"/>
                    <a:pt x="4" y="32"/>
                  </a:cubicBezTo>
                  <a:cubicBezTo>
                    <a:pt x="4" y="19"/>
                    <a:pt x="14" y="8"/>
                    <a:pt x="28" y="8"/>
                  </a:cubicBezTo>
                  <a:cubicBezTo>
                    <a:pt x="34" y="8"/>
                    <a:pt x="40" y="10"/>
                    <a:pt x="44" y="14"/>
                  </a:cubicBezTo>
                  <a:cubicBezTo>
                    <a:pt x="27" y="34"/>
                    <a:pt x="27" y="34"/>
                    <a:pt x="27" y="34"/>
                  </a:cubicBezTo>
                  <a:cubicBezTo>
                    <a:pt x="14" y="21"/>
                    <a:pt x="14" y="21"/>
                    <a:pt x="14" y="21"/>
                  </a:cubicBezTo>
                  <a:cubicBezTo>
                    <a:pt x="10" y="30"/>
                    <a:pt x="10" y="30"/>
                    <a:pt x="10" y="30"/>
                  </a:cubicBezTo>
                  <a:cubicBezTo>
                    <a:pt x="23" y="45"/>
                    <a:pt x="23" y="45"/>
                    <a:pt x="23" y="45"/>
                  </a:cubicBezTo>
                  <a:cubicBezTo>
                    <a:pt x="26" y="49"/>
                    <a:pt x="26" y="49"/>
                    <a:pt x="26" y="49"/>
                  </a:cubicBezTo>
                  <a:cubicBezTo>
                    <a:pt x="29" y="45"/>
                    <a:pt x="29" y="45"/>
                    <a:pt x="29" y="45"/>
                  </a:cubicBezTo>
                  <a:cubicBezTo>
                    <a:pt x="49" y="20"/>
                    <a:pt x="49" y="20"/>
                    <a:pt x="49" y="20"/>
                  </a:cubicBezTo>
                  <a:cubicBezTo>
                    <a:pt x="51" y="24"/>
                    <a:pt x="52" y="28"/>
                    <a:pt x="52" y="32"/>
                  </a:cubicBezTo>
                  <a:close/>
                </a:path>
              </a:pathLst>
            </a:custGeom>
            <a:solidFill>
              <a:srgbClr val="45A198"/>
            </a:solidFill>
            <a:ln>
              <a:noFill/>
            </a:ln>
            <a:extLst/>
          </p:spPr>
          <p:txBody>
            <a:bodyPr vert="horz" wrap="square" lIns="91440" tIns="45720" rIns="91440" bIns="45720" numCol="1" anchor="t" anchorCtr="0" compatLnSpc="1">
              <a:prstTxWarp prst="textNoShape">
                <a:avLst/>
              </a:prstTxWarp>
            </a:bodyPr>
            <a:lstStyle/>
            <a:p>
              <a:endParaRPr lang="id-ID" b="1" dirty="0"/>
            </a:p>
          </p:txBody>
        </p:sp>
      </p:grpSp>
      <p:grpSp>
        <p:nvGrpSpPr>
          <p:cNvPr id="9" name="Group 8"/>
          <p:cNvGrpSpPr/>
          <p:nvPr/>
        </p:nvGrpSpPr>
        <p:grpSpPr>
          <a:xfrm>
            <a:off x="623888" y="5445224"/>
            <a:ext cx="10944000" cy="584775"/>
            <a:chOff x="623888" y="5445224"/>
            <a:chExt cx="10944000" cy="584775"/>
          </a:xfrm>
        </p:grpSpPr>
        <p:sp>
          <p:nvSpPr>
            <p:cNvPr id="62" name="TextBox 61"/>
            <p:cNvSpPr txBox="1"/>
            <p:nvPr/>
          </p:nvSpPr>
          <p:spPr>
            <a:xfrm>
              <a:off x="623888" y="5445224"/>
              <a:ext cx="10944000" cy="584775"/>
            </a:xfrm>
            <a:prstGeom prst="rect">
              <a:avLst/>
            </a:prstGeom>
            <a:noFill/>
          </p:spPr>
          <p:txBody>
            <a:bodyPr wrap="square" rtlCol="0">
              <a:spAutoFit/>
            </a:bodyPr>
            <a:lstStyle/>
            <a:p>
              <a:pPr lvl="2" algn="just"/>
              <a:r>
                <a:rPr lang="it-IT" sz="1600" dirty="0"/>
                <a:t>l’</a:t>
              </a:r>
              <a:r>
                <a:rPr lang="it-IT" sz="1600" b="1" dirty="0"/>
                <a:t>adozione di nuove tecnologie</a:t>
              </a:r>
              <a:r>
                <a:rPr lang="it-IT" sz="1600" dirty="0"/>
                <a:t>, quali la </a:t>
              </a:r>
              <a:r>
                <a:rPr lang="it-IT" sz="1600" b="1" dirty="0"/>
                <a:t>Blockchain</a:t>
              </a:r>
              <a:r>
                <a:rPr lang="it-IT" sz="1600" dirty="0"/>
                <a:t>, per superare i paradigmi legati alla cooperazione applicativa e ai suoi vincoli realizzativi che ne hanno determinato la scarsa diffusione.</a:t>
              </a:r>
            </a:p>
          </p:txBody>
        </p:sp>
        <p:sp>
          <p:nvSpPr>
            <p:cNvPr id="26" name="Freeform 219"/>
            <p:cNvSpPr>
              <a:spLocks noChangeAspect="1" noEditPoints="1"/>
            </p:cNvSpPr>
            <p:nvPr/>
          </p:nvSpPr>
          <p:spPr bwMode="auto">
            <a:xfrm>
              <a:off x="858783" y="5517965"/>
              <a:ext cx="445477" cy="439292"/>
            </a:xfrm>
            <a:custGeom>
              <a:avLst/>
              <a:gdLst>
                <a:gd name="T0" fmla="*/ 61 w 61"/>
                <a:gd name="T1" fmla="*/ 4 h 60"/>
                <a:gd name="T2" fmla="*/ 57 w 61"/>
                <a:gd name="T3" fmla="*/ 0 h 60"/>
                <a:gd name="T4" fmla="*/ 47 w 61"/>
                <a:gd name="T5" fmla="*/ 11 h 60"/>
                <a:gd name="T6" fmla="*/ 28 w 61"/>
                <a:gd name="T7" fmla="*/ 4 h 60"/>
                <a:gd name="T8" fmla="*/ 0 w 61"/>
                <a:gd name="T9" fmla="*/ 32 h 60"/>
                <a:gd name="T10" fmla="*/ 28 w 61"/>
                <a:gd name="T11" fmla="*/ 60 h 60"/>
                <a:gd name="T12" fmla="*/ 56 w 61"/>
                <a:gd name="T13" fmla="*/ 32 h 60"/>
                <a:gd name="T14" fmla="*/ 51 w 61"/>
                <a:gd name="T15" fmla="*/ 17 h 60"/>
                <a:gd name="T16" fmla="*/ 61 w 61"/>
                <a:gd name="T17" fmla="*/ 4 h 60"/>
                <a:gd name="T18" fmla="*/ 52 w 61"/>
                <a:gd name="T19" fmla="*/ 32 h 60"/>
                <a:gd name="T20" fmla="*/ 28 w 61"/>
                <a:gd name="T21" fmla="*/ 56 h 60"/>
                <a:gd name="T22" fmla="*/ 4 w 61"/>
                <a:gd name="T23" fmla="*/ 32 h 60"/>
                <a:gd name="T24" fmla="*/ 28 w 61"/>
                <a:gd name="T25" fmla="*/ 8 h 60"/>
                <a:gd name="T26" fmla="*/ 44 w 61"/>
                <a:gd name="T27" fmla="*/ 14 h 60"/>
                <a:gd name="T28" fmla="*/ 27 w 61"/>
                <a:gd name="T29" fmla="*/ 34 h 60"/>
                <a:gd name="T30" fmla="*/ 14 w 61"/>
                <a:gd name="T31" fmla="*/ 21 h 60"/>
                <a:gd name="T32" fmla="*/ 10 w 61"/>
                <a:gd name="T33" fmla="*/ 30 h 60"/>
                <a:gd name="T34" fmla="*/ 23 w 61"/>
                <a:gd name="T35" fmla="*/ 45 h 60"/>
                <a:gd name="T36" fmla="*/ 26 w 61"/>
                <a:gd name="T37" fmla="*/ 49 h 60"/>
                <a:gd name="T38" fmla="*/ 29 w 61"/>
                <a:gd name="T39" fmla="*/ 45 h 60"/>
                <a:gd name="T40" fmla="*/ 49 w 61"/>
                <a:gd name="T41" fmla="*/ 20 h 60"/>
                <a:gd name="T42" fmla="*/ 52 w 61"/>
                <a:gd name="T4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0">
                  <a:moveTo>
                    <a:pt x="61" y="4"/>
                  </a:moveTo>
                  <a:cubicBezTo>
                    <a:pt x="57" y="0"/>
                    <a:pt x="57" y="0"/>
                    <a:pt x="57" y="0"/>
                  </a:cubicBezTo>
                  <a:cubicBezTo>
                    <a:pt x="47" y="11"/>
                    <a:pt x="47" y="11"/>
                    <a:pt x="47" y="11"/>
                  </a:cubicBezTo>
                  <a:cubicBezTo>
                    <a:pt x="42" y="7"/>
                    <a:pt x="35" y="4"/>
                    <a:pt x="28" y="4"/>
                  </a:cubicBezTo>
                  <a:cubicBezTo>
                    <a:pt x="12" y="4"/>
                    <a:pt x="0" y="16"/>
                    <a:pt x="0" y="32"/>
                  </a:cubicBezTo>
                  <a:cubicBezTo>
                    <a:pt x="0" y="47"/>
                    <a:pt x="12" y="60"/>
                    <a:pt x="28" y="60"/>
                  </a:cubicBezTo>
                  <a:cubicBezTo>
                    <a:pt x="43" y="60"/>
                    <a:pt x="56" y="47"/>
                    <a:pt x="56" y="32"/>
                  </a:cubicBezTo>
                  <a:cubicBezTo>
                    <a:pt x="56" y="26"/>
                    <a:pt x="54" y="21"/>
                    <a:pt x="51" y="17"/>
                  </a:cubicBezTo>
                  <a:lnTo>
                    <a:pt x="61" y="4"/>
                  </a:lnTo>
                  <a:close/>
                  <a:moveTo>
                    <a:pt x="52" y="32"/>
                  </a:moveTo>
                  <a:cubicBezTo>
                    <a:pt x="52" y="45"/>
                    <a:pt x="41" y="56"/>
                    <a:pt x="28" y="56"/>
                  </a:cubicBezTo>
                  <a:cubicBezTo>
                    <a:pt x="14" y="56"/>
                    <a:pt x="4" y="45"/>
                    <a:pt x="4" y="32"/>
                  </a:cubicBezTo>
                  <a:cubicBezTo>
                    <a:pt x="4" y="19"/>
                    <a:pt x="14" y="8"/>
                    <a:pt x="28" y="8"/>
                  </a:cubicBezTo>
                  <a:cubicBezTo>
                    <a:pt x="34" y="8"/>
                    <a:pt x="40" y="10"/>
                    <a:pt x="44" y="14"/>
                  </a:cubicBezTo>
                  <a:cubicBezTo>
                    <a:pt x="27" y="34"/>
                    <a:pt x="27" y="34"/>
                    <a:pt x="27" y="34"/>
                  </a:cubicBezTo>
                  <a:cubicBezTo>
                    <a:pt x="14" y="21"/>
                    <a:pt x="14" y="21"/>
                    <a:pt x="14" y="21"/>
                  </a:cubicBezTo>
                  <a:cubicBezTo>
                    <a:pt x="10" y="30"/>
                    <a:pt x="10" y="30"/>
                    <a:pt x="10" y="30"/>
                  </a:cubicBezTo>
                  <a:cubicBezTo>
                    <a:pt x="23" y="45"/>
                    <a:pt x="23" y="45"/>
                    <a:pt x="23" y="45"/>
                  </a:cubicBezTo>
                  <a:cubicBezTo>
                    <a:pt x="26" y="49"/>
                    <a:pt x="26" y="49"/>
                    <a:pt x="26" y="49"/>
                  </a:cubicBezTo>
                  <a:cubicBezTo>
                    <a:pt x="29" y="45"/>
                    <a:pt x="29" y="45"/>
                    <a:pt x="29" y="45"/>
                  </a:cubicBezTo>
                  <a:cubicBezTo>
                    <a:pt x="49" y="20"/>
                    <a:pt x="49" y="20"/>
                    <a:pt x="49" y="20"/>
                  </a:cubicBezTo>
                  <a:cubicBezTo>
                    <a:pt x="51" y="24"/>
                    <a:pt x="52" y="28"/>
                    <a:pt x="52" y="32"/>
                  </a:cubicBezTo>
                  <a:close/>
                </a:path>
              </a:pathLst>
            </a:custGeom>
            <a:solidFill>
              <a:srgbClr val="45A198"/>
            </a:solidFill>
            <a:ln>
              <a:noFill/>
            </a:ln>
            <a:extLst/>
          </p:spPr>
          <p:txBody>
            <a:bodyPr vert="horz" wrap="square" lIns="91440" tIns="45720" rIns="91440" bIns="45720" numCol="1" anchor="t" anchorCtr="0" compatLnSpc="1">
              <a:prstTxWarp prst="textNoShape">
                <a:avLst/>
              </a:prstTxWarp>
            </a:bodyPr>
            <a:lstStyle/>
            <a:p>
              <a:endParaRPr lang="id-ID"/>
            </a:p>
          </p:txBody>
        </p:sp>
      </p:grpSp>
      <p:sp>
        <p:nvSpPr>
          <p:cNvPr id="2" name="Rectangle 1">
            <a:extLst>
              <a:ext uri="{FF2B5EF4-FFF2-40B4-BE49-F238E27FC236}">
                <a16:creationId xmlns:a16="http://schemas.microsoft.com/office/drawing/2014/main" xmlns="" id="{E752449B-1BD8-4587-BB11-4BB7F3819264}"/>
              </a:ext>
            </a:extLst>
          </p:cNvPr>
          <p:cNvSpPr/>
          <p:nvPr/>
        </p:nvSpPr>
        <p:spPr>
          <a:xfrm>
            <a:off x="1534965" y="6378175"/>
            <a:ext cx="6001195" cy="307777"/>
          </a:xfrm>
          <a:prstGeom prst="rect">
            <a:avLst/>
          </a:prstGeom>
          <a:solidFill>
            <a:schemeClr val="bg1"/>
          </a:solidFill>
        </p:spPr>
        <p:txBody>
          <a:bodyPr wrap="none">
            <a:spAutoFit/>
          </a:bodyPr>
          <a:lstStyle/>
          <a:p>
            <a:r>
              <a:rPr lang="it-IT" sz="1400" i="1" dirty="0"/>
              <a:t>* CIPAG, CN, CNPADC, Corte dei Conti, ENPAM, ENPAP, INAIL, INPGI, INPS, MLPS </a:t>
            </a:r>
          </a:p>
        </p:txBody>
      </p:sp>
    </p:spTree>
    <p:extLst>
      <p:ext uri="{BB962C8B-B14F-4D97-AF65-F5344CB8AC3E}">
        <p14:creationId xmlns:p14="http://schemas.microsoft.com/office/powerpoint/2010/main" val="27382130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latin typeface="Calibri" panose="020F0502020204030204" pitchFamily="34" charset="0"/>
              </a:rPr>
              <a:t>Tecnologia Blockchain</a:t>
            </a:r>
          </a:p>
          <a:p>
            <a:pPr algn="just" eaLnBrk="0" hangingPunct="0">
              <a:buClr>
                <a:srgbClr val="FFD200"/>
              </a:buClr>
              <a:buSzPct val="75000"/>
              <a:defRPr/>
            </a:pPr>
            <a:r>
              <a:rPr lang="it-IT" sz="2400" i="1" kern="0" dirty="0">
                <a:latin typeface="Calibri" panose="020F0502020204030204" pitchFamily="34" charset="0"/>
              </a:rPr>
              <a:t>Principali vantaggi dalla sua applicazione</a:t>
            </a:r>
          </a:p>
        </p:txBody>
      </p:sp>
      <p:grpSp>
        <p:nvGrpSpPr>
          <p:cNvPr id="8" name="Group 7"/>
          <p:cNvGrpSpPr/>
          <p:nvPr/>
        </p:nvGrpSpPr>
        <p:grpSpPr>
          <a:xfrm>
            <a:off x="617185" y="948289"/>
            <a:ext cx="10944226" cy="5240402"/>
            <a:chOff x="617185" y="948289"/>
            <a:chExt cx="10944226" cy="5240402"/>
          </a:xfrm>
        </p:grpSpPr>
        <p:grpSp>
          <p:nvGrpSpPr>
            <p:cNvPr id="99" name="Group 98"/>
            <p:cNvGrpSpPr/>
            <p:nvPr/>
          </p:nvGrpSpPr>
          <p:grpSpPr>
            <a:xfrm>
              <a:off x="3520046" y="5517232"/>
              <a:ext cx="5149693" cy="671459"/>
              <a:chOff x="3490536" y="5650243"/>
              <a:chExt cx="5149693" cy="738605"/>
            </a:xfrm>
          </p:grpSpPr>
          <p:sp>
            <p:nvSpPr>
              <p:cNvPr id="60" name="TextBox 59"/>
              <p:cNvSpPr txBox="1"/>
              <p:nvPr/>
            </p:nvSpPr>
            <p:spPr>
              <a:xfrm>
                <a:off x="4779589" y="5650243"/>
                <a:ext cx="2571602" cy="440121"/>
              </a:xfrm>
              <a:prstGeom prst="rect">
                <a:avLst/>
              </a:prstGeom>
              <a:noFill/>
            </p:spPr>
            <p:txBody>
              <a:bodyPr wrap="none" rtlCol="0">
                <a:spAutoFit/>
              </a:bodyPr>
              <a:lstStyle/>
              <a:p>
                <a:pPr algn="ctr"/>
                <a:r>
                  <a:rPr lang="it-IT" sz="2000" b="1" dirty="0"/>
                  <a:t>Certificazione del dato</a:t>
                </a:r>
                <a:endParaRPr lang="id-ID" sz="2000" b="1" dirty="0"/>
              </a:p>
            </p:txBody>
          </p:sp>
          <p:sp>
            <p:nvSpPr>
              <p:cNvPr id="61" name="Rectangle 60"/>
              <p:cNvSpPr/>
              <p:nvPr/>
            </p:nvSpPr>
            <p:spPr>
              <a:xfrm>
                <a:off x="3490536" y="6016439"/>
                <a:ext cx="5149693" cy="372409"/>
              </a:xfrm>
              <a:prstGeom prst="rect">
                <a:avLst/>
              </a:prstGeom>
            </p:spPr>
            <p:txBody>
              <a:bodyPr wrap="square">
                <a:spAutoFit/>
              </a:bodyPr>
              <a:lstStyle/>
              <a:p>
                <a:pPr algn="ctr"/>
                <a:r>
                  <a:rPr lang="it-IT" sz="1600" dirty="0"/>
                  <a:t>Certifica che il dato condiviso sia veritiero e non alterabile</a:t>
                </a:r>
                <a:endParaRPr lang="en-US" sz="1600" b="1" dirty="0"/>
              </a:p>
            </p:txBody>
          </p:sp>
        </p:grpSp>
        <p:grpSp>
          <p:nvGrpSpPr>
            <p:cNvPr id="94" name="Group 93"/>
            <p:cNvGrpSpPr/>
            <p:nvPr/>
          </p:nvGrpSpPr>
          <p:grpSpPr>
            <a:xfrm>
              <a:off x="2718954" y="948289"/>
              <a:ext cx="6731999" cy="915746"/>
              <a:chOff x="4446567" y="61629"/>
              <a:chExt cx="3087775" cy="915746"/>
            </a:xfrm>
          </p:grpSpPr>
          <p:sp>
            <p:nvSpPr>
              <p:cNvPr id="62" name="TextBox 61"/>
              <p:cNvSpPr txBox="1"/>
              <p:nvPr/>
            </p:nvSpPr>
            <p:spPr>
              <a:xfrm>
                <a:off x="5359256" y="61629"/>
                <a:ext cx="1262397" cy="400110"/>
              </a:xfrm>
              <a:prstGeom prst="rect">
                <a:avLst/>
              </a:prstGeom>
              <a:noFill/>
            </p:spPr>
            <p:txBody>
              <a:bodyPr wrap="none" rtlCol="0">
                <a:spAutoFit/>
              </a:bodyPr>
              <a:lstStyle/>
              <a:p>
                <a:pPr algn="ctr"/>
                <a:r>
                  <a:rPr lang="it-IT" sz="2000" b="1" dirty="0"/>
                  <a:t>Gestione regolamentata</a:t>
                </a:r>
                <a:endParaRPr lang="id-ID" sz="2000" b="1" dirty="0"/>
              </a:p>
            </p:txBody>
          </p:sp>
          <p:sp>
            <p:nvSpPr>
              <p:cNvPr id="63" name="Rectangle 62"/>
              <p:cNvSpPr/>
              <p:nvPr/>
            </p:nvSpPr>
            <p:spPr>
              <a:xfrm>
                <a:off x="4446567" y="392600"/>
                <a:ext cx="3087775" cy="584775"/>
              </a:xfrm>
              <a:prstGeom prst="rect">
                <a:avLst/>
              </a:prstGeom>
            </p:spPr>
            <p:txBody>
              <a:bodyPr wrap="square" lIns="0" rIns="0">
                <a:spAutoFit/>
              </a:bodyPr>
              <a:lstStyle/>
              <a:p>
                <a:pPr algn="ctr"/>
                <a:r>
                  <a:rPr lang="it-IT" sz="1600" dirty="0"/>
                  <a:t>L’accesso, lo scambio e la gestione dei dati della Piattaforma normati dagli smart contract che implementano regole condivise e trasparenti tra tutti i soggetti </a:t>
                </a:r>
                <a:endParaRPr lang="en-US" sz="1600" b="1" dirty="0"/>
              </a:p>
            </p:txBody>
          </p:sp>
        </p:grpSp>
        <p:grpSp>
          <p:nvGrpSpPr>
            <p:cNvPr id="96" name="Group 95"/>
            <p:cNvGrpSpPr/>
            <p:nvPr/>
          </p:nvGrpSpPr>
          <p:grpSpPr>
            <a:xfrm>
              <a:off x="8070615" y="2301025"/>
              <a:ext cx="3490796" cy="1164198"/>
              <a:chOff x="8569676" y="1784413"/>
              <a:chExt cx="2988164" cy="1164198"/>
            </a:xfrm>
          </p:grpSpPr>
          <p:sp>
            <p:nvSpPr>
              <p:cNvPr id="52" name="TextBox 51"/>
              <p:cNvSpPr txBox="1"/>
              <p:nvPr/>
            </p:nvSpPr>
            <p:spPr>
              <a:xfrm>
                <a:off x="8569676" y="1784413"/>
                <a:ext cx="2113611" cy="400110"/>
              </a:xfrm>
              <a:prstGeom prst="rect">
                <a:avLst/>
              </a:prstGeom>
              <a:noFill/>
            </p:spPr>
            <p:txBody>
              <a:bodyPr wrap="none" rtlCol="0">
                <a:spAutoFit/>
              </a:bodyPr>
              <a:lstStyle/>
              <a:p>
                <a:r>
                  <a:rPr lang="it-IT" sz="2000" b="1" dirty="0"/>
                  <a:t>Rispetto della privacy</a:t>
                </a:r>
                <a:endParaRPr lang="id-ID" sz="2000" b="1" dirty="0"/>
              </a:p>
            </p:txBody>
          </p:sp>
          <p:sp>
            <p:nvSpPr>
              <p:cNvPr id="53" name="Rectangle 52"/>
              <p:cNvSpPr/>
              <p:nvPr/>
            </p:nvSpPr>
            <p:spPr>
              <a:xfrm>
                <a:off x="8570931" y="2117614"/>
                <a:ext cx="2986909" cy="830997"/>
              </a:xfrm>
              <a:prstGeom prst="rect">
                <a:avLst/>
              </a:prstGeom>
            </p:spPr>
            <p:txBody>
              <a:bodyPr wrap="square">
                <a:spAutoFit/>
              </a:bodyPr>
              <a:lstStyle/>
              <a:p>
                <a:r>
                  <a:rPr lang="it-IT" sz="1600" dirty="0"/>
                  <a:t>Garantisce il rispetto della privacy grazie ad un uso regolamentato a priori della condivisione delle informazioni</a:t>
                </a:r>
              </a:p>
            </p:txBody>
          </p:sp>
        </p:grpSp>
        <p:grpSp>
          <p:nvGrpSpPr>
            <p:cNvPr id="95" name="Group 94"/>
            <p:cNvGrpSpPr/>
            <p:nvPr/>
          </p:nvGrpSpPr>
          <p:grpSpPr>
            <a:xfrm>
              <a:off x="617185" y="2301025"/>
              <a:ext cx="3600000" cy="929144"/>
              <a:chOff x="613177" y="1758665"/>
              <a:chExt cx="2986909" cy="929144"/>
            </a:xfrm>
          </p:grpSpPr>
          <p:sp>
            <p:nvSpPr>
              <p:cNvPr id="56" name="TextBox 55"/>
              <p:cNvSpPr txBox="1"/>
              <p:nvPr/>
            </p:nvSpPr>
            <p:spPr>
              <a:xfrm>
                <a:off x="1432050" y="1758665"/>
                <a:ext cx="2106678" cy="400110"/>
              </a:xfrm>
              <a:prstGeom prst="rect">
                <a:avLst/>
              </a:prstGeom>
              <a:noFill/>
            </p:spPr>
            <p:txBody>
              <a:bodyPr wrap="none" rtlCol="0">
                <a:spAutoFit/>
              </a:bodyPr>
              <a:lstStyle/>
              <a:p>
                <a:pPr algn="r"/>
                <a:r>
                  <a:rPr lang="it-IT" sz="2000" b="1" dirty="0"/>
                  <a:t>Semplicità realizzativa</a:t>
                </a:r>
                <a:endParaRPr lang="id-ID" sz="2000" b="1" dirty="0"/>
              </a:p>
            </p:txBody>
          </p:sp>
          <p:sp>
            <p:nvSpPr>
              <p:cNvPr id="57" name="Rectangle 56"/>
              <p:cNvSpPr/>
              <p:nvPr/>
            </p:nvSpPr>
            <p:spPr>
              <a:xfrm>
                <a:off x="613177" y="2103034"/>
                <a:ext cx="2986909" cy="584775"/>
              </a:xfrm>
              <a:prstGeom prst="rect">
                <a:avLst/>
              </a:prstGeom>
            </p:spPr>
            <p:txBody>
              <a:bodyPr wrap="square">
                <a:spAutoFit/>
              </a:bodyPr>
              <a:lstStyle/>
              <a:p>
                <a:pPr algn="r"/>
                <a:r>
                  <a:rPr lang="it-IT" sz="1600" dirty="0"/>
                  <a:t>La tecnologia Blockchain presenta bassa invasività sui sistemi esistenti</a:t>
                </a:r>
                <a:endParaRPr lang="en-US" sz="1600" b="1" dirty="0"/>
              </a:p>
            </p:txBody>
          </p:sp>
        </p:grpSp>
        <p:grpSp>
          <p:nvGrpSpPr>
            <p:cNvPr id="98" name="Group 97"/>
            <p:cNvGrpSpPr/>
            <p:nvPr/>
          </p:nvGrpSpPr>
          <p:grpSpPr>
            <a:xfrm>
              <a:off x="8070615" y="3902774"/>
              <a:ext cx="3365320" cy="1139991"/>
              <a:chOff x="8660108" y="3829547"/>
              <a:chExt cx="2986909" cy="1139991"/>
            </a:xfrm>
          </p:grpSpPr>
          <p:sp>
            <p:nvSpPr>
              <p:cNvPr id="54" name="TextBox 53"/>
              <p:cNvSpPr txBox="1"/>
              <p:nvPr/>
            </p:nvSpPr>
            <p:spPr>
              <a:xfrm>
                <a:off x="8661262" y="3829547"/>
                <a:ext cx="2121735" cy="400110"/>
              </a:xfrm>
              <a:prstGeom prst="rect">
                <a:avLst/>
              </a:prstGeom>
              <a:noFill/>
            </p:spPr>
            <p:txBody>
              <a:bodyPr wrap="none" rtlCol="0">
                <a:spAutoFit/>
              </a:bodyPr>
              <a:lstStyle/>
              <a:p>
                <a:r>
                  <a:rPr lang="it-IT" sz="2000" b="1" dirty="0"/>
                  <a:t>Sovranità del dato</a:t>
                </a:r>
                <a:endParaRPr lang="id-ID" sz="2000" b="1" dirty="0"/>
              </a:p>
            </p:txBody>
          </p:sp>
          <p:sp>
            <p:nvSpPr>
              <p:cNvPr id="55" name="Rectangle 54"/>
              <p:cNvSpPr/>
              <p:nvPr/>
            </p:nvSpPr>
            <p:spPr>
              <a:xfrm>
                <a:off x="8660108" y="4138541"/>
                <a:ext cx="2986909" cy="830997"/>
              </a:xfrm>
              <a:prstGeom prst="rect">
                <a:avLst/>
              </a:prstGeom>
            </p:spPr>
            <p:txBody>
              <a:bodyPr wrap="square">
                <a:spAutoFit/>
              </a:bodyPr>
              <a:lstStyle/>
              <a:p>
                <a:r>
                  <a:rPr lang="it-IT" sz="1600" dirty="0"/>
                  <a:t>Assicura il mantenimento della sovranità del dato da parte del soggetto pubblico che lo detiene</a:t>
                </a:r>
                <a:endParaRPr lang="en-US" sz="1600" b="1" dirty="0"/>
              </a:p>
            </p:txBody>
          </p:sp>
        </p:grpSp>
        <p:grpSp>
          <p:nvGrpSpPr>
            <p:cNvPr id="97" name="Group 96"/>
            <p:cNvGrpSpPr/>
            <p:nvPr/>
          </p:nvGrpSpPr>
          <p:grpSpPr>
            <a:xfrm>
              <a:off x="697984" y="3902774"/>
              <a:ext cx="3519201" cy="1176908"/>
              <a:chOff x="639186" y="3823501"/>
              <a:chExt cx="3519201" cy="1176908"/>
            </a:xfrm>
          </p:grpSpPr>
          <p:sp>
            <p:nvSpPr>
              <p:cNvPr id="58" name="TextBox 57"/>
              <p:cNvSpPr txBox="1"/>
              <p:nvPr/>
            </p:nvSpPr>
            <p:spPr>
              <a:xfrm>
                <a:off x="887745" y="3823501"/>
                <a:ext cx="3229090" cy="400110"/>
              </a:xfrm>
              <a:prstGeom prst="rect">
                <a:avLst/>
              </a:prstGeom>
              <a:noFill/>
            </p:spPr>
            <p:txBody>
              <a:bodyPr wrap="none" rtlCol="0">
                <a:spAutoFit/>
              </a:bodyPr>
              <a:lstStyle/>
              <a:p>
                <a:pPr algn="r"/>
                <a:r>
                  <a:rPr lang="it-IT" sz="2000" b="1" dirty="0"/>
                  <a:t>Allineamento in tempo reale</a:t>
                </a:r>
                <a:endParaRPr lang="id-ID" sz="2000" b="1" dirty="0"/>
              </a:p>
            </p:txBody>
          </p:sp>
          <p:sp>
            <p:nvSpPr>
              <p:cNvPr id="59" name="Rectangle 58"/>
              <p:cNvSpPr/>
              <p:nvPr/>
            </p:nvSpPr>
            <p:spPr>
              <a:xfrm>
                <a:off x="639186" y="4169412"/>
                <a:ext cx="3519201" cy="830997"/>
              </a:xfrm>
              <a:prstGeom prst="rect">
                <a:avLst/>
              </a:prstGeom>
            </p:spPr>
            <p:txBody>
              <a:bodyPr wrap="square">
                <a:spAutoFit/>
              </a:bodyPr>
              <a:lstStyle/>
              <a:p>
                <a:pPr algn="r"/>
                <a:r>
                  <a:rPr lang="it-IT" sz="1600" dirty="0"/>
                  <a:t>Consente di allineare istantaneamente i dati condivisi a seguito degli aggiornamenti sugli stessi</a:t>
                </a:r>
                <a:endParaRPr lang="en-US" sz="1600" b="1" dirty="0"/>
              </a:p>
            </p:txBody>
          </p:sp>
        </p:grpSp>
        <p:grpSp>
          <p:nvGrpSpPr>
            <p:cNvPr id="5" name="Group 4"/>
            <p:cNvGrpSpPr/>
            <p:nvPr/>
          </p:nvGrpSpPr>
          <p:grpSpPr>
            <a:xfrm>
              <a:off x="4740429" y="2179990"/>
              <a:ext cx="2806943" cy="3242359"/>
              <a:chOff x="4830196" y="2179990"/>
              <a:chExt cx="2806943" cy="3242359"/>
            </a:xfrm>
          </p:grpSpPr>
          <p:grpSp>
            <p:nvGrpSpPr>
              <p:cNvPr id="88" name="Group 87"/>
              <p:cNvGrpSpPr>
                <a:grpSpLocks noChangeAspect="1"/>
              </p:cNvGrpSpPr>
              <p:nvPr/>
            </p:nvGrpSpPr>
            <p:grpSpPr>
              <a:xfrm>
                <a:off x="4830196" y="2179990"/>
                <a:ext cx="2806943" cy="3242359"/>
                <a:chOff x="4018721" y="937488"/>
                <a:chExt cx="4276512" cy="4939891"/>
              </a:xfrm>
            </p:grpSpPr>
            <p:sp>
              <p:nvSpPr>
                <p:cNvPr id="39" name="Shape 14582"/>
                <p:cNvSpPr/>
                <p:nvPr/>
              </p:nvSpPr>
              <p:spPr>
                <a:xfrm>
                  <a:off x="6089370" y="1421993"/>
                  <a:ext cx="1" cy="3859892"/>
                </a:xfrm>
                <a:prstGeom prst="line">
                  <a:avLst/>
                </a:prstGeom>
                <a:noFill/>
                <a:ln w="22225" cap="flat">
                  <a:solidFill>
                    <a:schemeClr val="tx1">
                      <a:lumMod val="40000"/>
                      <a:lumOff val="60000"/>
                    </a:schemeClr>
                  </a:solidFill>
                  <a:prstDash val="solid"/>
                  <a:miter lim="400000"/>
                </a:ln>
                <a:effectLst/>
              </p:spPr>
              <p:txBody>
                <a:bodyPr wrap="square" lIns="38100" tIns="38100" rIns="38100" bIns="38100" numCol="1" anchor="ctr">
                  <a:noAutofit/>
                </a:bodyPr>
                <a:lstStyle/>
                <a:p>
                  <a:endParaRPr sz="1200" dirty="0"/>
                </a:p>
              </p:txBody>
            </p:sp>
            <p:sp>
              <p:nvSpPr>
                <p:cNvPr id="40" name="Shape 14583"/>
                <p:cNvSpPr/>
                <p:nvPr/>
              </p:nvSpPr>
              <p:spPr>
                <a:xfrm>
                  <a:off x="4271928" y="1733210"/>
                  <a:ext cx="3622776" cy="26570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noFill/>
                <a:ln w="22225" cap="flat">
                  <a:solidFill>
                    <a:schemeClr val="tx1">
                      <a:lumMod val="40000"/>
                      <a:lumOff val="60000"/>
                    </a:schemeClr>
                  </a:solidFill>
                  <a:prstDash val="solid"/>
                  <a:miter lim="400000"/>
                </a:ln>
                <a:effectLst/>
              </p:spPr>
              <p:txBody>
                <a:bodyPr wrap="square" lIns="0" tIns="0" rIns="0" bIns="0" numCol="1" anchor="t">
                  <a:noAutofit/>
                </a:bodyPr>
                <a:lstStyle/>
                <a:p>
                  <a:endParaRPr sz="1200" dirty="0"/>
                </a:p>
              </p:txBody>
            </p:sp>
            <p:sp>
              <p:nvSpPr>
                <p:cNvPr id="41" name="Shape 14584"/>
                <p:cNvSpPr/>
                <p:nvPr/>
              </p:nvSpPr>
              <p:spPr>
                <a:xfrm rot="10800000" flipH="1">
                  <a:off x="4271928" y="2313666"/>
                  <a:ext cx="3622776" cy="26570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noFill/>
                <a:ln w="22225" cap="flat">
                  <a:solidFill>
                    <a:schemeClr val="tx1">
                      <a:lumMod val="40000"/>
                      <a:lumOff val="60000"/>
                    </a:schemeClr>
                  </a:solidFill>
                  <a:prstDash val="solid"/>
                  <a:miter lim="400000"/>
                </a:ln>
                <a:effectLst/>
              </p:spPr>
              <p:txBody>
                <a:bodyPr wrap="square" lIns="0" tIns="0" rIns="0" bIns="0" numCol="1" anchor="t">
                  <a:noAutofit/>
                </a:bodyPr>
                <a:lstStyle/>
                <a:p>
                  <a:endParaRPr sz="1200" dirty="0"/>
                </a:p>
              </p:txBody>
            </p:sp>
            <p:sp>
              <p:nvSpPr>
                <p:cNvPr id="42" name="Shape 14585"/>
                <p:cNvSpPr/>
                <p:nvPr/>
              </p:nvSpPr>
              <p:spPr>
                <a:xfrm>
                  <a:off x="4497171" y="1424501"/>
                  <a:ext cx="3172288" cy="3855032"/>
                </a:xfrm>
                <a:custGeom>
                  <a:avLst/>
                  <a:gdLst/>
                  <a:ahLst/>
                  <a:cxnLst>
                    <a:cxn ang="0">
                      <a:pos x="wd2" y="hd2"/>
                    </a:cxn>
                    <a:cxn ang="5400000">
                      <a:pos x="wd2" y="hd2"/>
                    </a:cxn>
                    <a:cxn ang="10800000">
                      <a:pos x="wd2" y="hd2"/>
                    </a:cxn>
                    <a:cxn ang="16200000">
                      <a:pos x="wd2" y="hd2"/>
                    </a:cxn>
                  </a:cxnLst>
                  <a:rect l="0" t="0" r="r" b="b"/>
                  <a:pathLst>
                    <a:path w="21600" h="21600" extrusionOk="0">
                      <a:moveTo>
                        <a:pt x="10798" y="0"/>
                      </a:moveTo>
                      <a:lnTo>
                        <a:pt x="0" y="5580"/>
                      </a:lnTo>
                      <a:lnTo>
                        <a:pt x="0" y="16097"/>
                      </a:lnTo>
                      <a:lnTo>
                        <a:pt x="10798" y="21600"/>
                      </a:lnTo>
                      <a:lnTo>
                        <a:pt x="21600" y="16097"/>
                      </a:lnTo>
                      <a:lnTo>
                        <a:pt x="21600" y="5580"/>
                      </a:lnTo>
                      <a:lnTo>
                        <a:pt x="10798" y="0"/>
                      </a:lnTo>
                      <a:close/>
                    </a:path>
                  </a:pathLst>
                </a:custGeom>
                <a:noFill/>
                <a:ln w="22225" cap="flat">
                  <a:solidFill>
                    <a:schemeClr val="tx1">
                      <a:lumMod val="40000"/>
                      <a:lumOff val="60000"/>
                    </a:schemeClr>
                  </a:solidFill>
                  <a:prstDash val="solid"/>
                  <a:miter lim="400000"/>
                </a:ln>
                <a:effectLst/>
              </p:spPr>
              <p:txBody>
                <a:bodyPr wrap="square" lIns="0" tIns="0" rIns="0" bIns="0" numCol="1" anchor="t">
                  <a:noAutofit/>
                </a:bodyPr>
                <a:lstStyle/>
                <a:p>
                  <a:endParaRPr sz="1200" dirty="0"/>
                </a:p>
              </p:txBody>
            </p:sp>
            <p:sp>
              <p:nvSpPr>
                <p:cNvPr id="43" name="Shape 14586"/>
                <p:cNvSpPr/>
                <p:nvPr/>
              </p:nvSpPr>
              <p:spPr>
                <a:xfrm>
                  <a:off x="4277900" y="2317060"/>
                  <a:ext cx="3610833" cy="2069754"/>
                </a:xfrm>
                <a:prstGeom prst="line">
                  <a:avLst/>
                </a:prstGeom>
                <a:noFill/>
                <a:ln w="22225" cap="flat">
                  <a:solidFill>
                    <a:schemeClr val="tx1">
                      <a:lumMod val="40000"/>
                      <a:lumOff val="60000"/>
                    </a:schemeClr>
                  </a:solidFill>
                  <a:prstDash val="solid"/>
                  <a:miter lim="400000"/>
                </a:ln>
                <a:effectLst/>
              </p:spPr>
              <p:txBody>
                <a:bodyPr wrap="square" lIns="38100" tIns="38100" rIns="38100" bIns="38100" numCol="1" anchor="ctr">
                  <a:noAutofit/>
                </a:bodyPr>
                <a:lstStyle/>
                <a:p>
                  <a:endParaRPr sz="1200" dirty="0"/>
                </a:p>
              </p:txBody>
            </p:sp>
            <p:sp>
              <p:nvSpPr>
                <p:cNvPr id="44" name="Shape 14587"/>
                <p:cNvSpPr/>
                <p:nvPr/>
              </p:nvSpPr>
              <p:spPr>
                <a:xfrm flipH="1">
                  <a:off x="4277900" y="2317060"/>
                  <a:ext cx="3610833" cy="2069754"/>
                </a:xfrm>
                <a:prstGeom prst="line">
                  <a:avLst/>
                </a:prstGeom>
                <a:noFill/>
                <a:ln w="22225" cap="flat">
                  <a:solidFill>
                    <a:schemeClr val="tx1">
                      <a:lumMod val="40000"/>
                      <a:lumOff val="60000"/>
                    </a:schemeClr>
                  </a:solidFill>
                  <a:prstDash val="solid"/>
                  <a:miter lim="400000"/>
                </a:ln>
                <a:effectLst/>
              </p:spPr>
              <p:txBody>
                <a:bodyPr wrap="square" lIns="38100" tIns="38100" rIns="38100" bIns="38100" numCol="1" anchor="ctr">
                  <a:noAutofit/>
                </a:bodyPr>
                <a:lstStyle/>
                <a:p>
                  <a:endParaRPr sz="1200" dirty="0"/>
                </a:p>
              </p:txBody>
            </p:sp>
            <p:sp>
              <p:nvSpPr>
                <p:cNvPr id="45" name="Shape 14589"/>
                <p:cNvSpPr/>
                <p:nvPr/>
              </p:nvSpPr>
              <p:spPr>
                <a:xfrm>
                  <a:off x="7215233" y="3901047"/>
                  <a:ext cx="1080000" cy="1080000"/>
                </a:xfrm>
                <a:prstGeom prst="ellipse">
                  <a:avLst/>
                </a:prstGeom>
                <a:solidFill>
                  <a:srgbClr val="5B9BD5"/>
                </a:solidFill>
                <a:ln w="12700" cap="flat">
                  <a:noFill/>
                  <a:miter lim="400000"/>
                </a:ln>
                <a:effectLst/>
              </p:spPr>
              <p:txBody>
                <a:bodyPr wrap="square" lIns="0" tIns="0" rIns="0" bIns="0" numCol="1" anchor="t">
                  <a:noAutofit/>
                </a:bodyPr>
                <a:lstStyle/>
                <a:p>
                  <a:endParaRPr sz="1200" dirty="0"/>
                </a:p>
              </p:txBody>
            </p:sp>
            <p:sp>
              <p:nvSpPr>
                <p:cNvPr id="46" name="Shape 14592"/>
                <p:cNvSpPr/>
                <p:nvPr/>
              </p:nvSpPr>
              <p:spPr>
                <a:xfrm>
                  <a:off x="7215233" y="1830510"/>
                  <a:ext cx="1080000" cy="1080000"/>
                </a:xfrm>
                <a:prstGeom prst="ellipse">
                  <a:avLst/>
                </a:prstGeom>
                <a:solidFill>
                  <a:srgbClr val="FFC000"/>
                </a:solidFill>
                <a:ln w="12700" cap="flat">
                  <a:noFill/>
                  <a:miter lim="400000"/>
                </a:ln>
                <a:effectLst/>
              </p:spPr>
              <p:txBody>
                <a:bodyPr wrap="square" lIns="0" tIns="0" rIns="0" bIns="0" numCol="1" anchor="t">
                  <a:noAutofit/>
                </a:bodyPr>
                <a:lstStyle/>
                <a:p>
                  <a:endParaRPr sz="1200" dirty="0"/>
                </a:p>
              </p:txBody>
            </p:sp>
            <p:sp>
              <p:nvSpPr>
                <p:cNvPr id="47" name="Shape 14595"/>
                <p:cNvSpPr/>
                <p:nvPr/>
              </p:nvSpPr>
              <p:spPr>
                <a:xfrm>
                  <a:off x="5604863" y="937488"/>
                  <a:ext cx="1080000" cy="1080000"/>
                </a:xfrm>
                <a:prstGeom prst="ellipse">
                  <a:avLst/>
                </a:prstGeom>
                <a:solidFill>
                  <a:srgbClr val="5B9BD5"/>
                </a:solidFill>
                <a:ln w="3175" cap="flat">
                  <a:solidFill>
                    <a:srgbClr val="5B9BD5"/>
                  </a:solidFill>
                  <a:miter lim="400000"/>
                </a:ln>
                <a:effectLst/>
              </p:spPr>
              <p:txBody>
                <a:bodyPr wrap="square" lIns="0" tIns="0" rIns="0" bIns="0" numCol="1" anchor="t">
                  <a:noAutofit/>
                </a:bodyPr>
                <a:lstStyle/>
                <a:p>
                  <a:endParaRPr sz="1200" dirty="0"/>
                </a:p>
              </p:txBody>
            </p:sp>
            <p:sp>
              <p:nvSpPr>
                <p:cNvPr id="48" name="Shape 14598"/>
                <p:cNvSpPr/>
                <p:nvPr/>
              </p:nvSpPr>
              <p:spPr>
                <a:xfrm>
                  <a:off x="4018721" y="1830510"/>
                  <a:ext cx="1080000" cy="1080000"/>
                </a:xfrm>
                <a:prstGeom prst="ellipse">
                  <a:avLst/>
                </a:prstGeom>
                <a:solidFill>
                  <a:schemeClr val="accent6"/>
                </a:solidFill>
                <a:ln w="12700" cap="flat">
                  <a:noFill/>
                  <a:miter lim="400000"/>
                </a:ln>
                <a:effectLst/>
              </p:spPr>
              <p:txBody>
                <a:bodyPr wrap="square" lIns="0" tIns="0" rIns="0" bIns="0" numCol="1" anchor="t">
                  <a:noAutofit/>
                </a:bodyPr>
                <a:lstStyle/>
                <a:p>
                  <a:endParaRPr sz="1200" dirty="0"/>
                </a:p>
              </p:txBody>
            </p:sp>
            <p:sp>
              <p:nvSpPr>
                <p:cNvPr id="49" name="Shape 14601"/>
                <p:cNvSpPr/>
                <p:nvPr/>
              </p:nvSpPr>
              <p:spPr>
                <a:xfrm>
                  <a:off x="5604863" y="4797379"/>
                  <a:ext cx="1080000" cy="1080000"/>
                </a:xfrm>
                <a:prstGeom prst="ellipse">
                  <a:avLst/>
                </a:prstGeom>
                <a:solidFill>
                  <a:srgbClr val="FFC000"/>
                </a:solidFill>
                <a:ln w="12700" cap="flat">
                  <a:noFill/>
                  <a:miter lim="400000"/>
                </a:ln>
                <a:effectLst/>
              </p:spPr>
              <p:txBody>
                <a:bodyPr wrap="square" lIns="0" tIns="0" rIns="0" bIns="0" numCol="1" anchor="t">
                  <a:noAutofit/>
                </a:bodyPr>
                <a:lstStyle/>
                <a:p>
                  <a:endParaRPr sz="1200" dirty="0"/>
                </a:p>
              </p:txBody>
            </p:sp>
            <p:sp>
              <p:nvSpPr>
                <p:cNvPr id="50" name="Shape 14604"/>
                <p:cNvSpPr/>
                <p:nvPr/>
              </p:nvSpPr>
              <p:spPr>
                <a:xfrm>
                  <a:off x="5376000" y="2674587"/>
                  <a:ext cx="1440000" cy="1440000"/>
                </a:xfrm>
                <a:prstGeom prst="ellipse">
                  <a:avLst/>
                </a:prstGeom>
                <a:solidFill>
                  <a:srgbClr val="00B050"/>
                </a:solidFill>
                <a:ln w="12700" cap="flat">
                  <a:noFill/>
                  <a:miter lim="400000"/>
                </a:ln>
                <a:effectLst/>
                <a:scene3d>
                  <a:camera prst="orthographicFront">
                    <a:rot lat="0" lon="0" rev="0"/>
                  </a:camera>
                  <a:lightRig rig="balanced" dir="t">
                    <a:rot lat="0" lon="0" rev="8700000"/>
                  </a:lightRig>
                </a:scene3d>
                <a:sp3d/>
              </p:spPr>
              <p:txBody>
                <a:bodyPr wrap="square" lIns="0" tIns="0" rIns="0" bIns="0" numCol="1" anchor="t">
                  <a:noAutofit/>
                </a:bodyPr>
                <a:lstStyle/>
                <a:p>
                  <a:endParaRPr sz="1200" dirty="0"/>
                </a:p>
              </p:txBody>
            </p:sp>
            <p:sp>
              <p:nvSpPr>
                <p:cNvPr id="51" name="Shape 14607"/>
                <p:cNvSpPr/>
                <p:nvPr/>
              </p:nvSpPr>
              <p:spPr>
                <a:xfrm>
                  <a:off x="4018721" y="3901047"/>
                  <a:ext cx="1080000" cy="1080000"/>
                </a:xfrm>
                <a:prstGeom prst="ellipse">
                  <a:avLst/>
                </a:prstGeom>
                <a:solidFill>
                  <a:srgbClr val="5B9BD5"/>
                </a:solidFill>
                <a:ln w="12700" cap="flat">
                  <a:noFill/>
                  <a:miter lim="400000"/>
                </a:ln>
                <a:effectLst/>
              </p:spPr>
              <p:txBody>
                <a:bodyPr wrap="square" lIns="0" tIns="0" rIns="0" bIns="0" numCol="1" anchor="t">
                  <a:noAutofit/>
                </a:bodyPr>
                <a:lstStyle/>
                <a:p>
                  <a:endParaRPr sz="1200" dirty="0"/>
                </a:p>
              </p:txBody>
            </p:sp>
            <p:pic>
              <p:nvPicPr>
                <p:cNvPr id="78" name="Picture 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5233" y="2004801"/>
                  <a:ext cx="720000" cy="720000"/>
                </a:xfrm>
                <a:prstGeom prst="rect">
                  <a:avLst/>
                </a:prstGeom>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2000" y="1077907"/>
                  <a:ext cx="648000" cy="648000"/>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87301" y="4970725"/>
                  <a:ext cx="720000" cy="720000"/>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8095" y="4081045"/>
                  <a:ext cx="720000" cy="720000"/>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31200" y="1986920"/>
                  <a:ext cx="720000" cy="720000"/>
                </a:xfrm>
                <a:prstGeom prst="rect">
                  <a:avLst/>
                </a:prstGeom>
              </p:spPr>
            </p:pic>
            <p:pic>
              <p:nvPicPr>
                <p:cNvPr id="87" name="Picture 8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99469" y="4081047"/>
                  <a:ext cx="720000" cy="720000"/>
                </a:xfrm>
                <a:prstGeom prst="rect">
                  <a:avLst/>
                </a:prstGeom>
              </p:spPr>
            </p:pic>
          </p:grpSp>
          <p:grpSp>
            <p:nvGrpSpPr>
              <p:cNvPr id="65" name="Group 64"/>
              <p:cNvGrpSpPr>
                <a:grpSpLocks noChangeAspect="1"/>
              </p:cNvGrpSpPr>
              <p:nvPr/>
            </p:nvGrpSpPr>
            <p:grpSpPr>
              <a:xfrm rot="7744694">
                <a:off x="5858671" y="3733589"/>
                <a:ext cx="720005" cy="110128"/>
                <a:chOff x="3230888" y="2308150"/>
                <a:chExt cx="3519378" cy="490957"/>
              </a:xfrm>
            </p:grpSpPr>
            <p:sp>
              <p:nvSpPr>
                <p:cNvPr id="66" name="Freeform 36" descr="© INSCALE GmbH, 26.05.2010&#10;http://www.presentationload.com/"/>
                <p:cNvSpPr>
                  <a:spLocks noEditPoints="1"/>
                </p:cNvSpPr>
                <p:nvPr/>
              </p:nvSpPr>
              <p:spPr bwMode="gray">
                <a:xfrm>
                  <a:off x="3365544" y="2308150"/>
                  <a:ext cx="742054" cy="490957"/>
                </a:xfrm>
                <a:custGeom>
                  <a:avLst/>
                  <a:gdLst>
                    <a:gd name="T0" fmla="*/ 729 w 972"/>
                    <a:gd name="T1" fmla="*/ 0 h 598"/>
                    <a:gd name="T2" fmla="*/ 243 w 972"/>
                    <a:gd name="T3" fmla="*/ 0 h 598"/>
                    <a:gd name="T4" fmla="*/ 0 w 972"/>
                    <a:gd name="T5" fmla="*/ 299 h 598"/>
                    <a:gd name="T6" fmla="*/ 243 w 972"/>
                    <a:gd name="T7" fmla="*/ 598 h 598"/>
                    <a:gd name="T8" fmla="*/ 729 w 972"/>
                    <a:gd name="T9" fmla="*/ 598 h 598"/>
                    <a:gd name="T10" fmla="*/ 972 w 972"/>
                    <a:gd name="T11" fmla="*/ 299 h 598"/>
                    <a:gd name="T12" fmla="*/ 729 w 972"/>
                    <a:gd name="T13" fmla="*/ 0 h 598"/>
                    <a:gd name="T14" fmla="*/ 659 w 972"/>
                    <a:gd name="T15" fmla="*/ 456 h 598"/>
                    <a:gd name="T16" fmla="*/ 314 w 972"/>
                    <a:gd name="T17" fmla="*/ 456 h 598"/>
                    <a:gd name="T18" fmla="*/ 142 w 972"/>
                    <a:gd name="T19" fmla="*/ 299 h 598"/>
                    <a:gd name="T20" fmla="*/ 314 w 972"/>
                    <a:gd name="T21" fmla="*/ 142 h 598"/>
                    <a:gd name="T22" fmla="*/ 659 w 972"/>
                    <a:gd name="T23" fmla="*/ 142 h 598"/>
                    <a:gd name="T24" fmla="*/ 831 w 972"/>
                    <a:gd name="T25" fmla="*/ 299 h 598"/>
                    <a:gd name="T26" fmla="*/ 659 w 972"/>
                    <a:gd name="T27" fmla="*/ 456 h 5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2"/>
                    <a:gd name="T43" fmla="*/ 0 h 598"/>
                    <a:gd name="T44" fmla="*/ 972 w 972"/>
                    <a:gd name="T45" fmla="*/ 598 h 5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2" h="598">
                      <a:moveTo>
                        <a:pt x="729" y="0"/>
                      </a:moveTo>
                      <a:cubicBezTo>
                        <a:pt x="243" y="0"/>
                        <a:pt x="243" y="0"/>
                        <a:pt x="243" y="0"/>
                      </a:cubicBezTo>
                      <a:cubicBezTo>
                        <a:pt x="109" y="0"/>
                        <a:pt x="0" y="134"/>
                        <a:pt x="0" y="299"/>
                      </a:cubicBezTo>
                      <a:cubicBezTo>
                        <a:pt x="0" y="464"/>
                        <a:pt x="109" y="598"/>
                        <a:pt x="243" y="598"/>
                      </a:cubicBezTo>
                      <a:cubicBezTo>
                        <a:pt x="729" y="598"/>
                        <a:pt x="729" y="598"/>
                        <a:pt x="729" y="598"/>
                      </a:cubicBezTo>
                      <a:cubicBezTo>
                        <a:pt x="864" y="598"/>
                        <a:pt x="972" y="464"/>
                        <a:pt x="972" y="299"/>
                      </a:cubicBezTo>
                      <a:cubicBezTo>
                        <a:pt x="972" y="134"/>
                        <a:pt x="864" y="0"/>
                        <a:pt x="729" y="0"/>
                      </a:cubicBezTo>
                      <a:close/>
                      <a:moveTo>
                        <a:pt x="659" y="456"/>
                      </a:moveTo>
                      <a:cubicBezTo>
                        <a:pt x="314" y="456"/>
                        <a:pt x="314" y="456"/>
                        <a:pt x="314" y="456"/>
                      </a:cubicBezTo>
                      <a:cubicBezTo>
                        <a:pt x="219" y="456"/>
                        <a:pt x="142" y="386"/>
                        <a:pt x="142" y="299"/>
                      </a:cubicBezTo>
                      <a:cubicBezTo>
                        <a:pt x="142" y="212"/>
                        <a:pt x="219" y="142"/>
                        <a:pt x="314" y="142"/>
                      </a:cubicBezTo>
                      <a:cubicBezTo>
                        <a:pt x="659" y="142"/>
                        <a:pt x="659" y="142"/>
                        <a:pt x="659" y="142"/>
                      </a:cubicBezTo>
                      <a:cubicBezTo>
                        <a:pt x="754" y="142"/>
                        <a:pt x="831" y="212"/>
                        <a:pt x="831" y="299"/>
                      </a:cubicBezTo>
                      <a:cubicBezTo>
                        <a:pt x="831" y="386"/>
                        <a:pt x="754" y="456"/>
                        <a:pt x="659" y="456"/>
                      </a:cubicBezTo>
                      <a:close/>
                    </a:path>
                  </a:pathLst>
                </a:custGeom>
                <a:solidFill>
                  <a:schemeClr val="accent2"/>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67" name="Freeform 43" descr="© INSCALE GmbH, 26.05.2010&#10;http://www.presentationload.com/"/>
                <p:cNvSpPr>
                  <a:spLocks noEditPoints="1"/>
                </p:cNvSpPr>
                <p:nvPr/>
              </p:nvSpPr>
              <p:spPr bwMode="gray">
                <a:xfrm>
                  <a:off x="4208671" y="2308150"/>
                  <a:ext cx="741662" cy="490957"/>
                </a:xfrm>
                <a:custGeom>
                  <a:avLst/>
                  <a:gdLst>
                    <a:gd name="T0" fmla="*/ 729 w 972"/>
                    <a:gd name="T1" fmla="*/ 0 h 598"/>
                    <a:gd name="T2" fmla="*/ 243 w 972"/>
                    <a:gd name="T3" fmla="*/ 0 h 598"/>
                    <a:gd name="T4" fmla="*/ 0 w 972"/>
                    <a:gd name="T5" fmla="*/ 299 h 598"/>
                    <a:gd name="T6" fmla="*/ 243 w 972"/>
                    <a:gd name="T7" fmla="*/ 598 h 598"/>
                    <a:gd name="T8" fmla="*/ 729 w 972"/>
                    <a:gd name="T9" fmla="*/ 598 h 598"/>
                    <a:gd name="T10" fmla="*/ 972 w 972"/>
                    <a:gd name="T11" fmla="*/ 299 h 598"/>
                    <a:gd name="T12" fmla="*/ 729 w 972"/>
                    <a:gd name="T13" fmla="*/ 0 h 598"/>
                    <a:gd name="T14" fmla="*/ 659 w 972"/>
                    <a:gd name="T15" fmla="*/ 456 h 598"/>
                    <a:gd name="T16" fmla="*/ 314 w 972"/>
                    <a:gd name="T17" fmla="*/ 456 h 598"/>
                    <a:gd name="T18" fmla="*/ 142 w 972"/>
                    <a:gd name="T19" fmla="*/ 299 h 598"/>
                    <a:gd name="T20" fmla="*/ 314 w 972"/>
                    <a:gd name="T21" fmla="*/ 142 h 598"/>
                    <a:gd name="T22" fmla="*/ 659 w 972"/>
                    <a:gd name="T23" fmla="*/ 142 h 598"/>
                    <a:gd name="T24" fmla="*/ 831 w 972"/>
                    <a:gd name="T25" fmla="*/ 299 h 598"/>
                    <a:gd name="T26" fmla="*/ 659 w 972"/>
                    <a:gd name="T27" fmla="*/ 456 h 5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2"/>
                    <a:gd name="T43" fmla="*/ 0 h 598"/>
                    <a:gd name="T44" fmla="*/ 972 w 972"/>
                    <a:gd name="T45" fmla="*/ 598 h 5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2" h="598">
                      <a:moveTo>
                        <a:pt x="729" y="0"/>
                      </a:moveTo>
                      <a:cubicBezTo>
                        <a:pt x="243" y="0"/>
                        <a:pt x="243" y="0"/>
                        <a:pt x="243" y="0"/>
                      </a:cubicBezTo>
                      <a:cubicBezTo>
                        <a:pt x="109" y="0"/>
                        <a:pt x="0" y="134"/>
                        <a:pt x="0" y="299"/>
                      </a:cubicBezTo>
                      <a:cubicBezTo>
                        <a:pt x="0" y="464"/>
                        <a:pt x="109" y="598"/>
                        <a:pt x="243" y="598"/>
                      </a:cubicBezTo>
                      <a:cubicBezTo>
                        <a:pt x="729" y="598"/>
                        <a:pt x="729" y="598"/>
                        <a:pt x="729" y="598"/>
                      </a:cubicBezTo>
                      <a:cubicBezTo>
                        <a:pt x="864" y="598"/>
                        <a:pt x="972" y="464"/>
                        <a:pt x="972" y="299"/>
                      </a:cubicBezTo>
                      <a:cubicBezTo>
                        <a:pt x="972" y="134"/>
                        <a:pt x="864" y="0"/>
                        <a:pt x="729" y="0"/>
                      </a:cubicBezTo>
                      <a:close/>
                      <a:moveTo>
                        <a:pt x="659" y="456"/>
                      </a:moveTo>
                      <a:cubicBezTo>
                        <a:pt x="314" y="456"/>
                        <a:pt x="314" y="456"/>
                        <a:pt x="314" y="456"/>
                      </a:cubicBezTo>
                      <a:cubicBezTo>
                        <a:pt x="219" y="456"/>
                        <a:pt x="142" y="386"/>
                        <a:pt x="142" y="299"/>
                      </a:cubicBezTo>
                      <a:cubicBezTo>
                        <a:pt x="142" y="212"/>
                        <a:pt x="219" y="142"/>
                        <a:pt x="314" y="142"/>
                      </a:cubicBezTo>
                      <a:cubicBezTo>
                        <a:pt x="659" y="142"/>
                        <a:pt x="659" y="142"/>
                        <a:pt x="659" y="142"/>
                      </a:cubicBezTo>
                      <a:cubicBezTo>
                        <a:pt x="754" y="142"/>
                        <a:pt x="831" y="212"/>
                        <a:pt x="831" y="299"/>
                      </a:cubicBezTo>
                      <a:cubicBezTo>
                        <a:pt x="831" y="386"/>
                        <a:pt x="754" y="456"/>
                        <a:pt x="659" y="456"/>
                      </a:cubicBezTo>
                      <a:close/>
                    </a:path>
                  </a:pathLst>
                </a:custGeom>
                <a:solidFill>
                  <a:schemeClr val="bg1">
                    <a:lumMod val="75000"/>
                  </a:schemeClr>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68" name="Freeform 46" descr="© INSCALE GmbH, 26.05.2010&#10;http://www.presentationload.com/"/>
                <p:cNvSpPr>
                  <a:spLocks/>
                </p:cNvSpPr>
                <p:nvPr/>
              </p:nvSpPr>
              <p:spPr bwMode="gray">
                <a:xfrm>
                  <a:off x="3878723" y="2496244"/>
                  <a:ext cx="542617" cy="114769"/>
                </a:xfrm>
                <a:custGeom>
                  <a:avLst/>
                  <a:gdLst>
                    <a:gd name="T0" fmla="*/ 70 w 970"/>
                    <a:gd name="T1" fmla="*/ 0 h 140"/>
                    <a:gd name="T2" fmla="*/ 0 w 970"/>
                    <a:gd name="T3" fmla="*/ 70 h 140"/>
                    <a:gd name="T4" fmla="*/ 70 w 970"/>
                    <a:gd name="T5" fmla="*/ 140 h 140"/>
                    <a:gd name="T6" fmla="*/ 900 w 970"/>
                    <a:gd name="T7" fmla="*/ 140 h 140"/>
                    <a:gd name="T8" fmla="*/ 970 w 970"/>
                    <a:gd name="T9" fmla="*/ 70 h 140"/>
                    <a:gd name="T10" fmla="*/ 900 w 970"/>
                    <a:gd name="T11" fmla="*/ 0 h 140"/>
                    <a:gd name="T12" fmla="*/ 70 w 970"/>
                    <a:gd name="T13" fmla="*/ 0 h 140"/>
                    <a:gd name="T14" fmla="*/ 0 60000 65536"/>
                    <a:gd name="T15" fmla="*/ 0 60000 65536"/>
                    <a:gd name="T16" fmla="*/ 0 60000 65536"/>
                    <a:gd name="T17" fmla="*/ 0 60000 65536"/>
                    <a:gd name="T18" fmla="*/ 0 60000 65536"/>
                    <a:gd name="T19" fmla="*/ 0 60000 65536"/>
                    <a:gd name="T20" fmla="*/ 0 60000 65536"/>
                    <a:gd name="T21" fmla="*/ 0 w 970"/>
                    <a:gd name="T22" fmla="*/ 0 h 140"/>
                    <a:gd name="T23" fmla="*/ 970 w 970"/>
                    <a:gd name="T24" fmla="*/ 140 h 1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0" h="140">
                      <a:moveTo>
                        <a:pt x="70" y="0"/>
                      </a:moveTo>
                      <a:cubicBezTo>
                        <a:pt x="31" y="0"/>
                        <a:pt x="0" y="31"/>
                        <a:pt x="0" y="70"/>
                      </a:cubicBezTo>
                      <a:cubicBezTo>
                        <a:pt x="0" y="109"/>
                        <a:pt x="31" y="140"/>
                        <a:pt x="70" y="140"/>
                      </a:cubicBezTo>
                      <a:cubicBezTo>
                        <a:pt x="900" y="140"/>
                        <a:pt x="900" y="140"/>
                        <a:pt x="900" y="140"/>
                      </a:cubicBezTo>
                      <a:cubicBezTo>
                        <a:pt x="939" y="140"/>
                        <a:pt x="970" y="109"/>
                        <a:pt x="970" y="70"/>
                      </a:cubicBezTo>
                      <a:cubicBezTo>
                        <a:pt x="970" y="31"/>
                        <a:pt x="939" y="0"/>
                        <a:pt x="900" y="0"/>
                      </a:cubicBezTo>
                      <a:lnTo>
                        <a:pt x="70" y="0"/>
                      </a:lnTo>
                      <a:close/>
                    </a:path>
                  </a:pathLst>
                </a:custGeom>
                <a:solidFill>
                  <a:schemeClr val="bg1"/>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69" name="Freeform 50" descr="© INSCALE GmbH, 26.05.2010&#10;http://www.presentationload.com/"/>
                <p:cNvSpPr>
                  <a:spLocks noEditPoints="1"/>
                </p:cNvSpPr>
                <p:nvPr/>
              </p:nvSpPr>
              <p:spPr bwMode="gray">
                <a:xfrm>
                  <a:off x="5087059" y="2308150"/>
                  <a:ext cx="753306" cy="490957"/>
                </a:xfrm>
                <a:custGeom>
                  <a:avLst/>
                  <a:gdLst>
                    <a:gd name="T0" fmla="*/ 729 w 972"/>
                    <a:gd name="T1" fmla="*/ 0 h 598"/>
                    <a:gd name="T2" fmla="*/ 243 w 972"/>
                    <a:gd name="T3" fmla="*/ 0 h 598"/>
                    <a:gd name="T4" fmla="*/ 0 w 972"/>
                    <a:gd name="T5" fmla="*/ 299 h 598"/>
                    <a:gd name="T6" fmla="*/ 243 w 972"/>
                    <a:gd name="T7" fmla="*/ 598 h 598"/>
                    <a:gd name="T8" fmla="*/ 729 w 972"/>
                    <a:gd name="T9" fmla="*/ 598 h 598"/>
                    <a:gd name="T10" fmla="*/ 972 w 972"/>
                    <a:gd name="T11" fmla="*/ 299 h 598"/>
                    <a:gd name="T12" fmla="*/ 729 w 972"/>
                    <a:gd name="T13" fmla="*/ 0 h 598"/>
                    <a:gd name="T14" fmla="*/ 659 w 972"/>
                    <a:gd name="T15" fmla="*/ 456 h 598"/>
                    <a:gd name="T16" fmla="*/ 314 w 972"/>
                    <a:gd name="T17" fmla="*/ 456 h 598"/>
                    <a:gd name="T18" fmla="*/ 142 w 972"/>
                    <a:gd name="T19" fmla="*/ 299 h 598"/>
                    <a:gd name="T20" fmla="*/ 314 w 972"/>
                    <a:gd name="T21" fmla="*/ 142 h 598"/>
                    <a:gd name="T22" fmla="*/ 659 w 972"/>
                    <a:gd name="T23" fmla="*/ 142 h 598"/>
                    <a:gd name="T24" fmla="*/ 831 w 972"/>
                    <a:gd name="T25" fmla="*/ 299 h 598"/>
                    <a:gd name="T26" fmla="*/ 659 w 972"/>
                    <a:gd name="T27" fmla="*/ 456 h 5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2"/>
                    <a:gd name="T43" fmla="*/ 0 h 598"/>
                    <a:gd name="T44" fmla="*/ 972 w 972"/>
                    <a:gd name="T45" fmla="*/ 598 h 5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2" h="598">
                      <a:moveTo>
                        <a:pt x="729" y="0"/>
                      </a:moveTo>
                      <a:cubicBezTo>
                        <a:pt x="243" y="0"/>
                        <a:pt x="243" y="0"/>
                        <a:pt x="243" y="0"/>
                      </a:cubicBezTo>
                      <a:cubicBezTo>
                        <a:pt x="109" y="0"/>
                        <a:pt x="0" y="134"/>
                        <a:pt x="0" y="299"/>
                      </a:cubicBezTo>
                      <a:cubicBezTo>
                        <a:pt x="0" y="464"/>
                        <a:pt x="109" y="598"/>
                        <a:pt x="243" y="598"/>
                      </a:cubicBezTo>
                      <a:cubicBezTo>
                        <a:pt x="729" y="598"/>
                        <a:pt x="729" y="598"/>
                        <a:pt x="729" y="598"/>
                      </a:cubicBezTo>
                      <a:cubicBezTo>
                        <a:pt x="864" y="598"/>
                        <a:pt x="972" y="464"/>
                        <a:pt x="972" y="299"/>
                      </a:cubicBezTo>
                      <a:cubicBezTo>
                        <a:pt x="972" y="134"/>
                        <a:pt x="864" y="0"/>
                        <a:pt x="729" y="0"/>
                      </a:cubicBezTo>
                      <a:close/>
                      <a:moveTo>
                        <a:pt x="659" y="456"/>
                      </a:moveTo>
                      <a:cubicBezTo>
                        <a:pt x="314" y="456"/>
                        <a:pt x="314" y="456"/>
                        <a:pt x="314" y="456"/>
                      </a:cubicBezTo>
                      <a:cubicBezTo>
                        <a:pt x="219" y="456"/>
                        <a:pt x="142" y="386"/>
                        <a:pt x="142" y="299"/>
                      </a:cubicBezTo>
                      <a:cubicBezTo>
                        <a:pt x="142" y="212"/>
                        <a:pt x="219" y="142"/>
                        <a:pt x="314" y="142"/>
                      </a:cubicBezTo>
                      <a:cubicBezTo>
                        <a:pt x="659" y="142"/>
                        <a:pt x="659" y="142"/>
                        <a:pt x="659" y="142"/>
                      </a:cubicBezTo>
                      <a:cubicBezTo>
                        <a:pt x="754" y="142"/>
                        <a:pt x="831" y="212"/>
                        <a:pt x="831" y="299"/>
                      </a:cubicBezTo>
                      <a:cubicBezTo>
                        <a:pt x="831" y="386"/>
                        <a:pt x="754" y="456"/>
                        <a:pt x="659" y="456"/>
                      </a:cubicBezTo>
                      <a:close/>
                    </a:path>
                  </a:pathLst>
                </a:custGeom>
                <a:solidFill>
                  <a:schemeClr val="accent2"/>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70" name="Freeform 57" descr="© INSCALE GmbH, 26.05.2010&#10;http://www.presentationload.com/"/>
                <p:cNvSpPr>
                  <a:spLocks noEditPoints="1"/>
                </p:cNvSpPr>
                <p:nvPr/>
              </p:nvSpPr>
              <p:spPr bwMode="gray">
                <a:xfrm>
                  <a:off x="6008604" y="2308150"/>
                  <a:ext cx="741662" cy="490957"/>
                </a:xfrm>
                <a:custGeom>
                  <a:avLst/>
                  <a:gdLst>
                    <a:gd name="T0" fmla="*/ 729 w 972"/>
                    <a:gd name="T1" fmla="*/ 0 h 598"/>
                    <a:gd name="T2" fmla="*/ 243 w 972"/>
                    <a:gd name="T3" fmla="*/ 0 h 598"/>
                    <a:gd name="T4" fmla="*/ 0 w 972"/>
                    <a:gd name="T5" fmla="*/ 299 h 598"/>
                    <a:gd name="T6" fmla="*/ 243 w 972"/>
                    <a:gd name="T7" fmla="*/ 598 h 598"/>
                    <a:gd name="T8" fmla="*/ 729 w 972"/>
                    <a:gd name="T9" fmla="*/ 598 h 598"/>
                    <a:gd name="T10" fmla="*/ 972 w 972"/>
                    <a:gd name="T11" fmla="*/ 299 h 598"/>
                    <a:gd name="T12" fmla="*/ 729 w 972"/>
                    <a:gd name="T13" fmla="*/ 0 h 598"/>
                    <a:gd name="T14" fmla="*/ 659 w 972"/>
                    <a:gd name="T15" fmla="*/ 456 h 598"/>
                    <a:gd name="T16" fmla="*/ 314 w 972"/>
                    <a:gd name="T17" fmla="*/ 456 h 598"/>
                    <a:gd name="T18" fmla="*/ 142 w 972"/>
                    <a:gd name="T19" fmla="*/ 299 h 598"/>
                    <a:gd name="T20" fmla="*/ 314 w 972"/>
                    <a:gd name="T21" fmla="*/ 142 h 598"/>
                    <a:gd name="T22" fmla="*/ 659 w 972"/>
                    <a:gd name="T23" fmla="*/ 142 h 598"/>
                    <a:gd name="T24" fmla="*/ 831 w 972"/>
                    <a:gd name="T25" fmla="*/ 299 h 598"/>
                    <a:gd name="T26" fmla="*/ 659 w 972"/>
                    <a:gd name="T27" fmla="*/ 456 h 5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2"/>
                    <a:gd name="T43" fmla="*/ 0 h 598"/>
                    <a:gd name="T44" fmla="*/ 972 w 972"/>
                    <a:gd name="T45" fmla="*/ 598 h 5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2" h="598">
                      <a:moveTo>
                        <a:pt x="729" y="0"/>
                      </a:moveTo>
                      <a:cubicBezTo>
                        <a:pt x="243" y="0"/>
                        <a:pt x="243" y="0"/>
                        <a:pt x="243" y="0"/>
                      </a:cubicBezTo>
                      <a:cubicBezTo>
                        <a:pt x="109" y="0"/>
                        <a:pt x="0" y="134"/>
                        <a:pt x="0" y="299"/>
                      </a:cubicBezTo>
                      <a:cubicBezTo>
                        <a:pt x="0" y="464"/>
                        <a:pt x="109" y="598"/>
                        <a:pt x="243" y="598"/>
                      </a:cubicBezTo>
                      <a:cubicBezTo>
                        <a:pt x="729" y="598"/>
                        <a:pt x="729" y="598"/>
                        <a:pt x="729" y="598"/>
                      </a:cubicBezTo>
                      <a:cubicBezTo>
                        <a:pt x="864" y="598"/>
                        <a:pt x="972" y="464"/>
                        <a:pt x="972" y="299"/>
                      </a:cubicBezTo>
                      <a:cubicBezTo>
                        <a:pt x="972" y="134"/>
                        <a:pt x="864" y="0"/>
                        <a:pt x="729" y="0"/>
                      </a:cubicBezTo>
                      <a:close/>
                      <a:moveTo>
                        <a:pt x="659" y="456"/>
                      </a:moveTo>
                      <a:cubicBezTo>
                        <a:pt x="314" y="456"/>
                        <a:pt x="314" y="456"/>
                        <a:pt x="314" y="456"/>
                      </a:cubicBezTo>
                      <a:cubicBezTo>
                        <a:pt x="219" y="456"/>
                        <a:pt x="142" y="386"/>
                        <a:pt x="142" y="299"/>
                      </a:cubicBezTo>
                      <a:cubicBezTo>
                        <a:pt x="142" y="212"/>
                        <a:pt x="219" y="142"/>
                        <a:pt x="314" y="142"/>
                      </a:cubicBezTo>
                      <a:cubicBezTo>
                        <a:pt x="659" y="142"/>
                        <a:pt x="659" y="142"/>
                        <a:pt x="659" y="142"/>
                      </a:cubicBezTo>
                      <a:cubicBezTo>
                        <a:pt x="754" y="142"/>
                        <a:pt x="831" y="212"/>
                        <a:pt x="831" y="299"/>
                      </a:cubicBezTo>
                      <a:cubicBezTo>
                        <a:pt x="831" y="386"/>
                        <a:pt x="754" y="456"/>
                        <a:pt x="659" y="456"/>
                      </a:cubicBezTo>
                      <a:close/>
                    </a:path>
                  </a:pathLst>
                </a:custGeom>
                <a:solidFill>
                  <a:schemeClr val="bg1">
                    <a:lumMod val="75000"/>
                  </a:schemeClr>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71" name="Freeform 60" descr="© INSCALE GmbH, 26.05.2010&#10;http://www.presentationload.com/"/>
                <p:cNvSpPr>
                  <a:spLocks/>
                </p:cNvSpPr>
                <p:nvPr/>
              </p:nvSpPr>
              <p:spPr bwMode="gray">
                <a:xfrm>
                  <a:off x="4737364" y="2496244"/>
                  <a:ext cx="571485" cy="114769"/>
                </a:xfrm>
                <a:custGeom>
                  <a:avLst/>
                  <a:gdLst>
                    <a:gd name="T0" fmla="*/ 70 w 970"/>
                    <a:gd name="T1" fmla="*/ 0 h 140"/>
                    <a:gd name="T2" fmla="*/ 0 w 970"/>
                    <a:gd name="T3" fmla="*/ 70 h 140"/>
                    <a:gd name="T4" fmla="*/ 70 w 970"/>
                    <a:gd name="T5" fmla="*/ 140 h 140"/>
                    <a:gd name="T6" fmla="*/ 900 w 970"/>
                    <a:gd name="T7" fmla="*/ 140 h 140"/>
                    <a:gd name="T8" fmla="*/ 970 w 970"/>
                    <a:gd name="T9" fmla="*/ 70 h 140"/>
                    <a:gd name="T10" fmla="*/ 900 w 970"/>
                    <a:gd name="T11" fmla="*/ 0 h 140"/>
                    <a:gd name="T12" fmla="*/ 70 w 970"/>
                    <a:gd name="T13" fmla="*/ 0 h 140"/>
                    <a:gd name="T14" fmla="*/ 0 60000 65536"/>
                    <a:gd name="T15" fmla="*/ 0 60000 65536"/>
                    <a:gd name="T16" fmla="*/ 0 60000 65536"/>
                    <a:gd name="T17" fmla="*/ 0 60000 65536"/>
                    <a:gd name="T18" fmla="*/ 0 60000 65536"/>
                    <a:gd name="T19" fmla="*/ 0 60000 65536"/>
                    <a:gd name="T20" fmla="*/ 0 60000 65536"/>
                    <a:gd name="T21" fmla="*/ 0 w 970"/>
                    <a:gd name="T22" fmla="*/ 0 h 140"/>
                    <a:gd name="T23" fmla="*/ 970 w 970"/>
                    <a:gd name="T24" fmla="*/ 140 h 1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0" h="140">
                      <a:moveTo>
                        <a:pt x="70" y="0"/>
                      </a:moveTo>
                      <a:cubicBezTo>
                        <a:pt x="31" y="0"/>
                        <a:pt x="0" y="31"/>
                        <a:pt x="0" y="70"/>
                      </a:cubicBezTo>
                      <a:cubicBezTo>
                        <a:pt x="0" y="109"/>
                        <a:pt x="31" y="140"/>
                        <a:pt x="70" y="140"/>
                      </a:cubicBezTo>
                      <a:cubicBezTo>
                        <a:pt x="900" y="140"/>
                        <a:pt x="900" y="140"/>
                        <a:pt x="900" y="140"/>
                      </a:cubicBezTo>
                      <a:cubicBezTo>
                        <a:pt x="939" y="140"/>
                        <a:pt x="970" y="109"/>
                        <a:pt x="970" y="70"/>
                      </a:cubicBezTo>
                      <a:cubicBezTo>
                        <a:pt x="970" y="31"/>
                        <a:pt x="939" y="0"/>
                        <a:pt x="900" y="0"/>
                      </a:cubicBezTo>
                      <a:lnTo>
                        <a:pt x="70" y="0"/>
                      </a:lnTo>
                      <a:close/>
                    </a:path>
                  </a:pathLst>
                </a:custGeom>
                <a:solidFill>
                  <a:schemeClr val="bg1"/>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72" name="Freeform 39" descr="© INSCALE GmbH, 26.05.2010&#10;http://www.presentationload.com/"/>
                <p:cNvSpPr>
                  <a:spLocks/>
                </p:cNvSpPr>
                <p:nvPr/>
              </p:nvSpPr>
              <p:spPr bwMode="gray">
                <a:xfrm>
                  <a:off x="3230888" y="2496607"/>
                  <a:ext cx="340030" cy="114406"/>
                </a:xfrm>
                <a:custGeom>
                  <a:avLst/>
                  <a:gdLst>
                    <a:gd name="T0" fmla="*/ 70 w 970"/>
                    <a:gd name="T1" fmla="*/ 0 h 140"/>
                    <a:gd name="T2" fmla="*/ 0 w 970"/>
                    <a:gd name="T3" fmla="*/ 70 h 140"/>
                    <a:gd name="T4" fmla="*/ 70 w 970"/>
                    <a:gd name="T5" fmla="*/ 140 h 140"/>
                    <a:gd name="T6" fmla="*/ 900 w 970"/>
                    <a:gd name="T7" fmla="*/ 140 h 140"/>
                    <a:gd name="T8" fmla="*/ 970 w 970"/>
                    <a:gd name="T9" fmla="*/ 70 h 140"/>
                    <a:gd name="T10" fmla="*/ 900 w 970"/>
                    <a:gd name="T11" fmla="*/ 0 h 140"/>
                    <a:gd name="T12" fmla="*/ 70 w 970"/>
                    <a:gd name="T13" fmla="*/ 0 h 140"/>
                    <a:gd name="T14" fmla="*/ 0 60000 65536"/>
                    <a:gd name="T15" fmla="*/ 0 60000 65536"/>
                    <a:gd name="T16" fmla="*/ 0 60000 65536"/>
                    <a:gd name="T17" fmla="*/ 0 60000 65536"/>
                    <a:gd name="T18" fmla="*/ 0 60000 65536"/>
                    <a:gd name="T19" fmla="*/ 0 60000 65536"/>
                    <a:gd name="T20" fmla="*/ 0 60000 65536"/>
                    <a:gd name="T21" fmla="*/ 0 w 970"/>
                    <a:gd name="T22" fmla="*/ 0 h 140"/>
                    <a:gd name="T23" fmla="*/ 970 w 970"/>
                    <a:gd name="T24" fmla="*/ 140 h 1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0" h="140">
                      <a:moveTo>
                        <a:pt x="70" y="0"/>
                      </a:moveTo>
                      <a:cubicBezTo>
                        <a:pt x="31" y="0"/>
                        <a:pt x="0" y="31"/>
                        <a:pt x="0" y="70"/>
                      </a:cubicBezTo>
                      <a:cubicBezTo>
                        <a:pt x="0" y="109"/>
                        <a:pt x="31" y="140"/>
                        <a:pt x="70" y="140"/>
                      </a:cubicBezTo>
                      <a:cubicBezTo>
                        <a:pt x="900" y="140"/>
                        <a:pt x="900" y="140"/>
                        <a:pt x="900" y="140"/>
                      </a:cubicBezTo>
                      <a:cubicBezTo>
                        <a:pt x="939" y="140"/>
                        <a:pt x="970" y="109"/>
                        <a:pt x="970" y="70"/>
                      </a:cubicBezTo>
                      <a:cubicBezTo>
                        <a:pt x="970" y="31"/>
                        <a:pt x="939" y="0"/>
                        <a:pt x="900" y="0"/>
                      </a:cubicBezTo>
                      <a:lnTo>
                        <a:pt x="70" y="0"/>
                      </a:lnTo>
                      <a:close/>
                    </a:path>
                  </a:pathLst>
                </a:custGeom>
                <a:solidFill>
                  <a:schemeClr val="bg1"/>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sp>
              <p:nvSpPr>
                <p:cNvPr id="73" name="Freeform 60" descr="© INSCALE GmbH, 26.05.2010&#10;http://www.presentationload.com/"/>
                <p:cNvSpPr>
                  <a:spLocks/>
                </p:cNvSpPr>
                <p:nvPr/>
              </p:nvSpPr>
              <p:spPr bwMode="gray">
                <a:xfrm>
                  <a:off x="5624871" y="2496244"/>
                  <a:ext cx="571485" cy="114769"/>
                </a:xfrm>
                <a:custGeom>
                  <a:avLst/>
                  <a:gdLst>
                    <a:gd name="T0" fmla="*/ 70 w 970"/>
                    <a:gd name="T1" fmla="*/ 0 h 140"/>
                    <a:gd name="T2" fmla="*/ 0 w 970"/>
                    <a:gd name="T3" fmla="*/ 70 h 140"/>
                    <a:gd name="T4" fmla="*/ 70 w 970"/>
                    <a:gd name="T5" fmla="*/ 140 h 140"/>
                    <a:gd name="T6" fmla="*/ 900 w 970"/>
                    <a:gd name="T7" fmla="*/ 140 h 140"/>
                    <a:gd name="T8" fmla="*/ 970 w 970"/>
                    <a:gd name="T9" fmla="*/ 70 h 140"/>
                    <a:gd name="T10" fmla="*/ 900 w 970"/>
                    <a:gd name="T11" fmla="*/ 0 h 140"/>
                    <a:gd name="T12" fmla="*/ 70 w 970"/>
                    <a:gd name="T13" fmla="*/ 0 h 140"/>
                    <a:gd name="T14" fmla="*/ 0 60000 65536"/>
                    <a:gd name="T15" fmla="*/ 0 60000 65536"/>
                    <a:gd name="T16" fmla="*/ 0 60000 65536"/>
                    <a:gd name="T17" fmla="*/ 0 60000 65536"/>
                    <a:gd name="T18" fmla="*/ 0 60000 65536"/>
                    <a:gd name="T19" fmla="*/ 0 60000 65536"/>
                    <a:gd name="T20" fmla="*/ 0 60000 65536"/>
                    <a:gd name="T21" fmla="*/ 0 w 970"/>
                    <a:gd name="T22" fmla="*/ 0 h 140"/>
                    <a:gd name="T23" fmla="*/ 970 w 970"/>
                    <a:gd name="T24" fmla="*/ 140 h 1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0" h="140">
                      <a:moveTo>
                        <a:pt x="70" y="0"/>
                      </a:moveTo>
                      <a:cubicBezTo>
                        <a:pt x="31" y="0"/>
                        <a:pt x="0" y="31"/>
                        <a:pt x="0" y="70"/>
                      </a:cubicBezTo>
                      <a:cubicBezTo>
                        <a:pt x="0" y="109"/>
                        <a:pt x="31" y="140"/>
                        <a:pt x="70" y="140"/>
                      </a:cubicBezTo>
                      <a:cubicBezTo>
                        <a:pt x="900" y="140"/>
                        <a:pt x="900" y="140"/>
                        <a:pt x="900" y="140"/>
                      </a:cubicBezTo>
                      <a:cubicBezTo>
                        <a:pt x="939" y="140"/>
                        <a:pt x="970" y="109"/>
                        <a:pt x="970" y="70"/>
                      </a:cubicBezTo>
                      <a:cubicBezTo>
                        <a:pt x="970" y="31"/>
                        <a:pt x="939" y="0"/>
                        <a:pt x="900" y="0"/>
                      </a:cubicBezTo>
                      <a:lnTo>
                        <a:pt x="70" y="0"/>
                      </a:lnTo>
                      <a:close/>
                    </a:path>
                  </a:pathLst>
                </a:custGeom>
                <a:solidFill>
                  <a:schemeClr val="bg1"/>
                </a:solidFill>
                <a:ln w="9525">
                  <a:noFill/>
                  <a:round/>
                  <a:headEnd/>
                  <a:tailEnd/>
                </a:ln>
                <a:effectLst/>
              </p:spPr>
              <p:txBody>
                <a:bodyPr/>
                <a:lstStyle/>
                <a:p>
                  <a:endParaRPr lang="en-US" b="1" noProof="1">
                    <a:solidFill>
                      <a:srgbClr val="FFFFFF"/>
                    </a:solidFill>
                    <a:latin typeface="EYInterstate" panose="02000503020000020004" pitchFamily="2" charset="0"/>
                  </a:endParaRPr>
                </a:p>
              </p:txBody>
            </p:sp>
          </p:grpSp>
        </p:grpSp>
      </p:grpSp>
      <p:sp>
        <p:nvSpPr>
          <p:cNvPr id="80" name="Rectangle 79"/>
          <p:cNvSpPr/>
          <p:nvPr/>
        </p:nvSpPr>
        <p:spPr>
          <a:xfrm>
            <a:off x="1604139" y="6347614"/>
            <a:ext cx="9270049" cy="340061"/>
          </a:xfrm>
          <a:prstGeom prst="rect">
            <a:avLst/>
          </a:prstGeom>
          <a:noFill/>
          <a:ln w="25400" cap="flat" cmpd="sng" algn="ctr">
            <a:noFill/>
            <a:prstDash val="solid"/>
          </a:ln>
          <a:effectLst/>
        </p:spPr>
        <p:txBody>
          <a:bodyPr tIns="72000" rtlCol="0" anchor="t" anchorCtr="0"/>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dirty="0">
                <a:ln>
                  <a:noFill/>
                </a:ln>
                <a:effectLst/>
                <a:uLnTx/>
                <a:uFillTx/>
                <a:ea typeface="+mn-ea"/>
                <a:cs typeface="+mn-cs"/>
              </a:rPr>
              <a:t>*</a:t>
            </a:r>
            <a:r>
              <a:rPr kumimoji="0" lang="it-IT" sz="1200" b="0" i="1" u="none" strike="noStrike" kern="0" cap="none" spc="0" normalizeH="0" noProof="0" dirty="0">
                <a:ln>
                  <a:noFill/>
                </a:ln>
                <a:effectLst/>
                <a:uLnTx/>
                <a:uFillTx/>
                <a:ea typeface="+mn-ea"/>
                <a:cs typeface="+mn-cs"/>
              </a:rPr>
              <a:t> P</a:t>
            </a:r>
            <a:r>
              <a:rPr kumimoji="0" lang="it-IT" sz="1200" b="0" i="1" u="none" strike="noStrike" kern="0" cap="none" spc="0" normalizeH="0" baseline="0" noProof="0" dirty="0">
                <a:ln>
                  <a:noFill/>
                </a:ln>
                <a:effectLst/>
                <a:uLnTx/>
                <a:uFillTx/>
                <a:ea typeface="+mn-ea"/>
                <a:cs typeface="+mn-cs"/>
              </a:rPr>
              <a:t>er ulteriori approfondimenti si rimanda agli atti dell’Osservatorio italiano CNEL sulle politiche in materia di Blockchain</a:t>
            </a:r>
          </a:p>
        </p:txBody>
      </p:sp>
    </p:spTree>
    <p:extLst>
      <p:ext uri="{BB962C8B-B14F-4D97-AF65-F5344CB8AC3E}">
        <p14:creationId xmlns:p14="http://schemas.microsoft.com/office/powerpoint/2010/main" val="3018355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p:cNvGrpSpPr/>
          <p:nvPr/>
        </p:nvGrpSpPr>
        <p:grpSpPr>
          <a:xfrm>
            <a:off x="5303962" y="5377776"/>
            <a:ext cx="6278441" cy="713145"/>
            <a:chOff x="5303962" y="5377776"/>
            <a:chExt cx="6278441" cy="713145"/>
          </a:xfrm>
        </p:grpSpPr>
        <p:grpSp>
          <p:nvGrpSpPr>
            <p:cNvPr id="3" name="Group 2"/>
            <p:cNvGrpSpPr>
              <a:grpSpLocks noChangeAspect="1"/>
            </p:cNvGrpSpPr>
            <p:nvPr/>
          </p:nvGrpSpPr>
          <p:grpSpPr>
            <a:xfrm>
              <a:off x="5303962" y="5377776"/>
              <a:ext cx="612845" cy="713145"/>
              <a:chOff x="5574623" y="5341110"/>
              <a:chExt cx="815696" cy="949195"/>
            </a:xfrm>
          </p:grpSpPr>
          <p:pic>
            <p:nvPicPr>
              <p:cNvPr id="29" name="Picture 12" descr="Risultati immagini per ministero lavoro">
                <a:extLst>
                  <a:ext uri="{FF2B5EF4-FFF2-40B4-BE49-F238E27FC236}">
                    <a16:creationId xmlns:a16="http://schemas.microsoft.com/office/drawing/2014/main" xmlns="" id="{506789D8-B83B-134E-B18C-80FF085A109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643" b="13418"/>
              <a:stretch/>
            </p:blipFill>
            <p:spPr bwMode="auto">
              <a:xfrm>
                <a:off x="5592733" y="5777060"/>
                <a:ext cx="779477" cy="513245"/>
              </a:xfrm>
              <a:prstGeom prst="rect">
                <a:avLst/>
              </a:prstGeom>
              <a:noFill/>
              <a:extLst>
                <a:ext uri="{909E8E84-426E-40DD-AFC4-6F175D3DCCD1}">
                  <a14:hiddenFill xmlns:a14="http://schemas.microsoft.com/office/drawing/2010/main">
                    <a:solidFill>
                      <a:srgbClr val="FFFFFF"/>
                    </a:solidFill>
                  </a14:hiddenFill>
                </a:ext>
              </a:extLst>
            </p:spPr>
          </p:pic>
          <p:pic>
            <p:nvPicPr>
              <p:cNvPr id="38" name="Immagine 30">
                <a:extLst>
                  <a:ext uri="{FF2B5EF4-FFF2-40B4-BE49-F238E27FC236}">
                    <a16:creationId xmlns:a16="http://schemas.microsoft.com/office/drawing/2014/main" xmlns="" id="{D4D658CF-48DA-45C7-81FB-1B02B010D605}"/>
                  </a:ext>
                </a:extLst>
              </p:cNvPr>
              <p:cNvPicPr>
                <a:picLocks noChangeAspect="1"/>
              </p:cNvPicPr>
              <p:nvPr/>
            </p:nvPicPr>
            <p:blipFill>
              <a:blip r:embed="rId3">
                <a:clrChange>
                  <a:clrFrom>
                    <a:srgbClr val="FBF5F5"/>
                  </a:clrFrom>
                  <a:clrTo>
                    <a:srgbClr val="FBF5F5">
                      <a:alpha val="0"/>
                    </a:srgbClr>
                  </a:clrTo>
                </a:clrChange>
              </a:blip>
              <a:stretch>
                <a:fillRect/>
              </a:stretch>
            </p:blipFill>
            <p:spPr>
              <a:xfrm>
                <a:off x="5574623" y="5341110"/>
                <a:ext cx="815696" cy="412572"/>
              </a:xfrm>
              <a:prstGeom prst="rect">
                <a:avLst/>
              </a:prstGeom>
            </p:spPr>
          </p:pic>
        </p:grpSp>
        <p:sp>
          <p:nvSpPr>
            <p:cNvPr id="39" name="TextBox 38">
              <a:extLst>
                <a:ext uri="{FF2B5EF4-FFF2-40B4-BE49-F238E27FC236}">
                  <a16:creationId xmlns:a16="http://schemas.microsoft.com/office/drawing/2014/main" xmlns="" id="{1441A551-79BF-4C15-98FA-160CC9AE75A6}"/>
                </a:ext>
              </a:extLst>
            </p:cNvPr>
            <p:cNvSpPr txBox="1"/>
            <p:nvPr/>
          </p:nvSpPr>
          <p:spPr>
            <a:xfrm>
              <a:off x="6528049" y="5401959"/>
              <a:ext cx="5054354" cy="664778"/>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b="1" dirty="0">
                  <a:latin typeface="Calibri" panose="020F0502020204030204" pitchFamily="34" charset="0"/>
                  <a:cs typeface="Calibri" panose="020F0502020204030204" pitchFamily="34" charset="0"/>
                </a:rPr>
                <a:t>MLPS ed ANPAL censiscono i </a:t>
              </a:r>
              <a:r>
                <a:rPr lang="it-IT" sz="1600" b="1" dirty="0" err="1">
                  <a:latin typeface="Calibri" panose="020F0502020204030204" pitchFamily="34" charset="0"/>
                  <a:cs typeface="Calibri" panose="020F0502020204030204" pitchFamily="34" charset="0"/>
                </a:rPr>
                <a:t>Gig</a:t>
              </a:r>
              <a:r>
                <a:rPr lang="it-IT" sz="1600" b="1" dirty="0">
                  <a:latin typeface="Calibri" panose="020F0502020204030204" pitchFamily="34" charset="0"/>
                  <a:cs typeface="Calibri" panose="020F0502020204030204" pitchFamily="34" charset="0"/>
                </a:rPr>
                <a:t> </a:t>
              </a:r>
              <a:r>
                <a:rPr lang="it-IT" sz="1600" b="1" dirty="0" err="1">
                  <a:latin typeface="Calibri" panose="020F0502020204030204" pitchFamily="34" charset="0"/>
                  <a:cs typeface="Calibri" panose="020F0502020204030204" pitchFamily="34" charset="0"/>
                </a:rPr>
                <a:t>worker</a:t>
              </a:r>
              <a:r>
                <a:rPr lang="it-IT" sz="1600" b="1" dirty="0">
                  <a:latin typeface="Calibri" panose="020F0502020204030204" pitchFamily="34" charset="0"/>
                  <a:cs typeface="Calibri" panose="020F0502020204030204" pitchFamily="34" charset="0"/>
                </a:rPr>
                <a:t> </a:t>
              </a:r>
              <a:r>
                <a:rPr lang="it-IT" sz="1600" dirty="0">
                  <a:latin typeface="Calibri" panose="020F0502020204030204" pitchFamily="34" charset="0"/>
                  <a:cs typeface="Calibri" panose="020F0502020204030204" pitchFamily="34" charset="0"/>
                </a:rPr>
                <a:t>(che rappresentano ad oggi una popolazione invisibile) nell’ottica di un potenziale coinvolgimento nelle politiche attive.</a:t>
              </a:r>
            </a:p>
          </p:txBody>
        </p:sp>
      </p:grpSp>
      <p:grpSp>
        <p:nvGrpSpPr>
          <p:cNvPr id="36" name="Group 35"/>
          <p:cNvGrpSpPr/>
          <p:nvPr/>
        </p:nvGrpSpPr>
        <p:grpSpPr>
          <a:xfrm>
            <a:off x="5010958" y="3519088"/>
            <a:ext cx="6571443" cy="664778"/>
            <a:chOff x="5010958" y="3633258"/>
            <a:chExt cx="6571443" cy="664778"/>
          </a:xfrm>
        </p:grpSpPr>
        <p:pic>
          <p:nvPicPr>
            <p:cNvPr id="44" name="Picture 10" descr="Immagine correlata">
              <a:extLst>
                <a:ext uri="{FF2B5EF4-FFF2-40B4-BE49-F238E27FC236}">
                  <a16:creationId xmlns:a16="http://schemas.microsoft.com/office/drawing/2014/main" xmlns="" id="{50380B71-AEB6-4D5E-871A-4A2E5930728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2427" b="32603"/>
            <a:stretch/>
          </p:blipFill>
          <p:spPr bwMode="auto">
            <a:xfrm>
              <a:off x="5010958" y="3750128"/>
              <a:ext cx="1198853" cy="431039"/>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xmlns="" id="{1B448A6C-5CA0-4C90-9BE0-7C1B59F12064}"/>
                </a:ext>
              </a:extLst>
            </p:cNvPr>
            <p:cNvSpPr txBox="1"/>
            <p:nvPr/>
          </p:nvSpPr>
          <p:spPr>
            <a:xfrm>
              <a:off x="6528048" y="3633258"/>
              <a:ext cx="5054353" cy="664778"/>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b="1" dirty="0">
                  <a:latin typeface="Calibri" panose="020F0502020204030204" pitchFamily="34" charset="0"/>
                  <a:cs typeface="Calibri" panose="020F0502020204030204" pitchFamily="34" charset="0"/>
                </a:rPr>
                <a:t>INAIL riceve </a:t>
              </a:r>
              <a:r>
                <a:rPr lang="it-IT" sz="1600" dirty="0">
                  <a:latin typeface="Calibri" panose="020F0502020204030204" pitchFamily="34" charset="0"/>
                  <a:cs typeface="Calibri" panose="020F0502020204030204" pitchFamily="34" charset="0"/>
                </a:rPr>
                <a:t>dalla OLM o dal datore di lavoro stagionale i </a:t>
              </a:r>
              <a:r>
                <a:rPr lang="it-IT" sz="1600" b="1" dirty="0">
                  <a:latin typeface="Calibri" panose="020F0502020204030204" pitchFamily="34" charset="0"/>
                  <a:cs typeface="Calibri" panose="020F0502020204030204" pitchFamily="34" charset="0"/>
                </a:rPr>
                <a:t>premi assicurativi relativi </a:t>
              </a:r>
              <a:r>
                <a:rPr lang="it-IT" sz="1600" dirty="0">
                  <a:latin typeface="Calibri" panose="020F0502020204030204" pitchFamily="34" charset="0"/>
                  <a:cs typeface="Calibri" panose="020F0502020204030204" pitchFamily="34" charset="0"/>
                </a:rPr>
                <a:t>alla prestazione lavorativa erogata dal lavoratore ed eroga la prestazione in caso di infortunio.</a:t>
              </a:r>
            </a:p>
          </p:txBody>
        </p:sp>
      </p:grpSp>
      <p:sp>
        <p:nvSpPr>
          <p:cNvPr id="37" name="TextBox 36">
            <a:extLst>
              <a:ext uri="{FF2B5EF4-FFF2-40B4-BE49-F238E27FC236}">
                <a16:creationId xmlns:a16="http://schemas.microsoft.com/office/drawing/2014/main" xmlns="" id="{7F60010B-6798-46DB-BF01-8F25F0B6DCD0}"/>
              </a:ext>
            </a:extLst>
          </p:cNvPr>
          <p:cNvSpPr txBox="1"/>
          <p:nvPr/>
        </p:nvSpPr>
        <p:spPr>
          <a:xfrm>
            <a:off x="6528046" y="1841181"/>
            <a:ext cx="5054354" cy="666574"/>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dirty="0">
                <a:latin typeface="Calibri" panose="020F0502020204030204" pitchFamily="34" charset="0"/>
                <a:cs typeface="Calibri" panose="020F0502020204030204" pitchFamily="34" charset="0"/>
              </a:rPr>
              <a:t>Le </a:t>
            </a:r>
            <a:r>
              <a:rPr lang="it-IT" sz="1600" b="1" dirty="0">
                <a:latin typeface="Calibri" panose="020F0502020204030204" pitchFamily="34" charset="0"/>
                <a:cs typeface="Calibri" panose="020F0502020204030204" pitchFamily="34" charset="0"/>
              </a:rPr>
              <a:t>OLM</a:t>
            </a:r>
            <a:r>
              <a:rPr lang="it-IT" sz="1600" dirty="0">
                <a:latin typeface="Calibri" panose="020F0502020204030204" pitchFamily="34" charset="0"/>
                <a:cs typeface="Calibri" panose="020F0502020204030204" pitchFamily="34" charset="0"/>
              </a:rPr>
              <a:t> possono essere dirette o di intermediazione e remunerano i </a:t>
            </a:r>
            <a:r>
              <a:rPr lang="it-IT" sz="1600" dirty="0" err="1">
                <a:latin typeface="Calibri" panose="020F0502020204030204" pitchFamily="34" charset="0"/>
                <a:cs typeface="Calibri" panose="020F0502020204030204" pitchFamily="34" charset="0"/>
              </a:rPr>
              <a:t>Gig</a:t>
            </a:r>
            <a:r>
              <a:rPr lang="it-IT" sz="1600" dirty="0">
                <a:latin typeface="Calibri" panose="020F0502020204030204" pitchFamily="34" charset="0"/>
                <a:cs typeface="Calibri" panose="020F0502020204030204" pitchFamily="34" charset="0"/>
              </a:rPr>
              <a:t> </a:t>
            </a:r>
            <a:r>
              <a:rPr lang="it-IT" sz="1600" dirty="0" err="1">
                <a:latin typeface="Calibri" panose="020F0502020204030204" pitchFamily="34" charset="0"/>
                <a:cs typeface="Calibri" panose="020F0502020204030204" pitchFamily="34" charset="0"/>
              </a:rPr>
              <a:t>worker</a:t>
            </a:r>
            <a:r>
              <a:rPr lang="it-IT" sz="1600" dirty="0">
                <a:latin typeface="Calibri" panose="020F0502020204030204" pitchFamily="34" charset="0"/>
                <a:cs typeface="Calibri" panose="020F0502020204030204" pitchFamily="34" charset="0"/>
              </a:rPr>
              <a:t> in modalità differenti (a tempo, per task ecc.) </a:t>
            </a:r>
          </a:p>
        </p:txBody>
      </p:sp>
      <p:sp>
        <p:nvSpPr>
          <p:cNvPr id="32"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latin typeface="Calibri" panose="020F0502020204030204" pitchFamily="34" charset="0"/>
              </a:rPr>
              <a:t>Use case</a:t>
            </a:r>
          </a:p>
          <a:p>
            <a:pPr algn="just" eaLnBrk="0" hangingPunct="0">
              <a:buClr>
                <a:srgbClr val="FFD200"/>
              </a:buClr>
              <a:buSzPct val="75000"/>
              <a:defRPr/>
            </a:pPr>
            <a:r>
              <a:rPr lang="it-IT" sz="2400" i="1" kern="0" dirty="0">
                <a:latin typeface="Calibri" panose="020F0502020204030204" pitchFamily="34" charset="0"/>
              </a:rPr>
              <a:t>Scenario d’uso per i </a:t>
            </a:r>
            <a:r>
              <a:rPr lang="it-IT" sz="2400" i="1" kern="0" dirty="0" err="1">
                <a:latin typeface="Calibri" panose="020F0502020204030204" pitchFamily="34" charset="0"/>
              </a:rPr>
              <a:t>Gig</a:t>
            </a:r>
            <a:r>
              <a:rPr lang="it-IT" sz="2400" i="1" kern="0" dirty="0">
                <a:latin typeface="Calibri" panose="020F0502020204030204" pitchFamily="34" charset="0"/>
              </a:rPr>
              <a:t> </a:t>
            </a:r>
            <a:r>
              <a:rPr lang="it-IT" sz="2400" i="1" kern="0" dirty="0" err="1">
                <a:latin typeface="Calibri" panose="020F0502020204030204" pitchFamily="34" charset="0"/>
              </a:rPr>
              <a:t>worker</a:t>
            </a:r>
            <a:endParaRPr lang="it-IT" sz="2400" i="1" kern="0" dirty="0">
              <a:latin typeface="Calibri" panose="020F0502020204030204" pitchFamily="34" charset="0"/>
            </a:endParaRPr>
          </a:p>
        </p:txBody>
      </p:sp>
      <p:grpSp>
        <p:nvGrpSpPr>
          <p:cNvPr id="68" name="Group 67"/>
          <p:cNvGrpSpPr/>
          <p:nvPr/>
        </p:nvGrpSpPr>
        <p:grpSpPr>
          <a:xfrm>
            <a:off x="5024805" y="990667"/>
            <a:ext cx="6557596" cy="664778"/>
            <a:chOff x="5024805" y="990667"/>
            <a:chExt cx="6557596" cy="664778"/>
          </a:xfrm>
        </p:grpSpPr>
        <p:sp>
          <p:nvSpPr>
            <p:cNvPr id="2" name="TextBox 1">
              <a:extLst>
                <a:ext uri="{FF2B5EF4-FFF2-40B4-BE49-F238E27FC236}">
                  <a16:creationId xmlns:a16="http://schemas.microsoft.com/office/drawing/2014/main" xmlns="" id="{42F81C1B-D76D-432A-B22B-C8725B53C8FC}"/>
                </a:ext>
              </a:extLst>
            </p:cNvPr>
            <p:cNvSpPr txBox="1"/>
            <p:nvPr/>
          </p:nvSpPr>
          <p:spPr>
            <a:xfrm>
              <a:off x="6528047" y="990667"/>
              <a:ext cx="5054354" cy="664778"/>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dirty="0">
                  <a:latin typeface="Calibri" panose="020F0502020204030204" pitchFamily="34" charset="0"/>
                  <a:cs typeface="Calibri" panose="020F0502020204030204" pitchFamily="34" charset="0"/>
                </a:rPr>
                <a:t>I </a:t>
              </a:r>
              <a:r>
                <a:rPr lang="it-IT" sz="1600" dirty="0" err="1">
                  <a:latin typeface="Calibri" panose="020F0502020204030204" pitchFamily="34" charset="0"/>
                  <a:cs typeface="Calibri" panose="020F0502020204030204" pitchFamily="34" charset="0"/>
                </a:rPr>
                <a:t>Gig</a:t>
              </a:r>
              <a:r>
                <a:rPr lang="it-IT" sz="1600" dirty="0">
                  <a:latin typeface="Calibri" panose="020F0502020204030204" pitchFamily="34" charset="0"/>
                  <a:cs typeface="Calibri" panose="020F0502020204030204" pitchFamily="34" charset="0"/>
                </a:rPr>
                <a:t> </a:t>
              </a:r>
              <a:r>
                <a:rPr lang="it-IT" sz="1600" dirty="0" err="1">
                  <a:latin typeface="Calibri" panose="020F0502020204030204" pitchFamily="34" charset="0"/>
                  <a:cs typeface="Calibri" panose="020F0502020204030204" pitchFamily="34" charset="0"/>
                </a:rPr>
                <a:t>worker</a:t>
              </a:r>
              <a:r>
                <a:rPr lang="it-IT" sz="1600" dirty="0">
                  <a:latin typeface="Calibri" panose="020F0502020204030204" pitchFamily="34" charset="0"/>
                  <a:cs typeface="Calibri" panose="020F0502020204030204" pitchFamily="34" charset="0"/>
                </a:rPr>
                <a:t> possono essere </a:t>
              </a:r>
              <a:r>
                <a:rPr lang="it-IT" sz="1600" b="1" dirty="0">
                  <a:latin typeface="Calibri" panose="020F0502020204030204" pitchFamily="34" charset="0"/>
                  <a:cs typeface="Calibri" panose="020F0502020204030204" pitchFamily="34" charset="0"/>
                </a:rPr>
                <a:t>Crowd worker</a:t>
              </a:r>
              <a:r>
                <a:rPr lang="it-IT" sz="1600" dirty="0">
                  <a:latin typeface="Calibri" panose="020F0502020204030204" pitchFamily="34" charset="0"/>
                  <a:cs typeface="Calibri" panose="020F0502020204030204" pitchFamily="34" charset="0"/>
                </a:rPr>
                <a:t>, </a:t>
              </a:r>
              <a:r>
                <a:rPr lang="it-IT" sz="1600" b="1" dirty="0">
                  <a:latin typeface="Calibri" panose="020F0502020204030204" pitchFamily="34" charset="0"/>
                  <a:cs typeface="Calibri" panose="020F0502020204030204" pitchFamily="34" charset="0"/>
                </a:rPr>
                <a:t>Rider</a:t>
              </a:r>
              <a:r>
                <a:rPr lang="it-IT" sz="1600" dirty="0">
                  <a:latin typeface="Calibri" panose="020F0502020204030204" pitchFamily="34" charset="0"/>
                  <a:cs typeface="Calibri" panose="020F0502020204030204" pitchFamily="34" charset="0"/>
                </a:rPr>
                <a:t>, </a:t>
              </a:r>
              <a:r>
                <a:rPr lang="it-IT" sz="1600" b="1" dirty="0">
                  <a:latin typeface="Calibri" panose="020F0502020204030204" pitchFamily="34" charset="0"/>
                  <a:cs typeface="Calibri" panose="020F0502020204030204" pitchFamily="34" charset="0"/>
                </a:rPr>
                <a:t>Asset Worker</a:t>
              </a:r>
              <a:r>
                <a:rPr lang="it-IT" sz="1600" dirty="0">
                  <a:latin typeface="Calibri" panose="020F0502020204030204" pitchFamily="34" charset="0"/>
                  <a:cs typeface="Calibri" panose="020F0502020204030204" pitchFamily="34" charset="0"/>
                </a:rPr>
                <a:t> che lavorano per le </a:t>
              </a:r>
              <a:r>
                <a:rPr lang="it-IT" sz="1600" b="1" dirty="0">
                  <a:latin typeface="Calibri" panose="020F0502020204030204" pitchFamily="34" charset="0"/>
                  <a:cs typeface="Calibri" panose="020F0502020204030204" pitchFamily="34" charset="0"/>
                </a:rPr>
                <a:t>Online Labor Platform (OLM)</a:t>
              </a:r>
              <a:r>
                <a:rPr lang="it-IT" sz="1600" dirty="0">
                  <a:latin typeface="Calibri" panose="020F0502020204030204" pitchFamily="34" charset="0"/>
                  <a:cs typeface="Calibri" panose="020F0502020204030204" pitchFamily="34" charset="0"/>
                </a:rPr>
                <a:t>, ma anche agricoltori e, più in generale, lavoratori stagionali.</a:t>
              </a:r>
            </a:p>
          </p:txBody>
        </p:sp>
        <p:grpSp>
          <p:nvGrpSpPr>
            <p:cNvPr id="12" name="Group 11"/>
            <p:cNvGrpSpPr>
              <a:grpSpLocks noChangeAspect="1"/>
            </p:cNvGrpSpPr>
            <p:nvPr/>
          </p:nvGrpSpPr>
          <p:grpSpPr>
            <a:xfrm>
              <a:off x="5024805" y="1104803"/>
              <a:ext cx="1171158" cy="436507"/>
              <a:chOff x="6759083" y="178786"/>
              <a:chExt cx="1558811" cy="580991"/>
            </a:xfrm>
          </p:grpSpPr>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9083" y="178786"/>
                <a:ext cx="580991" cy="580991"/>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44519" y="206865"/>
                <a:ext cx="524833" cy="524832"/>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72375" y="196522"/>
                <a:ext cx="545519" cy="545519"/>
              </a:xfrm>
              <a:prstGeom prst="rect">
                <a:avLst/>
              </a:prstGeom>
            </p:spPr>
          </p:pic>
        </p:grpSp>
      </p:grpSp>
      <p:grpSp>
        <p:nvGrpSpPr>
          <p:cNvPr id="35" name="Group 34"/>
          <p:cNvGrpSpPr/>
          <p:nvPr/>
        </p:nvGrpSpPr>
        <p:grpSpPr>
          <a:xfrm>
            <a:off x="5247976" y="4342889"/>
            <a:ext cx="6334426" cy="800339"/>
            <a:chOff x="5247976" y="4493557"/>
            <a:chExt cx="6334426" cy="800339"/>
          </a:xfrm>
        </p:grpSpPr>
        <p:sp>
          <p:nvSpPr>
            <p:cNvPr id="41" name="TextBox 40">
              <a:extLst>
                <a:ext uri="{FF2B5EF4-FFF2-40B4-BE49-F238E27FC236}">
                  <a16:creationId xmlns:a16="http://schemas.microsoft.com/office/drawing/2014/main" xmlns="" id="{43FF1D05-F34C-4133-96D4-9CB1AB91EE48}"/>
                </a:ext>
              </a:extLst>
            </p:cNvPr>
            <p:cNvSpPr txBox="1"/>
            <p:nvPr/>
          </p:nvSpPr>
          <p:spPr>
            <a:xfrm>
              <a:off x="6528048" y="4493557"/>
              <a:ext cx="5054354" cy="664778"/>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dirty="0">
                  <a:latin typeface="Calibri" panose="020F0502020204030204" pitchFamily="34" charset="0"/>
                  <a:cs typeface="Calibri" panose="020F0502020204030204" pitchFamily="34" charset="0"/>
                </a:rPr>
                <a:t>Gli </a:t>
              </a:r>
              <a:r>
                <a:rPr lang="it-IT" sz="1600" b="1" dirty="0">
                  <a:latin typeface="Calibri" panose="020F0502020204030204" pitchFamily="34" charset="0"/>
                  <a:cs typeface="Calibri" panose="020F0502020204030204" pitchFamily="34" charset="0"/>
                </a:rPr>
                <a:t>Istituti finanziari </a:t>
              </a:r>
              <a:r>
                <a:rPr lang="it-IT" sz="1600" dirty="0">
                  <a:latin typeface="Calibri" panose="020F0502020204030204" pitchFamily="34" charset="0"/>
                  <a:cs typeface="Calibri" panose="020F0502020204030204" pitchFamily="34" charset="0"/>
                </a:rPr>
                <a:t>(tradizionali e non) </a:t>
              </a:r>
              <a:r>
                <a:rPr lang="it-IT" sz="1600" b="1" dirty="0">
                  <a:latin typeface="Calibri" panose="020F0502020204030204" pitchFamily="34" charset="0"/>
                  <a:cs typeface="Calibri" panose="020F0502020204030204" pitchFamily="34" charset="0"/>
                </a:rPr>
                <a:t>gestiscono i flussi di pagamento </a:t>
              </a:r>
              <a:r>
                <a:rPr lang="it-IT" sz="1600" dirty="0">
                  <a:latin typeface="Calibri" panose="020F0502020204030204" pitchFamily="34" charset="0"/>
                  <a:cs typeface="Calibri" panose="020F0502020204030204" pitchFamily="34" charset="0"/>
                </a:rPr>
                <a:t>da e verso i lavoratori, da e verso il Welfare (INPS per gli aspetti contributivi ed INAIL per quelli assicurativi). </a:t>
              </a:r>
            </a:p>
          </p:txBody>
        </p:sp>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47976" y="4569080"/>
              <a:ext cx="724816" cy="724816"/>
            </a:xfrm>
            <a:prstGeom prst="rect">
              <a:avLst/>
            </a:prstGeom>
          </p:spPr>
        </p:pic>
      </p:grpSp>
      <p:grpSp>
        <p:nvGrpSpPr>
          <p:cNvPr id="66" name="Group 65"/>
          <p:cNvGrpSpPr/>
          <p:nvPr/>
        </p:nvGrpSpPr>
        <p:grpSpPr>
          <a:xfrm>
            <a:off x="5369466" y="2693491"/>
            <a:ext cx="6212934" cy="666574"/>
            <a:chOff x="5369466" y="2881548"/>
            <a:chExt cx="6212934" cy="666574"/>
          </a:xfrm>
        </p:grpSpPr>
        <p:sp>
          <p:nvSpPr>
            <p:cNvPr id="43" name="TextBox 42">
              <a:extLst>
                <a:ext uri="{FF2B5EF4-FFF2-40B4-BE49-F238E27FC236}">
                  <a16:creationId xmlns:a16="http://schemas.microsoft.com/office/drawing/2014/main" xmlns="" id="{FA307E68-0569-46D0-A4DE-C9758C565B14}"/>
                </a:ext>
              </a:extLst>
            </p:cNvPr>
            <p:cNvSpPr txBox="1"/>
            <p:nvPr/>
          </p:nvSpPr>
          <p:spPr>
            <a:xfrm>
              <a:off x="6528048" y="2881548"/>
              <a:ext cx="5054352" cy="666574"/>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b="1" dirty="0">
                  <a:latin typeface="Calibri" panose="020F0502020204030204" pitchFamily="34" charset="0"/>
                  <a:cs typeface="Calibri" panose="020F0502020204030204" pitchFamily="34" charset="0"/>
                </a:rPr>
                <a:t>INPS riceve</a:t>
              </a:r>
              <a:r>
                <a:rPr lang="it-IT" sz="1600" dirty="0">
                  <a:latin typeface="Calibri" panose="020F0502020204030204" pitchFamily="34" charset="0"/>
                  <a:cs typeface="Calibri" panose="020F0502020204030204" pitchFamily="34" charset="0"/>
                </a:rPr>
                <a:t> dalla OLM o dal datore di lavoro stagionale i </a:t>
              </a:r>
              <a:r>
                <a:rPr lang="it-IT" sz="1600" b="1" dirty="0">
                  <a:latin typeface="Calibri" panose="020F0502020204030204" pitchFamily="34" charset="0"/>
                  <a:cs typeface="Calibri" panose="020F0502020204030204" pitchFamily="34" charset="0"/>
                </a:rPr>
                <a:t>contributi previdenziali </a:t>
              </a:r>
              <a:r>
                <a:rPr lang="it-IT" sz="1600" dirty="0">
                  <a:latin typeface="Calibri" panose="020F0502020204030204" pitchFamily="34" charset="0"/>
                  <a:cs typeface="Calibri" panose="020F0502020204030204" pitchFamily="34" charset="0"/>
                </a:rPr>
                <a:t>relativi alla prestazione lavorativa erogata dai lavoratori.</a:t>
              </a:r>
            </a:p>
          </p:txBody>
        </p:sp>
        <p:pic>
          <p:nvPicPr>
            <p:cNvPr id="65" name="Picture 2" descr="Risultati immagini per INPS"/>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4748" t="6558" r="15080" b="4905"/>
            <a:stretch/>
          </p:blipFill>
          <p:spPr bwMode="auto">
            <a:xfrm>
              <a:off x="5369466" y="2910862"/>
              <a:ext cx="481837" cy="607946"/>
            </a:xfrm>
            <a:prstGeom prst="rect">
              <a:avLst/>
            </a:prstGeom>
            <a:noFill/>
            <a:extLst>
              <a:ext uri="{909E8E84-426E-40DD-AFC4-6F175D3DCCD1}">
                <a14:hiddenFill xmlns:a14="http://schemas.microsoft.com/office/drawing/2010/main">
                  <a:solidFill>
                    <a:srgbClr val="FFFFFF"/>
                  </a:solidFill>
                </a14:hiddenFill>
              </a:ext>
            </a:extLst>
          </p:spPr>
        </p:pic>
      </p:grpSp>
      <p:pic>
        <p:nvPicPr>
          <p:cNvPr id="69" name="Picture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05295" y="1833292"/>
            <a:ext cx="713026" cy="713026"/>
          </a:xfrm>
          <a:prstGeom prst="rect">
            <a:avLst/>
          </a:prstGeom>
        </p:spPr>
      </p:pic>
      <p:grpSp>
        <p:nvGrpSpPr>
          <p:cNvPr id="78" name="Group 77"/>
          <p:cNvGrpSpPr/>
          <p:nvPr/>
        </p:nvGrpSpPr>
        <p:grpSpPr>
          <a:xfrm>
            <a:off x="717677" y="1747026"/>
            <a:ext cx="4080647" cy="3495683"/>
            <a:chOff x="717677" y="1747026"/>
            <a:chExt cx="4080647" cy="3495683"/>
          </a:xfrm>
        </p:grpSpPr>
        <p:grpSp>
          <p:nvGrpSpPr>
            <p:cNvPr id="20" name="Group 19"/>
            <p:cNvGrpSpPr>
              <a:grpSpLocks noChangeAspect="1"/>
            </p:cNvGrpSpPr>
            <p:nvPr/>
          </p:nvGrpSpPr>
          <p:grpSpPr>
            <a:xfrm>
              <a:off x="837651" y="1747026"/>
              <a:ext cx="3580149" cy="3257748"/>
              <a:chOff x="993342" y="1747026"/>
              <a:chExt cx="2765183" cy="2516177"/>
            </a:xfrm>
          </p:grpSpPr>
          <p:sp>
            <p:nvSpPr>
              <p:cNvPr id="4" name="Ovale 3">
                <a:extLst>
                  <a:ext uri="{FF2B5EF4-FFF2-40B4-BE49-F238E27FC236}">
                    <a16:creationId xmlns:a16="http://schemas.microsoft.com/office/drawing/2014/main" xmlns="" id="{5FF81F9A-B446-4640-90B8-089C63DECFCE}"/>
                  </a:ext>
                </a:extLst>
              </p:cNvPr>
              <p:cNvSpPr/>
              <p:nvPr/>
            </p:nvSpPr>
            <p:spPr>
              <a:xfrm>
                <a:off x="993342" y="1889285"/>
                <a:ext cx="2765183" cy="2373918"/>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lumMod val="50000"/>
                    </a:schemeClr>
                  </a:solidFill>
                  <a:latin typeface="Calibri" panose="020F0502020204030204" pitchFamily="34" charset="0"/>
                  <a:cs typeface="Calibri" panose="020F0502020204030204" pitchFamily="34" charset="0"/>
                </a:endParaRPr>
              </a:p>
            </p:txBody>
          </p:sp>
          <p:pic>
            <p:nvPicPr>
              <p:cNvPr id="6" name="Picture 10" descr="Immagine correlata">
                <a:extLst>
                  <a:ext uri="{FF2B5EF4-FFF2-40B4-BE49-F238E27FC236}">
                    <a16:creationId xmlns:a16="http://schemas.microsoft.com/office/drawing/2014/main" xmlns="" id="{4CA185BB-776C-F84B-8ED2-7D88E685285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22427" b="32603"/>
              <a:stretch/>
            </p:blipFill>
            <p:spPr bwMode="auto">
              <a:xfrm>
                <a:off x="1954266" y="1747026"/>
                <a:ext cx="791332" cy="284517"/>
              </a:xfrm>
              <a:prstGeom prst="rect">
                <a:avLst/>
              </a:prstGeom>
              <a:noFill/>
              <a:extLst>
                <a:ext uri="{909E8E84-426E-40DD-AFC4-6F175D3DCCD1}">
                  <a14:hiddenFill xmlns:a14="http://schemas.microsoft.com/office/drawing/2010/main">
                    <a:solidFill>
                      <a:srgbClr val="FFFFFF"/>
                    </a:solidFill>
                  </a14:hiddenFill>
                </a:ext>
              </a:extLst>
            </p:spPr>
          </p:pic>
        </p:grpSp>
        <p:pic>
          <p:nvPicPr>
            <p:cNvPr id="50" name="Picture 2" descr="Risultati immagini per INPS"/>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4748" t="6558" r="15080" b="4905"/>
            <a:stretch/>
          </p:blipFill>
          <p:spPr bwMode="auto">
            <a:xfrm>
              <a:off x="737109" y="2468800"/>
              <a:ext cx="530021" cy="668741"/>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1985959" y="4640145"/>
              <a:ext cx="1243776" cy="602564"/>
              <a:chOff x="1985959" y="4640145"/>
              <a:chExt cx="1243776" cy="602564"/>
            </a:xfrm>
          </p:grpSpPr>
          <p:sp>
            <p:nvSpPr>
              <p:cNvPr id="23" name="Rectangle 22"/>
              <p:cNvSpPr/>
              <p:nvPr/>
            </p:nvSpPr>
            <p:spPr>
              <a:xfrm>
                <a:off x="1985959" y="4640145"/>
                <a:ext cx="1243776" cy="602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nvGrpSpPr>
              <p:cNvPr id="52" name="Group 51"/>
              <p:cNvGrpSpPr>
                <a:grpSpLocks noChangeAspect="1"/>
              </p:cNvGrpSpPr>
              <p:nvPr/>
            </p:nvGrpSpPr>
            <p:grpSpPr>
              <a:xfrm>
                <a:off x="2042146" y="4723174"/>
                <a:ext cx="1171158" cy="436507"/>
                <a:chOff x="6759083" y="178786"/>
                <a:chExt cx="1558811" cy="580991"/>
              </a:xfrm>
            </p:grpSpPr>
            <p:pic>
              <p:nvPicPr>
                <p:cNvPr id="53" name="Picture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9083" y="178786"/>
                  <a:ext cx="580991" cy="580991"/>
                </a:xfrm>
                <a:prstGeom prst="rect">
                  <a:avLst/>
                </a:prstGeom>
              </p:spPr>
            </p:pic>
            <p:pic>
              <p:nvPicPr>
                <p:cNvPr id="54" name="Picture 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44519" y="206865"/>
                  <a:ext cx="524833" cy="524832"/>
                </a:xfrm>
                <a:prstGeom prst="rect">
                  <a:avLst/>
                </a:prstGeom>
              </p:spPr>
            </p:pic>
            <p:pic>
              <p:nvPicPr>
                <p:cNvPr id="55" name="Picture 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72375" y="196522"/>
                  <a:ext cx="545519" cy="545519"/>
                </a:xfrm>
                <a:prstGeom prst="rect">
                  <a:avLst/>
                </a:prstGeom>
              </p:spPr>
            </p:pic>
          </p:grpSp>
        </p:grpSp>
        <p:pic>
          <p:nvPicPr>
            <p:cNvPr id="57" name="Picture 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11100" y="2338959"/>
              <a:ext cx="724816" cy="724816"/>
            </a:xfrm>
            <a:prstGeom prst="rect">
              <a:avLst/>
            </a:prstGeom>
          </p:spPr>
        </p:pic>
        <p:grpSp>
          <p:nvGrpSpPr>
            <p:cNvPr id="73" name="Group 72"/>
            <p:cNvGrpSpPr/>
            <p:nvPr/>
          </p:nvGrpSpPr>
          <p:grpSpPr>
            <a:xfrm>
              <a:off x="717677" y="3881649"/>
              <a:ext cx="833000" cy="758496"/>
              <a:chOff x="717677" y="3881649"/>
              <a:chExt cx="833000" cy="758496"/>
            </a:xfrm>
          </p:grpSpPr>
          <p:sp>
            <p:nvSpPr>
              <p:cNvPr id="72" name="Rectangle 71"/>
              <p:cNvSpPr/>
              <p:nvPr/>
            </p:nvSpPr>
            <p:spPr>
              <a:xfrm>
                <a:off x="783423" y="3881649"/>
                <a:ext cx="767254" cy="758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71" name="Picture 7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7677" y="3927119"/>
                <a:ext cx="713026" cy="713026"/>
              </a:xfrm>
              <a:prstGeom prst="rect">
                <a:avLst/>
              </a:prstGeom>
            </p:spPr>
          </p:pic>
        </p:grpSp>
        <p:grpSp>
          <p:nvGrpSpPr>
            <p:cNvPr id="77" name="Group 76"/>
            <p:cNvGrpSpPr/>
            <p:nvPr/>
          </p:nvGrpSpPr>
          <p:grpSpPr>
            <a:xfrm>
              <a:off x="3554549" y="3822548"/>
              <a:ext cx="1243775" cy="755288"/>
              <a:chOff x="3554549" y="3822548"/>
              <a:chExt cx="1243775" cy="755288"/>
            </a:xfrm>
          </p:grpSpPr>
          <p:sp>
            <p:nvSpPr>
              <p:cNvPr id="56" name="Rectangle 55"/>
              <p:cNvSpPr/>
              <p:nvPr/>
            </p:nvSpPr>
            <p:spPr>
              <a:xfrm>
                <a:off x="3554549" y="3822548"/>
                <a:ext cx="1243775" cy="75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75" name="Picture 12" descr="Risultati immagini per ministero lavoro">
                <a:extLst>
                  <a:ext uri="{FF2B5EF4-FFF2-40B4-BE49-F238E27FC236}">
                    <a16:creationId xmlns:a16="http://schemas.microsoft.com/office/drawing/2014/main" xmlns="" id="{506789D8-B83B-134E-B18C-80FF085A109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643" b="13418"/>
              <a:stretch/>
            </p:blipFill>
            <p:spPr bwMode="auto">
              <a:xfrm>
                <a:off x="3850417" y="4150084"/>
                <a:ext cx="585633" cy="385609"/>
              </a:xfrm>
              <a:prstGeom prst="rect">
                <a:avLst/>
              </a:prstGeom>
              <a:noFill/>
              <a:extLst>
                <a:ext uri="{909E8E84-426E-40DD-AFC4-6F175D3DCCD1}">
                  <a14:hiddenFill xmlns:a14="http://schemas.microsoft.com/office/drawing/2010/main">
                    <a:solidFill>
                      <a:srgbClr val="FFFFFF"/>
                    </a:solidFill>
                  </a14:hiddenFill>
                </a:ext>
              </a:extLst>
            </p:spPr>
          </p:pic>
          <p:pic>
            <p:nvPicPr>
              <p:cNvPr id="76" name="Immagine 30">
                <a:extLst>
                  <a:ext uri="{FF2B5EF4-FFF2-40B4-BE49-F238E27FC236}">
                    <a16:creationId xmlns:a16="http://schemas.microsoft.com/office/drawing/2014/main" xmlns="" id="{D4D658CF-48DA-45C7-81FB-1B02B010D605}"/>
                  </a:ext>
                </a:extLst>
              </p:cNvPr>
              <p:cNvPicPr>
                <a:picLocks noChangeAspect="1"/>
              </p:cNvPicPr>
              <p:nvPr/>
            </p:nvPicPr>
            <p:blipFill>
              <a:blip r:embed="rId3">
                <a:clrChange>
                  <a:clrFrom>
                    <a:srgbClr val="FBF5F5"/>
                  </a:clrFrom>
                  <a:clrTo>
                    <a:srgbClr val="FBF5F5">
                      <a:alpha val="0"/>
                    </a:srgbClr>
                  </a:clrTo>
                </a:clrChange>
              </a:blip>
              <a:stretch>
                <a:fillRect/>
              </a:stretch>
            </p:blipFill>
            <p:spPr>
              <a:xfrm>
                <a:off x="3836811" y="3822548"/>
                <a:ext cx="612845" cy="309972"/>
              </a:xfrm>
              <a:prstGeom prst="rect">
                <a:avLst/>
              </a:prstGeom>
            </p:spPr>
          </p:pic>
        </p:grpSp>
      </p:grpSp>
    </p:spTree>
    <p:extLst>
      <p:ext uri="{BB962C8B-B14F-4D97-AF65-F5344CB8AC3E}">
        <p14:creationId xmlns:p14="http://schemas.microsoft.com/office/powerpoint/2010/main" val="11835057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Connettore 1 9">
            <a:extLst>
              <a:ext uri="{FF2B5EF4-FFF2-40B4-BE49-F238E27FC236}">
                <a16:creationId xmlns:a16="http://schemas.microsoft.com/office/drawing/2014/main" xmlns="" id="{81A2087C-2D04-204D-A41C-9AB5A8295F94}"/>
              </a:ext>
            </a:extLst>
          </p:cNvPr>
          <p:cNvCxnSpPr>
            <a:cxnSpLocks/>
          </p:cNvCxnSpPr>
          <p:nvPr/>
        </p:nvCxnSpPr>
        <p:spPr>
          <a:xfrm>
            <a:off x="6901701" y="3137206"/>
            <a:ext cx="2954875" cy="1"/>
          </a:xfrm>
          <a:prstGeom prst="line">
            <a:avLst/>
          </a:prstGeom>
          <a:ln w="28575">
            <a:solidFill>
              <a:srgbClr val="7F7F7F"/>
            </a:solidFill>
            <a:tailEnd type="none"/>
          </a:ln>
        </p:spPr>
        <p:style>
          <a:lnRef idx="1">
            <a:schemeClr val="accent1"/>
          </a:lnRef>
          <a:fillRef idx="0">
            <a:schemeClr val="accent1"/>
          </a:fillRef>
          <a:effectRef idx="0">
            <a:schemeClr val="accent1"/>
          </a:effectRef>
          <a:fontRef idx="minor">
            <a:schemeClr val="tx1"/>
          </a:fontRef>
        </p:style>
      </p:cxnSp>
      <p:sp>
        <p:nvSpPr>
          <p:cNvPr id="22" name="CasellaDiTesto 21">
            <a:extLst>
              <a:ext uri="{FF2B5EF4-FFF2-40B4-BE49-F238E27FC236}">
                <a16:creationId xmlns:a16="http://schemas.microsoft.com/office/drawing/2014/main" xmlns="" id="{E1455093-375A-C141-9201-496AFC15E3DC}"/>
              </a:ext>
            </a:extLst>
          </p:cNvPr>
          <p:cNvSpPr txBox="1"/>
          <p:nvPr/>
        </p:nvSpPr>
        <p:spPr>
          <a:xfrm>
            <a:off x="5727828" y="1296364"/>
            <a:ext cx="1995505" cy="1082810"/>
          </a:xfrm>
          <a:prstGeom prst="rect">
            <a:avLst/>
          </a:prstGeom>
          <a:noFill/>
        </p:spPr>
        <p:txBody>
          <a:bodyPr wrap="square" lIns="0" tIns="36557" rIns="0" bIns="0" rtlCol="0">
            <a:spAutoFit/>
          </a:bodyPr>
          <a:lstStyle/>
          <a:p>
            <a:pPr algn="ctr">
              <a:lnSpc>
                <a:spcPct val="85000"/>
              </a:lnSpc>
              <a:spcAft>
                <a:spcPts val="600"/>
              </a:spcAft>
              <a:buClr>
                <a:schemeClr val="accent2"/>
              </a:buClr>
              <a:buSzPct val="70000"/>
            </a:pPr>
            <a:r>
              <a:rPr lang="it-IT" sz="1599" dirty="0">
                <a:latin typeface="Calibri" panose="020F0502020204030204" pitchFamily="34" charset="0"/>
                <a:cs typeface="Calibri" panose="020F0502020204030204" pitchFamily="34" charset="0"/>
              </a:rPr>
              <a:t>ll lavoratore temporaneo e la Online Labour Platform concordano la prestazione di lavoro</a:t>
            </a:r>
          </a:p>
        </p:txBody>
      </p:sp>
      <p:sp>
        <p:nvSpPr>
          <p:cNvPr id="52" name="CasellaDiTesto 51">
            <a:extLst>
              <a:ext uri="{FF2B5EF4-FFF2-40B4-BE49-F238E27FC236}">
                <a16:creationId xmlns:a16="http://schemas.microsoft.com/office/drawing/2014/main" xmlns="" id="{3FE1D3DC-97D6-F145-8544-C8207803EFF3}"/>
              </a:ext>
            </a:extLst>
          </p:cNvPr>
          <p:cNvSpPr txBox="1"/>
          <p:nvPr/>
        </p:nvSpPr>
        <p:spPr>
          <a:xfrm>
            <a:off x="7001552" y="3861480"/>
            <a:ext cx="1995505" cy="1082713"/>
          </a:xfrm>
          <a:prstGeom prst="rect">
            <a:avLst/>
          </a:prstGeom>
          <a:noFill/>
        </p:spPr>
        <p:txBody>
          <a:bodyPr wrap="square" lIns="0" tIns="36557" rIns="0" bIns="0" rtlCol="0">
            <a:spAutoFit/>
          </a:bodyPr>
          <a:lstStyle/>
          <a:p>
            <a:pPr algn="ctr">
              <a:lnSpc>
                <a:spcPct val="85000"/>
              </a:lnSpc>
              <a:spcAft>
                <a:spcPts val="600"/>
              </a:spcAft>
              <a:buClr>
                <a:schemeClr val="accent2"/>
              </a:buClr>
              <a:buSzPct val="70000"/>
            </a:pPr>
            <a:r>
              <a:rPr lang="it-IT" sz="1599" dirty="0">
                <a:latin typeface="Calibri" panose="020F0502020204030204" pitchFamily="34" charset="0"/>
                <a:cs typeface="Calibri" panose="020F0502020204030204" pitchFamily="34" charset="0"/>
              </a:rPr>
              <a:t>L’inizio prestazione è notificato ad INAIL ed INPS che attivano le prestazioni previdenziali ed assicurative</a:t>
            </a:r>
          </a:p>
        </p:txBody>
      </p:sp>
      <p:sp>
        <p:nvSpPr>
          <p:cNvPr id="67" name="CasellaDiTesto 66">
            <a:extLst>
              <a:ext uri="{FF2B5EF4-FFF2-40B4-BE49-F238E27FC236}">
                <a16:creationId xmlns:a16="http://schemas.microsoft.com/office/drawing/2014/main" xmlns="" id="{CA391EF1-A7E1-4C46-A1B2-4DDDBEAF798A}"/>
              </a:ext>
            </a:extLst>
          </p:cNvPr>
          <p:cNvSpPr txBox="1"/>
          <p:nvPr/>
        </p:nvSpPr>
        <p:spPr>
          <a:xfrm>
            <a:off x="8151604" y="1505544"/>
            <a:ext cx="1995505" cy="873630"/>
          </a:xfrm>
          <a:prstGeom prst="rect">
            <a:avLst/>
          </a:prstGeom>
          <a:noFill/>
        </p:spPr>
        <p:txBody>
          <a:bodyPr wrap="square" lIns="0" tIns="36557" rIns="0" bIns="0" rtlCol="0">
            <a:spAutoFit/>
          </a:bodyPr>
          <a:lstStyle/>
          <a:p>
            <a:pPr algn="ctr">
              <a:lnSpc>
                <a:spcPct val="85000"/>
              </a:lnSpc>
              <a:spcAft>
                <a:spcPts val="600"/>
              </a:spcAft>
              <a:buClr>
                <a:schemeClr val="accent2"/>
              </a:buClr>
              <a:buSzPct val="70000"/>
            </a:pPr>
            <a:r>
              <a:rPr lang="it-IT" sz="1599" dirty="0">
                <a:latin typeface="Calibri" panose="020F0502020204030204" pitchFamily="34" charset="0"/>
                <a:cs typeface="Calibri" panose="020F0502020204030204" pitchFamily="34" charset="0"/>
              </a:rPr>
              <a:t>La piattaforma OLM certifica l’effettiva erogazione della prestazione lavoro</a:t>
            </a:r>
          </a:p>
        </p:txBody>
      </p:sp>
      <p:sp>
        <p:nvSpPr>
          <p:cNvPr id="80" name="CasellaDiTesto 79">
            <a:extLst>
              <a:ext uri="{FF2B5EF4-FFF2-40B4-BE49-F238E27FC236}">
                <a16:creationId xmlns:a16="http://schemas.microsoft.com/office/drawing/2014/main" xmlns="" id="{BD02AB50-A3F6-7E47-8293-8B4ECA9DAFCF}"/>
              </a:ext>
            </a:extLst>
          </p:cNvPr>
          <p:cNvSpPr txBox="1"/>
          <p:nvPr/>
        </p:nvSpPr>
        <p:spPr>
          <a:xfrm>
            <a:off x="9394583" y="3861480"/>
            <a:ext cx="1995505" cy="664451"/>
          </a:xfrm>
          <a:prstGeom prst="rect">
            <a:avLst/>
          </a:prstGeom>
          <a:noFill/>
        </p:spPr>
        <p:txBody>
          <a:bodyPr wrap="square" lIns="0" tIns="36557" rIns="0" bIns="0" rtlCol="0">
            <a:spAutoFit/>
          </a:bodyPr>
          <a:lstStyle/>
          <a:p>
            <a:pPr algn="ctr">
              <a:lnSpc>
                <a:spcPct val="85000"/>
              </a:lnSpc>
              <a:spcAft>
                <a:spcPts val="600"/>
              </a:spcAft>
              <a:buClr>
                <a:schemeClr val="accent2"/>
              </a:buClr>
              <a:buSzPct val="70000"/>
            </a:pPr>
            <a:r>
              <a:rPr lang="it-IT" sz="1599" dirty="0">
                <a:latin typeface="Calibri" panose="020F0502020204030204" pitchFamily="34" charset="0"/>
                <a:cs typeface="Calibri" panose="020F0502020204030204" pitchFamily="34" charset="0"/>
              </a:rPr>
              <a:t>II financial service provider effettua lo split dei pagamenti</a:t>
            </a:r>
          </a:p>
        </p:txBody>
      </p:sp>
      <p:sp>
        <p:nvSpPr>
          <p:cNvPr id="94" name="Rettangolo arrotondato 93">
            <a:extLst>
              <a:ext uri="{FF2B5EF4-FFF2-40B4-BE49-F238E27FC236}">
                <a16:creationId xmlns:a16="http://schemas.microsoft.com/office/drawing/2014/main" xmlns="" id="{AB3D38CF-7B3B-A045-8F6E-3614ECB8A8FB}"/>
              </a:ext>
            </a:extLst>
          </p:cNvPr>
          <p:cNvSpPr/>
          <p:nvPr/>
        </p:nvSpPr>
        <p:spPr>
          <a:xfrm>
            <a:off x="5867808" y="2629229"/>
            <a:ext cx="5275833" cy="1017288"/>
          </a:xfrm>
          <a:prstGeom prst="roundRect">
            <a:avLst/>
          </a:prstGeom>
          <a:noFill/>
          <a:ln w="38100">
            <a:solidFill>
              <a:srgbClr val="424A6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Calibri" panose="020F0502020204030204" pitchFamily="34" charset="0"/>
              <a:cs typeface="Calibri" panose="020F0502020204030204" pitchFamily="34" charset="0"/>
            </a:endParaRPr>
          </a:p>
        </p:txBody>
      </p:sp>
      <p:sp>
        <p:nvSpPr>
          <p:cNvPr id="83" name="Ovale 91">
            <a:extLst>
              <a:ext uri="{FF2B5EF4-FFF2-40B4-BE49-F238E27FC236}">
                <a16:creationId xmlns:a16="http://schemas.microsoft.com/office/drawing/2014/main" xmlns="" id="{0AAB3BEC-240A-DB46-949F-0B124313D411}"/>
              </a:ext>
            </a:extLst>
          </p:cNvPr>
          <p:cNvSpPr/>
          <p:nvPr/>
        </p:nvSpPr>
        <p:spPr>
          <a:xfrm>
            <a:off x="2598053" y="1300009"/>
            <a:ext cx="427550" cy="393758"/>
          </a:xfrm>
          <a:prstGeom prst="ellipse">
            <a:avLst/>
          </a:prstGeom>
          <a:solidFill>
            <a:schemeClr val="bg1"/>
          </a:solidFill>
          <a:ln w="2857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it-IT" sz="1600" b="1" dirty="0">
                <a:solidFill>
                  <a:schemeClr val="tx2"/>
                </a:solidFill>
                <a:latin typeface="Calibri" panose="020F0502020204030204" pitchFamily="34" charset="0"/>
                <a:cs typeface="Calibri" panose="020F0502020204030204" pitchFamily="34" charset="0"/>
              </a:rPr>
              <a:t>2</a:t>
            </a:r>
            <a:endParaRPr lang="en-US" sz="1600" b="1" dirty="0">
              <a:solidFill>
                <a:schemeClr val="tx2"/>
              </a:solidFill>
              <a:latin typeface="Calibri" panose="020F0502020204030204" pitchFamily="34" charset="0"/>
              <a:cs typeface="Calibri" panose="020F0502020204030204" pitchFamily="34" charset="0"/>
            </a:endParaRPr>
          </a:p>
        </p:txBody>
      </p:sp>
      <p:sp>
        <p:nvSpPr>
          <p:cNvPr id="84" name="Ovale 91">
            <a:extLst>
              <a:ext uri="{FF2B5EF4-FFF2-40B4-BE49-F238E27FC236}">
                <a16:creationId xmlns:a16="http://schemas.microsoft.com/office/drawing/2014/main" xmlns="" id="{0AAB3BEC-240A-DB46-949F-0B124313D411}"/>
              </a:ext>
            </a:extLst>
          </p:cNvPr>
          <p:cNvSpPr/>
          <p:nvPr/>
        </p:nvSpPr>
        <p:spPr>
          <a:xfrm>
            <a:off x="953275" y="4787007"/>
            <a:ext cx="427550" cy="393758"/>
          </a:xfrm>
          <a:prstGeom prst="ellips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it-IT" sz="1600" b="1" dirty="0">
                <a:solidFill>
                  <a:schemeClr val="tx2"/>
                </a:solidFill>
                <a:latin typeface="Calibri" panose="020F0502020204030204" pitchFamily="34" charset="0"/>
                <a:cs typeface="Calibri" panose="020F0502020204030204" pitchFamily="34" charset="0"/>
              </a:rPr>
              <a:t>3</a:t>
            </a:r>
            <a:endParaRPr lang="en-US" sz="1600" b="1" dirty="0">
              <a:solidFill>
                <a:schemeClr val="tx2"/>
              </a:solidFill>
              <a:latin typeface="Calibri" panose="020F0502020204030204" pitchFamily="34" charset="0"/>
              <a:cs typeface="Calibri" panose="020F0502020204030204" pitchFamily="34" charset="0"/>
            </a:endParaRPr>
          </a:p>
        </p:txBody>
      </p:sp>
      <p:sp>
        <p:nvSpPr>
          <p:cNvPr id="85" name="Ovale 91">
            <a:extLst>
              <a:ext uri="{FF2B5EF4-FFF2-40B4-BE49-F238E27FC236}">
                <a16:creationId xmlns:a16="http://schemas.microsoft.com/office/drawing/2014/main" xmlns="" id="{0AAB3BEC-240A-DB46-949F-0B124313D411}"/>
              </a:ext>
            </a:extLst>
          </p:cNvPr>
          <p:cNvSpPr/>
          <p:nvPr/>
        </p:nvSpPr>
        <p:spPr>
          <a:xfrm>
            <a:off x="4581530" y="2560882"/>
            <a:ext cx="427550" cy="393758"/>
          </a:xfrm>
          <a:prstGeom prst="ellipse">
            <a:avLst/>
          </a:prstGeom>
          <a:solidFill>
            <a:schemeClr val="bg1"/>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dirty="0">
                <a:solidFill>
                  <a:schemeClr val="tx2"/>
                </a:solidFill>
                <a:latin typeface="Calibri" panose="020F0502020204030204" pitchFamily="34" charset="0"/>
                <a:cs typeface="Calibri" panose="020F0502020204030204" pitchFamily="34" charset="0"/>
              </a:rPr>
              <a:t>4</a:t>
            </a:r>
          </a:p>
        </p:txBody>
      </p:sp>
      <p:sp>
        <p:nvSpPr>
          <p:cNvPr id="37"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latin typeface="Calibri" panose="020F0502020204030204" pitchFamily="34" charset="0"/>
              </a:rPr>
              <a:t>Use case</a:t>
            </a:r>
          </a:p>
          <a:p>
            <a:pPr algn="just" eaLnBrk="0" hangingPunct="0">
              <a:buClr>
                <a:srgbClr val="FFD200"/>
              </a:buClr>
              <a:buSzPct val="75000"/>
              <a:defRPr/>
            </a:pPr>
            <a:r>
              <a:rPr lang="it-IT" sz="2400" i="1" kern="0" dirty="0">
                <a:latin typeface="Calibri" panose="020F0502020204030204" pitchFamily="34" charset="0"/>
              </a:rPr>
              <a:t>Welfare per i </a:t>
            </a:r>
            <a:r>
              <a:rPr lang="it-IT" sz="2400" i="1" kern="0" dirty="0" err="1">
                <a:latin typeface="Calibri" panose="020F0502020204030204" pitchFamily="34" charset="0"/>
              </a:rPr>
              <a:t>Gig</a:t>
            </a:r>
            <a:r>
              <a:rPr lang="it-IT" sz="2400" i="1" kern="0" dirty="0">
                <a:latin typeface="Calibri" panose="020F0502020204030204" pitchFamily="34" charset="0"/>
              </a:rPr>
              <a:t> </a:t>
            </a:r>
            <a:r>
              <a:rPr lang="it-IT" sz="2400" i="1" kern="0" dirty="0" err="1">
                <a:latin typeface="Calibri" panose="020F0502020204030204" pitchFamily="34" charset="0"/>
              </a:rPr>
              <a:t>worker</a:t>
            </a:r>
            <a:endParaRPr lang="it-IT" sz="2400" i="1" kern="0" dirty="0">
              <a:latin typeface="Calibri" panose="020F0502020204030204" pitchFamily="34" charset="0"/>
            </a:endParaRPr>
          </a:p>
        </p:txBody>
      </p:sp>
      <p:grpSp>
        <p:nvGrpSpPr>
          <p:cNvPr id="38" name="Group 37"/>
          <p:cNvGrpSpPr/>
          <p:nvPr/>
        </p:nvGrpSpPr>
        <p:grpSpPr>
          <a:xfrm>
            <a:off x="717677" y="1747026"/>
            <a:ext cx="4080647" cy="3495683"/>
            <a:chOff x="717677" y="1747026"/>
            <a:chExt cx="4080647" cy="3495683"/>
          </a:xfrm>
        </p:grpSpPr>
        <p:grpSp>
          <p:nvGrpSpPr>
            <p:cNvPr id="39" name="Group 38"/>
            <p:cNvGrpSpPr>
              <a:grpSpLocks noChangeAspect="1"/>
            </p:cNvGrpSpPr>
            <p:nvPr/>
          </p:nvGrpSpPr>
          <p:grpSpPr>
            <a:xfrm>
              <a:off x="837651" y="1747026"/>
              <a:ext cx="3580149" cy="3257748"/>
              <a:chOff x="993342" y="1747026"/>
              <a:chExt cx="2765183" cy="2516177"/>
            </a:xfrm>
          </p:grpSpPr>
          <p:sp>
            <p:nvSpPr>
              <p:cNvPr id="70" name="Ovale 3">
                <a:extLst>
                  <a:ext uri="{FF2B5EF4-FFF2-40B4-BE49-F238E27FC236}">
                    <a16:creationId xmlns:a16="http://schemas.microsoft.com/office/drawing/2014/main" xmlns="" id="{5FF81F9A-B446-4640-90B8-089C63DECFCE}"/>
                  </a:ext>
                </a:extLst>
              </p:cNvPr>
              <p:cNvSpPr/>
              <p:nvPr/>
            </p:nvSpPr>
            <p:spPr>
              <a:xfrm>
                <a:off x="993342" y="1889285"/>
                <a:ext cx="2765183" cy="2373918"/>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lumMod val="50000"/>
                    </a:schemeClr>
                  </a:solidFill>
                  <a:latin typeface="Calibri" panose="020F0502020204030204" pitchFamily="34" charset="0"/>
                  <a:cs typeface="Calibri" panose="020F0502020204030204" pitchFamily="34" charset="0"/>
                </a:endParaRPr>
              </a:p>
            </p:txBody>
          </p:sp>
          <p:pic>
            <p:nvPicPr>
              <p:cNvPr id="71" name="Picture 10" descr="Immagine correlata">
                <a:extLst>
                  <a:ext uri="{FF2B5EF4-FFF2-40B4-BE49-F238E27FC236}">
                    <a16:creationId xmlns:a16="http://schemas.microsoft.com/office/drawing/2014/main" xmlns="" id="{4CA185BB-776C-F84B-8ED2-7D88E685285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427" b="32603"/>
              <a:stretch/>
            </p:blipFill>
            <p:spPr bwMode="auto">
              <a:xfrm>
                <a:off x="1954266" y="1747026"/>
                <a:ext cx="791332" cy="284517"/>
              </a:xfrm>
              <a:prstGeom prst="rect">
                <a:avLst/>
              </a:prstGeom>
              <a:noFill/>
              <a:extLst>
                <a:ext uri="{909E8E84-426E-40DD-AFC4-6F175D3DCCD1}">
                  <a14:hiddenFill xmlns:a14="http://schemas.microsoft.com/office/drawing/2010/main">
                    <a:solidFill>
                      <a:srgbClr val="FFFFFF"/>
                    </a:solidFill>
                  </a14:hiddenFill>
                </a:ext>
              </a:extLst>
            </p:spPr>
          </p:pic>
        </p:grpSp>
        <p:pic>
          <p:nvPicPr>
            <p:cNvPr id="40" name="Picture 2" descr="Risultati immagini per INP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748" t="6558" r="15080" b="4905"/>
            <a:stretch/>
          </p:blipFill>
          <p:spPr bwMode="auto">
            <a:xfrm>
              <a:off x="737109" y="2468800"/>
              <a:ext cx="530021" cy="668741"/>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p:cNvGrpSpPr/>
            <p:nvPr/>
          </p:nvGrpSpPr>
          <p:grpSpPr>
            <a:xfrm>
              <a:off x="1985959" y="4640145"/>
              <a:ext cx="1243776" cy="602564"/>
              <a:chOff x="1985959" y="4640145"/>
              <a:chExt cx="1243776" cy="602564"/>
            </a:xfrm>
          </p:grpSpPr>
          <p:sp>
            <p:nvSpPr>
              <p:cNvPr id="62" name="Rectangle 61"/>
              <p:cNvSpPr/>
              <p:nvPr/>
            </p:nvSpPr>
            <p:spPr>
              <a:xfrm>
                <a:off x="1985959" y="4640145"/>
                <a:ext cx="1243776" cy="602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nvGrpSpPr>
              <p:cNvPr id="64" name="Group 63"/>
              <p:cNvGrpSpPr>
                <a:grpSpLocks noChangeAspect="1"/>
              </p:cNvGrpSpPr>
              <p:nvPr/>
            </p:nvGrpSpPr>
            <p:grpSpPr>
              <a:xfrm>
                <a:off x="2042146" y="4723174"/>
                <a:ext cx="1171158" cy="436507"/>
                <a:chOff x="6759083" y="178786"/>
                <a:chExt cx="1558811" cy="580991"/>
              </a:xfrm>
            </p:grpSpPr>
            <p:pic>
              <p:nvPicPr>
                <p:cNvPr id="65" name="Picture 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59083" y="178786"/>
                  <a:ext cx="580991" cy="580991"/>
                </a:xfrm>
                <a:prstGeom prst="rect">
                  <a:avLst/>
                </a:prstGeom>
              </p:spPr>
            </p:pic>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4519" y="206865"/>
                  <a:ext cx="524833" cy="524832"/>
                </a:xfrm>
                <a:prstGeom prst="rect">
                  <a:avLst/>
                </a:prstGeom>
              </p:spPr>
            </p:pic>
            <p:pic>
              <p:nvPicPr>
                <p:cNvPr id="69" name="Picture 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72375" y="196522"/>
                  <a:ext cx="545519" cy="545519"/>
                </a:xfrm>
                <a:prstGeom prst="rect">
                  <a:avLst/>
                </a:prstGeom>
              </p:spPr>
            </p:pic>
          </p:grpSp>
        </p:grpSp>
        <p:sp>
          <p:nvSpPr>
            <p:cNvPr id="58" name="Rectangle 57"/>
            <p:cNvSpPr/>
            <p:nvPr/>
          </p:nvSpPr>
          <p:spPr>
            <a:xfrm>
              <a:off x="3554549" y="3978068"/>
              <a:ext cx="1243775" cy="452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1100" y="2338959"/>
              <a:ext cx="724816" cy="724816"/>
            </a:xfrm>
            <a:prstGeom prst="rect">
              <a:avLst/>
            </a:prstGeom>
          </p:spPr>
        </p:pic>
        <p:grpSp>
          <p:nvGrpSpPr>
            <p:cNvPr id="48" name="Group 47"/>
            <p:cNvGrpSpPr/>
            <p:nvPr/>
          </p:nvGrpSpPr>
          <p:grpSpPr>
            <a:xfrm>
              <a:off x="717677" y="3881649"/>
              <a:ext cx="833000" cy="758496"/>
              <a:chOff x="717677" y="3881649"/>
              <a:chExt cx="833000" cy="758496"/>
            </a:xfrm>
          </p:grpSpPr>
          <p:sp>
            <p:nvSpPr>
              <p:cNvPr id="50" name="Rectangle 49"/>
              <p:cNvSpPr/>
              <p:nvPr/>
            </p:nvSpPr>
            <p:spPr>
              <a:xfrm>
                <a:off x="783423" y="3881649"/>
                <a:ext cx="767254" cy="758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51" name="Picture 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7677" y="3927119"/>
                <a:ext cx="713026" cy="713026"/>
              </a:xfrm>
              <a:prstGeom prst="rect">
                <a:avLst/>
              </a:prstGeom>
            </p:spPr>
          </p:pic>
        </p:grpSp>
      </p:grpSp>
      <p:sp>
        <p:nvSpPr>
          <p:cNvPr id="82" name="Ovale 91">
            <a:extLst>
              <a:ext uri="{FF2B5EF4-FFF2-40B4-BE49-F238E27FC236}">
                <a16:creationId xmlns:a16="http://schemas.microsoft.com/office/drawing/2014/main" xmlns="" id="{0AAB3BEC-240A-DB46-949F-0B124313D411}"/>
              </a:ext>
            </a:extLst>
          </p:cNvPr>
          <p:cNvSpPr/>
          <p:nvPr/>
        </p:nvSpPr>
        <p:spPr>
          <a:xfrm>
            <a:off x="407368" y="4192192"/>
            <a:ext cx="427550" cy="393758"/>
          </a:xfrm>
          <a:prstGeom prst="ellipse">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it-IT" sz="1600" b="1" dirty="0">
                <a:solidFill>
                  <a:schemeClr val="tx2"/>
                </a:solidFill>
                <a:latin typeface="Calibri" panose="020F0502020204030204" pitchFamily="34" charset="0"/>
                <a:cs typeface="Calibri" panose="020F0502020204030204" pitchFamily="34" charset="0"/>
              </a:rPr>
              <a:t>1</a:t>
            </a:r>
            <a:endParaRPr lang="en-US" sz="1600" b="1" dirty="0">
              <a:solidFill>
                <a:schemeClr val="tx2"/>
              </a:solidFill>
              <a:latin typeface="Calibri" panose="020F0502020204030204" pitchFamily="34" charset="0"/>
              <a:cs typeface="Calibri" panose="020F0502020204030204" pitchFamily="34" charset="0"/>
            </a:endParaRPr>
          </a:p>
        </p:txBody>
      </p:sp>
      <p:sp>
        <p:nvSpPr>
          <p:cNvPr id="73" name="Ovale 91">
            <a:extLst>
              <a:ext uri="{FF2B5EF4-FFF2-40B4-BE49-F238E27FC236}">
                <a16:creationId xmlns:a16="http://schemas.microsoft.com/office/drawing/2014/main" xmlns="" id="{0AAB3BEC-240A-DB46-949F-0B124313D411}"/>
              </a:ext>
            </a:extLst>
          </p:cNvPr>
          <p:cNvSpPr/>
          <p:nvPr/>
        </p:nvSpPr>
        <p:spPr>
          <a:xfrm>
            <a:off x="746960" y="1928180"/>
            <a:ext cx="427550" cy="393758"/>
          </a:xfrm>
          <a:prstGeom prst="ellipse">
            <a:avLst/>
          </a:prstGeom>
          <a:solidFill>
            <a:schemeClr val="bg1"/>
          </a:solidFill>
          <a:ln w="2857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it-IT" sz="1600" b="1" dirty="0">
                <a:solidFill>
                  <a:schemeClr val="tx2"/>
                </a:solidFill>
                <a:latin typeface="Calibri" panose="020F0502020204030204" pitchFamily="34" charset="0"/>
                <a:cs typeface="Calibri" panose="020F0502020204030204" pitchFamily="34" charset="0"/>
              </a:rPr>
              <a:t>2</a:t>
            </a:r>
            <a:endParaRPr lang="en-US" sz="1600" b="1" dirty="0">
              <a:solidFill>
                <a:schemeClr val="tx2"/>
              </a:solidFill>
              <a:latin typeface="Calibri" panose="020F0502020204030204" pitchFamily="34" charset="0"/>
              <a:cs typeface="Calibri" panose="020F0502020204030204" pitchFamily="34" charset="0"/>
            </a:endParaRPr>
          </a:p>
        </p:txBody>
      </p:sp>
      <p:sp>
        <p:nvSpPr>
          <p:cNvPr id="75" name="Ovale 91">
            <a:extLst>
              <a:ext uri="{FF2B5EF4-FFF2-40B4-BE49-F238E27FC236}">
                <a16:creationId xmlns:a16="http://schemas.microsoft.com/office/drawing/2014/main" xmlns="" id="{0AAB3BEC-240A-DB46-949F-0B124313D411}"/>
              </a:ext>
            </a:extLst>
          </p:cNvPr>
          <p:cNvSpPr/>
          <p:nvPr/>
        </p:nvSpPr>
        <p:spPr>
          <a:xfrm>
            <a:off x="2415950" y="5250480"/>
            <a:ext cx="427550" cy="393758"/>
          </a:xfrm>
          <a:prstGeom prst="ellipse">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it-IT" sz="1600" b="1" dirty="0">
                <a:solidFill>
                  <a:schemeClr val="tx2"/>
                </a:solidFill>
                <a:latin typeface="Calibri" panose="020F0502020204030204" pitchFamily="34" charset="0"/>
                <a:cs typeface="Calibri" panose="020F0502020204030204" pitchFamily="34" charset="0"/>
              </a:rPr>
              <a:t>1</a:t>
            </a:r>
            <a:endParaRPr lang="en-US" sz="1600" b="1" dirty="0">
              <a:solidFill>
                <a:schemeClr val="tx2"/>
              </a:solidFill>
              <a:latin typeface="Calibri" panose="020F0502020204030204" pitchFamily="34" charset="0"/>
              <a:cs typeface="Calibri" panose="020F0502020204030204" pitchFamily="34" charset="0"/>
            </a:endParaRPr>
          </a:p>
        </p:txBody>
      </p:sp>
      <p:sp>
        <p:nvSpPr>
          <p:cNvPr id="76" name="Rectangle 75"/>
          <p:cNvSpPr/>
          <p:nvPr/>
        </p:nvSpPr>
        <p:spPr>
          <a:xfrm>
            <a:off x="3554549" y="3822548"/>
            <a:ext cx="1243775" cy="75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86" name="Picture 12" descr="Risultati immagini per ministero lavoro">
            <a:extLst>
              <a:ext uri="{FF2B5EF4-FFF2-40B4-BE49-F238E27FC236}">
                <a16:creationId xmlns:a16="http://schemas.microsoft.com/office/drawing/2014/main" xmlns="" id="{506789D8-B83B-134E-B18C-80FF085A109F}"/>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9643" b="13418"/>
          <a:stretch/>
        </p:blipFill>
        <p:spPr bwMode="auto">
          <a:xfrm>
            <a:off x="3850417" y="4150084"/>
            <a:ext cx="585633" cy="385609"/>
          </a:xfrm>
          <a:prstGeom prst="rect">
            <a:avLst/>
          </a:prstGeom>
          <a:noFill/>
          <a:extLst>
            <a:ext uri="{909E8E84-426E-40DD-AFC4-6F175D3DCCD1}">
              <a14:hiddenFill xmlns:a14="http://schemas.microsoft.com/office/drawing/2010/main">
                <a:solidFill>
                  <a:srgbClr val="FFFFFF"/>
                </a:solidFill>
              </a14:hiddenFill>
            </a:ext>
          </a:extLst>
        </p:spPr>
      </p:pic>
      <p:pic>
        <p:nvPicPr>
          <p:cNvPr id="87" name="Immagine 30">
            <a:extLst>
              <a:ext uri="{FF2B5EF4-FFF2-40B4-BE49-F238E27FC236}">
                <a16:creationId xmlns:a16="http://schemas.microsoft.com/office/drawing/2014/main" xmlns="" id="{D4D658CF-48DA-45C7-81FB-1B02B010D605}"/>
              </a:ext>
            </a:extLst>
          </p:cNvPr>
          <p:cNvPicPr>
            <a:picLocks noChangeAspect="1"/>
          </p:cNvPicPr>
          <p:nvPr/>
        </p:nvPicPr>
        <p:blipFill>
          <a:blip r:embed="rId10">
            <a:clrChange>
              <a:clrFrom>
                <a:srgbClr val="FBF5F5"/>
              </a:clrFrom>
              <a:clrTo>
                <a:srgbClr val="FBF5F5">
                  <a:alpha val="0"/>
                </a:srgbClr>
              </a:clrTo>
            </a:clrChange>
          </a:blip>
          <a:stretch>
            <a:fillRect/>
          </a:stretch>
        </p:blipFill>
        <p:spPr>
          <a:xfrm>
            <a:off x="3836811" y="3822548"/>
            <a:ext cx="612845" cy="309972"/>
          </a:xfrm>
          <a:prstGeom prst="rect">
            <a:avLst/>
          </a:prstGeom>
        </p:spPr>
      </p:pic>
      <p:pic>
        <p:nvPicPr>
          <p:cNvPr id="2" name="Picture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795874" y="2184367"/>
            <a:ext cx="700726" cy="700726"/>
          </a:xfrm>
          <a:prstGeom prst="rect">
            <a:avLst/>
          </a:prstGeom>
        </p:spPr>
      </p:pic>
      <p:sp>
        <p:nvSpPr>
          <p:cNvPr id="53" name="Rettangolo 48">
            <a:extLst>
              <a:ext uri="{FF2B5EF4-FFF2-40B4-BE49-F238E27FC236}">
                <a16:creationId xmlns:a16="http://schemas.microsoft.com/office/drawing/2014/main" xmlns="" id="{BDBB001E-1524-AE48-9DB1-C5FC8F6F26EB}"/>
              </a:ext>
            </a:extLst>
          </p:cNvPr>
          <p:cNvSpPr/>
          <p:nvPr/>
        </p:nvSpPr>
        <p:spPr>
          <a:xfrm>
            <a:off x="6288068" y="2825963"/>
            <a:ext cx="883090" cy="634786"/>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buClr>
                <a:srgbClr val="2C973E"/>
              </a:buClr>
              <a:buSzPct val="110000"/>
            </a:pPr>
            <a:r>
              <a:rPr lang="en-US" sz="1099" b="1" dirty="0">
                <a:solidFill>
                  <a:schemeClr val="tx1"/>
                </a:solidFill>
                <a:latin typeface="Calibri" panose="020F0502020204030204" pitchFamily="34" charset="0"/>
                <a:cs typeface="Calibri" panose="020F0502020204030204" pitchFamily="34" charset="0"/>
              </a:rPr>
              <a:t>Richiesta</a:t>
            </a:r>
            <a:endParaRPr lang="en-US" sz="1199" b="1" dirty="0">
              <a:solidFill>
                <a:schemeClr val="tx1"/>
              </a:solidFill>
              <a:latin typeface="Calibri" panose="020F0502020204030204" pitchFamily="34" charset="0"/>
              <a:cs typeface="Calibri" panose="020F0502020204030204" pitchFamily="34" charset="0"/>
            </a:endParaRPr>
          </a:p>
        </p:txBody>
      </p:sp>
      <p:sp>
        <p:nvSpPr>
          <p:cNvPr id="54" name="Rettangolo 65">
            <a:extLst>
              <a:ext uri="{FF2B5EF4-FFF2-40B4-BE49-F238E27FC236}">
                <a16:creationId xmlns:a16="http://schemas.microsoft.com/office/drawing/2014/main" xmlns="" id="{950DD0BF-068E-094B-8A56-A12B3F8A7F66}"/>
              </a:ext>
            </a:extLst>
          </p:cNvPr>
          <p:cNvSpPr/>
          <p:nvPr/>
        </p:nvSpPr>
        <p:spPr>
          <a:xfrm>
            <a:off x="7478224" y="2825963"/>
            <a:ext cx="968695" cy="634786"/>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1099" b="1" dirty="0">
                <a:solidFill>
                  <a:schemeClr val="tx1"/>
                </a:solidFill>
                <a:latin typeface="Calibri" panose="020F0502020204030204" pitchFamily="34" charset="0"/>
                <a:cs typeface="Calibri" panose="020F0502020204030204" pitchFamily="34" charset="0"/>
              </a:rPr>
              <a:t>Attivazione welfare</a:t>
            </a:r>
          </a:p>
        </p:txBody>
      </p:sp>
      <p:sp>
        <p:nvSpPr>
          <p:cNvPr id="55" name="Rettangolo 76">
            <a:extLst>
              <a:ext uri="{FF2B5EF4-FFF2-40B4-BE49-F238E27FC236}">
                <a16:creationId xmlns:a16="http://schemas.microsoft.com/office/drawing/2014/main" xmlns="" id="{1CB6A0AE-F29D-1241-8192-D2485F8EA35B}"/>
              </a:ext>
            </a:extLst>
          </p:cNvPr>
          <p:cNvSpPr/>
          <p:nvPr/>
        </p:nvSpPr>
        <p:spPr>
          <a:xfrm>
            <a:off x="8654962" y="2825963"/>
            <a:ext cx="968695" cy="634786"/>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1099" b="1" dirty="0">
                <a:solidFill>
                  <a:schemeClr val="tx1"/>
                </a:solidFill>
                <a:latin typeface="Calibri" panose="020F0502020204030204" pitchFamily="34" charset="0"/>
                <a:cs typeface="Calibri" panose="020F0502020204030204" pitchFamily="34" charset="0"/>
              </a:rPr>
              <a:t>Chiusura task</a:t>
            </a:r>
          </a:p>
        </p:txBody>
      </p:sp>
      <p:sp>
        <p:nvSpPr>
          <p:cNvPr id="56" name="Rettangolo 78">
            <a:extLst>
              <a:ext uri="{FF2B5EF4-FFF2-40B4-BE49-F238E27FC236}">
                <a16:creationId xmlns:a16="http://schemas.microsoft.com/office/drawing/2014/main" xmlns="" id="{1C3A91D5-2D0B-3D44-B999-4D11CAC1BEF0}"/>
              </a:ext>
            </a:extLst>
          </p:cNvPr>
          <p:cNvSpPr/>
          <p:nvPr/>
        </p:nvSpPr>
        <p:spPr>
          <a:xfrm>
            <a:off x="9857831" y="2825963"/>
            <a:ext cx="968695" cy="634786"/>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1099" b="1" dirty="0">
                <a:solidFill>
                  <a:schemeClr val="tx1"/>
                </a:solidFill>
                <a:latin typeface="Calibri" panose="020F0502020204030204" pitchFamily="34" charset="0"/>
                <a:cs typeface="Calibri" panose="020F0502020204030204" pitchFamily="34" charset="0"/>
              </a:rPr>
              <a:t>Pagamento</a:t>
            </a:r>
          </a:p>
        </p:txBody>
      </p:sp>
      <p:sp>
        <p:nvSpPr>
          <p:cNvPr id="72" name="Ovale 91">
            <a:extLst>
              <a:ext uri="{FF2B5EF4-FFF2-40B4-BE49-F238E27FC236}">
                <a16:creationId xmlns:a16="http://schemas.microsoft.com/office/drawing/2014/main" xmlns="" id="{0AAB3BEC-240A-DB46-949F-0B124313D411}"/>
              </a:ext>
            </a:extLst>
          </p:cNvPr>
          <p:cNvSpPr/>
          <p:nvPr/>
        </p:nvSpPr>
        <p:spPr>
          <a:xfrm>
            <a:off x="10178560" y="3298336"/>
            <a:ext cx="427550" cy="393758"/>
          </a:xfrm>
          <a:prstGeom prst="ellipse">
            <a:avLst/>
          </a:prstGeom>
          <a:solidFill>
            <a:schemeClr val="bg1"/>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b="1" dirty="0">
                <a:solidFill>
                  <a:schemeClr val="tx2"/>
                </a:solidFill>
                <a:latin typeface="Calibri" panose="020F0502020204030204" pitchFamily="34" charset="0"/>
                <a:cs typeface="Calibri" panose="020F0502020204030204" pitchFamily="34" charset="0"/>
              </a:rPr>
              <a:t>4</a:t>
            </a:r>
          </a:p>
        </p:txBody>
      </p:sp>
      <p:sp>
        <p:nvSpPr>
          <p:cNvPr id="74" name="Ovale 91">
            <a:extLst>
              <a:ext uri="{FF2B5EF4-FFF2-40B4-BE49-F238E27FC236}">
                <a16:creationId xmlns:a16="http://schemas.microsoft.com/office/drawing/2014/main" xmlns="" id="{0AAB3BEC-240A-DB46-949F-0B124313D411}"/>
              </a:ext>
            </a:extLst>
          </p:cNvPr>
          <p:cNvSpPr/>
          <p:nvPr/>
        </p:nvSpPr>
        <p:spPr>
          <a:xfrm>
            <a:off x="8942749" y="2497506"/>
            <a:ext cx="427550" cy="393758"/>
          </a:xfrm>
          <a:prstGeom prst="ellips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it-IT" b="1" dirty="0">
                <a:solidFill>
                  <a:schemeClr val="tx2"/>
                </a:solidFill>
                <a:latin typeface="Calibri" panose="020F0502020204030204" pitchFamily="34" charset="0"/>
                <a:cs typeface="Calibri" panose="020F0502020204030204" pitchFamily="34" charset="0"/>
              </a:rPr>
              <a:t>3</a:t>
            </a:r>
            <a:endParaRPr lang="en-US" b="1" dirty="0">
              <a:solidFill>
                <a:schemeClr val="tx2"/>
              </a:solidFill>
              <a:latin typeface="Calibri" panose="020F0502020204030204" pitchFamily="34" charset="0"/>
              <a:cs typeface="Calibri" panose="020F0502020204030204" pitchFamily="34" charset="0"/>
            </a:endParaRPr>
          </a:p>
        </p:txBody>
      </p:sp>
      <p:sp>
        <p:nvSpPr>
          <p:cNvPr id="78" name="Ovale 91">
            <a:extLst>
              <a:ext uri="{FF2B5EF4-FFF2-40B4-BE49-F238E27FC236}">
                <a16:creationId xmlns:a16="http://schemas.microsoft.com/office/drawing/2014/main" xmlns="" id="{0AAB3BEC-240A-DB46-949F-0B124313D411}"/>
              </a:ext>
            </a:extLst>
          </p:cNvPr>
          <p:cNvSpPr/>
          <p:nvPr/>
        </p:nvSpPr>
        <p:spPr>
          <a:xfrm>
            <a:off x="7758844" y="3394338"/>
            <a:ext cx="427550" cy="393758"/>
          </a:xfrm>
          <a:prstGeom prst="ellipse">
            <a:avLst/>
          </a:prstGeom>
          <a:solidFill>
            <a:schemeClr val="bg1"/>
          </a:solidFill>
          <a:ln w="2857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it-IT" b="1" dirty="0">
                <a:solidFill>
                  <a:schemeClr val="tx2"/>
                </a:solidFill>
                <a:latin typeface="Calibri" panose="020F0502020204030204" pitchFamily="34" charset="0"/>
                <a:cs typeface="Calibri" panose="020F0502020204030204" pitchFamily="34" charset="0"/>
              </a:rPr>
              <a:t>2</a:t>
            </a:r>
            <a:endParaRPr lang="en-US" b="1" dirty="0">
              <a:solidFill>
                <a:schemeClr val="tx2"/>
              </a:solidFill>
              <a:latin typeface="Calibri" panose="020F0502020204030204" pitchFamily="34" charset="0"/>
              <a:cs typeface="Calibri" panose="020F0502020204030204" pitchFamily="34" charset="0"/>
            </a:endParaRPr>
          </a:p>
        </p:txBody>
      </p:sp>
      <p:sp>
        <p:nvSpPr>
          <p:cNvPr id="81" name="Ovale 91">
            <a:extLst>
              <a:ext uri="{FF2B5EF4-FFF2-40B4-BE49-F238E27FC236}">
                <a16:creationId xmlns:a16="http://schemas.microsoft.com/office/drawing/2014/main" xmlns="" id="{0AAB3BEC-240A-DB46-949F-0B124313D411}"/>
              </a:ext>
            </a:extLst>
          </p:cNvPr>
          <p:cNvSpPr/>
          <p:nvPr/>
        </p:nvSpPr>
        <p:spPr>
          <a:xfrm>
            <a:off x="6517264" y="2474537"/>
            <a:ext cx="427550" cy="393758"/>
          </a:xfrm>
          <a:prstGeom prst="ellipse">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it-IT" b="1" dirty="0">
                <a:solidFill>
                  <a:schemeClr val="tx2"/>
                </a:solidFill>
                <a:latin typeface="Calibri" panose="020F0502020204030204" pitchFamily="34" charset="0"/>
                <a:cs typeface="Calibri" panose="020F0502020204030204" pitchFamily="34" charset="0"/>
              </a:rPr>
              <a:t>1</a:t>
            </a:r>
            <a:endParaRPr lang="en-US" b="1"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729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8312" y="5034948"/>
            <a:ext cx="700726" cy="700726"/>
          </a:xfrm>
          <a:prstGeom prst="rect">
            <a:avLst/>
          </a:prstGeom>
        </p:spPr>
      </p:pic>
      <p:pic>
        <p:nvPicPr>
          <p:cNvPr id="108" name="Picture 1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40712" y="5187348"/>
            <a:ext cx="700726" cy="700726"/>
          </a:xfrm>
          <a:prstGeom prst="rect">
            <a:avLst/>
          </a:prstGeom>
        </p:spPr>
      </p:pic>
      <p:pic>
        <p:nvPicPr>
          <p:cNvPr id="112" name="Picture 1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3112" y="5339748"/>
            <a:ext cx="700726" cy="700726"/>
          </a:xfrm>
          <a:prstGeom prst="rect">
            <a:avLst/>
          </a:prstGeom>
        </p:spPr>
      </p:pic>
      <p:pic>
        <p:nvPicPr>
          <p:cNvPr id="69" name="Picture 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5912" y="4882548"/>
            <a:ext cx="700726" cy="700726"/>
          </a:xfrm>
          <a:prstGeom prst="rect">
            <a:avLst/>
          </a:prstGeom>
        </p:spPr>
      </p:pic>
      <p:sp>
        <p:nvSpPr>
          <p:cNvPr id="24" name="TextBox 23">
            <a:extLst>
              <a:ext uri="{FF2B5EF4-FFF2-40B4-BE49-F238E27FC236}">
                <a16:creationId xmlns:a16="http://schemas.microsoft.com/office/drawing/2014/main" xmlns="" id="{DAD5BF58-69A2-4001-A68F-627DEF1CC8CE}"/>
              </a:ext>
            </a:extLst>
          </p:cNvPr>
          <p:cNvSpPr txBox="1"/>
          <p:nvPr/>
        </p:nvSpPr>
        <p:spPr>
          <a:xfrm>
            <a:off x="4575977" y="1066195"/>
            <a:ext cx="5854231" cy="666574"/>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dirty="0">
                <a:latin typeface="Calibri" panose="020F0502020204030204" pitchFamily="34" charset="0"/>
                <a:cs typeface="Calibri" panose="020F0502020204030204" pitchFamily="34" charset="0"/>
              </a:rPr>
              <a:t>In caso di incidente, INAIL verifica sul registro condiviso l’eleggibilità del Gig worker al benefit, verificando che I tempi della denuncia corrispondano ad una effettiva prestazione lavorativa.</a:t>
            </a:r>
          </a:p>
        </p:txBody>
      </p:sp>
      <p:pic>
        <p:nvPicPr>
          <p:cNvPr id="52" name="Graphic 51" descr="Magnifying glass">
            <a:extLst>
              <a:ext uri="{FF2B5EF4-FFF2-40B4-BE49-F238E27FC236}">
                <a16:creationId xmlns:a16="http://schemas.microsoft.com/office/drawing/2014/main" xmlns="" id="{E8F291DD-EE2C-4D33-98A8-91345352C0C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71852" y="942520"/>
            <a:ext cx="913924" cy="913924"/>
          </a:xfrm>
          <a:prstGeom prst="rect">
            <a:avLst/>
          </a:prstGeom>
          <a:ln>
            <a:noFill/>
          </a:ln>
        </p:spPr>
      </p:pic>
      <p:grpSp>
        <p:nvGrpSpPr>
          <p:cNvPr id="60" name="Group 59">
            <a:extLst>
              <a:ext uri="{FF2B5EF4-FFF2-40B4-BE49-F238E27FC236}">
                <a16:creationId xmlns:a16="http://schemas.microsoft.com/office/drawing/2014/main" xmlns="" id="{601AE7CB-174E-4668-A44C-5CCADF0FD47D}"/>
              </a:ext>
            </a:extLst>
          </p:cNvPr>
          <p:cNvGrpSpPr/>
          <p:nvPr/>
        </p:nvGrpSpPr>
        <p:grpSpPr>
          <a:xfrm>
            <a:off x="1319242" y="2219102"/>
            <a:ext cx="9110965" cy="1859810"/>
            <a:chOff x="3500567" y="2143336"/>
            <a:chExt cx="5128872" cy="1860778"/>
          </a:xfrm>
        </p:grpSpPr>
        <p:cxnSp>
          <p:nvCxnSpPr>
            <p:cNvPr id="62" name="Connettore 4 39">
              <a:extLst>
                <a:ext uri="{FF2B5EF4-FFF2-40B4-BE49-F238E27FC236}">
                  <a16:creationId xmlns:a16="http://schemas.microsoft.com/office/drawing/2014/main" xmlns="" id="{DB7F9F0F-5DC2-49BA-B41D-852920A87F34}"/>
                </a:ext>
              </a:extLst>
            </p:cNvPr>
            <p:cNvCxnSpPr>
              <a:cxnSpLocks/>
            </p:cNvCxnSpPr>
            <p:nvPr/>
          </p:nvCxnSpPr>
          <p:spPr>
            <a:xfrm>
              <a:off x="3500567" y="2561253"/>
              <a:ext cx="4812318" cy="1442861"/>
            </a:xfrm>
            <a:prstGeom prst="bentConnector3">
              <a:avLst>
                <a:gd name="adj1" fmla="val 99959"/>
              </a:avLst>
            </a:prstGeom>
            <a:ln w="3492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xmlns="" id="{CFFAD338-1567-4D32-B1ED-99A9D51EFD52}"/>
                </a:ext>
              </a:extLst>
            </p:cNvPr>
            <p:cNvSpPr txBox="1"/>
            <p:nvPr/>
          </p:nvSpPr>
          <p:spPr>
            <a:xfrm>
              <a:off x="5838611" y="2143336"/>
              <a:ext cx="2790828" cy="665124"/>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dirty="0">
                  <a:latin typeface="Calibri" panose="020F0502020204030204" pitchFamily="34" charset="0"/>
                  <a:cs typeface="Calibri" panose="020F0502020204030204" pitchFamily="34" charset="0"/>
                </a:rPr>
                <a:t>In caso di richiesta di una prestazione (NASPI), INPS ne determina l’eleggibilità sul registro condiviso (compatibilità con “lavoretti”).</a:t>
              </a:r>
            </a:p>
          </p:txBody>
        </p:sp>
      </p:grpSp>
      <p:sp>
        <p:nvSpPr>
          <p:cNvPr id="72" name="Rettangolo 71">
            <a:extLst>
              <a:ext uri="{FF2B5EF4-FFF2-40B4-BE49-F238E27FC236}">
                <a16:creationId xmlns:a16="http://schemas.microsoft.com/office/drawing/2014/main" xmlns="" id="{6B6E8ED9-E961-D244-8C07-8B3CA71A43CE}"/>
              </a:ext>
            </a:extLst>
          </p:cNvPr>
          <p:cNvSpPr/>
          <p:nvPr/>
        </p:nvSpPr>
        <p:spPr>
          <a:xfrm>
            <a:off x="6481996" y="4331070"/>
            <a:ext cx="840490" cy="569419"/>
          </a:xfrm>
          <a:prstGeom prst="rect">
            <a:avLst/>
          </a:prstGeom>
          <a:gradFill>
            <a:gsLst>
              <a:gs pos="0">
                <a:schemeClr val="accent5">
                  <a:tint val="50000"/>
                  <a:satMod val="300000"/>
                  <a:alpha val="20000"/>
                </a:schemeClr>
              </a:gs>
              <a:gs pos="35000">
                <a:schemeClr val="accent5">
                  <a:tint val="37000"/>
                  <a:satMod val="300000"/>
                </a:schemeClr>
              </a:gs>
              <a:gs pos="100000">
                <a:schemeClr val="accent5">
                  <a:tint val="15000"/>
                  <a:satMod val="350000"/>
                </a:schemeClr>
              </a:gs>
            </a:gsLst>
          </a:gradFill>
          <a:ln>
            <a:solidFill>
              <a:srgbClr val="F04C3E">
                <a:alpha val="20000"/>
              </a:srgb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buClr>
                <a:srgbClr val="2C973E"/>
              </a:buClr>
              <a:buSzPct val="110000"/>
            </a:pPr>
            <a:r>
              <a:rPr lang="en-US" sz="999" b="1" dirty="0">
                <a:solidFill>
                  <a:schemeClr val="tx1"/>
                </a:solidFill>
                <a:latin typeface="Calibri" panose="020F0502020204030204" pitchFamily="34" charset="0"/>
                <a:cs typeface="Calibri" panose="020F0502020204030204" pitchFamily="34" charset="0"/>
              </a:rPr>
              <a:t>Richiesta</a:t>
            </a:r>
            <a:endParaRPr lang="en-US" sz="1199" b="1" dirty="0">
              <a:solidFill>
                <a:schemeClr val="tx1"/>
              </a:solidFill>
              <a:latin typeface="Calibri" panose="020F0502020204030204" pitchFamily="34" charset="0"/>
              <a:cs typeface="Calibri" panose="020F0502020204030204" pitchFamily="34" charset="0"/>
            </a:endParaRPr>
          </a:p>
        </p:txBody>
      </p:sp>
      <p:sp>
        <p:nvSpPr>
          <p:cNvPr id="74" name="Rettangolo 73">
            <a:extLst>
              <a:ext uri="{FF2B5EF4-FFF2-40B4-BE49-F238E27FC236}">
                <a16:creationId xmlns:a16="http://schemas.microsoft.com/office/drawing/2014/main" xmlns="" id="{03A6BBF9-AF53-414B-B064-5CD634BEB321}"/>
              </a:ext>
            </a:extLst>
          </p:cNvPr>
          <p:cNvSpPr/>
          <p:nvPr/>
        </p:nvSpPr>
        <p:spPr>
          <a:xfrm>
            <a:off x="7549596" y="4328064"/>
            <a:ext cx="868944" cy="569419"/>
          </a:xfrm>
          <a:prstGeom prst="rect">
            <a:avLst/>
          </a:prstGeom>
          <a:gradFill>
            <a:gsLst>
              <a:gs pos="0">
                <a:schemeClr val="accent5">
                  <a:tint val="50000"/>
                  <a:satMod val="300000"/>
                  <a:alpha val="20000"/>
                </a:schemeClr>
              </a:gs>
              <a:gs pos="35000">
                <a:schemeClr val="accent5">
                  <a:tint val="37000"/>
                  <a:satMod val="300000"/>
                </a:schemeClr>
              </a:gs>
              <a:gs pos="100000">
                <a:schemeClr val="accent5">
                  <a:tint val="15000"/>
                  <a:satMod val="350000"/>
                </a:schemeClr>
              </a:gs>
            </a:gsLst>
          </a:gradFill>
          <a:ln>
            <a:solidFill>
              <a:srgbClr val="F04C3E">
                <a:alpha val="20000"/>
              </a:srgb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Attivazione welfare</a:t>
            </a:r>
          </a:p>
        </p:txBody>
      </p:sp>
      <p:sp>
        <p:nvSpPr>
          <p:cNvPr id="78" name="Rettangolo 77">
            <a:extLst>
              <a:ext uri="{FF2B5EF4-FFF2-40B4-BE49-F238E27FC236}">
                <a16:creationId xmlns:a16="http://schemas.microsoft.com/office/drawing/2014/main" xmlns="" id="{67BBF12B-A4D0-954D-9283-73E5B4B45CFC}"/>
              </a:ext>
            </a:extLst>
          </p:cNvPr>
          <p:cNvSpPr/>
          <p:nvPr/>
        </p:nvSpPr>
        <p:spPr>
          <a:xfrm>
            <a:off x="8605159" y="4320039"/>
            <a:ext cx="868944" cy="569419"/>
          </a:xfrm>
          <a:prstGeom prst="rect">
            <a:avLst/>
          </a:prstGeom>
          <a:gradFill>
            <a:gsLst>
              <a:gs pos="0">
                <a:schemeClr val="accent5">
                  <a:tint val="50000"/>
                  <a:satMod val="300000"/>
                  <a:alpha val="20000"/>
                </a:schemeClr>
              </a:gs>
              <a:gs pos="35000">
                <a:schemeClr val="accent5">
                  <a:tint val="37000"/>
                  <a:satMod val="300000"/>
                </a:schemeClr>
              </a:gs>
              <a:gs pos="100000">
                <a:schemeClr val="accent5">
                  <a:tint val="15000"/>
                  <a:satMod val="350000"/>
                </a:schemeClr>
              </a:gs>
            </a:gsLst>
          </a:gradFill>
          <a:ln>
            <a:solidFill>
              <a:srgbClr val="F04C3E">
                <a:alpha val="20000"/>
              </a:srgb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Chiusura task</a:t>
            </a:r>
          </a:p>
        </p:txBody>
      </p:sp>
      <p:sp>
        <p:nvSpPr>
          <p:cNvPr id="81" name="Rettangolo 80">
            <a:extLst>
              <a:ext uri="{FF2B5EF4-FFF2-40B4-BE49-F238E27FC236}">
                <a16:creationId xmlns:a16="http://schemas.microsoft.com/office/drawing/2014/main" xmlns="" id="{8F5EBBBD-857A-BD40-B075-144DF03A7971}"/>
              </a:ext>
            </a:extLst>
          </p:cNvPr>
          <p:cNvSpPr/>
          <p:nvPr/>
        </p:nvSpPr>
        <p:spPr>
          <a:xfrm>
            <a:off x="9684162" y="4328064"/>
            <a:ext cx="868944" cy="569419"/>
          </a:xfrm>
          <a:prstGeom prst="rect">
            <a:avLst/>
          </a:prstGeom>
          <a:gradFill>
            <a:gsLst>
              <a:gs pos="0">
                <a:schemeClr val="accent5">
                  <a:tint val="50000"/>
                  <a:satMod val="300000"/>
                  <a:alpha val="20000"/>
                </a:schemeClr>
              </a:gs>
              <a:gs pos="35000">
                <a:schemeClr val="accent5">
                  <a:tint val="37000"/>
                  <a:satMod val="300000"/>
                </a:schemeClr>
              </a:gs>
              <a:gs pos="100000">
                <a:schemeClr val="accent5">
                  <a:tint val="15000"/>
                  <a:satMod val="350000"/>
                </a:schemeClr>
              </a:gs>
            </a:gsLst>
          </a:gradFill>
          <a:ln>
            <a:solidFill>
              <a:srgbClr val="F04C3E">
                <a:alpha val="20000"/>
              </a:srgb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Pagamento</a:t>
            </a:r>
          </a:p>
        </p:txBody>
      </p:sp>
      <p:sp>
        <p:nvSpPr>
          <p:cNvPr id="82" name="Rettangolo arrotondato 81">
            <a:extLst>
              <a:ext uri="{FF2B5EF4-FFF2-40B4-BE49-F238E27FC236}">
                <a16:creationId xmlns:a16="http://schemas.microsoft.com/office/drawing/2014/main" xmlns="" id="{E86FFE50-F091-D148-8DCB-E2CECF822310}"/>
              </a:ext>
            </a:extLst>
          </p:cNvPr>
          <p:cNvSpPr/>
          <p:nvPr/>
        </p:nvSpPr>
        <p:spPr>
          <a:xfrm>
            <a:off x="6096000" y="4149080"/>
            <a:ext cx="4732552" cy="912532"/>
          </a:xfrm>
          <a:prstGeom prst="roundRect">
            <a:avLst/>
          </a:prstGeom>
          <a:noFill/>
          <a:ln w="38100">
            <a:solidFill>
              <a:srgbClr val="424A60">
                <a:alpha val="2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Calibri" panose="020F0502020204030204" pitchFamily="34" charset="0"/>
              <a:cs typeface="Calibri" panose="020F0502020204030204" pitchFamily="34" charset="0"/>
            </a:endParaRPr>
          </a:p>
        </p:txBody>
      </p:sp>
      <p:sp>
        <p:nvSpPr>
          <p:cNvPr id="118" name="Rettangolo 71">
            <a:extLst>
              <a:ext uri="{FF2B5EF4-FFF2-40B4-BE49-F238E27FC236}">
                <a16:creationId xmlns:a16="http://schemas.microsoft.com/office/drawing/2014/main" xmlns="" id="{F383F4E8-91A6-4BE8-8816-882537C879A4}"/>
              </a:ext>
            </a:extLst>
          </p:cNvPr>
          <p:cNvSpPr/>
          <p:nvPr/>
        </p:nvSpPr>
        <p:spPr>
          <a:xfrm>
            <a:off x="6634316" y="4483391"/>
            <a:ext cx="840490" cy="569419"/>
          </a:xfrm>
          <a:prstGeom prst="rect">
            <a:avLst/>
          </a:prstGeom>
          <a:gradFill>
            <a:gsLst>
              <a:gs pos="0">
                <a:schemeClr val="accent5">
                  <a:tint val="50000"/>
                  <a:satMod val="300000"/>
                  <a:alpha val="4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4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buClr>
                <a:srgbClr val="2C973E"/>
              </a:buClr>
              <a:buSzPct val="110000"/>
            </a:pPr>
            <a:r>
              <a:rPr lang="en-US" sz="999" b="1" dirty="0">
                <a:solidFill>
                  <a:schemeClr val="tx1"/>
                </a:solidFill>
                <a:latin typeface="Calibri" panose="020F0502020204030204" pitchFamily="34" charset="0"/>
                <a:cs typeface="Calibri" panose="020F0502020204030204" pitchFamily="34" charset="0"/>
              </a:rPr>
              <a:t>Richiesta</a:t>
            </a:r>
            <a:endParaRPr lang="en-US" sz="1199" b="1" dirty="0">
              <a:solidFill>
                <a:schemeClr val="tx1"/>
              </a:solidFill>
              <a:latin typeface="Calibri" panose="020F0502020204030204" pitchFamily="34" charset="0"/>
              <a:cs typeface="Calibri" panose="020F0502020204030204" pitchFamily="34" charset="0"/>
            </a:endParaRPr>
          </a:p>
        </p:txBody>
      </p:sp>
      <p:sp>
        <p:nvSpPr>
          <p:cNvPr id="119" name="Rettangolo 73">
            <a:extLst>
              <a:ext uri="{FF2B5EF4-FFF2-40B4-BE49-F238E27FC236}">
                <a16:creationId xmlns:a16="http://schemas.microsoft.com/office/drawing/2014/main" xmlns="" id="{7E860714-58B8-43E4-8651-344B6B75E3DB}"/>
              </a:ext>
            </a:extLst>
          </p:cNvPr>
          <p:cNvSpPr/>
          <p:nvPr/>
        </p:nvSpPr>
        <p:spPr>
          <a:xfrm>
            <a:off x="7701916" y="4480385"/>
            <a:ext cx="868944" cy="569419"/>
          </a:xfrm>
          <a:prstGeom prst="rect">
            <a:avLst/>
          </a:prstGeom>
          <a:gradFill>
            <a:gsLst>
              <a:gs pos="0">
                <a:schemeClr val="accent5">
                  <a:tint val="50000"/>
                  <a:satMod val="300000"/>
                  <a:alpha val="4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4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Attivazione welfare</a:t>
            </a:r>
          </a:p>
        </p:txBody>
      </p:sp>
      <p:sp>
        <p:nvSpPr>
          <p:cNvPr id="120" name="Rettangolo 77">
            <a:extLst>
              <a:ext uri="{FF2B5EF4-FFF2-40B4-BE49-F238E27FC236}">
                <a16:creationId xmlns:a16="http://schemas.microsoft.com/office/drawing/2014/main" xmlns="" id="{5C584B79-DFB3-4CAD-A9D6-F4176C457362}"/>
              </a:ext>
            </a:extLst>
          </p:cNvPr>
          <p:cNvSpPr/>
          <p:nvPr/>
        </p:nvSpPr>
        <p:spPr>
          <a:xfrm>
            <a:off x="8757479" y="4472360"/>
            <a:ext cx="868944" cy="569419"/>
          </a:xfrm>
          <a:prstGeom prst="rect">
            <a:avLst/>
          </a:prstGeom>
          <a:gradFill>
            <a:gsLst>
              <a:gs pos="0">
                <a:schemeClr val="accent5">
                  <a:tint val="50000"/>
                  <a:satMod val="300000"/>
                  <a:alpha val="4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4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Chiusura task</a:t>
            </a:r>
          </a:p>
        </p:txBody>
      </p:sp>
      <p:sp>
        <p:nvSpPr>
          <p:cNvPr id="121" name="Rettangolo 80">
            <a:extLst>
              <a:ext uri="{FF2B5EF4-FFF2-40B4-BE49-F238E27FC236}">
                <a16:creationId xmlns:a16="http://schemas.microsoft.com/office/drawing/2014/main" xmlns="" id="{C25C248E-2BBF-4BFA-A099-1442C40A07BE}"/>
              </a:ext>
            </a:extLst>
          </p:cNvPr>
          <p:cNvSpPr/>
          <p:nvPr/>
        </p:nvSpPr>
        <p:spPr>
          <a:xfrm>
            <a:off x="9836482" y="4480385"/>
            <a:ext cx="868944" cy="569419"/>
          </a:xfrm>
          <a:prstGeom prst="rect">
            <a:avLst/>
          </a:prstGeom>
          <a:gradFill>
            <a:gsLst>
              <a:gs pos="0">
                <a:schemeClr val="accent5">
                  <a:tint val="50000"/>
                  <a:satMod val="300000"/>
                  <a:alpha val="4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4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Pagamento</a:t>
            </a:r>
          </a:p>
        </p:txBody>
      </p:sp>
      <p:sp>
        <p:nvSpPr>
          <p:cNvPr id="122" name="Rettangolo arrotondato 81">
            <a:extLst>
              <a:ext uri="{FF2B5EF4-FFF2-40B4-BE49-F238E27FC236}">
                <a16:creationId xmlns:a16="http://schemas.microsoft.com/office/drawing/2014/main" xmlns="" id="{10FFE8A3-678B-4913-AA6C-98036749710C}"/>
              </a:ext>
            </a:extLst>
          </p:cNvPr>
          <p:cNvSpPr/>
          <p:nvPr/>
        </p:nvSpPr>
        <p:spPr>
          <a:xfrm>
            <a:off x="6248320" y="4301401"/>
            <a:ext cx="4732552" cy="912532"/>
          </a:xfrm>
          <a:prstGeom prst="roundRect">
            <a:avLst/>
          </a:prstGeom>
          <a:noFill/>
          <a:ln w="38100">
            <a:solidFill>
              <a:srgbClr val="424A60">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Calibri" panose="020F0502020204030204" pitchFamily="34" charset="0"/>
              <a:cs typeface="Calibri" panose="020F0502020204030204" pitchFamily="34" charset="0"/>
            </a:endParaRPr>
          </a:p>
        </p:txBody>
      </p:sp>
      <p:sp>
        <p:nvSpPr>
          <p:cNvPr id="125" name="Rettangolo 71">
            <a:extLst>
              <a:ext uri="{FF2B5EF4-FFF2-40B4-BE49-F238E27FC236}">
                <a16:creationId xmlns:a16="http://schemas.microsoft.com/office/drawing/2014/main" xmlns="" id="{DCA1E7D1-F8D8-4E23-B6D3-34B95F9A6EEB}"/>
              </a:ext>
            </a:extLst>
          </p:cNvPr>
          <p:cNvSpPr/>
          <p:nvPr/>
        </p:nvSpPr>
        <p:spPr>
          <a:xfrm>
            <a:off x="6786637" y="4635711"/>
            <a:ext cx="840490" cy="569419"/>
          </a:xfrm>
          <a:prstGeom prst="rect">
            <a:avLst/>
          </a:prstGeom>
          <a:gradFill>
            <a:gsLst>
              <a:gs pos="0">
                <a:schemeClr val="accent5">
                  <a:tint val="50000"/>
                  <a:satMod val="300000"/>
                  <a:alpha val="6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6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buClr>
                <a:srgbClr val="2C973E"/>
              </a:buClr>
              <a:buSzPct val="110000"/>
            </a:pPr>
            <a:r>
              <a:rPr lang="en-US" sz="999" b="1" dirty="0">
                <a:solidFill>
                  <a:schemeClr val="tx1"/>
                </a:solidFill>
                <a:latin typeface="Calibri" panose="020F0502020204030204" pitchFamily="34" charset="0"/>
                <a:cs typeface="Calibri" panose="020F0502020204030204" pitchFamily="34" charset="0"/>
              </a:rPr>
              <a:t>Richiesta</a:t>
            </a:r>
            <a:endParaRPr lang="en-US" sz="1199" b="1" dirty="0">
              <a:solidFill>
                <a:schemeClr val="tx1"/>
              </a:solidFill>
              <a:latin typeface="Calibri" panose="020F0502020204030204" pitchFamily="34" charset="0"/>
              <a:cs typeface="Calibri" panose="020F0502020204030204" pitchFamily="34" charset="0"/>
            </a:endParaRPr>
          </a:p>
        </p:txBody>
      </p:sp>
      <p:sp>
        <p:nvSpPr>
          <p:cNvPr id="126" name="Rettangolo 73">
            <a:extLst>
              <a:ext uri="{FF2B5EF4-FFF2-40B4-BE49-F238E27FC236}">
                <a16:creationId xmlns:a16="http://schemas.microsoft.com/office/drawing/2014/main" xmlns="" id="{E21780CE-D5DD-41FC-9D5C-373043E1E012}"/>
              </a:ext>
            </a:extLst>
          </p:cNvPr>
          <p:cNvSpPr/>
          <p:nvPr/>
        </p:nvSpPr>
        <p:spPr>
          <a:xfrm>
            <a:off x="7854237" y="4632705"/>
            <a:ext cx="868944" cy="569419"/>
          </a:xfrm>
          <a:prstGeom prst="rect">
            <a:avLst/>
          </a:prstGeom>
          <a:gradFill>
            <a:gsLst>
              <a:gs pos="0">
                <a:schemeClr val="accent5">
                  <a:tint val="50000"/>
                  <a:satMod val="300000"/>
                  <a:alpha val="6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6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Attivazione welfare</a:t>
            </a:r>
          </a:p>
        </p:txBody>
      </p:sp>
      <p:sp>
        <p:nvSpPr>
          <p:cNvPr id="127" name="Rettangolo 77">
            <a:extLst>
              <a:ext uri="{FF2B5EF4-FFF2-40B4-BE49-F238E27FC236}">
                <a16:creationId xmlns:a16="http://schemas.microsoft.com/office/drawing/2014/main" xmlns="" id="{93D84FD8-AA01-4330-86A5-331550DB832B}"/>
              </a:ext>
            </a:extLst>
          </p:cNvPr>
          <p:cNvSpPr/>
          <p:nvPr/>
        </p:nvSpPr>
        <p:spPr>
          <a:xfrm>
            <a:off x="8909800" y="4624680"/>
            <a:ext cx="868944" cy="569419"/>
          </a:xfrm>
          <a:prstGeom prst="rect">
            <a:avLst/>
          </a:prstGeom>
          <a:gradFill>
            <a:gsLst>
              <a:gs pos="0">
                <a:schemeClr val="accent5">
                  <a:tint val="50000"/>
                  <a:satMod val="300000"/>
                  <a:alpha val="6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6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Chiusura task</a:t>
            </a:r>
          </a:p>
        </p:txBody>
      </p:sp>
      <p:sp>
        <p:nvSpPr>
          <p:cNvPr id="128" name="Rettangolo 80">
            <a:extLst>
              <a:ext uri="{FF2B5EF4-FFF2-40B4-BE49-F238E27FC236}">
                <a16:creationId xmlns:a16="http://schemas.microsoft.com/office/drawing/2014/main" xmlns="" id="{6B8DCC30-2E4D-491D-9FBB-B7482740A260}"/>
              </a:ext>
            </a:extLst>
          </p:cNvPr>
          <p:cNvSpPr/>
          <p:nvPr/>
        </p:nvSpPr>
        <p:spPr>
          <a:xfrm>
            <a:off x="9988803" y="4632705"/>
            <a:ext cx="868944" cy="569419"/>
          </a:xfrm>
          <a:prstGeom prst="rect">
            <a:avLst/>
          </a:prstGeom>
          <a:gradFill>
            <a:gsLst>
              <a:gs pos="0">
                <a:schemeClr val="accent5">
                  <a:tint val="50000"/>
                  <a:satMod val="300000"/>
                  <a:alpha val="6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6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Pagamento</a:t>
            </a:r>
          </a:p>
        </p:txBody>
      </p:sp>
      <p:sp>
        <p:nvSpPr>
          <p:cNvPr id="129" name="Rettangolo arrotondato 81">
            <a:extLst>
              <a:ext uri="{FF2B5EF4-FFF2-40B4-BE49-F238E27FC236}">
                <a16:creationId xmlns:a16="http://schemas.microsoft.com/office/drawing/2014/main" xmlns="" id="{A8A71568-16EC-428F-9A3C-B1CDC4BD0E4D}"/>
              </a:ext>
            </a:extLst>
          </p:cNvPr>
          <p:cNvSpPr/>
          <p:nvPr/>
        </p:nvSpPr>
        <p:spPr>
          <a:xfrm>
            <a:off x="6400641" y="4453721"/>
            <a:ext cx="4732552" cy="912532"/>
          </a:xfrm>
          <a:prstGeom prst="roundRect">
            <a:avLst/>
          </a:prstGeom>
          <a:noFill/>
          <a:ln w="38100">
            <a:solidFill>
              <a:srgbClr val="424A6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Calibri" panose="020F0502020204030204" pitchFamily="34" charset="0"/>
              <a:cs typeface="Calibri" panose="020F0502020204030204" pitchFamily="34" charset="0"/>
            </a:endParaRPr>
          </a:p>
        </p:txBody>
      </p:sp>
      <p:sp>
        <p:nvSpPr>
          <p:cNvPr id="132" name="Rettangolo 71">
            <a:extLst>
              <a:ext uri="{FF2B5EF4-FFF2-40B4-BE49-F238E27FC236}">
                <a16:creationId xmlns:a16="http://schemas.microsoft.com/office/drawing/2014/main" xmlns="" id="{9B616A76-5446-4873-AD5A-F0BA1E648C53}"/>
              </a:ext>
            </a:extLst>
          </p:cNvPr>
          <p:cNvSpPr/>
          <p:nvPr/>
        </p:nvSpPr>
        <p:spPr>
          <a:xfrm>
            <a:off x="6938958" y="4788032"/>
            <a:ext cx="840490" cy="569419"/>
          </a:xfrm>
          <a:prstGeom prst="rect">
            <a:avLst/>
          </a:prstGeom>
          <a:gradFill>
            <a:gsLst>
              <a:gs pos="0">
                <a:schemeClr val="accent5">
                  <a:tint val="50000"/>
                  <a:satMod val="300000"/>
                  <a:alpha val="8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8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buClr>
                <a:srgbClr val="2C973E"/>
              </a:buClr>
              <a:buSzPct val="110000"/>
            </a:pPr>
            <a:r>
              <a:rPr lang="en-US" sz="999" b="1" dirty="0">
                <a:solidFill>
                  <a:schemeClr val="tx1"/>
                </a:solidFill>
                <a:latin typeface="Calibri" panose="020F0502020204030204" pitchFamily="34" charset="0"/>
                <a:cs typeface="Calibri" panose="020F0502020204030204" pitchFamily="34" charset="0"/>
              </a:rPr>
              <a:t>Richiesta</a:t>
            </a:r>
            <a:endParaRPr lang="en-US" sz="1199" b="1" dirty="0">
              <a:solidFill>
                <a:schemeClr val="tx1"/>
              </a:solidFill>
              <a:latin typeface="Calibri" panose="020F0502020204030204" pitchFamily="34" charset="0"/>
              <a:cs typeface="Calibri" panose="020F0502020204030204" pitchFamily="34" charset="0"/>
            </a:endParaRPr>
          </a:p>
        </p:txBody>
      </p:sp>
      <p:sp>
        <p:nvSpPr>
          <p:cNvPr id="133" name="Rettangolo 73">
            <a:extLst>
              <a:ext uri="{FF2B5EF4-FFF2-40B4-BE49-F238E27FC236}">
                <a16:creationId xmlns:a16="http://schemas.microsoft.com/office/drawing/2014/main" xmlns="" id="{1E45CD51-A55A-4339-8B93-2588A0C89194}"/>
              </a:ext>
            </a:extLst>
          </p:cNvPr>
          <p:cNvSpPr/>
          <p:nvPr/>
        </p:nvSpPr>
        <p:spPr>
          <a:xfrm>
            <a:off x="8006558" y="4785026"/>
            <a:ext cx="868944" cy="569419"/>
          </a:xfrm>
          <a:prstGeom prst="rect">
            <a:avLst/>
          </a:prstGeom>
          <a:gradFill>
            <a:gsLst>
              <a:gs pos="0">
                <a:schemeClr val="accent5">
                  <a:tint val="50000"/>
                  <a:satMod val="300000"/>
                  <a:alpha val="8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8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Attivazione welfare</a:t>
            </a:r>
          </a:p>
        </p:txBody>
      </p:sp>
      <p:sp>
        <p:nvSpPr>
          <p:cNvPr id="134" name="Rettangolo 77">
            <a:extLst>
              <a:ext uri="{FF2B5EF4-FFF2-40B4-BE49-F238E27FC236}">
                <a16:creationId xmlns:a16="http://schemas.microsoft.com/office/drawing/2014/main" xmlns="" id="{24E74F33-47F9-42AB-9060-96FC7C801993}"/>
              </a:ext>
            </a:extLst>
          </p:cNvPr>
          <p:cNvSpPr/>
          <p:nvPr/>
        </p:nvSpPr>
        <p:spPr>
          <a:xfrm>
            <a:off x="9062121" y="4777001"/>
            <a:ext cx="868944" cy="569419"/>
          </a:xfrm>
          <a:prstGeom prst="rect">
            <a:avLst/>
          </a:prstGeom>
          <a:gradFill>
            <a:gsLst>
              <a:gs pos="0">
                <a:schemeClr val="accent5">
                  <a:tint val="50000"/>
                  <a:satMod val="300000"/>
                  <a:alpha val="8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8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Chiusura task</a:t>
            </a:r>
          </a:p>
        </p:txBody>
      </p:sp>
      <p:sp>
        <p:nvSpPr>
          <p:cNvPr id="135" name="Rettangolo 80">
            <a:extLst>
              <a:ext uri="{FF2B5EF4-FFF2-40B4-BE49-F238E27FC236}">
                <a16:creationId xmlns:a16="http://schemas.microsoft.com/office/drawing/2014/main" xmlns="" id="{B120F464-8971-4993-B966-E2A886B825B2}"/>
              </a:ext>
            </a:extLst>
          </p:cNvPr>
          <p:cNvSpPr/>
          <p:nvPr/>
        </p:nvSpPr>
        <p:spPr>
          <a:xfrm>
            <a:off x="10141124" y="4785026"/>
            <a:ext cx="868944" cy="569419"/>
          </a:xfrm>
          <a:prstGeom prst="rect">
            <a:avLst/>
          </a:prstGeom>
          <a:gradFill>
            <a:gsLst>
              <a:gs pos="0">
                <a:schemeClr val="accent5">
                  <a:tint val="50000"/>
                  <a:satMod val="300000"/>
                  <a:alpha val="80000"/>
                </a:schemeClr>
              </a:gs>
              <a:gs pos="35000">
                <a:schemeClr val="accent5">
                  <a:tint val="37000"/>
                  <a:satMod val="300000"/>
                </a:schemeClr>
              </a:gs>
              <a:gs pos="100000">
                <a:schemeClr val="accent5">
                  <a:tint val="15000"/>
                  <a:satMod val="350000"/>
                </a:schemeClr>
              </a:gs>
            </a:gsLst>
          </a:gradFill>
          <a:ln>
            <a:solidFill>
              <a:schemeClr val="accent5">
                <a:shade val="95000"/>
                <a:satMod val="105000"/>
                <a:alpha val="80000"/>
              </a:schemeClr>
            </a:soli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Pagamento</a:t>
            </a:r>
          </a:p>
        </p:txBody>
      </p:sp>
      <p:sp>
        <p:nvSpPr>
          <p:cNvPr id="136" name="Rettangolo arrotondato 81">
            <a:extLst>
              <a:ext uri="{FF2B5EF4-FFF2-40B4-BE49-F238E27FC236}">
                <a16:creationId xmlns:a16="http://schemas.microsoft.com/office/drawing/2014/main" xmlns="" id="{89EFF096-A865-4F5B-93EB-1789F06F1F94}"/>
              </a:ext>
            </a:extLst>
          </p:cNvPr>
          <p:cNvSpPr/>
          <p:nvPr/>
        </p:nvSpPr>
        <p:spPr>
          <a:xfrm>
            <a:off x="6552962" y="4606042"/>
            <a:ext cx="4732552" cy="912532"/>
          </a:xfrm>
          <a:prstGeom prst="roundRect">
            <a:avLst/>
          </a:prstGeom>
          <a:noFill/>
          <a:ln w="38100">
            <a:solidFill>
              <a:srgbClr val="424A60">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Calibri" panose="020F0502020204030204" pitchFamily="34" charset="0"/>
              <a:cs typeface="Calibri" panose="020F0502020204030204" pitchFamily="34" charset="0"/>
            </a:endParaRPr>
          </a:p>
        </p:txBody>
      </p:sp>
      <p:sp>
        <p:nvSpPr>
          <p:cNvPr id="139" name="Rettangolo 71">
            <a:extLst>
              <a:ext uri="{FF2B5EF4-FFF2-40B4-BE49-F238E27FC236}">
                <a16:creationId xmlns:a16="http://schemas.microsoft.com/office/drawing/2014/main" xmlns="" id="{3DDE4C7B-2E12-4A54-B020-064797C2B3BB}"/>
              </a:ext>
            </a:extLst>
          </p:cNvPr>
          <p:cNvSpPr/>
          <p:nvPr/>
        </p:nvSpPr>
        <p:spPr>
          <a:xfrm>
            <a:off x="7091278" y="4940353"/>
            <a:ext cx="840490" cy="569419"/>
          </a:xfrm>
          <a:prstGeom prst="rect">
            <a:avLst/>
          </a:prstGeom>
          <a:gradFill>
            <a:gsLst>
              <a:gs pos="0">
                <a:schemeClr val="accent5">
                  <a:tint val="50000"/>
                  <a:satMod val="300000"/>
                </a:schemeClr>
              </a:gs>
              <a:gs pos="35000">
                <a:schemeClr val="accent5">
                  <a:tint val="37000"/>
                  <a:satMod val="300000"/>
                </a:schemeClr>
              </a:gs>
              <a:gs pos="100000">
                <a:schemeClr val="accent5">
                  <a:tint val="15000"/>
                  <a:satMod val="350000"/>
                </a:schemeClr>
              </a:gs>
            </a:gsLst>
          </a:gradFill>
          <a:ln/>
        </p:spPr>
        <p:style>
          <a:lnRef idx="1">
            <a:schemeClr val="accent5"/>
          </a:lnRef>
          <a:fillRef idx="2">
            <a:schemeClr val="accent5"/>
          </a:fillRef>
          <a:effectRef idx="1">
            <a:schemeClr val="accent5"/>
          </a:effectRef>
          <a:fontRef idx="minor">
            <a:schemeClr val="dk1"/>
          </a:fontRef>
        </p:style>
        <p:txBody>
          <a:bodyPr rtlCol="0" anchor="ctr" anchorCtr="0"/>
          <a:lstStyle/>
          <a:p>
            <a:pPr algn="ctr">
              <a:buClr>
                <a:srgbClr val="2C973E"/>
              </a:buClr>
              <a:buSzPct val="110000"/>
            </a:pPr>
            <a:r>
              <a:rPr lang="en-US" sz="999" b="1" dirty="0">
                <a:solidFill>
                  <a:schemeClr val="tx1"/>
                </a:solidFill>
                <a:latin typeface="Calibri" panose="020F0502020204030204" pitchFamily="34" charset="0"/>
                <a:cs typeface="Calibri" panose="020F0502020204030204" pitchFamily="34" charset="0"/>
              </a:rPr>
              <a:t>Richiesta</a:t>
            </a:r>
            <a:endParaRPr lang="en-US" sz="1199" b="1" dirty="0">
              <a:solidFill>
                <a:schemeClr val="tx1"/>
              </a:solidFill>
              <a:latin typeface="Calibri" panose="020F0502020204030204" pitchFamily="34" charset="0"/>
              <a:cs typeface="Calibri" panose="020F0502020204030204" pitchFamily="34" charset="0"/>
            </a:endParaRPr>
          </a:p>
        </p:txBody>
      </p:sp>
      <p:sp>
        <p:nvSpPr>
          <p:cNvPr id="140" name="Rettangolo 73">
            <a:extLst>
              <a:ext uri="{FF2B5EF4-FFF2-40B4-BE49-F238E27FC236}">
                <a16:creationId xmlns:a16="http://schemas.microsoft.com/office/drawing/2014/main" xmlns="" id="{66D94763-F9C4-483A-BE93-520B7A0B6C33}"/>
              </a:ext>
            </a:extLst>
          </p:cNvPr>
          <p:cNvSpPr/>
          <p:nvPr/>
        </p:nvSpPr>
        <p:spPr>
          <a:xfrm>
            <a:off x="8158878" y="4937347"/>
            <a:ext cx="868944" cy="56941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Attivazione welfare</a:t>
            </a:r>
          </a:p>
        </p:txBody>
      </p:sp>
      <p:sp>
        <p:nvSpPr>
          <p:cNvPr id="141" name="Rettangolo 77">
            <a:extLst>
              <a:ext uri="{FF2B5EF4-FFF2-40B4-BE49-F238E27FC236}">
                <a16:creationId xmlns:a16="http://schemas.microsoft.com/office/drawing/2014/main" xmlns="" id="{7A555EF8-0ED0-403B-A003-B78C8E05A8EA}"/>
              </a:ext>
            </a:extLst>
          </p:cNvPr>
          <p:cNvSpPr/>
          <p:nvPr/>
        </p:nvSpPr>
        <p:spPr>
          <a:xfrm>
            <a:off x="9214441" y="4929322"/>
            <a:ext cx="868944" cy="56941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Chiusura task</a:t>
            </a:r>
          </a:p>
        </p:txBody>
      </p:sp>
      <p:sp>
        <p:nvSpPr>
          <p:cNvPr id="142" name="Rettangolo 80">
            <a:extLst>
              <a:ext uri="{FF2B5EF4-FFF2-40B4-BE49-F238E27FC236}">
                <a16:creationId xmlns:a16="http://schemas.microsoft.com/office/drawing/2014/main" xmlns="" id="{6C2BE822-EF38-48FC-940C-4BB2F655E17C}"/>
              </a:ext>
            </a:extLst>
          </p:cNvPr>
          <p:cNvSpPr/>
          <p:nvPr/>
        </p:nvSpPr>
        <p:spPr>
          <a:xfrm>
            <a:off x="10293444" y="4937347"/>
            <a:ext cx="868944" cy="56941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algn="ctr"/>
            <a:r>
              <a:rPr lang="en-US" sz="999" b="1" dirty="0">
                <a:solidFill>
                  <a:schemeClr val="tx1"/>
                </a:solidFill>
                <a:latin typeface="Calibri" panose="020F0502020204030204" pitchFamily="34" charset="0"/>
                <a:cs typeface="Calibri" panose="020F0502020204030204" pitchFamily="34" charset="0"/>
              </a:rPr>
              <a:t>Pagamento</a:t>
            </a:r>
          </a:p>
        </p:txBody>
      </p:sp>
      <p:pic>
        <p:nvPicPr>
          <p:cNvPr id="88" name="Graphic 51" descr="Magnifying glass">
            <a:extLst>
              <a:ext uri="{FF2B5EF4-FFF2-40B4-BE49-F238E27FC236}">
                <a16:creationId xmlns:a16="http://schemas.microsoft.com/office/drawing/2014/main" xmlns="" id="{E8F291DD-EE2C-4D33-98A8-91345352C0C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71852" y="2017510"/>
            <a:ext cx="913924" cy="913924"/>
          </a:xfrm>
          <a:prstGeom prst="rect">
            <a:avLst/>
          </a:prstGeom>
          <a:ln>
            <a:noFill/>
          </a:ln>
        </p:spPr>
      </p:pic>
      <p:cxnSp>
        <p:nvCxnSpPr>
          <p:cNvPr id="73" name="Connettore 4 39">
            <a:extLst>
              <a:ext uri="{FF2B5EF4-FFF2-40B4-BE49-F238E27FC236}">
                <a16:creationId xmlns:a16="http://schemas.microsoft.com/office/drawing/2014/main" xmlns="" id="{1B5C83AF-20BC-45CA-9DD5-0BC462F4D301}"/>
              </a:ext>
            </a:extLst>
          </p:cNvPr>
          <p:cNvCxnSpPr>
            <a:cxnSpLocks/>
          </p:cNvCxnSpPr>
          <p:nvPr/>
        </p:nvCxnSpPr>
        <p:spPr>
          <a:xfrm>
            <a:off x="5643357" y="3901249"/>
            <a:ext cx="3118250" cy="339917"/>
          </a:xfrm>
          <a:prstGeom prst="bentConnector3">
            <a:avLst>
              <a:gd name="adj1" fmla="val 99825"/>
            </a:avLst>
          </a:prstGeom>
          <a:ln w="3492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xmlns="" id="{CC40D8BE-877A-43A7-8919-73D5FB495917}"/>
              </a:ext>
            </a:extLst>
          </p:cNvPr>
          <p:cNvSpPr txBox="1"/>
          <p:nvPr/>
        </p:nvSpPr>
        <p:spPr>
          <a:xfrm>
            <a:off x="5727802" y="3426145"/>
            <a:ext cx="4702405" cy="455490"/>
          </a:xfrm>
          <a:prstGeom prst="rect">
            <a:avLst/>
          </a:prstGeom>
          <a:noFill/>
        </p:spPr>
        <p:txBody>
          <a:bodyPr wrap="square" lIns="0" tIns="36557" rIns="0" bIns="0" rtlCol="0">
            <a:spAutoFit/>
          </a:bodyPr>
          <a:lstStyle/>
          <a:p>
            <a:pPr algn="just">
              <a:lnSpc>
                <a:spcPct val="85000"/>
              </a:lnSpc>
              <a:spcAft>
                <a:spcPts val="600"/>
              </a:spcAft>
              <a:buClr>
                <a:schemeClr val="accent2"/>
              </a:buClr>
              <a:buSzPct val="70000"/>
            </a:pPr>
            <a:r>
              <a:rPr lang="it-IT" sz="1600" dirty="0">
                <a:latin typeface="Calibri" panose="020F0502020204030204" pitchFamily="34" charset="0"/>
                <a:cs typeface="Calibri" panose="020F0502020204030204" pitchFamily="34" charset="0"/>
              </a:rPr>
              <a:t>ANPAL estrae dati dal registro condiviso per aggiornare il profile del lavoratore e per finalità statistiche.</a:t>
            </a:r>
          </a:p>
        </p:txBody>
      </p:sp>
      <p:pic>
        <p:nvPicPr>
          <p:cNvPr id="89" name="Graphic 51" descr="Magnifying glass">
            <a:extLst>
              <a:ext uri="{FF2B5EF4-FFF2-40B4-BE49-F238E27FC236}">
                <a16:creationId xmlns:a16="http://schemas.microsoft.com/office/drawing/2014/main" xmlns="" id="{E8F291DD-EE2C-4D33-98A8-91345352C0C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71852" y="3284984"/>
            <a:ext cx="913924" cy="913924"/>
          </a:xfrm>
          <a:prstGeom prst="rect">
            <a:avLst/>
          </a:prstGeom>
          <a:ln>
            <a:noFill/>
          </a:ln>
        </p:spPr>
      </p:pic>
      <p:sp>
        <p:nvSpPr>
          <p:cNvPr id="65"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latin typeface="Calibri" panose="020F0502020204030204" pitchFamily="34" charset="0"/>
              </a:rPr>
              <a:t>Use case</a:t>
            </a:r>
          </a:p>
          <a:p>
            <a:r>
              <a:rPr lang="it-IT" sz="2400" i="1" dirty="0">
                <a:latin typeface="Calibri" panose="020F0502020204030204" pitchFamily="34" charset="0"/>
                <a:cs typeface="Calibri" panose="020F0502020204030204" pitchFamily="34" charset="0"/>
              </a:rPr>
              <a:t>Verifica delle prestazioni richieste</a:t>
            </a:r>
            <a:endParaRPr lang="en-US" sz="2400" i="1" dirty="0">
              <a:latin typeface="Calibri" panose="020F0502020204030204" pitchFamily="34" charset="0"/>
              <a:cs typeface="Calibri" panose="020F0502020204030204" pitchFamily="34" charset="0"/>
            </a:endParaRPr>
          </a:p>
        </p:txBody>
      </p:sp>
      <p:grpSp>
        <p:nvGrpSpPr>
          <p:cNvPr id="90" name="Group 89"/>
          <p:cNvGrpSpPr/>
          <p:nvPr/>
        </p:nvGrpSpPr>
        <p:grpSpPr>
          <a:xfrm>
            <a:off x="717677" y="1747026"/>
            <a:ext cx="4080647" cy="3495683"/>
            <a:chOff x="717677" y="1747026"/>
            <a:chExt cx="4080647" cy="3495683"/>
          </a:xfrm>
        </p:grpSpPr>
        <p:grpSp>
          <p:nvGrpSpPr>
            <p:cNvPr id="91" name="Group 90"/>
            <p:cNvGrpSpPr>
              <a:grpSpLocks noChangeAspect="1"/>
            </p:cNvGrpSpPr>
            <p:nvPr/>
          </p:nvGrpSpPr>
          <p:grpSpPr>
            <a:xfrm>
              <a:off x="837651" y="1747026"/>
              <a:ext cx="3580149" cy="3257748"/>
              <a:chOff x="993342" y="1747026"/>
              <a:chExt cx="2765183" cy="2516177"/>
            </a:xfrm>
          </p:grpSpPr>
          <p:sp>
            <p:nvSpPr>
              <p:cNvPr id="104" name="Ovale 3">
                <a:extLst>
                  <a:ext uri="{FF2B5EF4-FFF2-40B4-BE49-F238E27FC236}">
                    <a16:creationId xmlns:a16="http://schemas.microsoft.com/office/drawing/2014/main" xmlns="" id="{5FF81F9A-B446-4640-90B8-089C63DECFCE}"/>
                  </a:ext>
                </a:extLst>
              </p:cNvPr>
              <p:cNvSpPr/>
              <p:nvPr/>
            </p:nvSpPr>
            <p:spPr>
              <a:xfrm>
                <a:off x="993342" y="1889285"/>
                <a:ext cx="2765183" cy="2373918"/>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lumMod val="50000"/>
                    </a:schemeClr>
                  </a:solidFill>
                  <a:latin typeface="Calibri" panose="020F0502020204030204" pitchFamily="34" charset="0"/>
                  <a:cs typeface="Calibri" panose="020F0502020204030204" pitchFamily="34" charset="0"/>
                </a:endParaRPr>
              </a:p>
            </p:txBody>
          </p:sp>
          <p:pic>
            <p:nvPicPr>
              <p:cNvPr id="105" name="Picture 10" descr="Immagine correlata">
                <a:extLst>
                  <a:ext uri="{FF2B5EF4-FFF2-40B4-BE49-F238E27FC236}">
                    <a16:creationId xmlns:a16="http://schemas.microsoft.com/office/drawing/2014/main" xmlns="" id="{4CA185BB-776C-F84B-8ED2-7D88E685285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2427" b="32603"/>
              <a:stretch/>
            </p:blipFill>
            <p:spPr bwMode="auto">
              <a:xfrm>
                <a:off x="1954266" y="1747026"/>
                <a:ext cx="791332" cy="284517"/>
              </a:xfrm>
              <a:prstGeom prst="rect">
                <a:avLst/>
              </a:prstGeom>
              <a:noFill/>
              <a:extLst>
                <a:ext uri="{909E8E84-426E-40DD-AFC4-6F175D3DCCD1}">
                  <a14:hiddenFill xmlns:a14="http://schemas.microsoft.com/office/drawing/2010/main">
                    <a:solidFill>
                      <a:srgbClr val="FFFFFF"/>
                    </a:solidFill>
                  </a14:hiddenFill>
                </a:ext>
              </a:extLst>
            </p:spPr>
          </p:pic>
        </p:grpSp>
        <p:pic>
          <p:nvPicPr>
            <p:cNvPr id="92" name="Picture 2" descr="Risultati immagini per INPS"/>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748" t="6558" r="15080" b="4905"/>
            <a:stretch/>
          </p:blipFill>
          <p:spPr bwMode="auto">
            <a:xfrm>
              <a:off x="737109" y="2468800"/>
              <a:ext cx="530021" cy="668741"/>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Group 92"/>
            <p:cNvGrpSpPr/>
            <p:nvPr/>
          </p:nvGrpSpPr>
          <p:grpSpPr>
            <a:xfrm>
              <a:off x="1985959" y="4640145"/>
              <a:ext cx="1243776" cy="602564"/>
              <a:chOff x="1985959" y="4640145"/>
              <a:chExt cx="1243776" cy="602564"/>
            </a:xfrm>
          </p:grpSpPr>
          <p:sp>
            <p:nvSpPr>
              <p:cNvPr id="99" name="Rectangle 98"/>
              <p:cNvSpPr/>
              <p:nvPr/>
            </p:nvSpPr>
            <p:spPr>
              <a:xfrm>
                <a:off x="1985959" y="4640145"/>
                <a:ext cx="1243776" cy="602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nvGrpSpPr>
              <p:cNvPr id="100" name="Group 99"/>
              <p:cNvGrpSpPr>
                <a:grpSpLocks noChangeAspect="1"/>
              </p:cNvGrpSpPr>
              <p:nvPr/>
            </p:nvGrpSpPr>
            <p:grpSpPr>
              <a:xfrm>
                <a:off x="2042146" y="4723174"/>
                <a:ext cx="1171158" cy="436507"/>
                <a:chOff x="6759083" y="178786"/>
                <a:chExt cx="1558811" cy="580991"/>
              </a:xfrm>
            </p:grpSpPr>
            <p:pic>
              <p:nvPicPr>
                <p:cNvPr id="101" name="Picture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59083" y="178786"/>
                  <a:ext cx="580991" cy="580991"/>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44519" y="206865"/>
                  <a:ext cx="524833" cy="524832"/>
                </a:xfrm>
                <a:prstGeom prst="rect">
                  <a:avLst/>
                </a:prstGeom>
              </p:spPr>
            </p:pic>
            <p:pic>
              <p:nvPicPr>
                <p:cNvPr id="103" name="Picture 1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72375" y="196522"/>
                  <a:ext cx="545519" cy="545519"/>
                </a:xfrm>
                <a:prstGeom prst="rect">
                  <a:avLst/>
                </a:prstGeom>
              </p:spPr>
            </p:pic>
          </p:grpSp>
        </p:grpSp>
        <p:sp>
          <p:nvSpPr>
            <p:cNvPr id="94" name="Rectangle 93"/>
            <p:cNvSpPr/>
            <p:nvPr/>
          </p:nvSpPr>
          <p:spPr>
            <a:xfrm>
              <a:off x="3554549" y="3978068"/>
              <a:ext cx="1243775" cy="452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95" name="Picture 9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11100" y="2338959"/>
              <a:ext cx="724816" cy="724816"/>
            </a:xfrm>
            <a:prstGeom prst="rect">
              <a:avLst/>
            </a:prstGeom>
          </p:spPr>
        </p:pic>
        <p:grpSp>
          <p:nvGrpSpPr>
            <p:cNvPr id="96" name="Group 95"/>
            <p:cNvGrpSpPr/>
            <p:nvPr/>
          </p:nvGrpSpPr>
          <p:grpSpPr>
            <a:xfrm>
              <a:off x="717677" y="3881649"/>
              <a:ext cx="833000" cy="758496"/>
              <a:chOff x="717677" y="3881649"/>
              <a:chExt cx="833000" cy="758496"/>
            </a:xfrm>
          </p:grpSpPr>
          <p:sp>
            <p:nvSpPr>
              <p:cNvPr id="97" name="Rectangle 96"/>
              <p:cNvSpPr/>
              <p:nvPr/>
            </p:nvSpPr>
            <p:spPr>
              <a:xfrm>
                <a:off x="783423" y="3881649"/>
                <a:ext cx="767254" cy="758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98" name="Picture 9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7677" y="3927119"/>
                <a:ext cx="713026" cy="713026"/>
              </a:xfrm>
              <a:prstGeom prst="rect">
                <a:avLst/>
              </a:prstGeom>
            </p:spPr>
          </p:pic>
        </p:grpSp>
      </p:grpSp>
      <p:sp>
        <p:nvSpPr>
          <p:cNvPr id="109" name="Rectangle 108"/>
          <p:cNvSpPr/>
          <p:nvPr/>
        </p:nvSpPr>
        <p:spPr>
          <a:xfrm>
            <a:off x="3554549" y="3822548"/>
            <a:ext cx="1243775" cy="75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10" name="Picture 12" descr="Risultati immagini per ministero lavoro">
            <a:extLst>
              <a:ext uri="{FF2B5EF4-FFF2-40B4-BE49-F238E27FC236}">
                <a16:creationId xmlns:a16="http://schemas.microsoft.com/office/drawing/2014/main" xmlns="" id="{506789D8-B83B-134E-B18C-80FF085A109F}"/>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9643" b="13418"/>
          <a:stretch/>
        </p:blipFill>
        <p:spPr bwMode="auto">
          <a:xfrm>
            <a:off x="3850417" y="4150084"/>
            <a:ext cx="585633" cy="385609"/>
          </a:xfrm>
          <a:prstGeom prst="rect">
            <a:avLst/>
          </a:prstGeom>
          <a:noFill/>
          <a:extLst>
            <a:ext uri="{909E8E84-426E-40DD-AFC4-6F175D3DCCD1}">
              <a14:hiddenFill xmlns:a14="http://schemas.microsoft.com/office/drawing/2010/main">
                <a:solidFill>
                  <a:srgbClr val="FFFFFF"/>
                </a:solidFill>
              </a14:hiddenFill>
            </a:ext>
          </a:extLst>
        </p:spPr>
      </p:pic>
      <p:pic>
        <p:nvPicPr>
          <p:cNvPr id="111" name="Immagine 30">
            <a:extLst>
              <a:ext uri="{FF2B5EF4-FFF2-40B4-BE49-F238E27FC236}">
                <a16:creationId xmlns:a16="http://schemas.microsoft.com/office/drawing/2014/main" xmlns="" id="{D4D658CF-48DA-45C7-81FB-1B02B010D605}"/>
              </a:ext>
            </a:extLst>
          </p:cNvPr>
          <p:cNvPicPr>
            <a:picLocks noChangeAspect="1"/>
          </p:cNvPicPr>
          <p:nvPr/>
        </p:nvPicPr>
        <p:blipFill>
          <a:blip r:embed="rId13">
            <a:clrChange>
              <a:clrFrom>
                <a:srgbClr val="FBF5F5"/>
              </a:clrFrom>
              <a:clrTo>
                <a:srgbClr val="FBF5F5">
                  <a:alpha val="0"/>
                </a:srgbClr>
              </a:clrTo>
            </a:clrChange>
          </a:blip>
          <a:stretch>
            <a:fillRect/>
          </a:stretch>
        </p:blipFill>
        <p:spPr>
          <a:xfrm>
            <a:off x="3836811" y="3822548"/>
            <a:ext cx="612845" cy="309972"/>
          </a:xfrm>
          <a:prstGeom prst="rect">
            <a:avLst/>
          </a:prstGeom>
        </p:spPr>
      </p:pic>
      <p:pic>
        <p:nvPicPr>
          <p:cNvPr id="113" name="Picture 1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45512" y="5492148"/>
            <a:ext cx="700726" cy="700726"/>
          </a:xfrm>
          <a:prstGeom prst="rect">
            <a:avLst/>
          </a:prstGeom>
        </p:spPr>
      </p:pic>
      <p:sp>
        <p:nvSpPr>
          <p:cNvPr id="143" name="Rettangolo arrotondato 81">
            <a:extLst>
              <a:ext uri="{FF2B5EF4-FFF2-40B4-BE49-F238E27FC236}">
                <a16:creationId xmlns:a16="http://schemas.microsoft.com/office/drawing/2014/main" xmlns="" id="{6146B627-150E-477E-8E6D-70563079649F}"/>
              </a:ext>
            </a:extLst>
          </p:cNvPr>
          <p:cNvSpPr/>
          <p:nvPr/>
        </p:nvSpPr>
        <p:spPr>
          <a:xfrm>
            <a:off x="6705282" y="4758363"/>
            <a:ext cx="4732552" cy="912532"/>
          </a:xfrm>
          <a:prstGeom prst="roundRect">
            <a:avLst/>
          </a:prstGeom>
          <a:noFill/>
          <a:ln w="38100">
            <a:solidFill>
              <a:srgbClr val="424A6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43116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16"/>
          <p:cNvSpPr/>
          <p:nvPr>
            <p:custDataLst>
              <p:tags r:id="rId1"/>
            </p:custDataLst>
          </p:nvPr>
        </p:nvSpPr>
        <p:spPr bwMode="gray">
          <a:xfrm rot="1800000" flipH="1" flipV="1">
            <a:off x="10015441" y="221328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7" name="Rechteck 17"/>
          <p:cNvSpPr/>
          <p:nvPr>
            <p:custDataLst>
              <p:tags r:id="rId2"/>
            </p:custDataLst>
          </p:nvPr>
        </p:nvSpPr>
        <p:spPr bwMode="gray">
          <a:xfrm rot="1800000" flipH="1" flipV="1">
            <a:off x="5631677" y="4785590"/>
            <a:ext cx="1245079" cy="124507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8" name="Rechteck 16"/>
          <p:cNvSpPr/>
          <p:nvPr>
            <p:custDataLst>
              <p:tags r:id="rId3"/>
            </p:custDataLst>
          </p:nvPr>
        </p:nvSpPr>
        <p:spPr bwMode="gray">
          <a:xfrm rot="1800000" flipH="1" flipV="1">
            <a:off x="7445595" y="2949727"/>
            <a:ext cx="5137342" cy="5154903"/>
          </a:xfrm>
          <a:custGeom>
            <a:avLst/>
            <a:gdLst/>
            <a:ahLst/>
            <a:cxnLst/>
            <a:rect l="l" t="t" r="r" b="b"/>
            <a:pathLst>
              <a:path w="5140018" h="5157588">
                <a:moveTo>
                  <a:pt x="5140017" y="5157588"/>
                </a:moveTo>
                <a:lnTo>
                  <a:pt x="1518682" y="5157588"/>
                </a:lnTo>
                <a:lnTo>
                  <a:pt x="0" y="2527151"/>
                </a:lnTo>
                <a:lnTo>
                  <a:pt x="4377154" y="0"/>
                </a:lnTo>
                <a:lnTo>
                  <a:pt x="514001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29"/>
            <a:endParaRPr lang="en-GB" sz="1199" dirty="0">
              <a:solidFill>
                <a:schemeClr val="tx1"/>
              </a:solidFill>
              <a:latin typeface="Calibri" panose="020F0502020204030204" pitchFamily="34" charset="0"/>
              <a:cs typeface="Calibri" panose="020F0502020204030204" pitchFamily="34" charset="0"/>
            </a:endParaRPr>
          </a:p>
        </p:txBody>
      </p:sp>
      <p:sp>
        <p:nvSpPr>
          <p:cNvPr id="9" name="Rechteck 17"/>
          <p:cNvSpPr/>
          <p:nvPr>
            <p:custDataLst>
              <p:tags r:id="rId4"/>
            </p:custDataLst>
          </p:nvPr>
        </p:nvSpPr>
        <p:spPr bwMode="gray">
          <a:xfrm rot="1800000" flipH="1" flipV="1">
            <a:off x="6350054" y="6700953"/>
            <a:ext cx="537850" cy="310527"/>
          </a:xfrm>
          <a:custGeom>
            <a:avLst/>
            <a:gdLst/>
            <a:ahLst/>
            <a:cxnLst/>
            <a:rect l="l" t="t" r="r" b="b"/>
            <a:pathLst>
              <a:path w="538130" h="310689">
                <a:moveTo>
                  <a:pt x="538130" y="310689"/>
                </a:moveTo>
                <a:lnTo>
                  <a:pt x="0" y="310689"/>
                </a:lnTo>
                <a:lnTo>
                  <a:pt x="538130"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0" name="Rechteck 18"/>
          <p:cNvSpPr/>
          <p:nvPr>
            <p:custDataLst>
              <p:tags r:id="rId5"/>
            </p:custDataLst>
          </p:nvPr>
        </p:nvSpPr>
        <p:spPr bwMode="gray">
          <a:xfrm rot="1800000" flipH="1" flipV="1">
            <a:off x="5261772" y="6670171"/>
            <a:ext cx="644475" cy="372088"/>
          </a:xfrm>
          <a:custGeom>
            <a:avLst/>
            <a:gdLst/>
            <a:ahLst/>
            <a:cxnLst/>
            <a:rect l="l" t="t" r="r" b="b"/>
            <a:pathLst>
              <a:path w="644811" h="372282">
                <a:moveTo>
                  <a:pt x="644811" y="372282"/>
                </a:moveTo>
                <a:lnTo>
                  <a:pt x="0" y="372282"/>
                </a:lnTo>
                <a:lnTo>
                  <a:pt x="644811"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1" name="Rechteck 21"/>
          <p:cNvSpPr/>
          <p:nvPr>
            <p:custDataLst>
              <p:tags r:id="rId6"/>
            </p:custDataLst>
          </p:nvPr>
        </p:nvSpPr>
        <p:spPr bwMode="gray">
          <a:xfrm rot="1800000" flipH="1" flipV="1">
            <a:off x="5778730" y="6202254"/>
            <a:ext cx="555609" cy="555609"/>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4" name="Rechteck 22"/>
          <p:cNvSpPr/>
          <p:nvPr>
            <p:custDataLst>
              <p:tags r:id="rId7"/>
            </p:custDataLst>
          </p:nvPr>
        </p:nvSpPr>
        <p:spPr bwMode="gray">
          <a:xfrm rot="1800000" flipH="1" flipV="1">
            <a:off x="10399840" y="1950152"/>
            <a:ext cx="838228" cy="83822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5" name="Rechteck 21"/>
          <p:cNvSpPr/>
          <p:nvPr>
            <p:custDataLst>
              <p:tags r:id="rId8"/>
            </p:custDataLst>
          </p:nvPr>
        </p:nvSpPr>
        <p:spPr bwMode="gray">
          <a:xfrm rot="1800000" flipH="1" flipV="1">
            <a:off x="11316017" y="2131434"/>
            <a:ext cx="1296490" cy="1296489"/>
          </a:xfrm>
          <a:custGeom>
            <a:avLst/>
            <a:gdLst/>
            <a:ahLst/>
            <a:cxnLst/>
            <a:rect l="l" t="t" r="r" b="b"/>
            <a:pathLst>
              <a:path w="1530425" h="1530424">
                <a:moveTo>
                  <a:pt x="1530425" y="1530424"/>
                </a:moveTo>
                <a:lnTo>
                  <a:pt x="867973" y="1530424"/>
                </a:lnTo>
                <a:lnTo>
                  <a:pt x="0" y="27050"/>
                </a:lnTo>
                <a:lnTo>
                  <a:pt x="0" y="0"/>
                </a:lnTo>
                <a:lnTo>
                  <a:pt x="1530425"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6" name="Rechteck 24"/>
          <p:cNvSpPr/>
          <p:nvPr>
            <p:custDataLst>
              <p:tags r:id="rId9"/>
            </p:custDataLst>
          </p:nvPr>
        </p:nvSpPr>
        <p:spPr bwMode="gray">
          <a:xfrm rot="1800000" flipH="1" flipV="1">
            <a:off x="11170209" y="180913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9" name="Title 11"/>
          <p:cNvSpPr txBox="1">
            <a:spLocks/>
          </p:cNvSpPr>
          <p:nvPr/>
        </p:nvSpPr>
        <p:spPr>
          <a:xfrm>
            <a:off x="8323876" y="4407430"/>
            <a:ext cx="3374591" cy="204590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3998" b="1" kern="1200">
                <a:solidFill>
                  <a:srgbClr val="333333"/>
                </a:solidFill>
                <a:latin typeface="+mn-lt"/>
                <a:ea typeface="+mj-ea"/>
                <a:cs typeface="Arial" pitchFamily="34" charset="0"/>
              </a:defRPr>
            </a:lvl1pPr>
          </a:lstStyle>
          <a:p>
            <a:pPr algn="r"/>
            <a:r>
              <a:rPr lang="en-US" sz="3198" dirty="0">
                <a:solidFill>
                  <a:schemeClr val="tx1"/>
                </a:solidFill>
                <a:latin typeface="Calibri" panose="020F0502020204030204" pitchFamily="34" charset="0"/>
                <a:cs typeface="Calibri" panose="020F0502020204030204" pitchFamily="34" charset="0"/>
              </a:rPr>
              <a:t>Blockchain sull’Invalidità Civile</a:t>
            </a:r>
          </a:p>
        </p:txBody>
      </p:sp>
      <p:pic>
        <p:nvPicPr>
          <p:cNvPr id="12" name="Picture 2" descr="Risultati immagini per logo inp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74175" y="173747"/>
            <a:ext cx="787875" cy="1095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0628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8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0"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Progettualità legate alla tecnologia Blockchain</a:t>
            </a:r>
          </a:p>
        </p:txBody>
      </p:sp>
      <p:sp>
        <p:nvSpPr>
          <p:cNvPr id="5" name="Rectangle 35"/>
          <p:cNvSpPr>
            <a:spLocks noChangeArrowheads="1"/>
          </p:cNvSpPr>
          <p:nvPr/>
        </p:nvSpPr>
        <p:spPr bwMode="auto">
          <a:xfrm>
            <a:off x="630855" y="994831"/>
            <a:ext cx="1093725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algn="just">
              <a:lnSpc>
                <a:spcPct val="100000"/>
              </a:lnSpc>
              <a:spcBef>
                <a:spcPts val="0"/>
              </a:spcBef>
              <a:buNone/>
            </a:pPr>
            <a:r>
              <a:rPr lang="it-IT" sz="1600" dirty="0">
                <a:latin typeface="Calibri" panose="020F0502020204030204" pitchFamily="34" charset="0"/>
                <a:ea typeface="Calibri" panose="020F0502020204030204" pitchFamily="34" charset="0"/>
                <a:cs typeface="Calibri" panose="020F0502020204030204" pitchFamily="34" charset="0"/>
              </a:rPr>
              <a:t>La tecnologia</a:t>
            </a:r>
            <a:r>
              <a:rPr lang="it-IT" sz="1600" b="1" dirty="0">
                <a:latin typeface="Calibri" panose="020F0502020204030204" pitchFamily="34" charset="0"/>
                <a:ea typeface="Calibri" panose="020F0502020204030204" pitchFamily="34" charset="0"/>
                <a:cs typeface="Calibri" panose="020F0502020204030204" pitchFamily="34" charset="0"/>
              </a:rPr>
              <a:t> </a:t>
            </a:r>
            <a:r>
              <a:rPr lang="it-IT" sz="1600" b="1" dirty="0" err="1">
                <a:latin typeface="Calibri" panose="020F0502020204030204" pitchFamily="34" charset="0"/>
                <a:ea typeface="Calibri" panose="020F0502020204030204" pitchFamily="34" charset="0"/>
                <a:cs typeface="Calibri" panose="020F0502020204030204" pitchFamily="34" charset="0"/>
              </a:rPr>
              <a:t>Blockchain</a:t>
            </a:r>
            <a:r>
              <a:rPr lang="it-IT" sz="1600" b="1" dirty="0">
                <a:latin typeface="Calibri" panose="020F0502020204030204" pitchFamily="34" charset="0"/>
                <a:ea typeface="Calibri" panose="020F0502020204030204" pitchFamily="34" charset="0"/>
                <a:cs typeface="Calibri" panose="020F0502020204030204" pitchFamily="34" charset="0"/>
              </a:rPr>
              <a:t> permette di abilitare nuove forme di collaborazione tra soggetti </a:t>
            </a:r>
            <a:r>
              <a:rPr lang="it-IT" sz="1600" dirty="0">
                <a:latin typeface="Calibri" panose="020F0502020204030204" pitchFamily="34" charset="0"/>
                <a:ea typeface="Calibri" panose="020F0502020204030204" pitchFamily="34" charset="0"/>
                <a:cs typeface="Calibri" panose="020F0502020204030204" pitchFamily="34" charset="0"/>
              </a:rPr>
              <a:t>garantendo il </a:t>
            </a:r>
            <a:r>
              <a:rPr lang="it-IT" sz="1600" b="1" dirty="0">
                <a:latin typeface="Calibri" panose="020F0502020204030204" pitchFamily="34" charset="0"/>
                <a:ea typeface="Calibri" panose="020F0502020204030204" pitchFamily="34" charset="0"/>
                <a:cs typeface="Calibri" panose="020F0502020204030204" pitchFamily="34" charset="0"/>
              </a:rPr>
              <a:t>mantenimento dell’</a:t>
            </a:r>
            <a:r>
              <a:rPr lang="it-IT" sz="1600" b="1" dirty="0" err="1">
                <a:latin typeface="Calibri" panose="020F0502020204030204" pitchFamily="34" charset="0"/>
                <a:ea typeface="Calibri" panose="020F0502020204030204" pitchFamily="34" charset="0"/>
                <a:cs typeface="Calibri" panose="020F0502020204030204" pitchFamily="34" charset="0"/>
              </a:rPr>
              <a:t>ownership</a:t>
            </a:r>
            <a:r>
              <a:rPr lang="it-IT" sz="1600" b="1" dirty="0">
                <a:latin typeface="Calibri" panose="020F0502020204030204" pitchFamily="34" charset="0"/>
                <a:ea typeface="Calibri" panose="020F0502020204030204" pitchFamily="34" charset="0"/>
                <a:cs typeface="Calibri" panose="020F0502020204030204" pitchFamily="34" charset="0"/>
              </a:rPr>
              <a:t> sui dati</a:t>
            </a:r>
            <a:r>
              <a:rPr lang="it-IT" sz="1600" dirty="0">
                <a:latin typeface="Calibri" panose="020F0502020204030204" pitchFamily="34" charset="0"/>
                <a:ea typeface="Calibri" panose="020F0502020204030204" pitchFamily="34" charset="0"/>
                <a:cs typeface="Calibri" panose="020F0502020204030204" pitchFamily="34" charset="0"/>
              </a:rPr>
              <a:t>, la tracciatura di </a:t>
            </a:r>
            <a:r>
              <a:rPr lang="it-IT" sz="1600" b="1" dirty="0">
                <a:latin typeface="Calibri" panose="020F0502020204030204" pitchFamily="34" charset="0"/>
                <a:ea typeface="Calibri" panose="020F0502020204030204" pitchFamily="34" charset="0"/>
                <a:cs typeface="Calibri" panose="020F0502020204030204" pitchFamily="34" charset="0"/>
              </a:rPr>
              <a:t>processi certificati e immutabili </a:t>
            </a:r>
            <a:r>
              <a:rPr lang="it-IT" sz="1600" dirty="0">
                <a:latin typeface="Calibri" panose="020F0502020204030204" pitchFamily="34" charset="0"/>
                <a:ea typeface="Calibri" panose="020F0502020204030204" pitchFamily="34" charset="0"/>
                <a:cs typeface="Calibri" panose="020F0502020204030204" pitchFamily="34" charset="0"/>
              </a:rPr>
              <a:t>nonché</a:t>
            </a:r>
            <a:r>
              <a:rPr lang="it-IT" sz="1600" b="1" dirty="0">
                <a:latin typeface="Calibri" panose="020F0502020204030204" pitchFamily="34" charset="0"/>
                <a:ea typeface="Calibri" panose="020F0502020204030204" pitchFamily="34" charset="0"/>
                <a:cs typeface="Calibri" panose="020F0502020204030204" pitchFamily="34" charset="0"/>
              </a:rPr>
              <a:t> un</a:t>
            </a:r>
            <a:r>
              <a:rPr lang="it-IT" sz="1600" dirty="0">
                <a:latin typeface="Calibri" panose="020F0502020204030204" pitchFamily="34" charset="0"/>
                <a:ea typeface="Calibri" panose="020F0502020204030204" pitchFamily="34" charset="0"/>
                <a:cs typeface="Calibri" panose="020F0502020204030204" pitchFamily="34" charset="0"/>
              </a:rPr>
              <a:t>a </a:t>
            </a:r>
            <a:r>
              <a:rPr lang="it-IT" sz="1600" b="1" dirty="0">
                <a:latin typeface="Calibri" panose="020F0502020204030204" pitchFamily="34" charset="0"/>
                <a:ea typeface="Calibri" panose="020F0502020204030204" pitchFamily="34" charset="0"/>
                <a:cs typeface="Calibri" panose="020F0502020204030204" pitchFamily="34" charset="0"/>
              </a:rPr>
              <a:t>bassa invasività sui sistemi esistenti</a:t>
            </a:r>
            <a:r>
              <a:rPr lang="it-IT" sz="1600" dirty="0">
                <a:latin typeface="Calibri" panose="020F0502020204030204" pitchFamily="34" charset="0"/>
                <a:ea typeface="Calibri" panose="020F0502020204030204" pitchFamily="34" charset="0"/>
                <a:cs typeface="Calibri" panose="020F0502020204030204" pitchFamily="34" charset="0"/>
              </a:rPr>
              <a:t>. Grazie a queste caratteristiche la </a:t>
            </a:r>
            <a:r>
              <a:rPr lang="it-IT" sz="1600" dirty="0" err="1">
                <a:latin typeface="Calibri" panose="020F0502020204030204" pitchFamily="34" charset="0"/>
                <a:ea typeface="Calibri" panose="020F0502020204030204" pitchFamily="34" charset="0"/>
                <a:cs typeface="Calibri" panose="020F0502020204030204" pitchFamily="34" charset="0"/>
              </a:rPr>
              <a:t>blockchain</a:t>
            </a:r>
            <a:r>
              <a:rPr lang="it-IT" sz="1600" dirty="0">
                <a:latin typeface="Calibri" panose="020F0502020204030204" pitchFamily="34" charset="0"/>
                <a:ea typeface="Calibri" panose="020F0502020204030204" pitchFamily="34" charset="0"/>
                <a:cs typeface="Calibri" panose="020F0502020204030204" pitchFamily="34" charset="0"/>
              </a:rPr>
              <a:t> favorisce la </a:t>
            </a:r>
            <a:r>
              <a:rPr lang="it-IT" sz="1600" b="1" dirty="0">
                <a:latin typeface="Calibri" panose="020F0502020204030204" pitchFamily="34" charset="0"/>
                <a:ea typeface="Calibri" panose="020F0502020204030204" pitchFamily="34" charset="0"/>
                <a:cs typeface="Calibri" panose="020F0502020204030204" pitchFamily="34" charset="0"/>
              </a:rPr>
              <a:t>creazione di nuovi ecosistemi nella PA</a:t>
            </a:r>
            <a:r>
              <a:rPr lang="it-IT" sz="1600" dirty="0">
                <a:latin typeface="Calibri" panose="020F0502020204030204" pitchFamily="34" charset="0"/>
                <a:ea typeface="Calibri" panose="020F0502020204030204" pitchFamily="34" charset="0"/>
                <a:cs typeface="Calibri" panose="020F0502020204030204" pitchFamily="34" charset="0"/>
              </a:rPr>
              <a:t>, nonché il rafforzamento dell’</a:t>
            </a:r>
            <a:r>
              <a:rPr lang="it-IT" sz="1600" b="1" dirty="0">
                <a:latin typeface="Calibri" panose="020F0502020204030204" pitchFamily="34" charset="0"/>
                <a:ea typeface="Calibri" panose="020F0502020204030204" pitchFamily="34" charset="0"/>
                <a:cs typeface="Calibri" panose="020F0502020204030204" pitchFamily="34" charset="0"/>
              </a:rPr>
              <a:t>integrazione</a:t>
            </a:r>
            <a:r>
              <a:rPr lang="it-IT" sz="1600" dirty="0">
                <a:latin typeface="Calibri" panose="020F0502020204030204" pitchFamily="34" charset="0"/>
                <a:ea typeface="Calibri" panose="020F0502020204030204" pitchFamily="34" charset="0"/>
                <a:cs typeface="Calibri" panose="020F0502020204030204" pitchFamily="34" charset="0"/>
              </a:rPr>
              <a:t> e della </a:t>
            </a:r>
            <a:r>
              <a:rPr lang="it-IT" sz="1600" b="1" dirty="0">
                <a:latin typeface="Calibri" panose="020F0502020204030204" pitchFamily="34" charset="0"/>
                <a:ea typeface="Calibri" panose="020F0502020204030204" pitchFamily="34" charset="0"/>
                <a:cs typeface="Calibri" panose="020F0502020204030204" pitchFamily="34" charset="0"/>
              </a:rPr>
              <a:t>cooperazione fra i diversi Enti </a:t>
            </a:r>
            <a:r>
              <a:rPr lang="it-IT" sz="1600" dirty="0">
                <a:latin typeface="Calibri" panose="020F0502020204030204" pitchFamily="34" charset="0"/>
                <a:ea typeface="Calibri" panose="020F0502020204030204" pitchFamily="34" charset="0"/>
                <a:cs typeface="Calibri" panose="020F0502020204030204" pitchFamily="34" charset="0"/>
              </a:rPr>
              <a:t>che partecipano al network. Sulla base di tali presupposti </a:t>
            </a:r>
            <a:r>
              <a:rPr lang="it-IT" sz="1600" b="1" dirty="0">
                <a:latin typeface="Calibri" panose="020F0502020204030204" pitchFamily="34" charset="0"/>
                <a:ea typeface="Calibri" panose="020F0502020204030204" pitchFamily="34" charset="0"/>
                <a:cs typeface="Calibri" panose="020F0502020204030204" pitchFamily="34" charset="0"/>
              </a:rPr>
              <a:t>INPS ha individuato alcune progettualità </a:t>
            </a:r>
            <a:r>
              <a:rPr lang="it-IT" sz="1600" dirty="0">
                <a:latin typeface="Calibri" panose="020F0502020204030204" pitchFamily="34" charset="0"/>
                <a:ea typeface="Calibri" panose="020F0502020204030204" pitchFamily="34" charset="0"/>
                <a:cs typeface="Calibri" panose="020F0502020204030204" pitchFamily="34" charset="0"/>
              </a:rPr>
              <a:t>che consentirebbero di </a:t>
            </a:r>
            <a:r>
              <a:rPr lang="it-IT" sz="1600" b="1" dirty="0">
                <a:latin typeface="Calibri" panose="020F0502020204030204" pitchFamily="34" charset="0"/>
                <a:ea typeface="Calibri" panose="020F0502020204030204" pitchFamily="34" charset="0"/>
                <a:cs typeface="Calibri" panose="020F0502020204030204" pitchFamily="34" charset="0"/>
              </a:rPr>
              <a:t>efficientare</a:t>
            </a:r>
            <a:r>
              <a:rPr lang="it-IT" sz="1600" dirty="0">
                <a:latin typeface="Calibri" panose="020F0502020204030204" pitchFamily="34" charset="0"/>
                <a:ea typeface="Calibri" panose="020F0502020204030204" pitchFamily="34" charset="0"/>
                <a:cs typeface="Calibri" panose="020F0502020204030204" pitchFamily="34" charset="0"/>
              </a:rPr>
              <a:t> i processi, </a:t>
            </a:r>
            <a:r>
              <a:rPr lang="it-IT" sz="1600" b="1" dirty="0">
                <a:latin typeface="Calibri" panose="020F0502020204030204" pitchFamily="34" charset="0"/>
                <a:ea typeface="Calibri" panose="020F0502020204030204" pitchFamily="34" charset="0"/>
                <a:cs typeface="Calibri" panose="020F0502020204030204" pitchFamily="34" charset="0"/>
              </a:rPr>
              <a:t>aumentarne la sicurezza </a:t>
            </a:r>
            <a:r>
              <a:rPr lang="it-IT" sz="1600" dirty="0">
                <a:latin typeface="Calibri" panose="020F0502020204030204" pitchFamily="34" charset="0"/>
                <a:ea typeface="Calibri" panose="020F0502020204030204" pitchFamily="34" charset="0"/>
                <a:cs typeface="Calibri" panose="020F0502020204030204" pitchFamily="34" charset="0"/>
              </a:rPr>
              <a:t>e </a:t>
            </a:r>
            <a:r>
              <a:rPr lang="it-IT" sz="1600" b="1" dirty="0">
                <a:latin typeface="Calibri" panose="020F0502020204030204" pitchFamily="34" charset="0"/>
                <a:ea typeface="Calibri" panose="020F0502020204030204" pitchFamily="34" charset="0"/>
                <a:cs typeface="Calibri" panose="020F0502020204030204" pitchFamily="34" charset="0"/>
              </a:rPr>
              <a:t>introdurre nuove logiche di lavoro.</a:t>
            </a:r>
            <a:endParaRPr lang="it-IT" sz="1600" dirty="0">
              <a:latin typeface="Calibri" panose="020F0502020204030204" pitchFamily="34" charset="0"/>
              <a:ea typeface="Calibri" panose="020F0502020204030204" pitchFamily="34" charset="0"/>
              <a:cs typeface="Calibri" panose="020F0502020204030204" pitchFamily="34" charset="0"/>
            </a:endParaRPr>
          </a:p>
        </p:txBody>
      </p:sp>
      <p:grpSp>
        <p:nvGrpSpPr>
          <p:cNvPr id="4" name="Group 3"/>
          <p:cNvGrpSpPr/>
          <p:nvPr/>
        </p:nvGrpSpPr>
        <p:grpSpPr>
          <a:xfrm>
            <a:off x="1116838" y="2627409"/>
            <a:ext cx="9958324" cy="3177855"/>
            <a:chOff x="1128771" y="2799897"/>
            <a:chExt cx="9958324" cy="3177855"/>
          </a:xfrm>
        </p:grpSpPr>
        <p:sp>
          <p:nvSpPr>
            <p:cNvPr id="27" name="Rectangle 26"/>
            <p:cNvSpPr/>
            <p:nvPr/>
          </p:nvSpPr>
          <p:spPr>
            <a:xfrm>
              <a:off x="1128771" y="4418582"/>
              <a:ext cx="5063749" cy="1559170"/>
            </a:xfrm>
            <a:prstGeom prst="rect">
              <a:avLst/>
            </a:prstGeom>
            <a:noFill/>
            <a:ln>
              <a:solidFill>
                <a:srgbClr val="A1A1AF"/>
              </a:solidFill>
            </a:ln>
          </p:spPr>
          <p:style>
            <a:lnRef idx="2">
              <a:schemeClr val="accent1">
                <a:shade val="50000"/>
              </a:schemeClr>
            </a:lnRef>
            <a:fillRef idx="1">
              <a:schemeClr val="accent1"/>
            </a:fillRef>
            <a:effectRef idx="0">
              <a:schemeClr val="accent1"/>
            </a:effectRef>
            <a:fontRef idx="minor">
              <a:schemeClr val="lt1"/>
            </a:fontRef>
          </p:style>
          <p:txBody>
            <a:bodyPr lIns="540000" tIns="72000" rIns="468000" rtlCol="0" anchor="ctr"/>
            <a:lstStyle/>
            <a:p>
              <a:pPr algn="ctr"/>
              <a:r>
                <a:rPr lang="en-US" sz="2400" b="1" dirty="0">
                  <a:solidFill>
                    <a:schemeClr val="tx1"/>
                  </a:solidFill>
                  <a:latin typeface="Calibri" panose="020F0502020204030204" pitchFamily="34" charset="0"/>
                  <a:cs typeface="Calibri" panose="020F0502020204030204" pitchFamily="34" charset="0"/>
                </a:rPr>
                <a:t>Blockchain sull’Invalidità Civile</a:t>
              </a:r>
            </a:p>
          </p:txBody>
        </p:sp>
        <p:sp>
          <p:nvSpPr>
            <p:cNvPr id="26" name="Rectangle 25"/>
            <p:cNvSpPr/>
            <p:nvPr/>
          </p:nvSpPr>
          <p:spPr>
            <a:xfrm>
              <a:off x="6236697" y="4418582"/>
              <a:ext cx="4843637" cy="155917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468000" tIns="72000" rtlCol="0" anchor="ctr"/>
            <a:lstStyle/>
            <a:p>
              <a:pPr algn="ctr"/>
              <a:r>
                <a:rPr lang="it-IT" sz="2400" b="1" dirty="0">
                  <a:solidFill>
                    <a:schemeClr val="tx1"/>
                  </a:solidFill>
                  <a:latin typeface="Calibri" panose="020F0502020204030204" pitchFamily="34" charset="0"/>
                </a:rPr>
                <a:t>MIDA - Monitoraggio Integrato Deleghe Anomale</a:t>
              </a:r>
            </a:p>
          </p:txBody>
        </p:sp>
        <p:sp>
          <p:nvSpPr>
            <p:cNvPr id="25" name="Rectangle 24"/>
            <p:cNvSpPr/>
            <p:nvPr/>
          </p:nvSpPr>
          <p:spPr>
            <a:xfrm>
              <a:off x="5979884" y="2805152"/>
              <a:ext cx="5100449" cy="1559170"/>
            </a:xfrm>
            <a:prstGeom prst="rect">
              <a:avLst/>
            </a:prstGeom>
            <a:noFill/>
            <a:ln>
              <a:solidFill>
                <a:srgbClr val="019CD8"/>
              </a:solidFill>
            </a:ln>
          </p:spPr>
          <p:style>
            <a:lnRef idx="2">
              <a:schemeClr val="accent1">
                <a:shade val="50000"/>
              </a:schemeClr>
            </a:lnRef>
            <a:fillRef idx="1">
              <a:schemeClr val="accent1"/>
            </a:fillRef>
            <a:effectRef idx="0">
              <a:schemeClr val="accent1"/>
            </a:effectRef>
            <a:fontRef idx="minor">
              <a:schemeClr val="lt1"/>
            </a:fontRef>
          </p:style>
          <p:txBody>
            <a:bodyPr lIns="468000" tIns="72000" rtlCol="0" anchor="ctr"/>
            <a:lstStyle/>
            <a:p>
              <a:pPr algn="ctr"/>
              <a:r>
                <a:rPr lang="it-IT" sz="2400" b="1" dirty="0">
                  <a:solidFill>
                    <a:schemeClr val="tx1"/>
                  </a:solidFill>
                  <a:latin typeface="Calibri" panose="020F0502020204030204" pitchFamily="34" charset="0"/>
                  <a:cs typeface="Calibri" panose="020F0502020204030204" pitchFamily="34" charset="0"/>
                </a:rPr>
                <a:t>La Piattaforma Welfare per un marketplace evoluto</a:t>
              </a:r>
            </a:p>
          </p:txBody>
        </p:sp>
        <p:sp>
          <p:nvSpPr>
            <p:cNvPr id="20" name="Rectangle 19"/>
            <p:cNvSpPr/>
            <p:nvPr/>
          </p:nvSpPr>
          <p:spPr>
            <a:xfrm>
              <a:off x="1128771" y="2805152"/>
              <a:ext cx="4792543" cy="1559170"/>
            </a:xfrm>
            <a:prstGeom prst="rect">
              <a:avLst/>
            </a:prstGeom>
            <a:noFill/>
            <a:ln>
              <a:solidFill>
                <a:srgbClr val="E9A922"/>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468000" rtlCol="0" anchor="ctr"/>
            <a:lstStyle/>
            <a:p>
              <a:pPr algn="ctr"/>
              <a:r>
                <a:rPr lang="en-US" sz="2400" b="1" dirty="0">
                  <a:solidFill>
                    <a:schemeClr val="tx1"/>
                  </a:solidFill>
                  <a:latin typeface="Calibri" panose="020F0502020204030204" pitchFamily="34" charset="0"/>
                  <a:cs typeface="Calibri" panose="020F0502020204030204" pitchFamily="34" charset="0"/>
                </a:rPr>
                <a:t>European Social Security Number - ESSN</a:t>
              </a:r>
              <a:endParaRPr lang="it-IT" sz="2400" b="1" dirty="0"/>
            </a:p>
          </p:txBody>
        </p:sp>
        <p:sp>
          <p:nvSpPr>
            <p:cNvPr id="21" name="Oval 20"/>
            <p:cNvSpPr>
              <a:spLocks noChangeAspect="1"/>
            </p:cNvSpPr>
            <p:nvPr/>
          </p:nvSpPr>
          <p:spPr>
            <a:xfrm>
              <a:off x="5387935" y="3658649"/>
              <a:ext cx="1437480" cy="14374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3" name="Rectangle 22"/>
            <p:cNvSpPr/>
            <p:nvPr/>
          </p:nvSpPr>
          <p:spPr>
            <a:xfrm>
              <a:off x="1128771" y="2799897"/>
              <a:ext cx="451448" cy="393146"/>
            </a:xfrm>
            <a:prstGeom prst="rect">
              <a:avLst/>
            </a:prstGeom>
            <a:solidFill>
              <a:srgbClr val="E9A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dirty="0"/>
                <a:t>1</a:t>
              </a:r>
            </a:p>
          </p:txBody>
        </p:sp>
        <p:sp>
          <p:nvSpPr>
            <p:cNvPr id="31" name="Rectangle 30"/>
            <p:cNvSpPr/>
            <p:nvPr/>
          </p:nvSpPr>
          <p:spPr>
            <a:xfrm>
              <a:off x="10635647" y="2799897"/>
              <a:ext cx="451448" cy="393146"/>
            </a:xfrm>
            <a:prstGeom prst="rect">
              <a:avLst/>
            </a:prstGeom>
            <a:solidFill>
              <a:srgbClr val="01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dirty="0"/>
                <a:t>2</a:t>
              </a:r>
            </a:p>
          </p:txBody>
        </p:sp>
        <p:sp>
          <p:nvSpPr>
            <p:cNvPr id="32" name="Rectangle 31"/>
            <p:cNvSpPr/>
            <p:nvPr/>
          </p:nvSpPr>
          <p:spPr>
            <a:xfrm>
              <a:off x="10628885" y="4418582"/>
              <a:ext cx="451448" cy="39314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dirty="0"/>
                <a:t>4</a:t>
              </a:r>
            </a:p>
          </p:txBody>
        </p:sp>
        <p:sp>
          <p:nvSpPr>
            <p:cNvPr id="33" name="Rectangle 32"/>
            <p:cNvSpPr/>
            <p:nvPr/>
          </p:nvSpPr>
          <p:spPr>
            <a:xfrm>
              <a:off x="1131086" y="4418582"/>
              <a:ext cx="451448" cy="393146"/>
            </a:xfrm>
            <a:prstGeom prst="rect">
              <a:avLst/>
            </a:prstGeom>
            <a:solidFill>
              <a:srgbClr val="A1A1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dirty="0"/>
                <a:t>3</a:t>
              </a:r>
            </a:p>
          </p:txBody>
        </p:sp>
        <p:pic>
          <p:nvPicPr>
            <p:cNvPr id="17" name="Picture 2" descr="Risultati immagini per logo inp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03148" y="3829881"/>
              <a:ext cx="787875" cy="1095013"/>
            </a:xfrm>
            <a:prstGeom prst="rect">
              <a:avLst/>
            </a:prstGeom>
            <a:noFill/>
            <a:extLst>
              <a:ext uri="{909E8E84-426E-40DD-AFC4-6F175D3DCCD1}">
                <a14:hiddenFill xmlns:a14="http://schemas.microsoft.com/office/drawing/2010/main">
                  <a:solidFill>
                    <a:srgbClr val="FFFFFF"/>
                  </a:solidFill>
                </a14:hiddenFill>
              </a:ext>
            </a:extLst>
          </p:spPr>
        </p:pic>
        <p:sp>
          <p:nvSpPr>
            <p:cNvPr id="3" name="Round Same Side Corner Rectangle 2"/>
            <p:cNvSpPr/>
            <p:nvPr/>
          </p:nvSpPr>
          <p:spPr>
            <a:xfrm>
              <a:off x="1231272" y="4105544"/>
              <a:ext cx="1764000" cy="258778"/>
            </a:xfrm>
            <a:prstGeom prst="round2SameRect">
              <a:avLst>
                <a:gd name="adj1" fmla="val 36082"/>
                <a:gd name="adj2" fmla="val 0"/>
              </a:avLst>
            </a:prstGeom>
            <a:solidFill>
              <a:schemeClr val="bg1"/>
            </a:solidFill>
            <a:ln>
              <a:solidFill>
                <a:srgbClr val="E9A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i="1" dirty="0">
                  <a:solidFill>
                    <a:schemeClr val="tx1"/>
                  </a:solidFill>
                </a:rPr>
                <a:t>Pilota in corso</a:t>
              </a:r>
            </a:p>
          </p:txBody>
        </p:sp>
        <p:sp>
          <p:nvSpPr>
            <p:cNvPr id="18" name="Round Same Side Corner Rectangle 17"/>
            <p:cNvSpPr/>
            <p:nvPr/>
          </p:nvSpPr>
          <p:spPr>
            <a:xfrm>
              <a:off x="9218078" y="4105544"/>
              <a:ext cx="1764000" cy="258778"/>
            </a:xfrm>
            <a:prstGeom prst="round2SameRect">
              <a:avLst>
                <a:gd name="adj1" fmla="val 36082"/>
                <a:gd name="adj2" fmla="val 0"/>
              </a:avLst>
            </a:prstGeom>
            <a:solidFill>
              <a:schemeClr val="bg1"/>
            </a:solidFill>
            <a:ln>
              <a:solidFill>
                <a:srgbClr val="019C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i="1" dirty="0">
                  <a:solidFill>
                    <a:schemeClr val="tx1"/>
                  </a:solidFill>
                </a:rPr>
                <a:t>Sviluppo idea</a:t>
              </a:r>
            </a:p>
          </p:txBody>
        </p:sp>
        <p:sp>
          <p:nvSpPr>
            <p:cNvPr id="19" name="Round Same Side Corner Rectangle 18"/>
            <p:cNvSpPr/>
            <p:nvPr/>
          </p:nvSpPr>
          <p:spPr>
            <a:xfrm>
              <a:off x="9218078" y="5718974"/>
              <a:ext cx="1764000" cy="258778"/>
            </a:xfrm>
            <a:prstGeom prst="round2SameRect">
              <a:avLst>
                <a:gd name="adj1" fmla="val 36082"/>
                <a:gd name="adj2" fmla="val 0"/>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i="1" dirty="0">
                  <a:solidFill>
                    <a:schemeClr val="tx1"/>
                  </a:solidFill>
                </a:rPr>
                <a:t>Sviluppo idea</a:t>
              </a:r>
            </a:p>
          </p:txBody>
        </p:sp>
        <p:sp>
          <p:nvSpPr>
            <p:cNvPr id="22" name="Round Same Side Corner Rectangle 21"/>
            <p:cNvSpPr/>
            <p:nvPr/>
          </p:nvSpPr>
          <p:spPr>
            <a:xfrm>
              <a:off x="1231272" y="5718974"/>
              <a:ext cx="1764000" cy="258778"/>
            </a:xfrm>
            <a:prstGeom prst="round2SameRect">
              <a:avLst>
                <a:gd name="adj1" fmla="val 36082"/>
                <a:gd name="adj2" fmla="val 0"/>
              </a:avLst>
            </a:prstGeom>
            <a:solidFill>
              <a:schemeClr val="bg1"/>
            </a:solidFill>
            <a:ln>
              <a:solidFill>
                <a:srgbClr val="A1A1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i="1" dirty="0">
                  <a:solidFill>
                    <a:schemeClr val="tx1"/>
                  </a:solidFill>
                </a:rPr>
                <a:t>Sviluppo idea</a:t>
              </a:r>
            </a:p>
          </p:txBody>
        </p:sp>
      </p:grpSp>
    </p:spTree>
    <p:extLst>
      <p:ext uri="{BB962C8B-B14F-4D97-AF65-F5344CB8AC3E}">
        <p14:creationId xmlns:p14="http://schemas.microsoft.com/office/powerpoint/2010/main" val="23455878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Table 99">
            <a:extLst>
              <a:ext uri="{FF2B5EF4-FFF2-40B4-BE49-F238E27FC236}">
                <a16:creationId xmlns:a16="http://schemas.microsoft.com/office/drawing/2014/main" xmlns="" id="{A17544E7-5F03-4E31-800B-D1CB2E6F43AD}"/>
              </a:ext>
            </a:extLst>
          </p:cNvPr>
          <p:cNvGraphicFramePr>
            <a:graphicFrameLocks noGrp="1"/>
          </p:cNvGraphicFramePr>
          <p:nvPr>
            <p:extLst>
              <p:ext uri="{D42A27DB-BD31-4B8C-83A1-F6EECF244321}">
                <p14:modId xmlns:p14="http://schemas.microsoft.com/office/powerpoint/2010/main" val="270953752"/>
              </p:ext>
            </p:extLst>
          </p:nvPr>
        </p:nvGraphicFramePr>
        <p:xfrm>
          <a:off x="609601" y="2083117"/>
          <a:ext cx="10958511" cy="4142677"/>
        </p:xfrm>
        <a:graphic>
          <a:graphicData uri="http://schemas.openxmlformats.org/drawingml/2006/table">
            <a:tbl>
              <a:tblPr firstRow="1" bandRow="1"/>
              <a:tblGrid>
                <a:gridCol w="1597967">
                  <a:extLst>
                    <a:ext uri="{9D8B030D-6E8A-4147-A177-3AD203B41FA5}">
                      <a16:colId xmlns:a16="http://schemas.microsoft.com/office/drawing/2014/main" xmlns="" val="1141250241"/>
                    </a:ext>
                  </a:extLst>
                </a:gridCol>
                <a:gridCol w="7560840">
                  <a:extLst>
                    <a:ext uri="{9D8B030D-6E8A-4147-A177-3AD203B41FA5}">
                      <a16:colId xmlns:a16="http://schemas.microsoft.com/office/drawing/2014/main" xmlns="" val="2612370813"/>
                    </a:ext>
                  </a:extLst>
                </a:gridCol>
                <a:gridCol w="1799704">
                  <a:extLst>
                    <a:ext uri="{9D8B030D-6E8A-4147-A177-3AD203B41FA5}">
                      <a16:colId xmlns:a16="http://schemas.microsoft.com/office/drawing/2014/main" xmlns="" val="555851652"/>
                    </a:ext>
                  </a:extLst>
                </a:gridCol>
              </a:tblGrid>
              <a:tr h="344338">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ctr"/>
                      <a:r>
                        <a:rPr lang="it-IT" sz="1400" dirty="0">
                          <a:solidFill>
                            <a:schemeClr val="tx1"/>
                          </a:solidFill>
                          <a:latin typeface="+mn-lt"/>
                        </a:rPr>
                        <a:t>Attori</a:t>
                      </a:r>
                    </a:p>
                  </a:txBody>
                  <a:tcPr marL="91392" marR="91392" marT="45696" marB="45696" anchor="ctr">
                    <a:lnL w="6350" cap="flat" cmpd="sng" algn="ctr">
                      <a:solidFill>
                        <a:srgbClr val="FFFFFF"/>
                      </a:solidFill>
                      <a:prstDash val="lgDashDot"/>
                      <a:round/>
                      <a:headEnd type="none" w="med" len="med"/>
                      <a:tailEnd type="none" w="med" len="med"/>
                    </a:lnL>
                    <a:lnR w="6350" cap="flat" cmpd="sng" algn="ctr">
                      <a:noFill/>
                      <a:prstDash val="lgDashDot"/>
                      <a:round/>
                      <a:headEnd type="none" w="med" len="med"/>
                      <a:tailEnd type="none" w="med" len="med"/>
                    </a:lnR>
                    <a:lnT w="6350" cap="flat" cmpd="sng" algn="ctr">
                      <a:solidFill>
                        <a:srgbClr val="FFFFFF"/>
                      </a:solidFill>
                      <a:prstDash val="lgDashDot"/>
                      <a:round/>
                      <a:headEnd type="none" w="med" len="med"/>
                      <a:tailEnd type="none" w="med" len="med"/>
                    </a:lnT>
                    <a:lnB w="6350" cap="flat" cmpd="sng" algn="ctr">
                      <a:noFill/>
                      <a:prstDash val="lgDashDot"/>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ctr"/>
                      <a:r>
                        <a:rPr lang="it-IT" sz="1400" dirty="0">
                          <a:solidFill>
                            <a:schemeClr val="tx1"/>
                          </a:solidFill>
                          <a:latin typeface="+mn-lt"/>
                        </a:rPr>
                        <a:t>Attività</a:t>
                      </a:r>
                    </a:p>
                  </a:txBody>
                  <a:tcPr marL="91392" marR="91392" marT="45696" marB="45696"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6350" cap="flat" cmpd="sng" algn="ctr">
                      <a:solidFill>
                        <a:srgbClr val="FFFFFF"/>
                      </a:solidFill>
                      <a:prstDash val="lgDashDot"/>
                      <a:round/>
                      <a:headEnd type="none" w="med" len="med"/>
                      <a:tailEnd type="none" w="med" len="med"/>
                    </a:lnT>
                    <a:lnB w="6350" cap="flat" cmpd="sng" algn="ctr">
                      <a:noFill/>
                      <a:prstDash val="lgDashDot"/>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ctr"/>
                      <a:r>
                        <a:rPr lang="it-IT" sz="1400" dirty="0">
                          <a:solidFill>
                            <a:schemeClr val="tx1"/>
                          </a:solidFill>
                          <a:latin typeface="+mn-lt"/>
                        </a:rPr>
                        <a:t>Tipologia di attività</a:t>
                      </a:r>
                    </a:p>
                  </a:txBody>
                  <a:tcPr marL="91392" marR="91392" marT="45696" marB="45696" anchor="ctr">
                    <a:lnL w="6350" cap="flat" cmpd="sng" algn="ctr">
                      <a:no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solidFill>
                        <a:srgbClr val="FFFFFF"/>
                      </a:solidFill>
                      <a:prstDash val="lgDashDot"/>
                      <a:round/>
                      <a:headEnd type="none" w="med" len="med"/>
                      <a:tailEnd type="none" w="med" len="med"/>
                    </a:lnT>
                    <a:lnB w="6350" cap="flat" cmpd="sng" algn="ctr">
                      <a:noFill/>
                      <a:prstDash val="lgDashDot"/>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xmlns="" val="118378544"/>
                  </a:ext>
                </a:extLst>
              </a:tr>
              <a:tr h="61344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FFFFFF"/>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no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it-IT" sz="1400" kern="1200" dirty="0">
                          <a:solidFill>
                            <a:schemeClr val="tx1"/>
                          </a:solidFill>
                          <a:latin typeface="+mn-lt"/>
                          <a:ea typeface="+mn-ea"/>
                          <a:cs typeface="+mn-cs"/>
                        </a:rPr>
                        <a:t>L’INPS effettua le visite mediche, certifica lo stato di Invalidità Civile del cittadino ed eroga le prestazioni economiche e rilascia la certificazione ex L.104</a:t>
                      </a:r>
                    </a:p>
                  </a:txBody>
                  <a:tcPr marL="91392" marR="91392" marT="45696" marB="45696" anchor="ctr">
                    <a:lnL w="6350" cap="flat" cmpd="sng" algn="ctr">
                      <a:solidFill>
                        <a:srgbClr val="646464">
                          <a:lumMod val="60000"/>
                          <a:lumOff val="40000"/>
                        </a:srgbClr>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no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646464">
                          <a:lumMod val="60000"/>
                          <a:lumOff val="40000"/>
                        </a:srgbClr>
                      </a:solid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no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326152365"/>
                  </a:ext>
                </a:extLst>
              </a:tr>
              <a:tr h="61344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FFFFFF"/>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algn="l" defTabSz="914400" rtl="0" eaLnBrk="1" latinLnBrk="0" hangingPunct="1"/>
                      <a:r>
                        <a:rPr lang="it-IT" sz="1400" kern="1200" dirty="0">
                          <a:solidFill>
                            <a:schemeClr val="tx1"/>
                          </a:solidFill>
                          <a:latin typeface="+mn-lt"/>
                          <a:ea typeface="+mn-ea"/>
                          <a:cs typeface="+mn-cs"/>
                        </a:rPr>
                        <a:t>L’INAIL effettua gli accertamenti a seguito di un infortunio sul lavoro ed eventualmente eroga una rendita al soggetto infortunato</a:t>
                      </a:r>
                    </a:p>
                  </a:txBody>
                  <a:tcPr marL="91392" marR="91392" marT="45696" marB="45696" anchor="ctr">
                    <a:lnL w="6350" cap="flat" cmpd="sng" algn="ctr">
                      <a:solidFill>
                        <a:srgbClr val="646464">
                          <a:lumMod val="60000"/>
                          <a:lumOff val="40000"/>
                        </a:srgbClr>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646464">
                          <a:lumMod val="60000"/>
                          <a:lumOff val="40000"/>
                        </a:srgbClr>
                      </a:solid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276769110"/>
                  </a:ext>
                </a:extLst>
              </a:tr>
              <a:tr h="61344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FFFFFF"/>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kern="1200" dirty="0">
                          <a:solidFill>
                            <a:schemeClr val="tx1"/>
                          </a:solidFill>
                          <a:latin typeface="+mn-lt"/>
                          <a:ea typeface="+mn-ea"/>
                          <a:cs typeface="+mn-cs"/>
                        </a:rPr>
                        <a:t>Le ASL effettuano le visite mediche per verificare l’accertamento ed il mantenimento dei requisiti di invalidità, inoltre eroga conseguentemente benefici non economici e prestazioni assistenziali</a:t>
                      </a:r>
                    </a:p>
                  </a:txBody>
                  <a:tcPr marL="91392" marR="91392" marT="45696" marB="45696" anchor="ctr">
                    <a:lnL w="6350" cap="flat" cmpd="sng" algn="ctr">
                      <a:solidFill>
                        <a:srgbClr val="646464">
                          <a:lumMod val="60000"/>
                          <a:lumOff val="40000"/>
                        </a:srgbClr>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646464">
                          <a:lumMod val="60000"/>
                          <a:lumOff val="40000"/>
                        </a:srgbClr>
                      </a:solid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03443600"/>
                  </a:ext>
                </a:extLst>
              </a:tr>
              <a:tr h="61344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FFFFFF"/>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kern="1200" dirty="0">
                          <a:solidFill>
                            <a:schemeClr val="tx1"/>
                          </a:solidFill>
                          <a:latin typeface="+mn-lt"/>
                          <a:ea typeface="+mn-ea"/>
                          <a:cs typeface="+mn-cs"/>
                        </a:rPr>
                        <a:t>L’Agenzia delle Entrate concede alcune tipologie di agevolazioni fiscali all’invalido o a soggetti che lo hanno fiscalmente a carico</a:t>
                      </a:r>
                    </a:p>
                  </a:txBody>
                  <a:tcPr marL="91392" marR="91392" marT="45696" marB="45696" anchor="ctr">
                    <a:lnL w="6350" cap="flat" cmpd="sng" algn="ctr">
                      <a:solidFill>
                        <a:srgbClr val="646464">
                          <a:lumMod val="60000"/>
                          <a:lumOff val="40000"/>
                        </a:srgbClr>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646464">
                          <a:lumMod val="60000"/>
                          <a:lumOff val="40000"/>
                        </a:srgbClr>
                      </a:solid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517578920"/>
                  </a:ext>
                </a:extLst>
              </a:tr>
              <a:tr h="731139">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FFFFFF"/>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kern="1200" dirty="0">
                          <a:solidFill>
                            <a:schemeClr val="tx1"/>
                          </a:solidFill>
                          <a:latin typeface="+mn-lt"/>
                          <a:ea typeface="+mn-ea"/>
                          <a:cs typeface="+mn-cs"/>
                        </a:rPr>
                        <a:t>L’ACI è il soggetto che gestisce il pagamento dei tributi relativi alle automobili </a:t>
                      </a:r>
                      <a:r>
                        <a:rPr lang="it-IT" sz="1400" i="1" kern="1200" dirty="0">
                          <a:solidFill>
                            <a:schemeClr val="tx1"/>
                          </a:solidFill>
                          <a:latin typeface="+mn-lt"/>
                          <a:ea typeface="+mn-ea"/>
                          <a:cs typeface="+mn-cs"/>
                        </a:rPr>
                        <a:t>(es. bollo auto)</a:t>
                      </a:r>
                      <a:r>
                        <a:rPr lang="it-IT" sz="1400" i="0" kern="1200" dirty="0">
                          <a:solidFill>
                            <a:schemeClr val="tx1"/>
                          </a:solidFill>
                          <a:latin typeface="+mn-lt"/>
                          <a:ea typeface="+mn-ea"/>
                          <a:cs typeface="+mn-cs"/>
                        </a:rPr>
                        <a:t> e verifica eventuali esenzioni a beneficio di soggetti disabili</a:t>
                      </a:r>
                    </a:p>
                  </a:txBody>
                  <a:tcPr marL="91392" marR="91392" marT="45696" marB="45696" anchor="ctr">
                    <a:lnL w="6350" cap="flat" cmpd="sng" algn="ctr">
                      <a:solidFill>
                        <a:srgbClr val="646464">
                          <a:lumMod val="60000"/>
                          <a:lumOff val="40000"/>
                        </a:srgbClr>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646464">
                          <a:lumMod val="60000"/>
                          <a:lumOff val="40000"/>
                        </a:srgbClr>
                      </a:solid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646464">
                          <a:lumMod val="60000"/>
                          <a:lumOff val="40000"/>
                        </a:srgbClr>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04412136"/>
                  </a:ext>
                </a:extLst>
              </a:tr>
              <a:tr h="61344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FFFFFF"/>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FFFFFF"/>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kern="1200" dirty="0">
                          <a:solidFill>
                            <a:schemeClr val="tx1"/>
                          </a:solidFill>
                          <a:latin typeface="+mn-lt"/>
                          <a:ea typeface="+mn-ea"/>
                          <a:cs typeface="+mn-cs"/>
                        </a:rPr>
                        <a:t>Le Regioni e i Comuni anche su richiesta del cittadino erogano i benefici non economici </a:t>
                      </a:r>
                      <a:r>
                        <a:rPr lang="it-IT" sz="1400" i="1" kern="1200" dirty="0">
                          <a:solidFill>
                            <a:schemeClr val="tx1"/>
                          </a:solidFill>
                          <a:latin typeface="+mn-lt"/>
                          <a:ea typeface="+mn-ea"/>
                          <a:cs typeface="+mn-cs"/>
                        </a:rPr>
                        <a:t>(es. esenzione parcheggi, accesso alle ZTL, etc.) </a:t>
                      </a:r>
                      <a:r>
                        <a:rPr lang="it-IT" sz="1400" i="0" kern="1200" dirty="0">
                          <a:solidFill>
                            <a:schemeClr val="tx1"/>
                          </a:solidFill>
                          <a:latin typeface="+mn-lt"/>
                          <a:ea typeface="+mn-ea"/>
                          <a:cs typeface="+mn-cs"/>
                        </a:rPr>
                        <a:t>ed economici </a:t>
                      </a:r>
                      <a:r>
                        <a:rPr lang="it-IT" sz="1400" i="1" kern="1200" dirty="0">
                          <a:solidFill>
                            <a:schemeClr val="tx1"/>
                          </a:solidFill>
                          <a:latin typeface="+mn-lt"/>
                          <a:ea typeface="+mn-ea"/>
                          <a:cs typeface="+mn-cs"/>
                        </a:rPr>
                        <a:t>(es. buono casa, mensa, etc</a:t>
                      </a:r>
                      <a:r>
                        <a:rPr lang="it-IT" sz="1400" i="1" u="none" kern="1200" dirty="0">
                          <a:solidFill>
                            <a:schemeClr val="tx1"/>
                          </a:solidFill>
                          <a:latin typeface="+mn-lt"/>
                          <a:ea typeface="+mn-ea"/>
                          <a:cs typeface="+mn-cs"/>
                        </a:rPr>
                        <a:t>.)</a:t>
                      </a:r>
                    </a:p>
                  </a:txBody>
                  <a:tcPr marL="91392" marR="91392" marT="45696" marB="45696" anchor="ctr">
                    <a:lnL w="6350" cap="flat" cmpd="sng" algn="ctr">
                      <a:solidFill>
                        <a:srgbClr val="646464">
                          <a:lumMod val="60000"/>
                          <a:lumOff val="40000"/>
                        </a:srgbClr>
                      </a:solidFill>
                      <a:prstDash val="lgDashDot"/>
                      <a:round/>
                      <a:headEnd type="none" w="med" len="med"/>
                      <a:tailEnd type="none" w="med" len="med"/>
                    </a:lnL>
                    <a:lnR w="6350" cap="flat" cmpd="sng" algn="ctr">
                      <a:solidFill>
                        <a:srgbClr val="646464">
                          <a:lumMod val="60000"/>
                          <a:lumOff val="40000"/>
                        </a:srgbClr>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FFFFFF"/>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it-IT" sz="1800" dirty="0">
                        <a:latin typeface="+mn-lt"/>
                      </a:endParaRPr>
                    </a:p>
                  </a:txBody>
                  <a:tcPr marL="91392" marR="91392" marT="45696" marB="45696">
                    <a:lnL w="6350" cap="flat" cmpd="sng" algn="ctr">
                      <a:solidFill>
                        <a:srgbClr val="646464">
                          <a:lumMod val="60000"/>
                          <a:lumOff val="40000"/>
                        </a:srgbClr>
                      </a:solidFill>
                      <a:prstDash val="lgDashDot"/>
                      <a:round/>
                      <a:headEnd type="none" w="med" len="med"/>
                      <a:tailEnd type="none" w="med" len="med"/>
                    </a:lnL>
                    <a:lnR w="6350" cap="flat" cmpd="sng" algn="ctr">
                      <a:solidFill>
                        <a:srgbClr val="FFFFFF"/>
                      </a:solidFill>
                      <a:prstDash val="lgDashDot"/>
                      <a:round/>
                      <a:headEnd type="none" w="med" len="med"/>
                      <a:tailEnd type="none" w="med" len="med"/>
                    </a:lnR>
                    <a:lnT w="6350" cap="flat" cmpd="sng" algn="ctr">
                      <a:solidFill>
                        <a:srgbClr val="646464">
                          <a:lumMod val="60000"/>
                          <a:lumOff val="40000"/>
                        </a:srgbClr>
                      </a:solidFill>
                      <a:prstDash val="lgDashDot"/>
                      <a:round/>
                      <a:headEnd type="none" w="med" len="med"/>
                      <a:tailEnd type="none" w="med" len="med"/>
                    </a:lnT>
                    <a:lnB w="6350" cap="flat" cmpd="sng" algn="ctr">
                      <a:solidFill>
                        <a:srgbClr val="FFFFFF"/>
                      </a:solidFill>
                      <a:prstDash val="lgDash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271941472"/>
                  </a:ext>
                </a:extLst>
              </a:tr>
            </a:tbl>
          </a:graphicData>
        </a:graphic>
      </p:graphicFrame>
      <p:pic>
        <p:nvPicPr>
          <p:cNvPr id="102" name="Picture 101">
            <a:extLst>
              <a:ext uri="{FF2B5EF4-FFF2-40B4-BE49-F238E27FC236}">
                <a16:creationId xmlns:a16="http://schemas.microsoft.com/office/drawing/2014/main" xmlns="" id="{79E11FD4-1358-426B-8BCB-05CFB51749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0070" y="2554185"/>
            <a:ext cx="359812" cy="359813"/>
          </a:xfrm>
          <a:prstGeom prst="rect">
            <a:avLst/>
          </a:prstGeom>
        </p:spPr>
      </p:pic>
      <p:pic>
        <p:nvPicPr>
          <p:cNvPr id="103" name="Picture 102">
            <a:extLst>
              <a:ext uri="{FF2B5EF4-FFF2-40B4-BE49-F238E27FC236}">
                <a16:creationId xmlns:a16="http://schemas.microsoft.com/office/drawing/2014/main" xmlns="" id="{DD1BB0CA-3B08-42B5-8FD9-AAFFDE87BD1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960909" y="2554185"/>
            <a:ext cx="359812" cy="359813"/>
          </a:xfrm>
          <a:prstGeom prst="rect">
            <a:avLst/>
          </a:prstGeom>
        </p:spPr>
      </p:pic>
      <p:pic>
        <p:nvPicPr>
          <p:cNvPr id="104" name="Picture 103">
            <a:extLst>
              <a:ext uri="{FF2B5EF4-FFF2-40B4-BE49-F238E27FC236}">
                <a16:creationId xmlns:a16="http://schemas.microsoft.com/office/drawing/2014/main" xmlns="" id="{7CBA6114-6FB6-483E-8DDF-158D989F13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0070" y="3189199"/>
            <a:ext cx="359812" cy="359813"/>
          </a:xfrm>
          <a:prstGeom prst="rect">
            <a:avLst/>
          </a:prstGeom>
        </p:spPr>
      </p:pic>
      <p:pic>
        <p:nvPicPr>
          <p:cNvPr id="105" name="Picture 104">
            <a:extLst>
              <a:ext uri="{FF2B5EF4-FFF2-40B4-BE49-F238E27FC236}">
                <a16:creationId xmlns:a16="http://schemas.microsoft.com/office/drawing/2014/main" xmlns="" id="{3F2CBD04-AE83-4AEB-AC51-CBC8A5DC5F9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960909" y="3189199"/>
            <a:ext cx="359812" cy="359813"/>
          </a:xfrm>
          <a:prstGeom prst="rect">
            <a:avLst/>
          </a:prstGeom>
        </p:spPr>
      </p:pic>
      <p:pic>
        <p:nvPicPr>
          <p:cNvPr id="106" name="Picture 105">
            <a:extLst>
              <a:ext uri="{FF2B5EF4-FFF2-40B4-BE49-F238E27FC236}">
                <a16:creationId xmlns:a16="http://schemas.microsoft.com/office/drawing/2014/main" xmlns="" id="{C2BE0999-9936-4781-ABB8-56153EAA15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08917" y="5707665"/>
            <a:ext cx="359812" cy="359813"/>
          </a:xfrm>
          <a:prstGeom prst="rect">
            <a:avLst/>
          </a:prstGeom>
        </p:spPr>
      </p:pic>
      <p:pic>
        <p:nvPicPr>
          <p:cNvPr id="107" name="Picture 106">
            <a:extLst>
              <a:ext uri="{FF2B5EF4-FFF2-40B4-BE49-F238E27FC236}">
                <a16:creationId xmlns:a16="http://schemas.microsoft.com/office/drawing/2014/main" xmlns="" id="{797E5A4B-0F6C-4C54-8214-73F48E1D0F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2062" y="4414300"/>
            <a:ext cx="359812" cy="359813"/>
          </a:xfrm>
          <a:prstGeom prst="rect">
            <a:avLst/>
          </a:prstGeom>
        </p:spPr>
      </p:pic>
      <p:pic>
        <p:nvPicPr>
          <p:cNvPr id="108" name="Picture 107">
            <a:extLst>
              <a:ext uri="{FF2B5EF4-FFF2-40B4-BE49-F238E27FC236}">
                <a16:creationId xmlns:a16="http://schemas.microsoft.com/office/drawing/2014/main" xmlns="" id="{60A7B927-8F59-4DDF-B5D1-4588365A1D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08917" y="4405069"/>
            <a:ext cx="359812" cy="359813"/>
          </a:xfrm>
          <a:prstGeom prst="rect">
            <a:avLst/>
          </a:prstGeom>
        </p:spPr>
      </p:pic>
      <p:pic>
        <p:nvPicPr>
          <p:cNvPr id="111" name="Picture 110">
            <a:extLst>
              <a:ext uri="{FF2B5EF4-FFF2-40B4-BE49-F238E27FC236}">
                <a16:creationId xmlns:a16="http://schemas.microsoft.com/office/drawing/2014/main" xmlns="" id="{BC0ACFB4-CB78-48FE-B523-660CF7B85A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2062" y="5056192"/>
            <a:ext cx="359812" cy="359813"/>
          </a:xfrm>
          <a:prstGeom prst="rect">
            <a:avLst/>
          </a:prstGeom>
        </p:spPr>
      </p:pic>
      <p:pic>
        <p:nvPicPr>
          <p:cNvPr id="112" name="Picture 111">
            <a:extLst>
              <a:ext uri="{FF2B5EF4-FFF2-40B4-BE49-F238E27FC236}">
                <a16:creationId xmlns:a16="http://schemas.microsoft.com/office/drawing/2014/main" xmlns="" id="{911F9815-C4E9-4455-9392-6B44EEF4BD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08917" y="5046960"/>
            <a:ext cx="359812" cy="359813"/>
          </a:xfrm>
          <a:prstGeom prst="rect">
            <a:avLst/>
          </a:prstGeom>
        </p:spPr>
      </p:pic>
      <p:grpSp>
        <p:nvGrpSpPr>
          <p:cNvPr id="113" name="Group 112">
            <a:extLst>
              <a:ext uri="{FF2B5EF4-FFF2-40B4-BE49-F238E27FC236}">
                <a16:creationId xmlns:a16="http://schemas.microsoft.com/office/drawing/2014/main" xmlns="" id="{B1A7A390-3E4B-4A48-9F8C-8C7B6582595F}"/>
              </a:ext>
            </a:extLst>
          </p:cNvPr>
          <p:cNvGrpSpPr/>
          <p:nvPr/>
        </p:nvGrpSpPr>
        <p:grpSpPr>
          <a:xfrm>
            <a:off x="1762452" y="6357482"/>
            <a:ext cx="5759837" cy="323831"/>
            <a:chOff x="1763369" y="6359007"/>
            <a:chExt cx="5762837" cy="324000"/>
          </a:xfrm>
        </p:grpSpPr>
        <p:grpSp>
          <p:nvGrpSpPr>
            <p:cNvPr id="114" name="Group 113">
              <a:extLst>
                <a:ext uri="{FF2B5EF4-FFF2-40B4-BE49-F238E27FC236}">
                  <a16:creationId xmlns:a16="http://schemas.microsoft.com/office/drawing/2014/main" xmlns="" id="{9C23671E-7033-451D-9E4E-C941D226E8CA}"/>
                </a:ext>
              </a:extLst>
            </p:cNvPr>
            <p:cNvGrpSpPr/>
            <p:nvPr/>
          </p:nvGrpSpPr>
          <p:grpSpPr>
            <a:xfrm>
              <a:off x="5460401" y="6359007"/>
              <a:ext cx="2065805" cy="324000"/>
              <a:chOff x="7500226" y="6359007"/>
              <a:chExt cx="2065805" cy="324000"/>
            </a:xfrm>
          </p:grpSpPr>
          <p:sp>
            <p:nvSpPr>
              <p:cNvPr id="121" name="TextBox 120">
                <a:extLst>
                  <a:ext uri="{FF2B5EF4-FFF2-40B4-BE49-F238E27FC236}">
                    <a16:creationId xmlns:a16="http://schemas.microsoft.com/office/drawing/2014/main" xmlns="" id="{539F2A05-89BF-49AC-9388-0D29B0027B1D}"/>
                  </a:ext>
                </a:extLst>
              </p:cNvPr>
              <p:cNvSpPr txBox="1"/>
              <p:nvPr/>
            </p:nvSpPr>
            <p:spPr>
              <a:xfrm>
                <a:off x="7857811" y="6424058"/>
                <a:ext cx="1708220" cy="193899"/>
              </a:xfrm>
              <a:prstGeom prst="rect">
                <a:avLst/>
              </a:prstGeom>
              <a:noFill/>
            </p:spPr>
            <p:txBody>
              <a:bodyPr wrap="square" lIns="0" tIns="36557" rIns="0" bIns="0" rtlCol="0">
                <a:spAutoFit/>
              </a:bodyPr>
              <a:lstStyle/>
              <a:p>
                <a:pPr defTabSz="913943">
                  <a:lnSpc>
                    <a:spcPct val="85000"/>
                  </a:lnSpc>
                  <a:spcAft>
                    <a:spcPts val="600"/>
                  </a:spcAft>
                  <a:buClr>
                    <a:srgbClr val="FFE600"/>
                  </a:buClr>
                  <a:buSzPct val="70000"/>
                </a:pPr>
                <a:r>
                  <a:rPr lang="it-IT" sz="1199" dirty="0">
                    <a:solidFill>
                      <a:srgbClr val="646464"/>
                    </a:solidFill>
                  </a:rPr>
                  <a:t>Benefici non economici</a:t>
                </a:r>
              </a:p>
            </p:txBody>
          </p:sp>
          <p:pic>
            <p:nvPicPr>
              <p:cNvPr id="122" name="Picture 121">
                <a:extLst>
                  <a:ext uri="{FF2B5EF4-FFF2-40B4-BE49-F238E27FC236}">
                    <a16:creationId xmlns:a16="http://schemas.microsoft.com/office/drawing/2014/main" xmlns="" id="{AEAA6238-847C-4D3D-8155-AF3E17BF9C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00226" y="6359007"/>
                <a:ext cx="324000" cy="324000"/>
              </a:xfrm>
              <a:prstGeom prst="rect">
                <a:avLst/>
              </a:prstGeom>
            </p:spPr>
          </p:pic>
        </p:grpSp>
        <p:grpSp>
          <p:nvGrpSpPr>
            <p:cNvPr id="115" name="Group 114">
              <a:extLst>
                <a:ext uri="{FF2B5EF4-FFF2-40B4-BE49-F238E27FC236}">
                  <a16:creationId xmlns:a16="http://schemas.microsoft.com/office/drawing/2014/main" xmlns="" id="{966F90E9-E8E8-4D1C-AA10-D1B628192AA6}"/>
                </a:ext>
              </a:extLst>
            </p:cNvPr>
            <p:cNvGrpSpPr/>
            <p:nvPr/>
          </p:nvGrpSpPr>
          <p:grpSpPr>
            <a:xfrm>
              <a:off x="1763369" y="6359007"/>
              <a:ext cx="2074447" cy="324000"/>
              <a:chOff x="4426194" y="6359007"/>
              <a:chExt cx="2074447" cy="324000"/>
            </a:xfrm>
          </p:grpSpPr>
          <p:sp>
            <p:nvSpPr>
              <p:cNvPr id="119" name="TextBox 118">
                <a:extLst>
                  <a:ext uri="{FF2B5EF4-FFF2-40B4-BE49-F238E27FC236}">
                    <a16:creationId xmlns:a16="http://schemas.microsoft.com/office/drawing/2014/main" xmlns="" id="{C7593635-89E0-4C86-8CB4-BAE3E589BE12}"/>
                  </a:ext>
                </a:extLst>
              </p:cNvPr>
              <p:cNvSpPr txBox="1"/>
              <p:nvPr/>
            </p:nvSpPr>
            <p:spPr>
              <a:xfrm>
                <a:off x="4792421" y="6424058"/>
                <a:ext cx="1708220" cy="193899"/>
              </a:xfrm>
              <a:prstGeom prst="rect">
                <a:avLst/>
              </a:prstGeom>
              <a:noFill/>
            </p:spPr>
            <p:txBody>
              <a:bodyPr wrap="square" lIns="0" tIns="36557" rIns="0" bIns="0" rtlCol="0">
                <a:spAutoFit/>
              </a:bodyPr>
              <a:lstStyle/>
              <a:p>
                <a:pPr defTabSz="913943">
                  <a:lnSpc>
                    <a:spcPct val="85000"/>
                  </a:lnSpc>
                  <a:spcAft>
                    <a:spcPts val="600"/>
                  </a:spcAft>
                  <a:buClr>
                    <a:srgbClr val="FFE600"/>
                  </a:buClr>
                  <a:buSzPct val="70000"/>
                </a:pPr>
                <a:r>
                  <a:rPr lang="it-IT" sz="1199" dirty="0">
                    <a:solidFill>
                      <a:srgbClr val="646464"/>
                    </a:solidFill>
                  </a:rPr>
                  <a:t>Fase sanitaria</a:t>
                </a:r>
              </a:p>
            </p:txBody>
          </p:sp>
          <p:pic>
            <p:nvPicPr>
              <p:cNvPr id="120" name="Picture 119">
                <a:extLst>
                  <a:ext uri="{FF2B5EF4-FFF2-40B4-BE49-F238E27FC236}">
                    <a16:creationId xmlns:a16="http://schemas.microsoft.com/office/drawing/2014/main" xmlns="" id="{8020EFC6-7CF4-4E9E-BAE9-8A97C905217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4426194" y="6359007"/>
                <a:ext cx="324000" cy="324000"/>
              </a:xfrm>
              <a:prstGeom prst="rect">
                <a:avLst/>
              </a:prstGeom>
            </p:spPr>
          </p:pic>
        </p:grpSp>
        <p:grpSp>
          <p:nvGrpSpPr>
            <p:cNvPr id="116" name="Group 115">
              <a:extLst>
                <a:ext uri="{FF2B5EF4-FFF2-40B4-BE49-F238E27FC236}">
                  <a16:creationId xmlns:a16="http://schemas.microsoft.com/office/drawing/2014/main" xmlns="" id="{2A1461C9-1D2A-42C3-80D9-20E4CA07F9A3}"/>
                </a:ext>
              </a:extLst>
            </p:cNvPr>
            <p:cNvGrpSpPr/>
            <p:nvPr/>
          </p:nvGrpSpPr>
          <p:grpSpPr>
            <a:xfrm>
              <a:off x="3472356" y="6359007"/>
              <a:ext cx="2052952" cy="324000"/>
              <a:chOff x="1402395" y="6359007"/>
              <a:chExt cx="2052952" cy="324000"/>
            </a:xfrm>
          </p:grpSpPr>
          <p:pic>
            <p:nvPicPr>
              <p:cNvPr id="117" name="Picture 116">
                <a:extLst>
                  <a:ext uri="{FF2B5EF4-FFF2-40B4-BE49-F238E27FC236}">
                    <a16:creationId xmlns:a16="http://schemas.microsoft.com/office/drawing/2014/main" xmlns="" id="{07E0A6D8-2995-4669-BD68-E8F7A555E5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02395" y="6359007"/>
                <a:ext cx="324000" cy="324000"/>
              </a:xfrm>
              <a:prstGeom prst="rect">
                <a:avLst/>
              </a:prstGeom>
            </p:spPr>
          </p:pic>
          <p:sp>
            <p:nvSpPr>
              <p:cNvPr id="118" name="TextBox 117">
                <a:extLst>
                  <a:ext uri="{FF2B5EF4-FFF2-40B4-BE49-F238E27FC236}">
                    <a16:creationId xmlns:a16="http://schemas.microsoft.com/office/drawing/2014/main" xmlns="" id="{D8109699-650C-4D68-98A4-264DD82A3B7F}"/>
                  </a:ext>
                </a:extLst>
              </p:cNvPr>
              <p:cNvSpPr txBox="1"/>
              <p:nvPr/>
            </p:nvSpPr>
            <p:spPr>
              <a:xfrm>
                <a:off x="1799347" y="6424058"/>
                <a:ext cx="1656000" cy="193899"/>
              </a:xfrm>
              <a:prstGeom prst="rect">
                <a:avLst/>
              </a:prstGeom>
              <a:noFill/>
            </p:spPr>
            <p:txBody>
              <a:bodyPr wrap="square" lIns="0" tIns="36557" rIns="0" bIns="0" rtlCol="0">
                <a:spAutoFit/>
              </a:bodyPr>
              <a:lstStyle/>
              <a:p>
                <a:pPr defTabSz="913943">
                  <a:lnSpc>
                    <a:spcPct val="85000"/>
                  </a:lnSpc>
                  <a:spcAft>
                    <a:spcPts val="600"/>
                  </a:spcAft>
                  <a:buClr>
                    <a:srgbClr val="FFE600"/>
                  </a:buClr>
                  <a:buSzPct val="70000"/>
                </a:pPr>
                <a:r>
                  <a:rPr lang="it-IT" sz="1199" dirty="0">
                    <a:solidFill>
                      <a:srgbClr val="646464"/>
                    </a:solidFill>
                  </a:rPr>
                  <a:t>Benefici economici</a:t>
                </a:r>
              </a:p>
            </p:txBody>
          </p:sp>
        </p:grpSp>
      </p:grpSp>
      <p:grpSp>
        <p:nvGrpSpPr>
          <p:cNvPr id="123" name="Group 122">
            <a:extLst>
              <a:ext uri="{FF2B5EF4-FFF2-40B4-BE49-F238E27FC236}">
                <a16:creationId xmlns:a16="http://schemas.microsoft.com/office/drawing/2014/main" xmlns="" id="{FCA8E27D-CC37-4DA5-9B43-6B297AAC511F}"/>
              </a:ext>
            </a:extLst>
          </p:cNvPr>
          <p:cNvGrpSpPr/>
          <p:nvPr/>
        </p:nvGrpSpPr>
        <p:grpSpPr>
          <a:xfrm>
            <a:off x="689473" y="2500379"/>
            <a:ext cx="1446087" cy="3732638"/>
            <a:chOff x="1505830" y="2499895"/>
            <a:chExt cx="1446840" cy="3734582"/>
          </a:xfrm>
        </p:grpSpPr>
        <p:grpSp>
          <p:nvGrpSpPr>
            <p:cNvPr id="124" name="Group 123">
              <a:extLst>
                <a:ext uri="{FF2B5EF4-FFF2-40B4-BE49-F238E27FC236}">
                  <a16:creationId xmlns:a16="http://schemas.microsoft.com/office/drawing/2014/main" xmlns="" id="{86D2E42E-0463-4D85-A95C-C7601DF335C7}"/>
                </a:ext>
              </a:extLst>
            </p:cNvPr>
            <p:cNvGrpSpPr/>
            <p:nvPr/>
          </p:nvGrpSpPr>
          <p:grpSpPr>
            <a:xfrm>
              <a:off x="1505830" y="2499895"/>
              <a:ext cx="1446840" cy="3006792"/>
              <a:chOff x="1505830" y="2499895"/>
              <a:chExt cx="1446840" cy="3006792"/>
            </a:xfrm>
          </p:grpSpPr>
          <p:pic>
            <p:nvPicPr>
              <p:cNvPr id="128" name="Picture 127">
                <a:extLst>
                  <a:ext uri="{FF2B5EF4-FFF2-40B4-BE49-F238E27FC236}">
                    <a16:creationId xmlns:a16="http://schemas.microsoft.com/office/drawing/2014/main" xmlns="" id="{458A2072-C733-4EEF-8E8E-94EA5F0881CA}"/>
                  </a:ext>
                </a:extLst>
              </p:cNvPr>
              <p:cNvPicPr>
                <a:picLocks noChangeAspect="1"/>
              </p:cNvPicPr>
              <p:nvPr/>
            </p:nvPicPr>
            <p:blipFill>
              <a:blip r:embed="rId9"/>
              <a:stretch>
                <a:fillRect/>
              </a:stretch>
            </p:blipFill>
            <p:spPr>
              <a:xfrm>
                <a:off x="1505830" y="4392256"/>
                <a:ext cx="1446840" cy="405115"/>
              </a:xfrm>
              <a:prstGeom prst="rect">
                <a:avLst/>
              </a:prstGeom>
            </p:spPr>
          </p:pic>
          <p:pic>
            <p:nvPicPr>
              <p:cNvPr id="129" name="Picture 128">
                <a:extLst>
                  <a:ext uri="{FF2B5EF4-FFF2-40B4-BE49-F238E27FC236}">
                    <a16:creationId xmlns:a16="http://schemas.microsoft.com/office/drawing/2014/main" xmlns="" id="{5162B6D6-56F2-4943-90E8-E0EE81E60C1E}"/>
                  </a:ext>
                </a:extLst>
              </p:cNvPr>
              <p:cNvPicPr>
                <a:picLocks noChangeAspect="1"/>
              </p:cNvPicPr>
              <p:nvPr/>
            </p:nvPicPr>
            <p:blipFill>
              <a:blip r:embed="rId10"/>
              <a:stretch>
                <a:fillRect/>
              </a:stretch>
            </p:blipFill>
            <p:spPr>
              <a:xfrm>
                <a:off x="1959603" y="4967392"/>
                <a:ext cx="539295" cy="539295"/>
              </a:xfrm>
              <a:prstGeom prst="rect">
                <a:avLst/>
              </a:prstGeom>
            </p:spPr>
          </p:pic>
          <p:pic>
            <p:nvPicPr>
              <p:cNvPr id="130" name="Picture 129">
                <a:extLst>
                  <a:ext uri="{FF2B5EF4-FFF2-40B4-BE49-F238E27FC236}">
                    <a16:creationId xmlns:a16="http://schemas.microsoft.com/office/drawing/2014/main" xmlns="" id="{64BD7ED4-A880-4A27-8637-54E035627804}"/>
                  </a:ext>
                </a:extLst>
              </p:cNvPr>
              <p:cNvPicPr>
                <a:picLocks noChangeAspect="1"/>
              </p:cNvPicPr>
              <p:nvPr/>
            </p:nvPicPr>
            <p:blipFill rotWithShape="1">
              <a:blip r:embed="rId11"/>
              <a:srcRect l="28049" t="41013" r="53149" b="41779"/>
              <a:stretch/>
            </p:blipFill>
            <p:spPr>
              <a:xfrm>
                <a:off x="1879776" y="3829169"/>
                <a:ext cx="698949" cy="319858"/>
              </a:xfrm>
              <a:prstGeom prst="rect">
                <a:avLst/>
              </a:prstGeom>
            </p:spPr>
          </p:pic>
          <p:pic>
            <p:nvPicPr>
              <p:cNvPr id="131" name="Picture 130">
                <a:extLst>
                  <a:ext uri="{FF2B5EF4-FFF2-40B4-BE49-F238E27FC236}">
                    <a16:creationId xmlns:a16="http://schemas.microsoft.com/office/drawing/2014/main" xmlns="" id="{1ACF5E28-08A1-4446-9D16-32B75D87DA6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86892" y="2499895"/>
                <a:ext cx="1084717" cy="504443"/>
              </a:xfrm>
              <a:prstGeom prst="rect">
                <a:avLst/>
              </a:prstGeom>
            </p:spPr>
          </p:pic>
          <p:pic>
            <p:nvPicPr>
              <p:cNvPr id="132" name="Picture 131">
                <a:extLst>
                  <a:ext uri="{FF2B5EF4-FFF2-40B4-BE49-F238E27FC236}">
                    <a16:creationId xmlns:a16="http://schemas.microsoft.com/office/drawing/2014/main" xmlns="" id="{D7A9EBD8-F8DA-4780-9173-626DEAA6F93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79250" y="3237090"/>
                <a:ext cx="900000" cy="335969"/>
              </a:xfrm>
              <a:prstGeom prst="rect">
                <a:avLst/>
              </a:prstGeom>
            </p:spPr>
          </p:pic>
        </p:grpSp>
        <p:grpSp>
          <p:nvGrpSpPr>
            <p:cNvPr id="125" name="Group 124">
              <a:extLst>
                <a:ext uri="{FF2B5EF4-FFF2-40B4-BE49-F238E27FC236}">
                  <a16:creationId xmlns:a16="http://schemas.microsoft.com/office/drawing/2014/main" xmlns="" id="{3BC7D36B-64F8-445C-B7EA-8E7045445C6D}"/>
                </a:ext>
              </a:extLst>
            </p:cNvPr>
            <p:cNvGrpSpPr/>
            <p:nvPr/>
          </p:nvGrpSpPr>
          <p:grpSpPr>
            <a:xfrm>
              <a:off x="1760777" y="5647681"/>
              <a:ext cx="874412" cy="586796"/>
              <a:chOff x="4321476" y="5047987"/>
              <a:chExt cx="2048006" cy="1374365"/>
            </a:xfrm>
          </p:grpSpPr>
          <p:pic>
            <p:nvPicPr>
              <p:cNvPr id="126" name="Picture 125">
                <a:extLst>
                  <a:ext uri="{FF2B5EF4-FFF2-40B4-BE49-F238E27FC236}">
                    <a16:creationId xmlns:a16="http://schemas.microsoft.com/office/drawing/2014/main" xmlns="" id="{4E30812F-A6FD-4E15-8774-1F3FA553E7F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30691" y="5047987"/>
                <a:ext cx="786195" cy="1008001"/>
              </a:xfrm>
              <a:prstGeom prst="rect">
                <a:avLst/>
              </a:prstGeom>
            </p:spPr>
          </p:pic>
          <p:sp>
            <p:nvSpPr>
              <p:cNvPr id="127" name="Rectangle 126">
                <a:extLst>
                  <a:ext uri="{FF2B5EF4-FFF2-40B4-BE49-F238E27FC236}">
                    <a16:creationId xmlns:a16="http://schemas.microsoft.com/office/drawing/2014/main" xmlns="" id="{4FABB272-A461-4690-844D-3C8D58AC4AEB}"/>
                  </a:ext>
                </a:extLst>
              </p:cNvPr>
              <p:cNvSpPr/>
              <p:nvPr/>
            </p:nvSpPr>
            <p:spPr>
              <a:xfrm>
                <a:off x="4321476" y="5917487"/>
                <a:ext cx="2048006" cy="504865"/>
              </a:xfrm>
              <a:prstGeom prst="rect">
                <a:avLst/>
              </a:prstGeom>
            </p:spPr>
            <p:txBody>
              <a:bodyPr wrap="none">
                <a:spAutoFit/>
              </a:bodyPr>
              <a:lstStyle/>
              <a:p>
                <a:pPr defTabSz="913943"/>
                <a:r>
                  <a:rPr lang="it-IT" sz="800" b="1" dirty="0">
                    <a:solidFill>
                      <a:srgbClr val="000000"/>
                    </a:solidFill>
                  </a:rPr>
                  <a:t>Comuni/Regioni</a:t>
                </a:r>
                <a:endParaRPr lang="it-IT" sz="800" dirty="0">
                  <a:solidFill>
                    <a:srgbClr val="000000"/>
                  </a:solidFill>
                </a:endParaRPr>
              </a:p>
            </p:txBody>
          </p:sp>
        </p:grpSp>
      </p:grpSp>
      <p:sp>
        <p:nvSpPr>
          <p:cNvPr id="39" name="Rectangle 35"/>
          <p:cNvSpPr>
            <a:spLocks noChangeArrowheads="1"/>
          </p:cNvSpPr>
          <p:nvPr/>
        </p:nvSpPr>
        <p:spPr bwMode="auto">
          <a:xfrm>
            <a:off x="630855" y="994831"/>
            <a:ext cx="10937257" cy="1126462"/>
          </a:xfrm>
          <a:prstGeom prst="rect">
            <a:avLst/>
          </a:prstGeom>
          <a:noFill/>
          <a:ln>
            <a:noFill/>
          </a:ln>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lvl="0" algn="just" defTabSz="913943">
              <a:lnSpc>
                <a:spcPct val="100000"/>
              </a:lnSpc>
              <a:spcBef>
                <a:spcPct val="20000"/>
              </a:spcBef>
              <a:buClr>
                <a:srgbClr val="FFE600"/>
              </a:buClr>
              <a:buSzPct val="70000"/>
              <a:buNone/>
              <a:defRPr/>
            </a:pPr>
            <a:r>
              <a:rPr lang="it-IT" sz="1600" b="1" dirty="0">
                <a:solidFill>
                  <a:srgbClr val="646464"/>
                </a:solidFill>
                <a:latin typeface="+mn-lt"/>
              </a:rPr>
              <a:t>Il processo dell’Invalidità Civile coinvolge</a:t>
            </a:r>
            <a:r>
              <a:rPr lang="it-IT" sz="1600" dirty="0">
                <a:solidFill>
                  <a:srgbClr val="646464"/>
                </a:solidFill>
                <a:latin typeface="+mn-lt"/>
              </a:rPr>
              <a:t>, oltre l’INPS, </a:t>
            </a:r>
            <a:r>
              <a:rPr lang="it-IT" sz="1600" b="1" dirty="0">
                <a:solidFill>
                  <a:srgbClr val="646464"/>
                </a:solidFill>
                <a:latin typeface="+mn-lt"/>
              </a:rPr>
              <a:t>un numero elevato di attori </a:t>
            </a:r>
            <a:r>
              <a:rPr lang="it-IT" sz="1600" dirty="0">
                <a:solidFill>
                  <a:srgbClr val="646464"/>
                </a:solidFill>
                <a:latin typeface="+mn-lt"/>
              </a:rPr>
              <a:t>che partecipano nelle varie fasi del processo, dalla verifica della situazione sanitaria all’erogazione di benefici economici e non economici. </a:t>
            </a:r>
          </a:p>
          <a:p>
            <a:pPr lvl="0" algn="just" defTabSz="913943">
              <a:lnSpc>
                <a:spcPct val="100000"/>
              </a:lnSpc>
              <a:spcBef>
                <a:spcPct val="20000"/>
              </a:spcBef>
              <a:buClr>
                <a:srgbClr val="FFE600"/>
              </a:buClr>
              <a:buSzPct val="70000"/>
              <a:buNone/>
              <a:defRPr/>
            </a:pPr>
            <a:r>
              <a:rPr lang="it-IT" sz="1600" dirty="0">
                <a:solidFill>
                  <a:srgbClr val="646464"/>
                </a:solidFill>
                <a:latin typeface="+mn-lt"/>
              </a:rPr>
              <a:t>Il processo, essendo frammentato in un elevato numero di fasi ciascuna delle quali prevede la certificazione/verifica di informazioni, </a:t>
            </a:r>
            <a:r>
              <a:rPr lang="it-IT" sz="1600" b="1" dirty="0">
                <a:solidFill>
                  <a:srgbClr val="646464"/>
                </a:solidFill>
                <a:latin typeface="+mn-lt"/>
              </a:rPr>
              <a:t>è particolarmente adatto ad essere implementato e digitalizzato con il supporto della tecnologia Blockchain</a:t>
            </a:r>
            <a:r>
              <a:rPr lang="it-IT" sz="1600" dirty="0">
                <a:solidFill>
                  <a:srgbClr val="646464"/>
                </a:solidFill>
                <a:latin typeface="+mn-lt"/>
              </a:rPr>
              <a:t>.</a:t>
            </a:r>
          </a:p>
        </p:txBody>
      </p:sp>
      <p:sp>
        <p:nvSpPr>
          <p:cNvPr id="41"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latin typeface="Calibri" panose="020F0502020204030204" pitchFamily="34" charset="0"/>
              </a:rPr>
              <a:t>Invalidità Civile</a:t>
            </a:r>
          </a:p>
          <a:p>
            <a:r>
              <a:rPr lang="it-IT" sz="2400" i="1" dirty="0">
                <a:latin typeface="Calibri" panose="020F0502020204030204" pitchFamily="34" charset="0"/>
                <a:cs typeface="Calibri" panose="020F0502020204030204" pitchFamily="34" charset="0"/>
              </a:rPr>
              <a:t>Principali attori</a:t>
            </a:r>
          </a:p>
        </p:txBody>
      </p:sp>
      <p:pic>
        <p:nvPicPr>
          <p:cNvPr id="37" name="Picture 36">
            <a:extLst>
              <a:ext uri="{FF2B5EF4-FFF2-40B4-BE49-F238E27FC236}">
                <a16:creationId xmlns:a16="http://schemas.microsoft.com/office/drawing/2014/main" xmlns="" id="{DC12E9B5-6FEE-4E55-8A56-E6FA958BE8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38827" y="2554185"/>
            <a:ext cx="359812" cy="359813"/>
          </a:xfrm>
          <a:prstGeom prst="rect">
            <a:avLst/>
          </a:prstGeom>
        </p:spPr>
      </p:pic>
      <p:pic>
        <p:nvPicPr>
          <p:cNvPr id="38" name="Picture 37">
            <a:extLst>
              <a:ext uri="{FF2B5EF4-FFF2-40B4-BE49-F238E27FC236}">
                <a16:creationId xmlns:a16="http://schemas.microsoft.com/office/drawing/2014/main" xmlns="" id="{C47F4C25-3BFD-4B54-B32C-B1673E59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0070" y="3801749"/>
            <a:ext cx="359812" cy="359813"/>
          </a:xfrm>
          <a:prstGeom prst="rect">
            <a:avLst/>
          </a:prstGeom>
        </p:spPr>
      </p:pic>
      <p:pic>
        <p:nvPicPr>
          <p:cNvPr id="40" name="Picture 39">
            <a:extLst>
              <a:ext uri="{FF2B5EF4-FFF2-40B4-BE49-F238E27FC236}">
                <a16:creationId xmlns:a16="http://schemas.microsoft.com/office/drawing/2014/main" xmlns="" id="{029F603E-042D-4445-A0AE-1D5A5197BA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960909" y="3801749"/>
            <a:ext cx="359812" cy="359813"/>
          </a:xfrm>
          <a:prstGeom prst="rect">
            <a:avLst/>
          </a:prstGeom>
        </p:spPr>
      </p:pic>
      <p:pic>
        <p:nvPicPr>
          <p:cNvPr id="42" name="Picture 41">
            <a:extLst>
              <a:ext uri="{FF2B5EF4-FFF2-40B4-BE49-F238E27FC236}">
                <a16:creationId xmlns:a16="http://schemas.microsoft.com/office/drawing/2014/main" xmlns="" id="{F94319C2-8446-487C-9458-5DA5026874E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38827" y="3801749"/>
            <a:ext cx="359812" cy="359813"/>
          </a:xfrm>
          <a:prstGeom prst="rect">
            <a:avLst/>
          </a:prstGeom>
        </p:spPr>
      </p:pic>
      <p:pic>
        <p:nvPicPr>
          <p:cNvPr id="43" name="Picture 42">
            <a:extLst>
              <a:ext uri="{FF2B5EF4-FFF2-40B4-BE49-F238E27FC236}">
                <a16:creationId xmlns:a16="http://schemas.microsoft.com/office/drawing/2014/main" xmlns="" id="{68582A6C-1BC2-4484-B75F-BFF362A461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2062" y="5685519"/>
            <a:ext cx="359812" cy="359813"/>
          </a:xfrm>
          <a:prstGeom prst="rect">
            <a:avLst/>
          </a:prstGeom>
        </p:spPr>
      </p:pic>
    </p:spTree>
    <p:extLst>
      <p:ext uri="{BB962C8B-B14F-4D97-AF65-F5344CB8AC3E}">
        <p14:creationId xmlns:p14="http://schemas.microsoft.com/office/powerpoint/2010/main" val="2114939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latin typeface="Calibri" panose="020F0502020204030204" pitchFamily="34" charset="0"/>
              </a:rPr>
              <a:t>Invalidità Civile</a:t>
            </a:r>
          </a:p>
          <a:p>
            <a:r>
              <a:rPr lang="it-IT" sz="2400" i="1" dirty="0">
                <a:solidFill>
                  <a:srgbClr val="646464"/>
                </a:solidFill>
                <a:latin typeface="Calibri" panose="020F0502020204030204" pitchFamily="34" charset="0"/>
                <a:cs typeface="Calibri" panose="020F0502020204030204" pitchFamily="34" charset="0"/>
              </a:rPr>
              <a:t>Punti di attenzione del processo</a:t>
            </a:r>
            <a:endParaRPr lang="en-US" sz="2399" i="1" dirty="0">
              <a:solidFill>
                <a:srgbClr val="646464"/>
              </a:solidFill>
              <a:latin typeface="Calibri" panose="020F0502020204030204" pitchFamily="34" charset="0"/>
              <a:cs typeface="Calibri" panose="020F0502020204030204" pitchFamily="34" charset="0"/>
            </a:endParaRPr>
          </a:p>
        </p:txBody>
      </p:sp>
      <p:grpSp>
        <p:nvGrpSpPr>
          <p:cNvPr id="12" name="Group 11"/>
          <p:cNvGrpSpPr/>
          <p:nvPr/>
        </p:nvGrpSpPr>
        <p:grpSpPr>
          <a:xfrm>
            <a:off x="636408" y="4389017"/>
            <a:ext cx="10932375" cy="719625"/>
            <a:chOff x="636408" y="4389017"/>
            <a:chExt cx="10932375" cy="719625"/>
          </a:xfrm>
        </p:grpSpPr>
        <p:sp>
          <p:nvSpPr>
            <p:cNvPr id="43" name="Rectangle 42">
              <a:extLst>
                <a:ext uri="{FF2B5EF4-FFF2-40B4-BE49-F238E27FC236}">
                  <a16:creationId xmlns:a16="http://schemas.microsoft.com/office/drawing/2014/main" xmlns="" id="{74E1BF83-F289-4E96-84D7-22C3F3E8F43D}"/>
                </a:ext>
              </a:extLst>
            </p:cNvPr>
            <p:cNvSpPr/>
            <p:nvPr/>
          </p:nvSpPr>
          <p:spPr>
            <a:xfrm>
              <a:off x="1588455" y="4389017"/>
              <a:ext cx="9980328" cy="719625"/>
            </a:xfrm>
            <a:prstGeom prst="rect">
              <a:avLst/>
            </a:prstGeom>
            <a:solidFill>
              <a:srgbClr val="F0F0F0"/>
            </a:solidFill>
            <a:ln w="9525" cap="flat" cmpd="sng" algn="ctr">
              <a:noFill/>
              <a:prstDash val="solid"/>
            </a:ln>
            <a:effectLst/>
          </p:spPr>
          <p:txBody>
            <a:bodyPr lIns="107944" tIns="35981" rIns="35981" bIns="35981" rtlCol="0" anchor="ctr"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effectLst/>
                  <a:uLnTx/>
                  <a:uFillTx/>
                  <a:ea typeface="+mn-ea"/>
                  <a:cs typeface="+mn-cs"/>
                </a:rPr>
                <a:t>Molteplici punti di accesso alle varie prestazioni/benefici</a:t>
              </a:r>
            </a:p>
          </p:txBody>
        </p:sp>
        <p:grpSp>
          <p:nvGrpSpPr>
            <p:cNvPr id="7" name="Group 6"/>
            <p:cNvGrpSpPr/>
            <p:nvPr/>
          </p:nvGrpSpPr>
          <p:grpSpPr>
            <a:xfrm>
              <a:off x="636408" y="4389017"/>
              <a:ext cx="968018" cy="719625"/>
              <a:chOff x="939410" y="4389017"/>
              <a:chExt cx="968018" cy="719625"/>
            </a:xfrm>
          </p:grpSpPr>
          <p:sp>
            <p:nvSpPr>
              <p:cNvPr id="44" name="Rectangle 43">
                <a:extLst>
                  <a:ext uri="{FF2B5EF4-FFF2-40B4-BE49-F238E27FC236}">
                    <a16:creationId xmlns:a16="http://schemas.microsoft.com/office/drawing/2014/main" xmlns="" id="{7916ECBA-A5EF-446D-8D5A-213722167569}"/>
                  </a:ext>
                </a:extLst>
              </p:cNvPr>
              <p:cNvSpPr/>
              <p:nvPr/>
            </p:nvSpPr>
            <p:spPr>
              <a:xfrm>
                <a:off x="939410" y="4389017"/>
                <a:ext cx="968018" cy="719625"/>
              </a:xfrm>
              <a:prstGeom prst="rect">
                <a:avLst/>
              </a:prstGeom>
              <a:solidFill>
                <a:srgbClr val="646464"/>
              </a:solidFill>
              <a:ln w="9525" cap="flat" cmpd="sng" algn="ctr">
                <a:noFill/>
                <a:prstDash val="solid"/>
              </a:ln>
              <a:effectLst/>
            </p:spPr>
            <p:txBody>
              <a:bodyPr lIns="35981" tIns="143925" rIns="35981" bIns="143925" rtlCol="0" anchor="ctr" anchorCtr="0"/>
              <a:lstStyle/>
              <a:p>
                <a:pPr marL="0" marR="0" lvl="0" indent="0" algn="ctr" defTabSz="913943" eaLnBrk="1" fontAlgn="auto" latinLnBrk="0" hangingPunct="1">
                  <a:lnSpc>
                    <a:spcPts val="1299"/>
                  </a:lnSpc>
                  <a:spcBef>
                    <a:spcPts val="0"/>
                  </a:spcBef>
                  <a:spcAft>
                    <a:spcPts val="0"/>
                  </a:spcAft>
                  <a:buClrTx/>
                  <a:buSzTx/>
                  <a:buFontTx/>
                  <a:buNone/>
                  <a:tabLst/>
                  <a:defRPr/>
                </a:pPr>
                <a:endParaRPr kumimoji="0" lang="it-IT" sz="1399" b="1" i="0" u="none" strike="noStrike" kern="0" cap="none" spc="0" normalizeH="0" baseline="0" noProof="0" dirty="0">
                  <a:ln>
                    <a:noFill/>
                  </a:ln>
                  <a:effectLst/>
                  <a:uLnTx/>
                  <a:uFillTx/>
                  <a:ea typeface="+mn-ea"/>
                  <a:cs typeface="+mn-cs"/>
                </a:endParaRPr>
              </a:p>
            </p:txBody>
          </p:sp>
          <p:pic>
            <p:nvPicPr>
              <p:cNvPr id="45" name="Picture 44">
                <a:extLst>
                  <a:ext uri="{FF2B5EF4-FFF2-40B4-BE49-F238E27FC236}">
                    <a16:creationId xmlns:a16="http://schemas.microsoft.com/office/drawing/2014/main" xmlns="" id="{F36E50D7-3AF0-496D-919B-B4883EC62A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3461" y="4510853"/>
                <a:ext cx="449253" cy="449253"/>
              </a:xfrm>
              <a:prstGeom prst="rect">
                <a:avLst/>
              </a:prstGeom>
            </p:spPr>
          </p:pic>
        </p:grpSp>
      </p:grpSp>
      <p:grpSp>
        <p:nvGrpSpPr>
          <p:cNvPr id="10" name="Group 9"/>
          <p:cNvGrpSpPr/>
          <p:nvPr/>
        </p:nvGrpSpPr>
        <p:grpSpPr>
          <a:xfrm>
            <a:off x="636408" y="2512650"/>
            <a:ext cx="10932375" cy="719625"/>
            <a:chOff x="636408" y="2512650"/>
            <a:chExt cx="10932375" cy="719625"/>
          </a:xfrm>
        </p:grpSpPr>
        <p:sp>
          <p:nvSpPr>
            <p:cNvPr id="41" name="Rectangle 40">
              <a:extLst>
                <a:ext uri="{FF2B5EF4-FFF2-40B4-BE49-F238E27FC236}">
                  <a16:creationId xmlns:a16="http://schemas.microsoft.com/office/drawing/2014/main" xmlns="" id="{6DA9BBF8-5789-4103-97C4-28A3F613DE7E}"/>
                </a:ext>
              </a:extLst>
            </p:cNvPr>
            <p:cNvSpPr/>
            <p:nvPr/>
          </p:nvSpPr>
          <p:spPr>
            <a:xfrm>
              <a:off x="1588454" y="2512650"/>
              <a:ext cx="9980329" cy="719625"/>
            </a:xfrm>
            <a:prstGeom prst="rect">
              <a:avLst/>
            </a:prstGeom>
            <a:solidFill>
              <a:srgbClr val="F0F0F0"/>
            </a:solidFill>
            <a:ln w="9525" cap="flat" cmpd="sng" algn="ctr">
              <a:noFill/>
              <a:prstDash val="solid"/>
            </a:ln>
            <a:effectLst/>
          </p:spPr>
          <p:txBody>
            <a:bodyPr lIns="107944" tIns="35981" rIns="35981" bIns="35981" rtlCol="0" anchor="ctr"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effectLst/>
                  <a:uLnTx/>
                  <a:uFillTx/>
                  <a:ea typeface="+mn-ea"/>
                  <a:cs typeface="+mn-cs"/>
                </a:rPr>
                <a:t>Necessità di trasparenza e comunicazioni all’utente in merito stato di lavorazione delle pratiche</a:t>
              </a:r>
            </a:p>
          </p:txBody>
        </p:sp>
        <p:grpSp>
          <p:nvGrpSpPr>
            <p:cNvPr id="5" name="Group 4"/>
            <p:cNvGrpSpPr/>
            <p:nvPr/>
          </p:nvGrpSpPr>
          <p:grpSpPr>
            <a:xfrm>
              <a:off x="636408" y="2512650"/>
              <a:ext cx="968018" cy="719625"/>
              <a:chOff x="939410" y="2512650"/>
              <a:chExt cx="968018" cy="719625"/>
            </a:xfrm>
          </p:grpSpPr>
          <p:sp>
            <p:nvSpPr>
              <p:cNvPr id="42" name="Rectangle 41">
                <a:extLst>
                  <a:ext uri="{FF2B5EF4-FFF2-40B4-BE49-F238E27FC236}">
                    <a16:creationId xmlns:a16="http://schemas.microsoft.com/office/drawing/2014/main" xmlns="" id="{313AEDAB-A481-4F71-9695-461AFB459002}"/>
                  </a:ext>
                </a:extLst>
              </p:cNvPr>
              <p:cNvSpPr/>
              <p:nvPr/>
            </p:nvSpPr>
            <p:spPr>
              <a:xfrm>
                <a:off x="939410" y="2512650"/>
                <a:ext cx="968018" cy="719625"/>
              </a:xfrm>
              <a:prstGeom prst="rect">
                <a:avLst/>
              </a:prstGeom>
              <a:solidFill>
                <a:srgbClr val="646464"/>
              </a:solidFill>
              <a:ln w="9525" cap="flat" cmpd="sng" algn="ctr">
                <a:noFill/>
                <a:prstDash val="solid"/>
              </a:ln>
              <a:effectLst/>
            </p:spPr>
            <p:txBody>
              <a:bodyPr lIns="35981" tIns="143925" rIns="35981" bIns="143925" rtlCol="0" anchor="ctr" anchorCtr="0"/>
              <a:lstStyle/>
              <a:p>
                <a:pPr marL="0" marR="0" lvl="0" indent="0" algn="ctr" defTabSz="913943" eaLnBrk="1" fontAlgn="auto" latinLnBrk="0" hangingPunct="1">
                  <a:lnSpc>
                    <a:spcPts val="1299"/>
                  </a:lnSpc>
                  <a:spcBef>
                    <a:spcPts val="0"/>
                  </a:spcBef>
                  <a:spcAft>
                    <a:spcPts val="0"/>
                  </a:spcAft>
                  <a:buClrTx/>
                  <a:buSzTx/>
                  <a:buFontTx/>
                  <a:buNone/>
                  <a:tabLst/>
                  <a:defRPr/>
                </a:pPr>
                <a:endParaRPr kumimoji="0" lang="it-IT" sz="1399" b="1" i="0" u="none" strike="noStrike" kern="0" cap="none" spc="0" normalizeH="0" baseline="0" noProof="0" dirty="0">
                  <a:ln>
                    <a:noFill/>
                  </a:ln>
                  <a:effectLst/>
                  <a:uLnTx/>
                  <a:uFillTx/>
                  <a:ea typeface="+mn-ea"/>
                  <a:cs typeface="+mn-cs"/>
                </a:endParaRPr>
              </a:p>
            </p:txBody>
          </p:sp>
          <p:pic>
            <p:nvPicPr>
              <p:cNvPr id="50" name="Picture 49">
                <a:extLst>
                  <a:ext uri="{FF2B5EF4-FFF2-40B4-BE49-F238E27FC236}">
                    <a16:creationId xmlns:a16="http://schemas.microsoft.com/office/drawing/2014/main" xmlns="" id="{773817CB-0AB4-4BC1-A4C7-E5094FAC4A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9476" y="2586953"/>
                <a:ext cx="477224" cy="477224"/>
              </a:xfrm>
              <a:prstGeom prst="rect">
                <a:avLst/>
              </a:prstGeom>
            </p:spPr>
          </p:pic>
        </p:grpSp>
      </p:grpSp>
      <p:grpSp>
        <p:nvGrpSpPr>
          <p:cNvPr id="11" name="Group 10"/>
          <p:cNvGrpSpPr/>
          <p:nvPr/>
        </p:nvGrpSpPr>
        <p:grpSpPr>
          <a:xfrm>
            <a:off x="636408" y="3450834"/>
            <a:ext cx="10932375" cy="719625"/>
            <a:chOff x="636408" y="3450834"/>
            <a:chExt cx="10932375" cy="719625"/>
          </a:xfrm>
        </p:grpSpPr>
        <p:sp>
          <p:nvSpPr>
            <p:cNvPr id="48" name="Rectangle 47">
              <a:extLst>
                <a:ext uri="{FF2B5EF4-FFF2-40B4-BE49-F238E27FC236}">
                  <a16:creationId xmlns:a16="http://schemas.microsoft.com/office/drawing/2014/main" xmlns="" id="{692696AF-A607-41DD-A7BE-37CB6ABB45EC}"/>
                </a:ext>
              </a:extLst>
            </p:cNvPr>
            <p:cNvSpPr/>
            <p:nvPr/>
          </p:nvSpPr>
          <p:spPr>
            <a:xfrm>
              <a:off x="1588455" y="3450834"/>
              <a:ext cx="9980328" cy="719625"/>
            </a:xfrm>
            <a:prstGeom prst="rect">
              <a:avLst/>
            </a:prstGeom>
            <a:solidFill>
              <a:srgbClr val="F0F0F0"/>
            </a:solidFill>
            <a:ln w="9525" cap="flat" cmpd="sng" algn="ctr">
              <a:noFill/>
              <a:prstDash val="solid"/>
            </a:ln>
            <a:effectLst/>
          </p:spPr>
          <p:txBody>
            <a:bodyPr lIns="107944" tIns="35981" rIns="35981" bIns="35981" rtlCol="0" anchor="ctr"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effectLst/>
                  <a:uLnTx/>
                  <a:uFillTx/>
                  <a:ea typeface="+mn-ea"/>
                  <a:cs typeface="+mn-cs"/>
                </a:rPr>
                <a:t>Rischio di frodi legate alla presenza di documentazione cartacea</a:t>
              </a:r>
            </a:p>
          </p:txBody>
        </p:sp>
        <p:grpSp>
          <p:nvGrpSpPr>
            <p:cNvPr id="6" name="Group 5"/>
            <p:cNvGrpSpPr/>
            <p:nvPr/>
          </p:nvGrpSpPr>
          <p:grpSpPr>
            <a:xfrm>
              <a:off x="636408" y="3450834"/>
              <a:ext cx="968018" cy="719625"/>
              <a:chOff x="939410" y="3450834"/>
              <a:chExt cx="968018" cy="719625"/>
            </a:xfrm>
          </p:grpSpPr>
          <p:sp>
            <p:nvSpPr>
              <p:cNvPr id="49" name="Rectangle 48">
                <a:extLst>
                  <a:ext uri="{FF2B5EF4-FFF2-40B4-BE49-F238E27FC236}">
                    <a16:creationId xmlns:a16="http://schemas.microsoft.com/office/drawing/2014/main" xmlns="" id="{5906BF4B-7DC6-4272-9222-0E658DCC68B5}"/>
                  </a:ext>
                </a:extLst>
              </p:cNvPr>
              <p:cNvSpPr/>
              <p:nvPr/>
            </p:nvSpPr>
            <p:spPr>
              <a:xfrm>
                <a:off x="939410" y="3450834"/>
                <a:ext cx="968018" cy="719625"/>
              </a:xfrm>
              <a:prstGeom prst="rect">
                <a:avLst/>
              </a:prstGeom>
              <a:solidFill>
                <a:srgbClr val="646464"/>
              </a:solidFill>
              <a:ln w="9525" cap="flat" cmpd="sng" algn="ctr">
                <a:noFill/>
                <a:prstDash val="solid"/>
              </a:ln>
              <a:effectLst/>
            </p:spPr>
            <p:txBody>
              <a:bodyPr lIns="35981" tIns="143925" rIns="35981" bIns="143925" rtlCol="0" anchor="ctr" anchorCtr="0"/>
              <a:lstStyle/>
              <a:p>
                <a:pPr marL="0" marR="0" lvl="0" indent="0" algn="ctr" defTabSz="913943" eaLnBrk="1" fontAlgn="auto" latinLnBrk="0" hangingPunct="1">
                  <a:lnSpc>
                    <a:spcPts val="1299"/>
                  </a:lnSpc>
                  <a:spcBef>
                    <a:spcPts val="0"/>
                  </a:spcBef>
                  <a:spcAft>
                    <a:spcPts val="0"/>
                  </a:spcAft>
                  <a:buClrTx/>
                  <a:buSzTx/>
                  <a:buFontTx/>
                  <a:buNone/>
                  <a:tabLst/>
                  <a:defRPr/>
                </a:pPr>
                <a:endParaRPr kumimoji="0" lang="it-IT" sz="1399" b="1" i="0" u="none" strike="noStrike" kern="0" cap="none" spc="0" normalizeH="0" baseline="0" noProof="0" dirty="0">
                  <a:ln>
                    <a:noFill/>
                  </a:ln>
                  <a:effectLst/>
                  <a:uLnTx/>
                  <a:uFillTx/>
                  <a:ea typeface="+mn-ea"/>
                  <a:cs typeface="+mn-cs"/>
                </a:endParaRPr>
              </a:p>
            </p:txBody>
          </p:sp>
          <p:pic>
            <p:nvPicPr>
              <p:cNvPr id="51" name="Picture 50">
                <a:extLst>
                  <a:ext uri="{FF2B5EF4-FFF2-40B4-BE49-F238E27FC236}">
                    <a16:creationId xmlns:a16="http://schemas.microsoft.com/office/drawing/2014/main" xmlns="" id="{4225F06B-F59E-47B8-B8E9-1A49831357E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84393" y="3567018"/>
                <a:ext cx="507388" cy="507388"/>
              </a:xfrm>
              <a:prstGeom prst="rect">
                <a:avLst/>
              </a:prstGeom>
            </p:spPr>
          </p:pic>
        </p:grpSp>
      </p:grpSp>
      <p:grpSp>
        <p:nvGrpSpPr>
          <p:cNvPr id="9" name="Group 8"/>
          <p:cNvGrpSpPr/>
          <p:nvPr/>
        </p:nvGrpSpPr>
        <p:grpSpPr>
          <a:xfrm>
            <a:off x="636408" y="1574467"/>
            <a:ext cx="10932375" cy="719625"/>
            <a:chOff x="636408" y="1574467"/>
            <a:chExt cx="10932375" cy="719625"/>
          </a:xfrm>
        </p:grpSpPr>
        <p:sp>
          <p:nvSpPr>
            <p:cNvPr id="39" name="Rectangle 38">
              <a:extLst>
                <a:ext uri="{FF2B5EF4-FFF2-40B4-BE49-F238E27FC236}">
                  <a16:creationId xmlns:a16="http://schemas.microsoft.com/office/drawing/2014/main" xmlns="" id="{65F457A3-1C67-46F0-A3AD-4D8198D27DF0}"/>
                </a:ext>
              </a:extLst>
            </p:cNvPr>
            <p:cNvSpPr/>
            <p:nvPr/>
          </p:nvSpPr>
          <p:spPr>
            <a:xfrm>
              <a:off x="1588455" y="1574467"/>
              <a:ext cx="9980328" cy="719625"/>
            </a:xfrm>
            <a:prstGeom prst="rect">
              <a:avLst/>
            </a:prstGeom>
            <a:solidFill>
              <a:srgbClr val="F0F0F0"/>
            </a:solidFill>
            <a:ln w="9525" cap="flat" cmpd="sng" algn="ctr">
              <a:noFill/>
              <a:prstDash val="solid"/>
            </a:ln>
            <a:effectLst/>
          </p:spPr>
          <p:txBody>
            <a:bodyPr lIns="107944" tIns="35981" rIns="35981" bIns="35981" rtlCol="0" anchor="ctr"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effectLst/>
                  <a:uLnTx/>
                  <a:uFillTx/>
                  <a:ea typeface="+mn-ea"/>
                  <a:cs typeface="+mn-cs"/>
                </a:rPr>
                <a:t>Processo complesso che coinvolge un numero elevato di attori</a:t>
              </a:r>
            </a:p>
          </p:txBody>
        </p:sp>
        <p:grpSp>
          <p:nvGrpSpPr>
            <p:cNvPr id="2" name="Group 1"/>
            <p:cNvGrpSpPr/>
            <p:nvPr/>
          </p:nvGrpSpPr>
          <p:grpSpPr>
            <a:xfrm>
              <a:off x="636408" y="1574467"/>
              <a:ext cx="968018" cy="719625"/>
              <a:chOff x="939410" y="1574467"/>
              <a:chExt cx="968018" cy="719625"/>
            </a:xfrm>
          </p:grpSpPr>
          <p:sp>
            <p:nvSpPr>
              <p:cNvPr id="40" name="Rectangle 39">
                <a:extLst>
                  <a:ext uri="{FF2B5EF4-FFF2-40B4-BE49-F238E27FC236}">
                    <a16:creationId xmlns:a16="http://schemas.microsoft.com/office/drawing/2014/main" xmlns="" id="{9B9BACAB-380F-492C-86DF-A28B7064B904}"/>
                  </a:ext>
                </a:extLst>
              </p:cNvPr>
              <p:cNvSpPr/>
              <p:nvPr/>
            </p:nvSpPr>
            <p:spPr>
              <a:xfrm>
                <a:off x="939410" y="1574467"/>
                <a:ext cx="968018" cy="719625"/>
              </a:xfrm>
              <a:prstGeom prst="rect">
                <a:avLst/>
              </a:prstGeom>
              <a:solidFill>
                <a:srgbClr val="646464"/>
              </a:solidFill>
              <a:ln w="9525" cap="flat" cmpd="sng" algn="ctr">
                <a:noFill/>
                <a:prstDash val="solid"/>
              </a:ln>
              <a:effectLst/>
            </p:spPr>
            <p:txBody>
              <a:bodyPr lIns="35981" tIns="143925" rIns="35981" bIns="143925" rtlCol="0" anchor="ctr" anchorCtr="0"/>
              <a:lstStyle/>
              <a:p>
                <a:pPr marL="0" marR="0" lvl="0" indent="0" algn="ctr" defTabSz="913943" eaLnBrk="1" fontAlgn="auto" latinLnBrk="0" hangingPunct="1">
                  <a:lnSpc>
                    <a:spcPts val="1299"/>
                  </a:lnSpc>
                  <a:spcBef>
                    <a:spcPts val="0"/>
                  </a:spcBef>
                  <a:spcAft>
                    <a:spcPts val="0"/>
                  </a:spcAft>
                  <a:buClrTx/>
                  <a:buSzTx/>
                  <a:buFontTx/>
                  <a:buNone/>
                  <a:tabLst/>
                  <a:defRPr/>
                </a:pPr>
                <a:endParaRPr kumimoji="0" lang="it-IT" sz="1399" b="1" i="0" u="none" strike="noStrike" kern="0" cap="none" spc="0" normalizeH="0" baseline="0" noProof="0" dirty="0">
                  <a:ln>
                    <a:noFill/>
                  </a:ln>
                  <a:effectLst/>
                  <a:uLnTx/>
                  <a:uFillTx/>
                  <a:ea typeface="+mn-ea"/>
                  <a:cs typeface="+mn-cs"/>
                </a:endParaRPr>
              </a:p>
            </p:txBody>
          </p:sp>
          <p:pic>
            <p:nvPicPr>
              <p:cNvPr id="52" name="Picture 51">
                <a:extLst>
                  <a:ext uri="{FF2B5EF4-FFF2-40B4-BE49-F238E27FC236}">
                    <a16:creationId xmlns:a16="http://schemas.microsoft.com/office/drawing/2014/main" xmlns="" id="{0968115A-20C5-4D50-BBCE-0414506AD0C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4419" y="1680612"/>
                <a:ext cx="507336" cy="507336"/>
              </a:xfrm>
              <a:prstGeom prst="rect">
                <a:avLst/>
              </a:prstGeom>
            </p:spPr>
          </p:pic>
        </p:grpSp>
      </p:grpSp>
      <p:grpSp>
        <p:nvGrpSpPr>
          <p:cNvPr id="13" name="Group 12"/>
          <p:cNvGrpSpPr/>
          <p:nvPr/>
        </p:nvGrpSpPr>
        <p:grpSpPr>
          <a:xfrm>
            <a:off x="636408" y="5327202"/>
            <a:ext cx="10932375" cy="719625"/>
            <a:chOff x="636408" y="5327202"/>
            <a:chExt cx="10932375" cy="719625"/>
          </a:xfrm>
        </p:grpSpPr>
        <p:sp>
          <p:nvSpPr>
            <p:cNvPr id="46" name="Rectangle 45">
              <a:extLst>
                <a:ext uri="{FF2B5EF4-FFF2-40B4-BE49-F238E27FC236}">
                  <a16:creationId xmlns:a16="http://schemas.microsoft.com/office/drawing/2014/main" xmlns="" id="{8A7CEB86-0D50-43CE-9CFD-0C061AC604D6}"/>
                </a:ext>
              </a:extLst>
            </p:cNvPr>
            <p:cNvSpPr/>
            <p:nvPr/>
          </p:nvSpPr>
          <p:spPr>
            <a:xfrm>
              <a:off x="1588455" y="5327202"/>
              <a:ext cx="9980328" cy="719625"/>
            </a:xfrm>
            <a:prstGeom prst="rect">
              <a:avLst/>
            </a:prstGeom>
            <a:solidFill>
              <a:srgbClr val="F0F0F0"/>
            </a:solidFill>
            <a:ln w="9525" cap="flat" cmpd="sng" algn="ctr">
              <a:noFill/>
              <a:prstDash val="solid"/>
            </a:ln>
            <a:effectLst/>
          </p:spPr>
          <p:txBody>
            <a:bodyPr lIns="107944" tIns="35981" rIns="35981" bIns="35981" rtlCol="0" anchor="ctr"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ea typeface="+mn-ea"/>
                  <a:cs typeface="+mn-cs"/>
                </a:rPr>
                <a:t>Cluster di utenti in difficoltà che necessita </a:t>
              </a:r>
              <a:r>
                <a:rPr kumimoji="0" lang="en-US" sz="1600" b="1" i="0" u="none" strike="noStrike" kern="0" cap="none" spc="0" normalizeH="0" baseline="0" noProof="0" dirty="0" err="1">
                  <a:ln>
                    <a:noFill/>
                  </a:ln>
                  <a:effectLst/>
                  <a:uLnTx/>
                  <a:uFillTx/>
                  <a:ea typeface="+mn-ea"/>
                  <a:cs typeface="+mn-cs"/>
                </a:rPr>
                <a:t>processi</a:t>
              </a:r>
              <a:r>
                <a:rPr kumimoji="0" lang="en-US" sz="1600" b="1" i="0" u="none" strike="noStrike" kern="0" cap="none" spc="0" normalizeH="0" baseline="0" noProof="0" dirty="0">
                  <a:ln>
                    <a:noFill/>
                  </a:ln>
                  <a:effectLst/>
                  <a:uLnTx/>
                  <a:uFillTx/>
                  <a:ea typeface="+mn-ea"/>
                  <a:cs typeface="+mn-cs"/>
                </a:rPr>
                <a:t> </a:t>
              </a:r>
              <a:r>
                <a:rPr kumimoji="0" lang="en-US" sz="1600" b="1" i="0" u="none" strike="noStrike" kern="0" cap="none" spc="0" normalizeH="0" baseline="0" noProof="0" dirty="0" err="1">
                  <a:ln>
                    <a:noFill/>
                  </a:ln>
                  <a:effectLst/>
                  <a:uLnTx/>
                  <a:uFillTx/>
                  <a:ea typeface="+mn-ea"/>
                  <a:cs typeface="+mn-cs"/>
                </a:rPr>
                <a:t>efficienti</a:t>
              </a:r>
              <a:r>
                <a:rPr lang="en-US" sz="1600" b="1" kern="0" dirty="0"/>
                <a:t>,</a:t>
              </a:r>
              <a:r>
                <a:rPr kumimoji="0" lang="en-US" sz="1600" b="1" i="0" u="none" strike="noStrike" kern="0" cap="none" spc="0" normalizeH="0" baseline="0" noProof="0" dirty="0">
                  <a:ln>
                    <a:noFill/>
                  </a:ln>
                  <a:effectLst/>
                  <a:uLnTx/>
                  <a:uFillTx/>
                  <a:ea typeface="+mn-ea"/>
                  <a:cs typeface="+mn-cs"/>
                </a:rPr>
                <a:t> </a:t>
              </a:r>
              <a:r>
                <a:rPr kumimoji="0" lang="en-US" sz="1600" b="1" i="0" u="none" strike="noStrike" kern="0" cap="none" spc="0" normalizeH="0" baseline="0" noProof="0" dirty="0" err="1">
                  <a:ln>
                    <a:noFill/>
                  </a:ln>
                  <a:effectLst/>
                  <a:uLnTx/>
                  <a:uFillTx/>
                  <a:ea typeface="+mn-ea"/>
                  <a:cs typeface="+mn-cs"/>
                </a:rPr>
                <a:t>tempestivi</a:t>
              </a:r>
              <a:r>
                <a:rPr kumimoji="0" lang="en-US" sz="1600" b="1" i="0" u="none" strike="noStrike" kern="0" cap="none" spc="0" normalizeH="0" baseline="0" noProof="0" dirty="0">
                  <a:ln>
                    <a:noFill/>
                  </a:ln>
                  <a:effectLst/>
                  <a:uLnTx/>
                  <a:uFillTx/>
                  <a:ea typeface="+mn-ea"/>
                  <a:cs typeface="+mn-cs"/>
                </a:rPr>
                <a:t> e </a:t>
              </a:r>
              <a:r>
                <a:rPr kumimoji="0" lang="en-US" sz="1600" b="1" i="0" u="none" strike="noStrike" kern="0" cap="none" spc="0" normalizeH="0" baseline="0" noProof="0" dirty="0" err="1">
                  <a:ln>
                    <a:noFill/>
                  </a:ln>
                  <a:effectLst/>
                  <a:uLnTx/>
                  <a:uFillTx/>
                  <a:ea typeface="+mn-ea"/>
                  <a:cs typeface="+mn-cs"/>
                </a:rPr>
                <a:t>proattivi</a:t>
              </a:r>
              <a:endParaRPr kumimoji="0" lang="en-US" sz="1600" b="1" i="0" u="none" strike="noStrike" kern="0" cap="none" spc="0" normalizeH="0" baseline="0" noProof="0" dirty="0">
                <a:ln>
                  <a:noFill/>
                </a:ln>
                <a:effectLst/>
                <a:uLnTx/>
                <a:uFillTx/>
                <a:ea typeface="+mn-ea"/>
                <a:cs typeface="+mn-cs"/>
              </a:endParaRPr>
            </a:p>
          </p:txBody>
        </p:sp>
        <p:grpSp>
          <p:nvGrpSpPr>
            <p:cNvPr id="8" name="Group 7"/>
            <p:cNvGrpSpPr/>
            <p:nvPr/>
          </p:nvGrpSpPr>
          <p:grpSpPr>
            <a:xfrm>
              <a:off x="636408" y="5327202"/>
              <a:ext cx="968018" cy="719625"/>
              <a:chOff x="939410" y="5327202"/>
              <a:chExt cx="968018" cy="719625"/>
            </a:xfrm>
          </p:grpSpPr>
          <p:sp>
            <p:nvSpPr>
              <p:cNvPr id="47" name="Rectangle 46">
                <a:extLst>
                  <a:ext uri="{FF2B5EF4-FFF2-40B4-BE49-F238E27FC236}">
                    <a16:creationId xmlns:a16="http://schemas.microsoft.com/office/drawing/2014/main" xmlns="" id="{2F0767C0-D813-43C0-B2D1-6EDD653BC419}"/>
                  </a:ext>
                </a:extLst>
              </p:cNvPr>
              <p:cNvSpPr/>
              <p:nvPr/>
            </p:nvSpPr>
            <p:spPr>
              <a:xfrm>
                <a:off x="939410" y="5327202"/>
                <a:ext cx="968018" cy="719625"/>
              </a:xfrm>
              <a:prstGeom prst="rect">
                <a:avLst/>
              </a:prstGeom>
              <a:solidFill>
                <a:srgbClr val="646464"/>
              </a:solidFill>
              <a:ln w="9525" cap="flat" cmpd="sng" algn="ctr">
                <a:noFill/>
                <a:prstDash val="solid"/>
              </a:ln>
              <a:effectLst/>
            </p:spPr>
            <p:txBody>
              <a:bodyPr lIns="35981" tIns="143925" rIns="35981" bIns="143925" rtlCol="0" anchor="ctr" anchorCtr="0"/>
              <a:lstStyle/>
              <a:p>
                <a:pPr marL="0" marR="0" lvl="0" indent="0" algn="ctr" defTabSz="913943" eaLnBrk="1" fontAlgn="auto" latinLnBrk="0" hangingPunct="1">
                  <a:lnSpc>
                    <a:spcPts val="1299"/>
                  </a:lnSpc>
                  <a:spcBef>
                    <a:spcPts val="0"/>
                  </a:spcBef>
                  <a:spcAft>
                    <a:spcPts val="0"/>
                  </a:spcAft>
                  <a:buClrTx/>
                  <a:buSzTx/>
                  <a:buFontTx/>
                  <a:buNone/>
                  <a:tabLst/>
                  <a:defRPr/>
                </a:pPr>
                <a:endParaRPr kumimoji="0" lang="it-IT" sz="1399" b="1" i="0" u="none" strike="noStrike" kern="0" cap="none" spc="0" normalizeH="0" baseline="0" noProof="0" dirty="0">
                  <a:ln>
                    <a:noFill/>
                  </a:ln>
                  <a:effectLst/>
                  <a:uLnTx/>
                  <a:uFillTx/>
                  <a:ea typeface="+mn-ea"/>
                  <a:cs typeface="+mn-cs"/>
                </a:endParaRPr>
              </a:p>
            </p:txBody>
          </p:sp>
          <p:pic>
            <p:nvPicPr>
              <p:cNvPr id="53" name="Picture 52">
                <a:extLst>
                  <a:ext uri="{FF2B5EF4-FFF2-40B4-BE49-F238E27FC236}">
                    <a16:creationId xmlns:a16="http://schemas.microsoft.com/office/drawing/2014/main" xmlns="" id="{3609FFB6-4165-4EE2-B172-29FF47D5AEC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4419" y="5433346"/>
                <a:ext cx="507336" cy="507336"/>
              </a:xfrm>
              <a:prstGeom prst="rect">
                <a:avLst/>
              </a:prstGeom>
            </p:spPr>
          </p:pic>
        </p:grpSp>
      </p:grpSp>
      <p:sp>
        <p:nvSpPr>
          <p:cNvPr id="21" name="Rectangle 35"/>
          <p:cNvSpPr>
            <a:spLocks noChangeArrowheads="1"/>
          </p:cNvSpPr>
          <p:nvPr/>
        </p:nvSpPr>
        <p:spPr bwMode="auto">
          <a:xfrm>
            <a:off x="630855" y="994831"/>
            <a:ext cx="10937257" cy="338554"/>
          </a:xfrm>
          <a:prstGeom prst="rect">
            <a:avLst/>
          </a:prstGeom>
          <a:noFill/>
          <a:ln>
            <a:noFill/>
          </a:ln>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algn="just">
              <a:lnSpc>
                <a:spcPct val="100000"/>
              </a:lnSpc>
              <a:spcBef>
                <a:spcPts val="0"/>
              </a:spcBef>
              <a:buNone/>
            </a:pPr>
            <a:r>
              <a:rPr lang="it-IT" sz="1600" dirty="0">
                <a:latin typeface="Calibri" panose="020F0502020204030204" pitchFamily="34" charset="0"/>
              </a:rPr>
              <a:t>Il processo di gestione dell’Invalidità Civile è estremamente articolato e presenta i seguenti punti di attenzione:</a:t>
            </a:r>
          </a:p>
        </p:txBody>
      </p:sp>
    </p:spTree>
    <p:extLst>
      <p:ext uri="{BB962C8B-B14F-4D97-AF65-F5344CB8AC3E}">
        <p14:creationId xmlns:p14="http://schemas.microsoft.com/office/powerpoint/2010/main" val="402903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25737" y="991776"/>
            <a:ext cx="10940526" cy="5194236"/>
            <a:chOff x="626664" y="1052736"/>
            <a:chExt cx="10940526" cy="5194236"/>
          </a:xfrm>
        </p:grpSpPr>
        <p:graphicFrame>
          <p:nvGraphicFramePr>
            <p:cNvPr id="60" name="Diagram 59">
              <a:extLst>
                <a:ext uri="{FF2B5EF4-FFF2-40B4-BE49-F238E27FC236}">
                  <a16:creationId xmlns:a16="http://schemas.microsoft.com/office/drawing/2014/main" xmlns="" id="{97371A8F-CEEE-4CED-BA5E-08D26617EC16}"/>
                </a:ext>
              </a:extLst>
            </p:cNvPr>
            <p:cNvGraphicFramePr/>
            <p:nvPr>
              <p:extLst>
                <p:ext uri="{D42A27DB-BD31-4B8C-83A1-F6EECF244321}">
                  <p14:modId xmlns:p14="http://schemas.microsoft.com/office/powerpoint/2010/main" val="2087242012"/>
                </p:ext>
              </p:extLst>
            </p:nvPr>
          </p:nvGraphicFramePr>
          <p:xfrm>
            <a:off x="2386121" y="1444786"/>
            <a:ext cx="7412383" cy="43585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1" name="Picture 60">
              <a:extLst>
                <a:ext uri="{FF2B5EF4-FFF2-40B4-BE49-F238E27FC236}">
                  <a16:creationId xmlns:a16="http://schemas.microsoft.com/office/drawing/2014/main" xmlns="" id="{4E035AEE-D3F5-43F1-85A2-EC350A2A77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83619" y="3639513"/>
              <a:ext cx="422037" cy="422037"/>
            </a:xfrm>
            <a:prstGeom prst="rect">
              <a:avLst/>
            </a:prstGeom>
          </p:spPr>
        </p:pic>
        <p:pic>
          <p:nvPicPr>
            <p:cNvPr id="62" name="Picture 61">
              <a:extLst>
                <a:ext uri="{FF2B5EF4-FFF2-40B4-BE49-F238E27FC236}">
                  <a16:creationId xmlns:a16="http://schemas.microsoft.com/office/drawing/2014/main" xmlns="" id="{DA9C7936-E902-4497-8F05-F3045D00C1F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03103" y="3352521"/>
              <a:ext cx="539719" cy="539719"/>
            </a:xfrm>
            <a:prstGeom prst="rect">
              <a:avLst/>
            </a:prstGeom>
            <a:ln>
              <a:noFill/>
            </a:ln>
          </p:spPr>
        </p:pic>
        <p:pic>
          <p:nvPicPr>
            <p:cNvPr id="63" name="Picture 62">
              <a:extLst>
                <a:ext uri="{FF2B5EF4-FFF2-40B4-BE49-F238E27FC236}">
                  <a16:creationId xmlns:a16="http://schemas.microsoft.com/office/drawing/2014/main" xmlns="" id="{F5F5DA35-65B7-4C95-ACAB-EF1905646BE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27076" y="4564979"/>
              <a:ext cx="503738" cy="503738"/>
            </a:xfrm>
            <a:prstGeom prst="rect">
              <a:avLst/>
            </a:prstGeom>
          </p:spPr>
        </p:pic>
        <p:pic>
          <p:nvPicPr>
            <p:cNvPr id="64" name="Picture 63">
              <a:extLst>
                <a:ext uri="{FF2B5EF4-FFF2-40B4-BE49-F238E27FC236}">
                  <a16:creationId xmlns:a16="http://schemas.microsoft.com/office/drawing/2014/main" xmlns="" id="{EDC7F85C-4992-48D9-98EA-DEC0B2B338F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63057" y="2195108"/>
              <a:ext cx="431775" cy="431775"/>
            </a:xfrm>
            <a:prstGeom prst="rect">
              <a:avLst/>
            </a:prstGeom>
          </p:spPr>
        </p:pic>
        <p:pic>
          <p:nvPicPr>
            <p:cNvPr id="65" name="Picture 64">
              <a:extLst>
                <a:ext uri="{FF2B5EF4-FFF2-40B4-BE49-F238E27FC236}">
                  <a16:creationId xmlns:a16="http://schemas.microsoft.com/office/drawing/2014/main" xmlns="" id="{4BC097E9-7752-43FE-B9F2-63D441B5FBF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94280" y="1643452"/>
              <a:ext cx="600887" cy="600887"/>
            </a:xfrm>
            <a:prstGeom prst="rect">
              <a:avLst/>
            </a:prstGeom>
          </p:spPr>
        </p:pic>
        <p:pic>
          <p:nvPicPr>
            <p:cNvPr id="66" name="Picture 65">
              <a:extLst>
                <a:ext uri="{FF2B5EF4-FFF2-40B4-BE49-F238E27FC236}">
                  <a16:creationId xmlns:a16="http://schemas.microsoft.com/office/drawing/2014/main" xmlns="" id="{1B1FB363-D193-463E-A7D2-8A599EEE7D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67731" y="2177117"/>
              <a:ext cx="467756" cy="467756"/>
            </a:xfrm>
            <a:prstGeom prst="rect">
              <a:avLst/>
            </a:prstGeom>
          </p:spPr>
        </p:pic>
        <p:pic>
          <p:nvPicPr>
            <p:cNvPr id="67" name="Picture 66">
              <a:extLst>
                <a:ext uri="{FF2B5EF4-FFF2-40B4-BE49-F238E27FC236}">
                  <a16:creationId xmlns:a16="http://schemas.microsoft.com/office/drawing/2014/main" xmlns="" id="{797B1CF6-66C1-4AF7-9EAE-F63D155F8AF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85987" y="3381167"/>
              <a:ext cx="468000" cy="468000"/>
            </a:xfrm>
            <a:prstGeom prst="rect">
              <a:avLst/>
            </a:prstGeom>
          </p:spPr>
        </p:pic>
        <p:pic>
          <p:nvPicPr>
            <p:cNvPr id="68" name="Picture 67">
              <a:extLst>
                <a:ext uri="{FF2B5EF4-FFF2-40B4-BE49-F238E27FC236}">
                  <a16:creationId xmlns:a16="http://schemas.microsoft.com/office/drawing/2014/main" xmlns="" id="{35B0E6BB-53A6-4D73-A42A-70A469361CC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631750" y="4541909"/>
              <a:ext cx="539719" cy="539719"/>
            </a:xfrm>
            <a:prstGeom prst="rect">
              <a:avLst/>
            </a:prstGeom>
          </p:spPr>
        </p:pic>
        <p:pic>
          <p:nvPicPr>
            <p:cNvPr id="69" name="Picture 68">
              <a:extLst>
                <a:ext uri="{FF2B5EF4-FFF2-40B4-BE49-F238E27FC236}">
                  <a16:creationId xmlns:a16="http://schemas.microsoft.com/office/drawing/2014/main" xmlns="" id="{1867AE85-5047-4FF4-AE0F-AC4992053C2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94280" y="5006702"/>
              <a:ext cx="600887" cy="600887"/>
            </a:xfrm>
            <a:prstGeom prst="rect">
              <a:avLst/>
            </a:prstGeom>
          </p:spPr>
        </p:pic>
        <p:sp>
          <p:nvSpPr>
            <p:cNvPr id="70" name="Rounded Rectangle 16">
              <a:extLst>
                <a:ext uri="{FF2B5EF4-FFF2-40B4-BE49-F238E27FC236}">
                  <a16:creationId xmlns:a16="http://schemas.microsoft.com/office/drawing/2014/main" xmlns="" id="{94C6FC08-07E8-45B6-B685-C6231B49ACFF}"/>
                </a:ext>
              </a:extLst>
            </p:cNvPr>
            <p:cNvSpPr/>
            <p:nvPr/>
          </p:nvSpPr>
          <p:spPr>
            <a:xfrm>
              <a:off x="4398082" y="1052736"/>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Condivisione delle informazioni</a:t>
              </a:r>
            </a:p>
          </p:txBody>
        </p:sp>
        <p:sp>
          <p:nvSpPr>
            <p:cNvPr id="71" name="Rounded Rectangle 55">
              <a:extLst>
                <a:ext uri="{FF2B5EF4-FFF2-40B4-BE49-F238E27FC236}">
                  <a16:creationId xmlns:a16="http://schemas.microsoft.com/office/drawing/2014/main" xmlns="" id="{DB7B05D1-2552-465D-B742-4ED68B84C46F}"/>
                </a:ext>
              </a:extLst>
            </p:cNvPr>
            <p:cNvSpPr/>
            <p:nvPr/>
          </p:nvSpPr>
          <p:spPr>
            <a:xfrm>
              <a:off x="4398082" y="5743416"/>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Autenticità delle transazioni</a:t>
              </a:r>
            </a:p>
          </p:txBody>
        </p:sp>
        <p:sp>
          <p:nvSpPr>
            <p:cNvPr id="72" name="Rounded Rectangle 56">
              <a:extLst>
                <a:ext uri="{FF2B5EF4-FFF2-40B4-BE49-F238E27FC236}">
                  <a16:creationId xmlns:a16="http://schemas.microsoft.com/office/drawing/2014/main" xmlns="" id="{B4F7A2E3-0366-41C3-BA4C-689D51CFED9E}"/>
                </a:ext>
              </a:extLst>
            </p:cNvPr>
            <p:cNvSpPr/>
            <p:nvPr/>
          </p:nvSpPr>
          <p:spPr>
            <a:xfrm>
              <a:off x="7687530" y="4576045"/>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Semplificazione del processo amministrativo</a:t>
              </a:r>
            </a:p>
          </p:txBody>
        </p:sp>
        <p:sp>
          <p:nvSpPr>
            <p:cNvPr id="73" name="Rounded Rectangle 57">
              <a:extLst>
                <a:ext uri="{FF2B5EF4-FFF2-40B4-BE49-F238E27FC236}">
                  <a16:creationId xmlns:a16="http://schemas.microsoft.com/office/drawing/2014/main" xmlns="" id="{0AC46E77-121D-46C0-8FE1-7C6AC93B2C20}"/>
                </a:ext>
              </a:extLst>
            </p:cNvPr>
            <p:cNvSpPr/>
            <p:nvPr/>
          </p:nvSpPr>
          <p:spPr>
            <a:xfrm>
              <a:off x="8173908" y="3370602"/>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Trasparenza e tracciabilità</a:t>
              </a:r>
            </a:p>
          </p:txBody>
        </p:sp>
        <p:sp>
          <p:nvSpPr>
            <p:cNvPr id="74" name="Rounded Rectangle 59">
              <a:extLst>
                <a:ext uri="{FF2B5EF4-FFF2-40B4-BE49-F238E27FC236}">
                  <a16:creationId xmlns:a16="http://schemas.microsoft.com/office/drawing/2014/main" xmlns="" id="{50A0DCE2-27E3-4AC7-8DD7-EED0C633961B}"/>
                </a:ext>
              </a:extLst>
            </p:cNvPr>
            <p:cNvSpPr/>
            <p:nvPr/>
          </p:nvSpPr>
          <p:spPr>
            <a:xfrm>
              <a:off x="7683944" y="2159217"/>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Processi condivisi e certificati</a:t>
              </a:r>
            </a:p>
          </p:txBody>
        </p:sp>
        <p:sp>
          <p:nvSpPr>
            <p:cNvPr id="75" name="Rounded Rectangle 60">
              <a:extLst>
                <a:ext uri="{FF2B5EF4-FFF2-40B4-BE49-F238E27FC236}">
                  <a16:creationId xmlns:a16="http://schemas.microsoft.com/office/drawing/2014/main" xmlns="" id="{26789734-F066-4C63-91D5-377D56321C04}"/>
                </a:ext>
              </a:extLst>
            </p:cNvPr>
            <p:cNvSpPr/>
            <p:nvPr/>
          </p:nvSpPr>
          <p:spPr>
            <a:xfrm>
              <a:off x="1111197" y="4559990"/>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Immutabilità dei dati</a:t>
              </a:r>
            </a:p>
          </p:txBody>
        </p:sp>
        <p:sp>
          <p:nvSpPr>
            <p:cNvPr id="76" name="Rounded Rectangle 61">
              <a:extLst>
                <a:ext uri="{FF2B5EF4-FFF2-40B4-BE49-F238E27FC236}">
                  <a16:creationId xmlns:a16="http://schemas.microsoft.com/office/drawing/2014/main" xmlns="" id="{F9BEA390-E89E-4277-A44D-F77530C2C72E}"/>
                </a:ext>
              </a:extLst>
            </p:cNvPr>
            <p:cNvSpPr/>
            <p:nvPr/>
          </p:nvSpPr>
          <p:spPr>
            <a:xfrm>
              <a:off x="626664" y="3363389"/>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Smart </a:t>
              </a:r>
              <a:r>
                <a:rPr kumimoji="0" lang="it-IT" sz="1600" b="1" i="0" u="none" strike="noStrike" kern="0" cap="none" spc="0" normalizeH="0" baseline="0" noProof="0" dirty="0" err="1">
                  <a:ln>
                    <a:noFill/>
                  </a:ln>
                  <a:solidFill>
                    <a:srgbClr val="646464"/>
                  </a:solidFill>
                  <a:effectLst/>
                  <a:uLnTx/>
                  <a:uFillTx/>
                  <a:ea typeface="+mn-ea"/>
                  <a:cs typeface="+mn-cs"/>
                </a:rPr>
                <a:t>contract</a:t>
              </a:r>
              <a:r>
                <a:rPr kumimoji="0" lang="it-IT" sz="1600" b="1" i="0" u="none" strike="noStrike" kern="0" cap="none" spc="0" normalizeH="0" baseline="0" noProof="0" dirty="0">
                  <a:ln>
                    <a:noFill/>
                  </a:ln>
                  <a:solidFill>
                    <a:srgbClr val="646464"/>
                  </a:solidFill>
                  <a:effectLst/>
                  <a:uLnTx/>
                  <a:uFillTx/>
                  <a:ea typeface="+mn-ea"/>
                  <a:cs typeface="+mn-cs"/>
                </a:rPr>
                <a:t> per l’attivazione automatica dei processi</a:t>
              </a:r>
            </a:p>
          </p:txBody>
        </p:sp>
        <p:sp>
          <p:nvSpPr>
            <p:cNvPr id="77" name="Rounded Rectangle 62">
              <a:extLst>
                <a:ext uri="{FF2B5EF4-FFF2-40B4-BE49-F238E27FC236}">
                  <a16:creationId xmlns:a16="http://schemas.microsoft.com/office/drawing/2014/main" xmlns="" id="{05F7A56F-7AFF-4C78-B8DD-8A225FA28AA8}"/>
                </a:ext>
              </a:extLst>
            </p:cNvPr>
            <p:cNvSpPr/>
            <p:nvPr/>
          </p:nvSpPr>
          <p:spPr>
            <a:xfrm>
              <a:off x="1117630" y="2159217"/>
              <a:ext cx="3393282" cy="503556"/>
            </a:xfrm>
            <a:prstGeom prst="roundRect">
              <a:avLst/>
            </a:prstGeom>
            <a:solidFill>
              <a:srgbClr val="F0F0F0"/>
            </a:solidFill>
            <a:ln w="9525" cap="flat" cmpd="sng" algn="ctr">
              <a:noFill/>
              <a:prstDash val="solid"/>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600"/>
                </a:spcAft>
                <a:buClr>
                  <a:srgbClr val="FFE600"/>
                </a:buClr>
                <a:buSzPct val="70000"/>
                <a:buFontTx/>
                <a:buNone/>
                <a:tabLst/>
                <a:defRPr/>
              </a:pPr>
              <a:r>
                <a:rPr kumimoji="0" lang="it-IT" sz="1600" b="1" i="0" u="none" strike="noStrike" kern="0" cap="none" spc="0" normalizeH="0" baseline="0" noProof="0" dirty="0">
                  <a:ln>
                    <a:noFill/>
                  </a:ln>
                  <a:solidFill>
                    <a:srgbClr val="646464"/>
                  </a:solidFill>
                  <a:effectLst/>
                  <a:uLnTx/>
                  <a:uFillTx/>
                  <a:ea typeface="+mn-ea"/>
                  <a:cs typeface="+mn-cs"/>
                </a:rPr>
                <a:t>Riduzione del rischio di truffe</a:t>
              </a:r>
            </a:p>
          </p:txBody>
        </p:sp>
      </p:grpSp>
      <p:sp>
        <p:nvSpPr>
          <p:cNvPr id="78"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just" eaLnBrk="0" hangingPunct="0">
              <a:buClr>
                <a:srgbClr val="FFD200"/>
              </a:buClr>
              <a:buSzPct val="75000"/>
              <a:defRPr/>
            </a:pPr>
            <a:r>
              <a:rPr lang="it-IT" sz="2800" b="1" kern="0" dirty="0"/>
              <a:t>Tecnologia Blockchain</a:t>
            </a:r>
          </a:p>
          <a:p>
            <a:r>
              <a:rPr lang="it-IT" sz="2400" i="1" dirty="0">
                <a:solidFill>
                  <a:srgbClr val="646464"/>
                </a:solidFill>
                <a:cs typeface="Calibri" panose="020F0502020204030204" pitchFamily="34" charset="0"/>
              </a:rPr>
              <a:t>Principali vantaggi dalla sua applicazione</a:t>
            </a:r>
            <a:endParaRPr lang="en-US" sz="2399" i="1" dirty="0">
              <a:solidFill>
                <a:srgbClr val="646464"/>
              </a:solidFill>
              <a:cs typeface="Calibri" panose="020F0502020204030204" pitchFamily="34" charset="0"/>
            </a:endParaRPr>
          </a:p>
        </p:txBody>
      </p:sp>
    </p:spTree>
    <p:extLst>
      <p:ext uri="{BB962C8B-B14F-4D97-AF65-F5344CB8AC3E}">
        <p14:creationId xmlns:p14="http://schemas.microsoft.com/office/powerpoint/2010/main" val="24307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16"/>
          <p:cNvSpPr/>
          <p:nvPr>
            <p:custDataLst>
              <p:tags r:id="rId1"/>
            </p:custDataLst>
          </p:nvPr>
        </p:nvSpPr>
        <p:spPr bwMode="gray">
          <a:xfrm rot="1800000" flipH="1" flipV="1">
            <a:off x="10015441" y="221328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7" name="Rechteck 17"/>
          <p:cNvSpPr/>
          <p:nvPr>
            <p:custDataLst>
              <p:tags r:id="rId2"/>
            </p:custDataLst>
          </p:nvPr>
        </p:nvSpPr>
        <p:spPr bwMode="gray">
          <a:xfrm rot="1800000" flipH="1" flipV="1">
            <a:off x="5631677" y="4785590"/>
            <a:ext cx="1245079" cy="124507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8" name="Rechteck 16"/>
          <p:cNvSpPr/>
          <p:nvPr>
            <p:custDataLst>
              <p:tags r:id="rId3"/>
            </p:custDataLst>
          </p:nvPr>
        </p:nvSpPr>
        <p:spPr bwMode="gray">
          <a:xfrm rot="1800000" flipH="1" flipV="1">
            <a:off x="7445595" y="2949727"/>
            <a:ext cx="5137342" cy="5154903"/>
          </a:xfrm>
          <a:custGeom>
            <a:avLst/>
            <a:gdLst/>
            <a:ahLst/>
            <a:cxnLst/>
            <a:rect l="l" t="t" r="r" b="b"/>
            <a:pathLst>
              <a:path w="5140018" h="5157588">
                <a:moveTo>
                  <a:pt x="5140017" y="5157588"/>
                </a:moveTo>
                <a:lnTo>
                  <a:pt x="1518682" y="5157588"/>
                </a:lnTo>
                <a:lnTo>
                  <a:pt x="0" y="2527151"/>
                </a:lnTo>
                <a:lnTo>
                  <a:pt x="4377154" y="0"/>
                </a:lnTo>
                <a:lnTo>
                  <a:pt x="514001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29"/>
            <a:endParaRPr lang="en-GB" sz="1199" dirty="0">
              <a:solidFill>
                <a:schemeClr val="tx1"/>
              </a:solidFill>
              <a:latin typeface="Calibri" panose="020F0502020204030204" pitchFamily="34" charset="0"/>
              <a:cs typeface="Calibri" panose="020F0502020204030204" pitchFamily="34" charset="0"/>
            </a:endParaRPr>
          </a:p>
        </p:txBody>
      </p:sp>
      <p:sp>
        <p:nvSpPr>
          <p:cNvPr id="9" name="Rechteck 17"/>
          <p:cNvSpPr/>
          <p:nvPr>
            <p:custDataLst>
              <p:tags r:id="rId4"/>
            </p:custDataLst>
          </p:nvPr>
        </p:nvSpPr>
        <p:spPr bwMode="gray">
          <a:xfrm rot="1800000" flipH="1" flipV="1">
            <a:off x="6350054" y="6700953"/>
            <a:ext cx="537850" cy="310527"/>
          </a:xfrm>
          <a:custGeom>
            <a:avLst/>
            <a:gdLst/>
            <a:ahLst/>
            <a:cxnLst/>
            <a:rect l="l" t="t" r="r" b="b"/>
            <a:pathLst>
              <a:path w="538130" h="310689">
                <a:moveTo>
                  <a:pt x="538130" y="310689"/>
                </a:moveTo>
                <a:lnTo>
                  <a:pt x="0" y="310689"/>
                </a:lnTo>
                <a:lnTo>
                  <a:pt x="538130"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0" name="Rechteck 18"/>
          <p:cNvSpPr/>
          <p:nvPr>
            <p:custDataLst>
              <p:tags r:id="rId5"/>
            </p:custDataLst>
          </p:nvPr>
        </p:nvSpPr>
        <p:spPr bwMode="gray">
          <a:xfrm rot="1800000" flipH="1" flipV="1">
            <a:off x="5261772" y="6670171"/>
            <a:ext cx="644475" cy="372088"/>
          </a:xfrm>
          <a:custGeom>
            <a:avLst/>
            <a:gdLst/>
            <a:ahLst/>
            <a:cxnLst/>
            <a:rect l="l" t="t" r="r" b="b"/>
            <a:pathLst>
              <a:path w="644811" h="372282">
                <a:moveTo>
                  <a:pt x="644811" y="372282"/>
                </a:moveTo>
                <a:lnTo>
                  <a:pt x="0" y="372282"/>
                </a:lnTo>
                <a:lnTo>
                  <a:pt x="644811"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1" name="Rechteck 21"/>
          <p:cNvSpPr/>
          <p:nvPr>
            <p:custDataLst>
              <p:tags r:id="rId6"/>
            </p:custDataLst>
          </p:nvPr>
        </p:nvSpPr>
        <p:spPr bwMode="gray">
          <a:xfrm rot="1800000" flipH="1" flipV="1">
            <a:off x="5778730" y="6202254"/>
            <a:ext cx="555609" cy="555609"/>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4" name="Rechteck 22"/>
          <p:cNvSpPr/>
          <p:nvPr>
            <p:custDataLst>
              <p:tags r:id="rId7"/>
            </p:custDataLst>
          </p:nvPr>
        </p:nvSpPr>
        <p:spPr bwMode="gray">
          <a:xfrm rot="1800000" flipH="1" flipV="1">
            <a:off x="10399840" y="1950152"/>
            <a:ext cx="838228" cy="838227"/>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5" name="Rechteck 21"/>
          <p:cNvSpPr/>
          <p:nvPr>
            <p:custDataLst>
              <p:tags r:id="rId8"/>
            </p:custDataLst>
          </p:nvPr>
        </p:nvSpPr>
        <p:spPr bwMode="gray">
          <a:xfrm rot="1800000" flipH="1" flipV="1">
            <a:off x="11316017" y="2131434"/>
            <a:ext cx="1296490" cy="1296489"/>
          </a:xfrm>
          <a:custGeom>
            <a:avLst/>
            <a:gdLst/>
            <a:ahLst/>
            <a:cxnLst/>
            <a:rect l="l" t="t" r="r" b="b"/>
            <a:pathLst>
              <a:path w="1530425" h="1530424">
                <a:moveTo>
                  <a:pt x="1530425" y="1530424"/>
                </a:moveTo>
                <a:lnTo>
                  <a:pt x="867973" y="1530424"/>
                </a:lnTo>
                <a:lnTo>
                  <a:pt x="0" y="27050"/>
                </a:lnTo>
                <a:lnTo>
                  <a:pt x="0" y="0"/>
                </a:lnTo>
                <a:lnTo>
                  <a:pt x="1530425" y="0"/>
                </a:lnTo>
                <a:close/>
              </a:path>
            </a:pathLst>
          </a:cu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6" name="Rechteck 24"/>
          <p:cNvSpPr/>
          <p:nvPr>
            <p:custDataLst>
              <p:tags r:id="rId9"/>
            </p:custDataLst>
          </p:nvPr>
        </p:nvSpPr>
        <p:spPr bwMode="gray">
          <a:xfrm rot="1800000" flipH="1" flipV="1">
            <a:off x="11170209" y="1809139"/>
            <a:ext cx="217280" cy="217280"/>
          </a:xfrm>
          <a:prstGeom prst="rect">
            <a:avLst/>
          </a:prstGeom>
          <a:solidFill>
            <a:schemeClr val="accent2">
              <a:alpha val="35000"/>
            </a:schemeClr>
          </a:solidFill>
          <a:ln w="9525">
            <a:noFill/>
            <a:round/>
            <a:headEnd/>
            <a:tailEnd/>
          </a:ln>
        </p:spPr>
        <p:txBody>
          <a:bodyPr/>
          <a:lstStyle/>
          <a:p>
            <a:pPr defTabSz="913829"/>
            <a:endParaRPr lang="en-GB" sz="1699" dirty="0">
              <a:solidFill>
                <a:srgbClr val="000000"/>
              </a:solidFill>
              <a:latin typeface="Calibri" panose="020F0502020204030204" pitchFamily="34" charset="0"/>
              <a:cs typeface="Calibri" panose="020F0502020204030204" pitchFamily="34" charset="0"/>
            </a:endParaRPr>
          </a:p>
        </p:txBody>
      </p:sp>
      <p:sp>
        <p:nvSpPr>
          <p:cNvPr id="19" name="Title 11"/>
          <p:cNvSpPr txBox="1">
            <a:spLocks/>
          </p:cNvSpPr>
          <p:nvPr/>
        </p:nvSpPr>
        <p:spPr>
          <a:xfrm>
            <a:off x="8323876" y="4407430"/>
            <a:ext cx="3374591" cy="204590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3998" b="1" kern="1200">
                <a:solidFill>
                  <a:srgbClr val="333333"/>
                </a:solidFill>
                <a:latin typeface="+mn-lt"/>
                <a:ea typeface="+mj-ea"/>
                <a:cs typeface="Arial" pitchFamily="34" charset="0"/>
              </a:defRPr>
            </a:lvl1pPr>
          </a:lstStyle>
          <a:p>
            <a:pPr algn="r"/>
            <a:r>
              <a:rPr lang="en-US" sz="3198" dirty="0">
                <a:solidFill>
                  <a:schemeClr val="tx1"/>
                </a:solidFill>
                <a:latin typeface="Calibri" panose="020F0502020204030204" pitchFamily="34" charset="0"/>
                <a:cs typeface="Calibri" panose="020F0502020204030204" pitchFamily="34" charset="0"/>
              </a:rPr>
              <a:t>European Social Security Number - ESSN</a:t>
            </a:r>
          </a:p>
        </p:txBody>
      </p:sp>
      <p:pic>
        <p:nvPicPr>
          <p:cNvPr id="12" name="Picture 2" descr="Risultati immagini per logo inp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74175" y="173747"/>
            <a:ext cx="787875" cy="1095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5241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6" name="Group 5"/>
          <p:cNvGrpSpPr/>
          <p:nvPr/>
        </p:nvGrpSpPr>
        <p:grpSpPr>
          <a:xfrm>
            <a:off x="8340844" y="2274099"/>
            <a:ext cx="3227764" cy="3420583"/>
            <a:chOff x="8965740" y="2009726"/>
            <a:chExt cx="3227764" cy="3420583"/>
          </a:xfrm>
        </p:grpSpPr>
        <p:grpSp>
          <p:nvGrpSpPr>
            <p:cNvPr id="7" name="Group 6"/>
            <p:cNvGrpSpPr>
              <a:grpSpLocks noChangeAspect="1"/>
            </p:cNvGrpSpPr>
            <p:nvPr/>
          </p:nvGrpSpPr>
          <p:grpSpPr>
            <a:xfrm>
              <a:off x="8965740" y="2242939"/>
              <a:ext cx="3200676" cy="3187370"/>
              <a:chOff x="5301787" y="1383244"/>
              <a:chExt cx="4868657" cy="4848418"/>
            </a:xfrm>
          </p:grpSpPr>
          <p:grpSp>
            <p:nvGrpSpPr>
              <p:cNvPr id="40" name="Shape 2012"/>
              <p:cNvGrpSpPr/>
              <p:nvPr/>
            </p:nvGrpSpPr>
            <p:grpSpPr>
              <a:xfrm>
                <a:off x="5301787" y="1383244"/>
                <a:ext cx="4868657" cy="4848418"/>
                <a:chOff x="3117355" y="235947"/>
                <a:chExt cx="4298771" cy="4279785"/>
              </a:xfrm>
              <a:solidFill>
                <a:schemeClr val="bg1">
                  <a:lumMod val="85000"/>
                </a:schemeClr>
              </a:solidFill>
            </p:grpSpPr>
            <p:sp>
              <p:nvSpPr>
                <p:cNvPr id="41" name="Shape 2013"/>
                <p:cNvSpPr/>
                <p:nvPr/>
              </p:nvSpPr>
              <p:spPr>
                <a:xfrm>
                  <a:off x="5709810" y="2172877"/>
                  <a:ext cx="237476" cy="119326"/>
                </a:xfrm>
                <a:custGeom>
                  <a:avLst/>
                  <a:gdLst/>
                  <a:ahLst/>
                  <a:cxnLst/>
                  <a:rect l="0" t="0" r="0" b="0"/>
                  <a:pathLst>
                    <a:path w="120000" h="120000" extrusionOk="0">
                      <a:moveTo>
                        <a:pt x="50769" y="2222"/>
                      </a:moveTo>
                      <a:cubicBezTo>
                        <a:pt x="55384" y="8888"/>
                        <a:pt x="55384" y="8888"/>
                        <a:pt x="55384" y="8888"/>
                      </a:cubicBezTo>
                      <a:cubicBezTo>
                        <a:pt x="58846" y="11111"/>
                        <a:pt x="58846" y="11111"/>
                        <a:pt x="58846" y="11111"/>
                      </a:cubicBezTo>
                      <a:cubicBezTo>
                        <a:pt x="65769" y="17777"/>
                        <a:pt x="65769" y="17777"/>
                        <a:pt x="65769" y="17777"/>
                      </a:cubicBezTo>
                      <a:cubicBezTo>
                        <a:pt x="79615" y="20000"/>
                        <a:pt x="79615" y="20000"/>
                        <a:pt x="79615" y="20000"/>
                      </a:cubicBezTo>
                      <a:cubicBezTo>
                        <a:pt x="81923" y="15555"/>
                        <a:pt x="81923" y="15555"/>
                        <a:pt x="81923" y="15555"/>
                      </a:cubicBezTo>
                      <a:cubicBezTo>
                        <a:pt x="86538" y="13333"/>
                        <a:pt x="86538" y="13333"/>
                        <a:pt x="86538" y="13333"/>
                      </a:cubicBezTo>
                      <a:cubicBezTo>
                        <a:pt x="94615" y="8888"/>
                        <a:pt x="94615" y="8888"/>
                        <a:pt x="94615" y="8888"/>
                      </a:cubicBezTo>
                      <a:cubicBezTo>
                        <a:pt x="98076" y="17777"/>
                        <a:pt x="98076" y="17777"/>
                        <a:pt x="98076" y="17777"/>
                      </a:cubicBezTo>
                      <a:cubicBezTo>
                        <a:pt x="100384" y="17777"/>
                        <a:pt x="100384" y="17777"/>
                        <a:pt x="100384" y="17777"/>
                      </a:cubicBezTo>
                      <a:cubicBezTo>
                        <a:pt x="100384" y="17777"/>
                        <a:pt x="102692" y="22222"/>
                        <a:pt x="105000" y="26666"/>
                      </a:cubicBezTo>
                      <a:cubicBezTo>
                        <a:pt x="106153" y="31111"/>
                        <a:pt x="108461" y="33333"/>
                        <a:pt x="108461" y="33333"/>
                      </a:cubicBezTo>
                      <a:cubicBezTo>
                        <a:pt x="106153" y="48888"/>
                        <a:pt x="106153" y="48888"/>
                        <a:pt x="106153" y="48888"/>
                      </a:cubicBezTo>
                      <a:cubicBezTo>
                        <a:pt x="106153" y="55555"/>
                        <a:pt x="106153" y="55555"/>
                        <a:pt x="106153" y="55555"/>
                      </a:cubicBezTo>
                      <a:cubicBezTo>
                        <a:pt x="106153" y="77777"/>
                        <a:pt x="106153" y="77777"/>
                        <a:pt x="106153" y="77777"/>
                      </a:cubicBezTo>
                      <a:cubicBezTo>
                        <a:pt x="109615" y="86666"/>
                        <a:pt x="109615" y="86666"/>
                        <a:pt x="109615" y="86666"/>
                      </a:cubicBezTo>
                      <a:cubicBezTo>
                        <a:pt x="109615" y="88888"/>
                        <a:pt x="109615" y="88888"/>
                        <a:pt x="109615" y="88888"/>
                      </a:cubicBezTo>
                      <a:cubicBezTo>
                        <a:pt x="114230" y="86666"/>
                        <a:pt x="114230" y="86666"/>
                        <a:pt x="114230" y="86666"/>
                      </a:cubicBezTo>
                      <a:cubicBezTo>
                        <a:pt x="114230" y="86666"/>
                        <a:pt x="115384" y="86666"/>
                        <a:pt x="115384" y="84444"/>
                      </a:cubicBezTo>
                      <a:cubicBezTo>
                        <a:pt x="115384" y="86666"/>
                        <a:pt x="114230" y="86666"/>
                        <a:pt x="114230" y="86666"/>
                      </a:cubicBezTo>
                      <a:cubicBezTo>
                        <a:pt x="103846" y="91111"/>
                        <a:pt x="103846" y="91111"/>
                        <a:pt x="103846" y="91111"/>
                      </a:cubicBezTo>
                      <a:cubicBezTo>
                        <a:pt x="94615" y="102222"/>
                        <a:pt x="94615" y="102222"/>
                        <a:pt x="94615" y="102222"/>
                      </a:cubicBezTo>
                      <a:cubicBezTo>
                        <a:pt x="94615" y="102222"/>
                        <a:pt x="72692" y="106666"/>
                        <a:pt x="70384" y="106666"/>
                      </a:cubicBezTo>
                      <a:cubicBezTo>
                        <a:pt x="69230" y="106666"/>
                        <a:pt x="55384" y="108888"/>
                        <a:pt x="53076" y="108888"/>
                      </a:cubicBezTo>
                      <a:cubicBezTo>
                        <a:pt x="51923" y="111111"/>
                        <a:pt x="45000" y="113333"/>
                        <a:pt x="42692" y="113333"/>
                      </a:cubicBezTo>
                      <a:cubicBezTo>
                        <a:pt x="40384" y="113333"/>
                        <a:pt x="30000" y="115555"/>
                        <a:pt x="27692" y="115555"/>
                      </a:cubicBezTo>
                      <a:cubicBezTo>
                        <a:pt x="25384" y="115555"/>
                        <a:pt x="19615" y="115555"/>
                        <a:pt x="19615" y="115555"/>
                      </a:cubicBezTo>
                      <a:cubicBezTo>
                        <a:pt x="19615" y="115555"/>
                        <a:pt x="8076" y="117777"/>
                        <a:pt x="4615" y="117777"/>
                      </a:cubicBezTo>
                      <a:cubicBezTo>
                        <a:pt x="1153" y="120000"/>
                        <a:pt x="5769" y="108888"/>
                        <a:pt x="5769" y="108888"/>
                      </a:cubicBezTo>
                      <a:cubicBezTo>
                        <a:pt x="5769" y="108888"/>
                        <a:pt x="19615" y="86666"/>
                        <a:pt x="15000" y="88888"/>
                      </a:cubicBezTo>
                      <a:cubicBezTo>
                        <a:pt x="9230" y="84444"/>
                        <a:pt x="9230" y="84444"/>
                        <a:pt x="9230" y="84444"/>
                      </a:cubicBezTo>
                      <a:cubicBezTo>
                        <a:pt x="4615" y="77777"/>
                        <a:pt x="4615" y="77777"/>
                        <a:pt x="4615" y="77777"/>
                      </a:cubicBezTo>
                      <a:cubicBezTo>
                        <a:pt x="0" y="57777"/>
                        <a:pt x="5769" y="48888"/>
                        <a:pt x="10384" y="48888"/>
                      </a:cubicBezTo>
                      <a:cubicBezTo>
                        <a:pt x="13846" y="48888"/>
                        <a:pt x="23076" y="55555"/>
                        <a:pt x="28846" y="55555"/>
                      </a:cubicBezTo>
                      <a:cubicBezTo>
                        <a:pt x="49615" y="55555"/>
                        <a:pt x="45000" y="42222"/>
                        <a:pt x="43846" y="17777"/>
                      </a:cubicBezTo>
                      <a:cubicBezTo>
                        <a:pt x="43846" y="11111"/>
                        <a:pt x="45000" y="4444"/>
                        <a:pt x="46153" y="2222"/>
                      </a:cubicBezTo>
                      <a:cubicBezTo>
                        <a:pt x="47307" y="0"/>
                        <a:pt x="49615" y="4444"/>
                        <a:pt x="50769" y="2222"/>
                      </a:cubicBezTo>
                      <a:close/>
                      <a:moveTo>
                        <a:pt x="117692" y="82222"/>
                      </a:moveTo>
                      <a:cubicBezTo>
                        <a:pt x="117692" y="82222"/>
                        <a:pt x="117692" y="82222"/>
                        <a:pt x="117692" y="82222"/>
                      </a:cubicBezTo>
                      <a:cubicBezTo>
                        <a:pt x="117692" y="82222"/>
                        <a:pt x="117692" y="82222"/>
                        <a:pt x="117692" y="82222"/>
                      </a:cubicBezTo>
                      <a:cubicBezTo>
                        <a:pt x="117692" y="84444"/>
                        <a:pt x="117692" y="84444"/>
                        <a:pt x="117692" y="84444"/>
                      </a:cubicBezTo>
                      <a:cubicBezTo>
                        <a:pt x="117692" y="82222"/>
                        <a:pt x="117692" y="82222"/>
                        <a:pt x="117692" y="82222"/>
                      </a:cubicBezTo>
                      <a:cubicBezTo>
                        <a:pt x="117692" y="82222"/>
                        <a:pt x="117692" y="82222"/>
                        <a:pt x="117692" y="82222"/>
                      </a:cubicBezTo>
                      <a:close/>
                      <a:moveTo>
                        <a:pt x="117692" y="84444"/>
                      </a:moveTo>
                      <a:cubicBezTo>
                        <a:pt x="117692" y="84444"/>
                        <a:pt x="117692" y="84444"/>
                        <a:pt x="117692" y="84444"/>
                      </a:cubicBezTo>
                      <a:cubicBezTo>
                        <a:pt x="118846" y="86666"/>
                        <a:pt x="120000" y="91111"/>
                        <a:pt x="120000" y="93333"/>
                      </a:cubicBezTo>
                      <a:cubicBezTo>
                        <a:pt x="120000" y="93333"/>
                        <a:pt x="120000" y="93333"/>
                        <a:pt x="120000" y="93333"/>
                      </a:cubicBezTo>
                      <a:cubicBezTo>
                        <a:pt x="120000" y="91111"/>
                        <a:pt x="118846" y="86666"/>
                        <a:pt x="117692" y="8444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44" name="Shape 2014"/>
                <p:cNvSpPr/>
                <p:nvPr/>
              </p:nvSpPr>
              <p:spPr>
                <a:xfrm>
                  <a:off x="5951685" y="3592014"/>
                  <a:ext cx="171510" cy="172598"/>
                </a:xfrm>
                <a:custGeom>
                  <a:avLst/>
                  <a:gdLst/>
                  <a:ahLst/>
                  <a:cxnLst/>
                  <a:rect l="0" t="0" r="0" b="0"/>
                  <a:pathLst>
                    <a:path w="120000" h="120000" extrusionOk="0">
                      <a:moveTo>
                        <a:pt x="113600" y="73846"/>
                      </a:moveTo>
                      <a:cubicBezTo>
                        <a:pt x="112000" y="75384"/>
                        <a:pt x="112000" y="75384"/>
                        <a:pt x="112000" y="75384"/>
                      </a:cubicBezTo>
                      <a:cubicBezTo>
                        <a:pt x="105600" y="78461"/>
                        <a:pt x="97600" y="75384"/>
                        <a:pt x="96000" y="86153"/>
                      </a:cubicBezTo>
                      <a:cubicBezTo>
                        <a:pt x="96000" y="104615"/>
                        <a:pt x="89600" y="86153"/>
                        <a:pt x="83200" y="86153"/>
                      </a:cubicBezTo>
                      <a:cubicBezTo>
                        <a:pt x="78400" y="86153"/>
                        <a:pt x="78400" y="89230"/>
                        <a:pt x="75200" y="92307"/>
                      </a:cubicBezTo>
                      <a:cubicBezTo>
                        <a:pt x="70400" y="95384"/>
                        <a:pt x="65600" y="96923"/>
                        <a:pt x="64000" y="100000"/>
                      </a:cubicBezTo>
                      <a:cubicBezTo>
                        <a:pt x="64000" y="103076"/>
                        <a:pt x="62400" y="106153"/>
                        <a:pt x="62400" y="109230"/>
                      </a:cubicBezTo>
                      <a:cubicBezTo>
                        <a:pt x="64000" y="113846"/>
                        <a:pt x="64000" y="118461"/>
                        <a:pt x="60800" y="118461"/>
                      </a:cubicBezTo>
                      <a:cubicBezTo>
                        <a:pt x="59200" y="118461"/>
                        <a:pt x="54400" y="120000"/>
                        <a:pt x="51200" y="118461"/>
                      </a:cubicBezTo>
                      <a:cubicBezTo>
                        <a:pt x="51200" y="116923"/>
                        <a:pt x="51200" y="116923"/>
                        <a:pt x="51200" y="116923"/>
                      </a:cubicBezTo>
                      <a:cubicBezTo>
                        <a:pt x="52800" y="112307"/>
                        <a:pt x="52800" y="112307"/>
                        <a:pt x="52800" y="112307"/>
                      </a:cubicBezTo>
                      <a:cubicBezTo>
                        <a:pt x="49600" y="107692"/>
                        <a:pt x="49600" y="107692"/>
                        <a:pt x="49600" y="107692"/>
                      </a:cubicBezTo>
                      <a:cubicBezTo>
                        <a:pt x="49600" y="107692"/>
                        <a:pt x="49600" y="107692"/>
                        <a:pt x="49600" y="106153"/>
                      </a:cubicBezTo>
                      <a:cubicBezTo>
                        <a:pt x="48000" y="104615"/>
                        <a:pt x="48000" y="101538"/>
                        <a:pt x="48000" y="101538"/>
                      </a:cubicBezTo>
                      <a:cubicBezTo>
                        <a:pt x="46400" y="96923"/>
                        <a:pt x="46400" y="96923"/>
                        <a:pt x="46400" y="96923"/>
                      </a:cubicBezTo>
                      <a:cubicBezTo>
                        <a:pt x="46400" y="96923"/>
                        <a:pt x="43200" y="93846"/>
                        <a:pt x="41600" y="92307"/>
                      </a:cubicBezTo>
                      <a:cubicBezTo>
                        <a:pt x="41600" y="92307"/>
                        <a:pt x="41600" y="90769"/>
                        <a:pt x="38400" y="89230"/>
                      </a:cubicBezTo>
                      <a:cubicBezTo>
                        <a:pt x="36800" y="89230"/>
                        <a:pt x="33600" y="87692"/>
                        <a:pt x="33600" y="87692"/>
                      </a:cubicBezTo>
                      <a:cubicBezTo>
                        <a:pt x="32000" y="87692"/>
                        <a:pt x="32000" y="87692"/>
                        <a:pt x="32000" y="87692"/>
                      </a:cubicBezTo>
                      <a:cubicBezTo>
                        <a:pt x="32000" y="87692"/>
                        <a:pt x="30400" y="87692"/>
                        <a:pt x="30400" y="87692"/>
                      </a:cubicBezTo>
                      <a:cubicBezTo>
                        <a:pt x="27200" y="84615"/>
                        <a:pt x="27200" y="84615"/>
                        <a:pt x="27200" y="84615"/>
                      </a:cubicBezTo>
                      <a:cubicBezTo>
                        <a:pt x="24000" y="84615"/>
                        <a:pt x="24000" y="84615"/>
                        <a:pt x="24000" y="84615"/>
                      </a:cubicBezTo>
                      <a:cubicBezTo>
                        <a:pt x="22400" y="80000"/>
                        <a:pt x="22400" y="80000"/>
                        <a:pt x="22400" y="80000"/>
                      </a:cubicBezTo>
                      <a:cubicBezTo>
                        <a:pt x="20800" y="75384"/>
                        <a:pt x="20800" y="75384"/>
                        <a:pt x="20800" y="75384"/>
                      </a:cubicBezTo>
                      <a:cubicBezTo>
                        <a:pt x="17600" y="72307"/>
                        <a:pt x="17600" y="72307"/>
                        <a:pt x="17600" y="72307"/>
                      </a:cubicBezTo>
                      <a:cubicBezTo>
                        <a:pt x="14400" y="70769"/>
                        <a:pt x="14400" y="70769"/>
                        <a:pt x="14400" y="70769"/>
                      </a:cubicBezTo>
                      <a:cubicBezTo>
                        <a:pt x="12800" y="69230"/>
                        <a:pt x="12800" y="69230"/>
                        <a:pt x="12800" y="69230"/>
                      </a:cubicBezTo>
                      <a:cubicBezTo>
                        <a:pt x="9600" y="67692"/>
                        <a:pt x="9600" y="67692"/>
                        <a:pt x="9600" y="67692"/>
                      </a:cubicBezTo>
                      <a:cubicBezTo>
                        <a:pt x="8000" y="64615"/>
                        <a:pt x="11200" y="61538"/>
                        <a:pt x="9600" y="58461"/>
                      </a:cubicBezTo>
                      <a:cubicBezTo>
                        <a:pt x="6400" y="55384"/>
                        <a:pt x="0" y="52307"/>
                        <a:pt x="1600" y="52307"/>
                      </a:cubicBezTo>
                      <a:cubicBezTo>
                        <a:pt x="3200" y="49230"/>
                        <a:pt x="9600" y="50769"/>
                        <a:pt x="12800" y="49230"/>
                      </a:cubicBezTo>
                      <a:cubicBezTo>
                        <a:pt x="14400" y="49230"/>
                        <a:pt x="14400" y="46153"/>
                        <a:pt x="16000" y="44615"/>
                      </a:cubicBezTo>
                      <a:cubicBezTo>
                        <a:pt x="17600" y="44615"/>
                        <a:pt x="20800" y="46153"/>
                        <a:pt x="20800" y="43076"/>
                      </a:cubicBezTo>
                      <a:cubicBezTo>
                        <a:pt x="20800" y="40000"/>
                        <a:pt x="24000" y="40000"/>
                        <a:pt x="25600" y="41538"/>
                      </a:cubicBezTo>
                      <a:cubicBezTo>
                        <a:pt x="25600" y="41538"/>
                        <a:pt x="27200" y="41538"/>
                        <a:pt x="30400" y="38461"/>
                      </a:cubicBezTo>
                      <a:cubicBezTo>
                        <a:pt x="35200" y="36923"/>
                        <a:pt x="32000" y="36923"/>
                        <a:pt x="32000" y="36923"/>
                      </a:cubicBezTo>
                      <a:cubicBezTo>
                        <a:pt x="30400" y="32307"/>
                        <a:pt x="30400" y="32307"/>
                        <a:pt x="30400" y="32307"/>
                      </a:cubicBezTo>
                      <a:cubicBezTo>
                        <a:pt x="40000" y="23076"/>
                        <a:pt x="40000" y="23076"/>
                        <a:pt x="40000" y="23076"/>
                      </a:cubicBezTo>
                      <a:cubicBezTo>
                        <a:pt x="41600" y="15384"/>
                        <a:pt x="41600" y="15384"/>
                        <a:pt x="41600" y="15384"/>
                      </a:cubicBezTo>
                      <a:cubicBezTo>
                        <a:pt x="41600" y="15384"/>
                        <a:pt x="40000" y="13846"/>
                        <a:pt x="38400" y="12307"/>
                      </a:cubicBezTo>
                      <a:cubicBezTo>
                        <a:pt x="35200" y="9230"/>
                        <a:pt x="36800" y="9230"/>
                        <a:pt x="36800" y="7692"/>
                      </a:cubicBezTo>
                      <a:cubicBezTo>
                        <a:pt x="38400" y="6153"/>
                        <a:pt x="40000" y="6153"/>
                        <a:pt x="40000" y="6153"/>
                      </a:cubicBezTo>
                      <a:cubicBezTo>
                        <a:pt x="41600" y="4615"/>
                        <a:pt x="44800" y="4615"/>
                        <a:pt x="48000" y="1538"/>
                      </a:cubicBezTo>
                      <a:cubicBezTo>
                        <a:pt x="51200" y="0"/>
                        <a:pt x="51200" y="3076"/>
                        <a:pt x="51200" y="3076"/>
                      </a:cubicBezTo>
                      <a:cubicBezTo>
                        <a:pt x="51200" y="3076"/>
                        <a:pt x="52800" y="7692"/>
                        <a:pt x="57600" y="9230"/>
                      </a:cubicBezTo>
                      <a:cubicBezTo>
                        <a:pt x="60800" y="10769"/>
                        <a:pt x="62400" y="10769"/>
                        <a:pt x="62400" y="10769"/>
                      </a:cubicBezTo>
                      <a:cubicBezTo>
                        <a:pt x="67200" y="10769"/>
                        <a:pt x="67200" y="10769"/>
                        <a:pt x="67200" y="10769"/>
                      </a:cubicBezTo>
                      <a:cubicBezTo>
                        <a:pt x="75200" y="16923"/>
                        <a:pt x="75200" y="16923"/>
                        <a:pt x="75200" y="16923"/>
                      </a:cubicBezTo>
                      <a:cubicBezTo>
                        <a:pt x="75200" y="16923"/>
                        <a:pt x="75200" y="16923"/>
                        <a:pt x="76800" y="18461"/>
                      </a:cubicBezTo>
                      <a:cubicBezTo>
                        <a:pt x="78400" y="20000"/>
                        <a:pt x="80000" y="26153"/>
                        <a:pt x="80000" y="26153"/>
                      </a:cubicBezTo>
                      <a:cubicBezTo>
                        <a:pt x="92800" y="29230"/>
                        <a:pt x="92800" y="29230"/>
                        <a:pt x="92800" y="29230"/>
                      </a:cubicBezTo>
                      <a:cubicBezTo>
                        <a:pt x="94400" y="35384"/>
                        <a:pt x="94400" y="35384"/>
                        <a:pt x="94400" y="35384"/>
                      </a:cubicBezTo>
                      <a:cubicBezTo>
                        <a:pt x="94400" y="35384"/>
                        <a:pt x="100800" y="35384"/>
                        <a:pt x="104000" y="36923"/>
                      </a:cubicBezTo>
                      <a:cubicBezTo>
                        <a:pt x="107200" y="36923"/>
                        <a:pt x="107200" y="40000"/>
                        <a:pt x="107200" y="40000"/>
                      </a:cubicBezTo>
                      <a:cubicBezTo>
                        <a:pt x="112000" y="38461"/>
                        <a:pt x="112000" y="38461"/>
                        <a:pt x="112000" y="38461"/>
                      </a:cubicBezTo>
                      <a:cubicBezTo>
                        <a:pt x="120000" y="40000"/>
                        <a:pt x="120000" y="40000"/>
                        <a:pt x="120000" y="40000"/>
                      </a:cubicBezTo>
                      <a:cubicBezTo>
                        <a:pt x="120000" y="40000"/>
                        <a:pt x="120000" y="41538"/>
                        <a:pt x="118400" y="43076"/>
                      </a:cubicBezTo>
                      <a:cubicBezTo>
                        <a:pt x="116800" y="43076"/>
                        <a:pt x="116800" y="46153"/>
                        <a:pt x="116800" y="47692"/>
                      </a:cubicBezTo>
                      <a:cubicBezTo>
                        <a:pt x="116800" y="50769"/>
                        <a:pt x="116800" y="52307"/>
                        <a:pt x="116800" y="53846"/>
                      </a:cubicBezTo>
                      <a:cubicBezTo>
                        <a:pt x="115200" y="56923"/>
                        <a:pt x="113600" y="55384"/>
                        <a:pt x="112000" y="56923"/>
                      </a:cubicBezTo>
                      <a:cubicBezTo>
                        <a:pt x="110400" y="56923"/>
                        <a:pt x="112000" y="60000"/>
                        <a:pt x="113600" y="63076"/>
                      </a:cubicBezTo>
                      <a:cubicBezTo>
                        <a:pt x="113600" y="64615"/>
                        <a:pt x="113600" y="64615"/>
                        <a:pt x="112000" y="66153"/>
                      </a:cubicBezTo>
                      <a:cubicBezTo>
                        <a:pt x="108800" y="69230"/>
                        <a:pt x="107200" y="69230"/>
                        <a:pt x="107200" y="69230"/>
                      </a:cubicBezTo>
                      <a:cubicBezTo>
                        <a:pt x="112000" y="73846"/>
                        <a:pt x="112000" y="73846"/>
                        <a:pt x="112000" y="73846"/>
                      </a:cubicBezTo>
                      <a:cubicBezTo>
                        <a:pt x="112000" y="73846"/>
                        <a:pt x="112000" y="73846"/>
                        <a:pt x="113600" y="73846"/>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47" name="Shape 2015"/>
                <p:cNvSpPr/>
                <p:nvPr/>
              </p:nvSpPr>
              <p:spPr>
                <a:xfrm>
                  <a:off x="5900012" y="3680444"/>
                  <a:ext cx="193499" cy="353718"/>
                </a:xfrm>
                <a:custGeom>
                  <a:avLst/>
                  <a:gdLst/>
                  <a:ahLst/>
                  <a:cxnLst/>
                  <a:rect l="0" t="0" r="0" b="0"/>
                  <a:pathLst>
                    <a:path w="120000" h="120000" extrusionOk="0">
                      <a:moveTo>
                        <a:pt x="69176" y="118500"/>
                      </a:moveTo>
                      <a:cubicBezTo>
                        <a:pt x="73411" y="120000"/>
                        <a:pt x="73411" y="120000"/>
                        <a:pt x="73411" y="120000"/>
                      </a:cubicBezTo>
                      <a:cubicBezTo>
                        <a:pt x="77647" y="119250"/>
                        <a:pt x="77647" y="119250"/>
                        <a:pt x="77647" y="119250"/>
                      </a:cubicBezTo>
                      <a:cubicBezTo>
                        <a:pt x="80470" y="118500"/>
                        <a:pt x="80470" y="118500"/>
                        <a:pt x="80470" y="118500"/>
                      </a:cubicBezTo>
                      <a:cubicBezTo>
                        <a:pt x="80470" y="118500"/>
                        <a:pt x="83294" y="117000"/>
                        <a:pt x="83294" y="117000"/>
                      </a:cubicBezTo>
                      <a:cubicBezTo>
                        <a:pt x="83294" y="117000"/>
                        <a:pt x="83294" y="115500"/>
                        <a:pt x="83294" y="115500"/>
                      </a:cubicBezTo>
                      <a:cubicBezTo>
                        <a:pt x="81882" y="114750"/>
                        <a:pt x="81882" y="114750"/>
                        <a:pt x="81882" y="114750"/>
                      </a:cubicBezTo>
                      <a:cubicBezTo>
                        <a:pt x="81882" y="114750"/>
                        <a:pt x="80470" y="113250"/>
                        <a:pt x="81882" y="113250"/>
                      </a:cubicBezTo>
                      <a:cubicBezTo>
                        <a:pt x="83294" y="113250"/>
                        <a:pt x="84705" y="112500"/>
                        <a:pt x="84705" y="113250"/>
                      </a:cubicBezTo>
                      <a:cubicBezTo>
                        <a:pt x="86117" y="113250"/>
                        <a:pt x="84705" y="113250"/>
                        <a:pt x="86117" y="113250"/>
                      </a:cubicBezTo>
                      <a:cubicBezTo>
                        <a:pt x="87529" y="113250"/>
                        <a:pt x="88941" y="112500"/>
                        <a:pt x="88941" y="112500"/>
                      </a:cubicBezTo>
                      <a:cubicBezTo>
                        <a:pt x="88941" y="111750"/>
                        <a:pt x="88941" y="111750"/>
                        <a:pt x="88941" y="111750"/>
                      </a:cubicBezTo>
                      <a:cubicBezTo>
                        <a:pt x="88941" y="111750"/>
                        <a:pt x="88941" y="111750"/>
                        <a:pt x="88941" y="111750"/>
                      </a:cubicBezTo>
                      <a:cubicBezTo>
                        <a:pt x="87529" y="111000"/>
                        <a:pt x="83294" y="109500"/>
                        <a:pt x="81882" y="109500"/>
                      </a:cubicBezTo>
                      <a:cubicBezTo>
                        <a:pt x="81882" y="108750"/>
                        <a:pt x="80470" y="108000"/>
                        <a:pt x="80470" y="108000"/>
                      </a:cubicBezTo>
                      <a:cubicBezTo>
                        <a:pt x="80470" y="107250"/>
                        <a:pt x="81882" y="106500"/>
                        <a:pt x="81882" y="106500"/>
                      </a:cubicBezTo>
                      <a:cubicBezTo>
                        <a:pt x="80470" y="105750"/>
                        <a:pt x="80470" y="105750"/>
                        <a:pt x="80470" y="105750"/>
                      </a:cubicBezTo>
                      <a:cubicBezTo>
                        <a:pt x="80470" y="105750"/>
                        <a:pt x="81882" y="105000"/>
                        <a:pt x="83294" y="105000"/>
                      </a:cubicBezTo>
                      <a:cubicBezTo>
                        <a:pt x="83294" y="105000"/>
                        <a:pt x="84705" y="105000"/>
                        <a:pt x="84705" y="105000"/>
                      </a:cubicBezTo>
                      <a:cubicBezTo>
                        <a:pt x="86117" y="102750"/>
                        <a:pt x="86117" y="102750"/>
                        <a:pt x="86117" y="102750"/>
                      </a:cubicBezTo>
                      <a:cubicBezTo>
                        <a:pt x="86117" y="102750"/>
                        <a:pt x="86117" y="102000"/>
                        <a:pt x="87529" y="102000"/>
                      </a:cubicBezTo>
                      <a:cubicBezTo>
                        <a:pt x="87529" y="102000"/>
                        <a:pt x="88941" y="102000"/>
                        <a:pt x="88941" y="102000"/>
                      </a:cubicBezTo>
                      <a:cubicBezTo>
                        <a:pt x="98823" y="99000"/>
                        <a:pt x="98823" y="99000"/>
                        <a:pt x="98823" y="99000"/>
                      </a:cubicBezTo>
                      <a:cubicBezTo>
                        <a:pt x="105882" y="93000"/>
                        <a:pt x="105882" y="93000"/>
                        <a:pt x="105882" y="93000"/>
                      </a:cubicBezTo>
                      <a:cubicBezTo>
                        <a:pt x="108705" y="86250"/>
                        <a:pt x="108705" y="86250"/>
                        <a:pt x="108705" y="86250"/>
                      </a:cubicBezTo>
                      <a:cubicBezTo>
                        <a:pt x="112941" y="80250"/>
                        <a:pt x="112941" y="80250"/>
                        <a:pt x="112941" y="80250"/>
                      </a:cubicBezTo>
                      <a:cubicBezTo>
                        <a:pt x="112941" y="80250"/>
                        <a:pt x="118588" y="77250"/>
                        <a:pt x="118588" y="78000"/>
                      </a:cubicBezTo>
                      <a:cubicBezTo>
                        <a:pt x="120000" y="78750"/>
                        <a:pt x="118588" y="72000"/>
                        <a:pt x="118588" y="72000"/>
                      </a:cubicBezTo>
                      <a:cubicBezTo>
                        <a:pt x="114352" y="69750"/>
                        <a:pt x="114352" y="69750"/>
                        <a:pt x="114352" y="69750"/>
                      </a:cubicBezTo>
                      <a:cubicBezTo>
                        <a:pt x="114352" y="68250"/>
                        <a:pt x="114352" y="68250"/>
                        <a:pt x="114352" y="68250"/>
                      </a:cubicBezTo>
                      <a:cubicBezTo>
                        <a:pt x="114352" y="68250"/>
                        <a:pt x="112941" y="68250"/>
                        <a:pt x="112941" y="68250"/>
                      </a:cubicBezTo>
                      <a:cubicBezTo>
                        <a:pt x="112941" y="68250"/>
                        <a:pt x="112941" y="68250"/>
                        <a:pt x="111529" y="68250"/>
                      </a:cubicBezTo>
                      <a:cubicBezTo>
                        <a:pt x="111529" y="67500"/>
                        <a:pt x="111529" y="67500"/>
                        <a:pt x="111529" y="67500"/>
                      </a:cubicBezTo>
                      <a:cubicBezTo>
                        <a:pt x="108705" y="66000"/>
                        <a:pt x="108705" y="66000"/>
                        <a:pt x="108705" y="66000"/>
                      </a:cubicBezTo>
                      <a:cubicBezTo>
                        <a:pt x="108705" y="66000"/>
                        <a:pt x="107294" y="66750"/>
                        <a:pt x="105882" y="66750"/>
                      </a:cubicBezTo>
                      <a:cubicBezTo>
                        <a:pt x="104470" y="66750"/>
                        <a:pt x="104470" y="66000"/>
                        <a:pt x="103058" y="66000"/>
                      </a:cubicBezTo>
                      <a:cubicBezTo>
                        <a:pt x="103058" y="66000"/>
                        <a:pt x="103058" y="66000"/>
                        <a:pt x="103058" y="66000"/>
                      </a:cubicBezTo>
                      <a:cubicBezTo>
                        <a:pt x="103058" y="66000"/>
                        <a:pt x="101647" y="66000"/>
                        <a:pt x="100235" y="66000"/>
                      </a:cubicBezTo>
                      <a:cubicBezTo>
                        <a:pt x="98823" y="66000"/>
                        <a:pt x="97411"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6750"/>
                        <a:pt x="96000" y="66750"/>
                        <a:pt x="96000" y="66750"/>
                      </a:cubicBezTo>
                      <a:cubicBezTo>
                        <a:pt x="96000" y="66000"/>
                        <a:pt x="96000" y="66000"/>
                        <a:pt x="94588" y="65250"/>
                      </a:cubicBezTo>
                      <a:cubicBezTo>
                        <a:pt x="94588" y="64500"/>
                        <a:pt x="94588" y="63000"/>
                        <a:pt x="93176" y="62250"/>
                      </a:cubicBezTo>
                      <a:cubicBezTo>
                        <a:pt x="91764" y="61500"/>
                        <a:pt x="91764" y="60750"/>
                        <a:pt x="91764" y="60750"/>
                      </a:cubicBezTo>
                      <a:cubicBezTo>
                        <a:pt x="91764" y="60750"/>
                        <a:pt x="88941" y="60750"/>
                        <a:pt x="87529" y="60750"/>
                      </a:cubicBezTo>
                      <a:cubicBezTo>
                        <a:pt x="87529" y="60750"/>
                        <a:pt x="86117" y="60750"/>
                        <a:pt x="86117" y="60750"/>
                      </a:cubicBezTo>
                      <a:cubicBezTo>
                        <a:pt x="86117" y="60750"/>
                        <a:pt x="84705" y="59250"/>
                        <a:pt x="86117" y="59250"/>
                      </a:cubicBezTo>
                      <a:cubicBezTo>
                        <a:pt x="86117" y="58500"/>
                        <a:pt x="84705" y="57750"/>
                        <a:pt x="83294" y="57000"/>
                      </a:cubicBezTo>
                      <a:cubicBezTo>
                        <a:pt x="83294" y="57000"/>
                        <a:pt x="80470" y="54750"/>
                        <a:pt x="80470" y="54750"/>
                      </a:cubicBezTo>
                      <a:cubicBezTo>
                        <a:pt x="80470" y="54750"/>
                        <a:pt x="79058" y="54750"/>
                        <a:pt x="79058" y="54000"/>
                      </a:cubicBezTo>
                      <a:cubicBezTo>
                        <a:pt x="79058" y="53250"/>
                        <a:pt x="79058" y="52500"/>
                        <a:pt x="79058" y="52500"/>
                      </a:cubicBezTo>
                      <a:cubicBezTo>
                        <a:pt x="77647" y="51000"/>
                        <a:pt x="77647" y="51000"/>
                        <a:pt x="77647" y="51000"/>
                      </a:cubicBezTo>
                      <a:cubicBezTo>
                        <a:pt x="77647" y="51000"/>
                        <a:pt x="80470" y="50250"/>
                        <a:pt x="80470" y="49500"/>
                      </a:cubicBezTo>
                      <a:cubicBezTo>
                        <a:pt x="80470" y="49500"/>
                        <a:pt x="81882" y="48750"/>
                        <a:pt x="80470" y="48000"/>
                      </a:cubicBezTo>
                      <a:cubicBezTo>
                        <a:pt x="80470" y="47250"/>
                        <a:pt x="77647" y="46500"/>
                        <a:pt x="77647" y="46500"/>
                      </a:cubicBezTo>
                      <a:cubicBezTo>
                        <a:pt x="76235" y="45750"/>
                        <a:pt x="74823" y="45000"/>
                        <a:pt x="73411" y="44250"/>
                      </a:cubicBezTo>
                      <a:cubicBezTo>
                        <a:pt x="73411" y="43500"/>
                        <a:pt x="73411" y="42750"/>
                        <a:pt x="73411" y="42750"/>
                      </a:cubicBezTo>
                      <a:cubicBezTo>
                        <a:pt x="73411" y="42750"/>
                        <a:pt x="73411" y="42000"/>
                        <a:pt x="74823" y="42000"/>
                      </a:cubicBezTo>
                      <a:cubicBezTo>
                        <a:pt x="76235" y="41250"/>
                        <a:pt x="77647" y="41250"/>
                        <a:pt x="77647" y="40500"/>
                      </a:cubicBezTo>
                      <a:cubicBezTo>
                        <a:pt x="77647" y="40500"/>
                        <a:pt x="79058" y="40500"/>
                        <a:pt x="79058" y="39750"/>
                      </a:cubicBezTo>
                      <a:cubicBezTo>
                        <a:pt x="77647" y="39000"/>
                        <a:pt x="76235" y="38250"/>
                        <a:pt x="76235" y="38250"/>
                      </a:cubicBezTo>
                      <a:cubicBezTo>
                        <a:pt x="77647" y="36000"/>
                        <a:pt x="77647" y="36000"/>
                        <a:pt x="77647" y="36000"/>
                      </a:cubicBezTo>
                      <a:cubicBezTo>
                        <a:pt x="76235" y="35250"/>
                        <a:pt x="76235" y="35250"/>
                        <a:pt x="76235" y="35250"/>
                      </a:cubicBezTo>
                      <a:cubicBezTo>
                        <a:pt x="76235" y="32250"/>
                        <a:pt x="76235" y="32250"/>
                        <a:pt x="76235" y="32250"/>
                      </a:cubicBezTo>
                      <a:cubicBezTo>
                        <a:pt x="76235" y="31500"/>
                        <a:pt x="76235" y="31500"/>
                        <a:pt x="76235" y="31500"/>
                      </a:cubicBezTo>
                      <a:cubicBezTo>
                        <a:pt x="76235" y="31500"/>
                        <a:pt x="77647" y="30000"/>
                        <a:pt x="77647" y="30000"/>
                      </a:cubicBezTo>
                      <a:cubicBezTo>
                        <a:pt x="77647" y="29250"/>
                        <a:pt x="77647" y="27750"/>
                        <a:pt x="77647" y="27750"/>
                      </a:cubicBezTo>
                      <a:cubicBezTo>
                        <a:pt x="77647" y="27000"/>
                        <a:pt x="77647" y="27000"/>
                        <a:pt x="77647" y="27000"/>
                      </a:cubicBezTo>
                      <a:cubicBezTo>
                        <a:pt x="79058" y="24750"/>
                        <a:pt x="79058" y="24750"/>
                        <a:pt x="79058" y="24750"/>
                      </a:cubicBezTo>
                      <a:cubicBezTo>
                        <a:pt x="76235" y="22500"/>
                        <a:pt x="76235" y="22500"/>
                        <a:pt x="76235" y="22500"/>
                      </a:cubicBezTo>
                      <a:cubicBezTo>
                        <a:pt x="76235" y="22500"/>
                        <a:pt x="76235" y="22500"/>
                        <a:pt x="76235" y="21750"/>
                      </a:cubicBezTo>
                      <a:cubicBezTo>
                        <a:pt x="74823" y="21000"/>
                        <a:pt x="74823" y="19500"/>
                        <a:pt x="74823" y="19500"/>
                      </a:cubicBezTo>
                      <a:cubicBezTo>
                        <a:pt x="73411" y="17250"/>
                        <a:pt x="73411" y="17250"/>
                        <a:pt x="73411" y="17250"/>
                      </a:cubicBezTo>
                      <a:cubicBezTo>
                        <a:pt x="73411" y="17250"/>
                        <a:pt x="70588" y="15750"/>
                        <a:pt x="69176" y="15000"/>
                      </a:cubicBezTo>
                      <a:cubicBezTo>
                        <a:pt x="69176" y="15000"/>
                        <a:pt x="69176" y="14250"/>
                        <a:pt x="66352" y="13500"/>
                      </a:cubicBezTo>
                      <a:cubicBezTo>
                        <a:pt x="64941" y="13500"/>
                        <a:pt x="62117" y="12750"/>
                        <a:pt x="62117" y="12750"/>
                      </a:cubicBezTo>
                      <a:cubicBezTo>
                        <a:pt x="59294" y="12750"/>
                        <a:pt x="59294" y="12750"/>
                        <a:pt x="59294" y="12750"/>
                      </a:cubicBezTo>
                      <a:cubicBezTo>
                        <a:pt x="56470" y="11250"/>
                        <a:pt x="56470" y="11250"/>
                        <a:pt x="56470" y="11250"/>
                      </a:cubicBezTo>
                      <a:cubicBezTo>
                        <a:pt x="53647" y="11250"/>
                        <a:pt x="53647" y="11250"/>
                        <a:pt x="53647" y="11250"/>
                      </a:cubicBezTo>
                      <a:cubicBezTo>
                        <a:pt x="52235" y="9000"/>
                        <a:pt x="52235" y="9000"/>
                        <a:pt x="52235" y="9000"/>
                      </a:cubicBezTo>
                      <a:cubicBezTo>
                        <a:pt x="50823" y="6750"/>
                        <a:pt x="50823" y="6750"/>
                        <a:pt x="50823" y="6750"/>
                      </a:cubicBezTo>
                      <a:cubicBezTo>
                        <a:pt x="48000" y="5250"/>
                        <a:pt x="48000" y="5250"/>
                        <a:pt x="48000" y="5250"/>
                      </a:cubicBezTo>
                      <a:cubicBezTo>
                        <a:pt x="45176" y="4500"/>
                        <a:pt x="45176" y="4500"/>
                        <a:pt x="45176" y="4500"/>
                      </a:cubicBezTo>
                      <a:cubicBezTo>
                        <a:pt x="43764" y="3750"/>
                        <a:pt x="43764" y="3750"/>
                        <a:pt x="43764" y="3750"/>
                      </a:cubicBezTo>
                      <a:cubicBezTo>
                        <a:pt x="40941" y="3000"/>
                        <a:pt x="40941" y="3000"/>
                        <a:pt x="40941" y="3000"/>
                      </a:cubicBezTo>
                      <a:cubicBezTo>
                        <a:pt x="39529" y="3000"/>
                        <a:pt x="39529" y="3000"/>
                        <a:pt x="39529" y="3000"/>
                      </a:cubicBezTo>
                      <a:cubicBezTo>
                        <a:pt x="39529" y="3000"/>
                        <a:pt x="38117" y="4500"/>
                        <a:pt x="38117" y="4500"/>
                      </a:cubicBezTo>
                      <a:cubicBezTo>
                        <a:pt x="38117" y="4500"/>
                        <a:pt x="33882" y="5250"/>
                        <a:pt x="33882" y="5250"/>
                      </a:cubicBezTo>
                      <a:cubicBezTo>
                        <a:pt x="31058" y="6750"/>
                        <a:pt x="31058" y="6750"/>
                        <a:pt x="31058" y="6750"/>
                      </a:cubicBezTo>
                      <a:cubicBezTo>
                        <a:pt x="28235" y="7500"/>
                        <a:pt x="28235" y="7500"/>
                        <a:pt x="28235" y="7500"/>
                      </a:cubicBezTo>
                      <a:cubicBezTo>
                        <a:pt x="28235" y="7500"/>
                        <a:pt x="28235" y="7500"/>
                        <a:pt x="28235" y="6750"/>
                      </a:cubicBezTo>
                      <a:cubicBezTo>
                        <a:pt x="26823" y="6750"/>
                        <a:pt x="26823" y="6750"/>
                        <a:pt x="26823" y="6750"/>
                      </a:cubicBezTo>
                      <a:cubicBezTo>
                        <a:pt x="26823" y="6750"/>
                        <a:pt x="25411" y="6000"/>
                        <a:pt x="25411" y="5250"/>
                      </a:cubicBezTo>
                      <a:cubicBezTo>
                        <a:pt x="25411" y="5250"/>
                        <a:pt x="24000" y="4500"/>
                        <a:pt x="24000" y="4500"/>
                      </a:cubicBezTo>
                      <a:cubicBezTo>
                        <a:pt x="24000" y="4500"/>
                        <a:pt x="24000" y="3750"/>
                        <a:pt x="24000" y="3750"/>
                      </a:cubicBezTo>
                      <a:cubicBezTo>
                        <a:pt x="24000" y="3000"/>
                        <a:pt x="24000" y="2250"/>
                        <a:pt x="24000" y="2250"/>
                      </a:cubicBezTo>
                      <a:cubicBezTo>
                        <a:pt x="24000" y="1500"/>
                        <a:pt x="24000" y="1500"/>
                        <a:pt x="24000" y="1500"/>
                      </a:cubicBezTo>
                      <a:cubicBezTo>
                        <a:pt x="22588" y="750"/>
                        <a:pt x="22588" y="750"/>
                        <a:pt x="22588" y="750"/>
                      </a:cubicBezTo>
                      <a:cubicBezTo>
                        <a:pt x="22588" y="0"/>
                        <a:pt x="22588" y="0"/>
                        <a:pt x="22588" y="0"/>
                      </a:cubicBezTo>
                      <a:cubicBezTo>
                        <a:pt x="22588" y="0"/>
                        <a:pt x="19764" y="0"/>
                        <a:pt x="19764" y="0"/>
                      </a:cubicBezTo>
                      <a:cubicBezTo>
                        <a:pt x="19764" y="0"/>
                        <a:pt x="14117" y="3000"/>
                        <a:pt x="14117" y="3000"/>
                      </a:cubicBezTo>
                      <a:cubicBezTo>
                        <a:pt x="15529" y="3750"/>
                        <a:pt x="15529" y="3750"/>
                        <a:pt x="15529" y="3750"/>
                      </a:cubicBezTo>
                      <a:cubicBezTo>
                        <a:pt x="14117" y="5250"/>
                        <a:pt x="14117" y="5250"/>
                        <a:pt x="14117" y="5250"/>
                      </a:cubicBezTo>
                      <a:cubicBezTo>
                        <a:pt x="12705" y="6750"/>
                        <a:pt x="12705" y="6750"/>
                        <a:pt x="12705" y="6750"/>
                      </a:cubicBezTo>
                      <a:cubicBezTo>
                        <a:pt x="11294" y="8250"/>
                        <a:pt x="11294" y="8250"/>
                        <a:pt x="11294" y="8250"/>
                      </a:cubicBezTo>
                      <a:cubicBezTo>
                        <a:pt x="11294" y="8250"/>
                        <a:pt x="9882" y="9000"/>
                        <a:pt x="9882" y="9750"/>
                      </a:cubicBezTo>
                      <a:cubicBezTo>
                        <a:pt x="9882" y="9750"/>
                        <a:pt x="8470" y="10500"/>
                        <a:pt x="8470" y="10500"/>
                      </a:cubicBezTo>
                      <a:cubicBezTo>
                        <a:pt x="7058" y="11250"/>
                        <a:pt x="7058" y="11250"/>
                        <a:pt x="7058" y="11250"/>
                      </a:cubicBezTo>
                      <a:cubicBezTo>
                        <a:pt x="5647" y="12000"/>
                        <a:pt x="5647" y="12000"/>
                        <a:pt x="5647" y="12000"/>
                      </a:cubicBezTo>
                      <a:cubicBezTo>
                        <a:pt x="5647" y="13500"/>
                        <a:pt x="5647" y="13500"/>
                        <a:pt x="5647" y="13500"/>
                      </a:cubicBezTo>
                      <a:cubicBezTo>
                        <a:pt x="5647" y="13500"/>
                        <a:pt x="5647" y="14250"/>
                        <a:pt x="5647" y="15000"/>
                      </a:cubicBezTo>
                      <a:cubicBezTo>
                        <a:pt x="5647" y="15000"/>
                        <a:pt x="4235" y="15750"/>
                        <a:pt x="4235" y="15750"/>
                      </a:cubicBezTo>
                      <a:cubicBezTo>
                        <a:pt x="2823" y="17250"/>
                        <a:pt x="2823" y="17250"/>
                        <a:pt x="2823" y="17250"/>
                      </a:cubicBezTo>
                      <a:cubicBezTo>
                        <a:pt x="0" y="18750"/>
                        <a:pt x="0" y="18750"/>
                        <a:pt x="0" y="18750"/>
                      </a:cubicBezTo>
                      <a:cubicBezTo>
                        <a:pt x="0" y="20250"/>
                        <a:pt x="0" y="20250"/>
                        <a:pt x="0" y="20250"/>
                      </a:cubicBezTo>
                      <a:cubicBezTo>
                        <a:pt x="1411" y="21000"/>
                        <a:pt x="1411" y="21000"/>
                        <a:pt x="1411" y="21000"/>
                      </a:cubicBezTo>
                      <a:cubicBezTo>
                        <a:pt x="4235" y="21750"/>
                        <a:pt x="4235" y="21750"/>
                        <a:pt x="4235" y="21750"/>
                      </a:cubicBezTo>
                      <a:cubicBezTo>
                        <a:pt x="7058" y="22500"/>
                        <a:pt x="7058" y="22500"/>
                        <a:pt x="7058" y="22500"/>
                      </a:cubicBezTo>
                      <a:cubicBezTo>
                        <a:pt x="7058" y="22500"/>
                        <a:pt x="7058" y="23250"/>
                        <a:pt x="7058" y="24000"/>
                      </a:cubicBezTo>
                      <a:cubicBezTo>
                        <a:pt x="7058" y="24000"/>
                        <a:pt x="7058" y="24750"/>
                        <a:pt x="7058" y="24750"/>
                      </a:cubicBezTo>
                      <a:cubicBezTo>
                        <a:pt x="5647" y="26250"/>
                        <a:pt x="5647" y="26250"/>
                        <a:pt x="5647" y="26250"/>
                      </a:cubicBezTo>
                      <a:cubicBezTo>
                        <a:pt x="5647" y="26250"/>
                        <a:pt x="7058" y="27000"/>
                        <a:pt x="7058" y="27000"/>
                      </a:cubicBezTo>
                      <a:cubicBezTo>
                        <a:pt x="7058" y="27000"/>
                        <a:pt x="7058" y="27750"/>
                        <a:pt x="7058" y="27750"/>
                      </a:cubicBezTo>
                      <a:cubicBezTo>
                        <a:pt x="7058" y="27750"/>
                        <a:pt x="7058" y="29250"/>
                        <a:pt x="7058" y="29250"/>
                      </a:cubicBezTo>
                      <a:cubicBezTo>
                        <a:pt x="5647" y="30000"/>
                        <a:pt x="5647" y="30000"/>
                        <a:pt x="5647" y="30000"/>
                      </a:cubicBezTo>
                      <a:cubicBezTo>
                        <a:pt x="5647" y="30000"/>
                        <a:pt x="7058" y="30750"/>
                        <a:pt x="7058" y="31500"/>
                      </a:cubicBezTo>
                      <a:cubicBezTo>
                        <a:pt x="7058" y="31500"/>
                        <a:pt x="7058" y="32250"/>
                        <a:pt x="7058" y="32250"/>
                      </a:cubicBezTo>
                      <a:cubicBezTo>
                        <a:pt x="5647" y="32250"/>
                        <a:pt x="8470" y="33750"/>
                        <a:pt x="8470" y="33750"/>
                      </a:cubicBezTo>
                      <a:cubicBezTo>
                        <a:pt x="8470" y="33750"/>
                        <a:pt x="9882" y="33000"/>
                        <a:pt x="11294" y="33000"/>
                      </a:cubicBezTo>
                      <a:cubicBezTo>
                        <a:pt x="11294" y="33000"/>
                        <a:pt x="14117" y="33000"/>
                        <a:pt x="14117" y="33000"/>
                      </a:cubicBezTo>
                      <a:cubicBezTo>
                        <a:pt x="16941" y="33750"/>
                        <a:pt x="16941" y="33750"/>
                        <a:pt x="16941" y="33750"/>
                      </a:cubicBezTo>
                      <a:cubicBezTo>
                        <a:pt x="19764" y="33750"/>
                        <a:pt x="19764" y="33750"/>
                        <a:pt x="19764" y="33750"/>
                      </a:cubicBezTo>
                      <a:cubicBezTo>
                        <a:pt x="21176" y="35250"/>
                        <a:pt x="21176" y="35250"/>
                        <a:pt x="21176" y="35250"/>
                      </a:cubicBezTo>
                      <a:cubicBezTo>
                        <a:pt x="21176" y="36750"/>
                        <a:pt x="21176" y="36750"/>
                        <a:pt x="21176" y="36750"/>
                      </a:cubicBezTo>
                      <a:cubicBezTo>
                        <a:pt x="21176" y="39000"/>
                        <a:pt x="21176" y="39000"/>
                        <a:pt x="21176" y="39000"/>
                      </a:cubicBezTo>
                      <a:cubicBezTo>
                        <a:pt x="19764" y="40500"/>
                        <a:pt x="19764" y="40500"/>
                        <a:pt x="19764" y="40500"/>
                      </a:cubicBezTo>
                      <a:cubicBezTo>
                        <a:pt x="22588" y="41250"/>
                        <a:pt x="22588" y="41250"/>
                        <a:pt x="22588" y="41250"/>
                      </a:cubicBezTo>
                      <a:cubicBezTo>
                        <a:pt x="22588" y="41250"/>
                        <a:pt x="22588" y="41250"/>
                        <a:pt x="22588" y="41250"/>
                      </a:cubicBezTo>
                      <a:cubicBezTo>
                        <a:pt x="22588" y="41250"/>
                        <a:pt x="22588" y="42750"/>
                        <a:pt x="22588" y="43500"/>
                      </a:cubicBezTo>
                      <a:cubicBezTo>
                        <a:pt x="21176" y="43500"/>
                        <a:pt x="19764" y="43500"/>
                        <a:pt x="18352" y="44250"/>
                      </a:cubicBezTo>
                      <a:cubicBezTo>
                        <a:pt x="16941" y="44250"/>
                        <a:pt x="15529" y="44250"/>
                        <a:pt x="15529" y="44250"/>
                      </a:cubicBezTo>
                      <a:cubicBezTo>
                        <a:pt x="15529" y="45000"/>
                        <a:pt x="15529" y="45000"/>
                        <a:pt x="15529" y="45000"/>
                      </a:cubicBezTo>
                      <a:cubicBezTo>
                        <a:pt x="18352" y="45750"/>
                        <a:pt x="18352" y="45750"/>
                        <a:pt x="18352" y="45750"/>
                      </a:cubicBezTo>
                      <a:cubicBezTo>
                        <a:pt x="18352" y="45750"/>
                        <a:pt x="19764" y="45750"/>
                        <a:pt x="19764" y="45750"/>
                      </a:cubicBezTo>
                      <a:cubicBezTo>
                        <a:pt x="19764" y="46500"/>
                        <a:pt x="19764" y="48000"/>
                        <a:pt x="19764" y="48000"/>
                      </a:cubicBezTo>
                      <a:cubicBezTo>
                        <a:pt x="19764" y="48000"/>
                        <a:pt x="19764" y="48750"/>
                        <a:pt x="18352" y="48750"/>
                      </a:cubicBezTo>
                      <a:cubicBezTo>
                        <a:pt x="18352" y="48750"/>
                        <a:pt x="16941" y="49500"/>
                        <a:pt x="16941" y="49500"/>
                      </a:cubicBezTo>
                      <a:cubicBezTo>
                        <a:pt x="15529" y="50250"/>
                        <a:pt x="15529" y="50250"/>
                        <a:pt x="15529" y="50250"/>
                      </a:cubicBezTo>
                      <a:cubicBezTo>
                        <a:pt x="14117" y="51000"/>
                        <a:pt x="14117" y="51000"/>
                        <a:pt x="14117" y="51000"/>
                      </a:cubicBezTo>
                      <a:cubicBezTo>
                        <a:pt x="11294" y="51750"/>
                        <a:pt x="11294" y="51750"/>
                        <a:pt x="11294" y="51750"/>
                      </a:cubicBezTo>
                      <a:cubicBezTo>
                        <a:pt x="14117" y="53250"/>
                        <a:pt x="14117" y="53250"/>
                        <a:pt x="14117" y="53250"/>
                      </a:cubicBezTo>
                      <a:cubicBezTo>
                        <a:pt x="15529" y="53250"/>
                        <a:pt x="15529" y="53250"/>
                        <a:pt x="15529" y="53250"/>
                      </a:cubicBezTo>
                      <a:cubicBezTo>
                        <a:pt x="15529" y="53250"/>
                        <a:pt x="16941" y="54000"/>
                        <a:pt x="16941" y="54000"/>
                      </a:cubicBezTo>
                      <a:cubicBezTo>
                        <a:pt x="16941" y="54000"/>
                        <a:pt x="21176" y="55500"/>
                        <a:pt x="21176" y="55500"/>
                      </a:cubicBezTo>
                      <a:cubicBezTo>
                        <a:pt x="19764" y="56250"/>
                        <a:pt x="19764" y="56250"/>
                        <a:pt x="19764" y="56250"/>
                      </a:cubicBezTo>
                      <a:cubicBezTo>
                        <a:pt x="19764" y="56250"/>
                        <a:pt x="19764" y="57000"/>
                        <a:pt x="19764" y="57750"/>
                      </a:cubicBezTo>
                      <a:cubicBezTo>
                        <a:pt x="19764" y="58500"/>
                        <a:pt x="19764" y="60750"/>
                        <a:pt x="19764" y="60750"/>
                      </a:cubicBezTo>
                      <a:cubicBezTo>
                        <a:pt x="18352" y="61500"/>
                        <a:pt x="18352" y="61500"/>
                        <a:pt x="18352" y="61500"/>
                      </a:cubicBezTo>
                      <a:cubicBezTo>
                        <a:pt x="18352" y="62250"/>
                        <a:pt x="19764" y="64500"/>
                        <a:pt x="19764" y="64500"/>
                      </a:cubicBezTo>
                      <a:cubicBezTo>
                        <a:pt x="19764" y="65250"/>
                        <a:pt x="19764" y="65250"/>
                        <a:pt x="19764" y="65250"/>
                      </a:cubicBezTo>
                      <a:cubicBezTo>
                        <a:pt x="18352" y="66000"/>
                        <a:pt x="18352" y="66000"/>
                        <a:pt x="18352" y="66000"/>
                      </a:cubicBezTo>
                      <a:cubicBezTo>
                        <a:pt x="24000" y="67500"/>
                        <a:pt x="24000" y="67500"/>
                        <a:pt x="24000" y="67500"/>
                      </a:cubicBezTo>
                      <a:cubicBezTo>
                        <a:pt x="22588" y="69000"/>
                        <a:pt x="22588" y="69000"/>
                        <a:pt x="22588" y="69000"/>
                      </a:cubicBezTo>
                      <a:cubicBezTo>
                        <a:pt x="19764" y="69750"/>
                        <a:pt x="19764" y="69750"/>
                        <a:pt x="19764" y="69750"/>
                      </a:cubicBezTo>
                      <a:cubicBezTo>
                        <a:pt x="19764" y="69750"/>
                        <a:pt x="18352" y="69750"/>
                        <a:pt x="18352" y="69750"/>
                      </a:cubicBezTo>
                      <a:cubicBezTo>
                        <a:pt x="18352" y="70500"/>
                        <a:pt x="18352" y="71250"/>
                        <a:pt x="18352" y="71250"/>
                      </a:cubicBezTo>
                      <a:cubicBezTo>
                        <a:pt x="19764" y="72000"/>
                        <a:pt x="19764" y="72000"/>
                        <a:pt x="19764" y="72000"/>
                      </a:cubicBezTo>
                      <a:cubicBezTo>
                        <a:pt x="18352" y="72750"/>
                        <a:pt x="18352" y="72750"/>
                        <a:pt x="18352" y="72750"/>
                      </a:cubicBezTo>
                      <a:cubicBezTo>
                        <a:pt x="18352" y="72750"/>
                        <a:pt x="18352" y="72750"/>
                        <a:pt x="18352" y="72750"/>
                      </a:cubicBezTo>
                      <a:cubicBezTo>
                        <a:pt x="18352" y="72750"/>
                        <a:pt x="18352" y="74250"/>
                        <a:pt x="18352" y="74250"/>
                      </a:cubicBezTo>
                      <a:cubicBezTo>
                        <a:pt x="18352" y="74250"/>
                        <a:pt x="18352" y="75000"/>
                        <a:pt x="16941" y="75000"/>
                      </a:cubicBezTo>
                      <a:cubicBezTo>
                        <a:pt x="16941" y="75000"/>
                        <a:pt x="15529" y="75750"/>
                        <a:pt x="15529" y="75750"/>
                      </a:cubicBezTo>
                      <a:cubicBezTo>
                        <a:pt x="16941" y="77250"/>
                        <a:pt x="16941" y="77250"/>
                        <a:pt x="16941" y="77250"/>
                      </a:cubicBezTo>
                      <a:cubicBezTo>
                        <a:pt x="15529" y="80250"/>
                        <a:pt x="15529" y="80250"/>
                        <a:pt x="15529" y="80250"/>
                      </a:cubicBezTo>
                      <a:cubicBezTo>
                        <a:pt x="15529" y="81000"/>
                        <a:pt x="15529" y="81000"/>
                        <a:pt x="15529" y="81000"/>
                      </a:cubicBezTo>
                      <a:cubicBezTo>
                        <a:pt x="16941" y="83250"/>
                        <a:pt x="16941" y="83250"/>
                        <a:pt x="16941" y="83250"/>
                      </a:cubicBezTo>
                      <a:cubicBezTo>
                        <a:pt x="19764" y="85500"/>
                        <a:pt x="19764" y="85500"/>
                        <a:pt x="19764" y="85500"/>
                      </a:cubicBezTo>
                      <a:cubicBezTo>
                        <a:pt x="22588" y="87000"/>
                        <a:pt x="22588" y="87000"/>
                        <a:pt x="22588" y="87000"/>
                      </a:cubicBezTo>
                      <a:cubicBezTo>
                        <a:pt x="24000" y="88500"/>
                        <a:pt x="24000" y="88500"/>
                        <a:pt x="24000" y="88500"/>
                      </a:cubicBezTo>
                      <a:cubicBezTo>
                        <a:pt x="26823" y="89250"/>
                        <a:pt x="26823" y="89250"/>
                        <a:pt x="26823" y="89250"/>
                      </a:cubicBezTo>
                      <a:cubicBezTo>
                        <a:pt x="25411" y="91500"/>
                        <a:pt x="25411" y="91500"/>
                        <a:pt x="25411" y="91500"/>
                      </a:cubicBezTo>
                      <a:cubicBezTo>
                        <a:pt x="26823" y="92250"/>
                        <a:pt x="26823" y="92250"/>
                        <a:pt x="26823" y="92250"/>
                      </a:cubicBezTo>
                      <a:cubicBezTo>
                        <a:pt x="26823" y="93750"/>
                        <a:pt x="26823" y="93750"/>
                        <a:pt x="26823" y="93750"/>
                      </a:cubicBezTo>
                      <a:cubicBezTo>
                        <a:pt x="26823" y="93750"/>
                        <a:pt x="26823" y="93750"/>
                        <a:pt x="25411" y="94500"/>
                      </a:cubicBezTo>
                      <a:cubicBezTo>
                        <a:pt x="25411" y="94500"/>
                        <a:pt x="25411" y="94500"/>
                        <a:pt x="24000" y="93750"/>
                      </a:cubicBezTo>
                      <a:cubicBezTo>
                        <a:pt x="22588" y="93750"/>
                        <a:pt x="21176" y="92250"/>
                        <a:pt x="21176" y="92250"/>
                      </a:cubicBezTo>
                      <a:cubicBezTo>
                        <a:pt x="21176" y="92250"/>
                        <a:pt x="19764" y="90750"/>
                        <a:pt x="19764" y="90750"/>
                      </a:cubicBezTo>
                      <a:cubicBezTo>
                        <a:pt x="19764" y="90750"/>
                        <a:pt x="18352" y="90000"/>
                        <a:pt x="18352" y="90000"/>
                      </a:cubicBezTo>
                      <a:cubicBezTo>
                        <a:pt x="15529" y="90000"/>
                        <a:pt x="15529" y="90000"/>
                        <a:pt x="15529" y="90000"/>
                      </a:cubicBezTo>
                      <a:cubicBezTo>
                        <a:pt x="15529" y="90000"/>
                        <a:pt x="15529" y="90750"/>
                        <a:pt x="15529" y="90750"/>
                      </a:cubicBezTo>
                      <a:cubicBezTo>
                        <a:pt x="15529" y="91500"/>
                        <a:pt x="15529" y="91500"/>
                        <a:pt x="16941" y="92250"/>
                      </a:cubicBezTo>
                      <a:cubicBezTo>
                        <a:pt x="18352" y="93000"/>
                        <a:pt x="18352" y="93000"/>
                        <a:pt x="19764" y="93000"/>
                      </a:cubicBezTo>
                      <a:cubicBezTo>
                        <a:pt x="19764" y="93000"/>
                        <a:pt x="19764" y="93750"/>
                        <a:pt x="21176" y="93750"/>
                      </a:cubicBezTo>
                      <a:cubicBezTo>
                        <a:pt x="21176" y="94500"/>
                        <a:pt x="21176" y="96000"/>
                        <a:pt x="21176" y="96000"/>
                      </a:cubicBezTo>
                      <a:cubicBezTo>
                        <a:pt x="24000" y="97500"/>
                        <a:pt x="24000" y="97500"/>
                        <a:pt x="24000" y="97500"/>
                      </a:cubicBezTo>
                      <a:cubicBezTo>
                        <a:pt x="26823" y="98250"/>
                        <a:pt x="26823" y="98250"/>
                        <a:pt x="26823" y="98250"/>
                      </a:cubicBezTo>
                      <a:cubicBezTo>
                        <a:pt x="38117" y="101250"/>
                        <a:pt x="38117" y="101250"/>
                        <a:pt x="38117" y="101250"/>
                      </a:cubicBezTo>
                      <a:cubicBezTo>
                        <a:pt x="42352" y="102000"/>
                        <a:pt x="42352" y="102000"/>
                        <a:pt x="42352" y="102000"/>
                      </a:cubicBezTo>
                      <a:cubicBezTo>
                        <a:pt x="43764" y="102000"/>
                        <a:pt x="43764" y="102000"/>
                        <a:pt x="43764" y="102000"/>
                      </a:cubicBezTo>
                      <a:cubicBezTo>
                        <a:pt x="45176" y="103500"/>
                        <a:pt x="45176" y="103500"/>
                        <a:pt x="45176" y="103500"/>
                      </a:cubicBezTo>
                      <a:cubicBezTo>
                        <a:pt x="46588" y="104250"/>
                        <a:pt x="46588" y="104250"/>
                        <a:pt x="46588" y="104250"/>
                      </a:cubicBezTo>
                      <a:cubicBezTo>
                        <a:pt x="46588" y="104250"/>
                        <a:pt x="48000" y="104250"/>
                        <a:pt x="49411" y="104250"/>
                      </a:cubicBezTo>
                      <a:cubicBezTo>
                        <a:pt x="49411" y="104250"/>
                        <a:pt x="52235" y="104250"/>
                        <a:pt x="52235" y="104250"/>
                      </a:cubicBezTo>
                      <a:cubicBezTo>
                        <a:pt x="52235" y="104250"/>
                        <a:pt x="53647" y="103500"/>
                        <a:pt x="53647" y="104250"/>
                      </a:cubicBezTo>
                      <a:cubicBezTo>
                        <a:pt x="53647" y="105000"/>
                        <a:pt x="57882" y="108750"/>
                        <a:pt x="57882" y="108750"/>
                      </a:cubicBezTo>
                      <a:cubicBezTo>
                        <a:pt x="57882" y="108750"/>
                        <a:pt x="57882" y="109500"/>
                        <a:pt x="59294" y="110250"/>
                      </a:cubicBezTo>
                      <a:cubicBezTo>
                        <a:pt x="60705" y="111000"/>
                        <a:pt x="63529" y="111750"/>
                        <a:pt x="63529" y="111750"/>
                      </a:cubicBezTo>
                      <a:cubicBezTo>
                        <a:pt x="63529" y="111750"/>
                        <a:pt x="62117" y="112500"/>
                        <a:pt x="62117" y="113250"/>
                      </a:cubicBezTo>
                      <a:cubicBezTo>
                        <a:pt x="63529" y="114000"/>
                        <a:pt x="62117" y="114000"/>
                        <a:pt x="63529" y="114000"/>
                      </a:cubicBezTo>
                      <a:cubicBezTo>
                        <a:pt x="63529" y="114750"/>
                        <a:pt x="63529" y="114750"/>
                        <a:pt x="63529" y="114750"/>
                      </a:cubicBezTo>
                      <a:cubicBezTo>
                        <a:pt x="63529" y="114750"/>
                        <a:pt x="63529" y="114750"/>
                        <a:pt x="63529" y="115500"/>
                      </a:cubicBezTo>
                      <a:cubicBezTo>
                        <a:pt x="64941" y="115500"/>
                        <a:pt x="64941" y="116250"/>
                        <a:pt x="64941" y="116250"/>
                      </a:cubicBezTo>
                      <a:cubicBezTo>
                        <a:pt x="64941" y="118500"/>
                        <a:pt x="64941" y="118500"/>
                        <a:pt x="64941" y="118500"/>
                      </a:cubicBezTo>
                      <a:cubicBezTo>
                        <a:pt x="67764" y="118500"/>
                        <a:pt x="67764" y="118500"/>
                        <a:pt x="67764" y="118500"/>
                      </a:cubicBezTo>
                      <a:lnTo>
                        <a:pt x="69176" y="1185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48" name="Shape 2016"/>
                <p:cNvSpPr/>
                <p:nvPr/>
              </p:nvSpPr>
              <p:spPr>
                <a:xfrm>
                  <a:off x="5900012" y="3680444"/>
                  <a:ext cx="193499" cy="353718"/>
                </a:xfrm>
                <a:custGeom>
                  <a:avLst/>
                  <a:gdLst/>
                  <a:ahLst/>
                  <a:cxnLst/>
                  <a:rect l="0" t="0" r="0" b="0"/>
                  <a:pathLst>
                    <a:path w="120000" h="120000" extrusionOk="0">
                      <a:moveTo>
                        <a:pt x="73411" y="120000"/>
                      </a:moveTo>
                      <a:cubicBezTo>
                        <a:pt x="73411" y="120000"/>
                        <a:pt x="73411" y="120000"/>
                        <a:pt x="73411" y="120000"/>
                      </a:cubicBezTo>
                      <a:cubicBezTo>
                        <a:pt x="69176" y="118500"/>
                        <a:pt x="69176" y="118500"/>
                        <a:pt x="69176" y="118500"/>
                      </a:cubicBezTo>
                      <a:cubicBezTo>
                        <a:pt x="67764" y="119250"/>
                        <a:pt x="67764" y="119250"/>
                        <a:pt x="67764" y="119250"/>
                      </a:cubicBezTo>
                      <a:cubicBezTo>
                        <a:pt x="64941" y="118500"/>
                        <a:pt x="64941" y="118500"/>
                        <a:pt x="64941" y="118500"/>
                      </a:cubicBezTo>
                      <a:cubicBezTo>
                        <a:pt x="64941" y="116250"/>
                        <a:pt x="64941" y="116250"/>
                        <a:pt x="64941" y="116250"/>
                      </a:cubicBezTo>
                      <a:cubicBezTo>
                        <a:pt x="64941" y="116250"/>
                        <a:pt x="63529" y="116250"/>
                        <a:pt x="63529" y="115500"/>
                      </a:cubicBezTo>
                      <a:cubicBezTo>
                        <a:pt x="63529" y="114000"/>
                        <a:pt x="63529" y="114000"/>
                        <a:pt x="63529" y="114000"/>
                      </a:cubicBezTo>
                      <a:cubicBezTo>
                        <a:pt x="62117" y="114750"/>
                        <a:pt x="62117" y="114750"/>
                        <a:pt x="62117" y="114750"/>
                      </a:cubicBezTo>
                      <a:cubicBezTo>
                        <a:pt x="62117" y="114000"/>
                        <a:pt x="62117" y="114000"/>
                        <a:pt x="62117" y="114000"/>
                      </a:cubicBezTo>
                      <a:cubicBezTo>
                        <a:pt x="62117" y="113250"/>
                        <a:pt x="62117" y="113250"/>
                        <a:pt x="62117" y="113250"/>
                      </a:cubicBezTo>
                      <a:cubicBezTo>
                        <a:pt x="62117" y="112500"/>
                        <a:pt x="62117" y="111750"/>
                        <a:pt x="63529" y="111750"/>
                      </a:cubicBezTo>
                      <a:cubicBezTo>
                        <a:pt x="62117" y="111750"/>
                        <a:pt x="59294" y="111000"/>
                        <a:pt x="59294" y="110250"/>
                      </a:cubicBezTo>
                      <a:cubicBezTo>
                        <a:pt x="57882" y="110250"/>
                        <a:pt x="57882" y="108750"/>
                        <a:pt x="57882" y="108750"/>
                      </a:cubicBezTo>
                      <a:cubicBezTo>
                        <a:pt x="56470" y="108750"/>
                        <a:pt x="53647" y="105750"/>
                        <a:pt x="53647" y="104250"/>
                      </a:cubicBezTo>
                      <a:cubicBezTo>
                        <a:pt x="50823" y="104250"/>
                        <a:pt x="49411" y="104250"/>
                        <a:pt x="49411" y="104250"/>
                      </a:cubicBezTo>
                      <a:cubicBezTo>
                        <a:pt x="48000" y="104250"/>
                        <a:pt x="46588" y="104250"/>
                        <a:pt x="46588" y="104250"/>
                      </a:cubicBezTo>
                      <a:cubicBezTo>
                        <a:pt x="45176" y="103500"/>
                        <a:pt x="45176" y="103500"/>
                        <a:pt x="45176" y="103500"/>
                      </a:cubicBezTo>
                      <a:cubicBezTo>
                        <a:pt x="43764" y="102750"/>
                        <a:pt x="43764" y="102750"/>
                        <a:pt x="43764" y="102750"/>
                      </a:cubicBezTo>
                      <a:cubicBezTo>
                        <a:pt x="38117" y="101250"/>
                        <a:pt x="38117" y="101250"/>
                        <a:pt x="38117" y="101250"/>
                      </a:cubicBezTo>
                      <a:cubicBezTo>
                        <a:pt x="21176" y="96000"/>
                        <a:pt x="21176" y="96000"/>
                        <a:pt x="21176" y="96000"/>
                      </a:cubicBezTo>
                      <a:cubicBezTo>
                        <a:pt x="21176" y="96000"/>
                        <a:pt x="19764" y="94500"/>
                        <a:pt x="19764" y="93750"/>
                      </a:cubicBezTo>
                      <a:cubicBezTo>
                        <a:pt x="19764" y="93750"/>
                        <a:pt x="19764" y="93750"/>
                        <a:pt x="19764" y="93000"/>
                      </a:cubicBezTo>
                      <a:cubicBezTo>
                        <a:pt x="18352" y="93000"/>
                        <a:pt x="16941" y="93000"/>
                        <a:pt x="16941" y="92250"/>
                      </a:cubicBezTo>
                      <a:cubicBezTo>
                        <a:pt x="15529" y="92250"/>
                        <a:pt x="15529" y="91500"/>
                        <a:pt x="14117" y="90750"/>
                      </a:cubicBezTo>
                      <a:cubicBezTo>
                        <a:pt x="14117" y="90750"/>
                        <a:pt x="14117" y="90000"/>
                        <a:pt x="14117" y="90000"/>
                      </a:cubicBezTo>
                      <a:cubicBezTo>
                        <a:pt x="18352" y="90000"/>
                        <a:pt x="18352" y="90000"/>
                        <a:pt x="18352" y="90000"/>
                      </a:cubicBezTo>
                      <a:cubicBezTo>
                        <a:pt x="18352" y="90000"/>
                        <a:pt x="19764" y="90750"/>
                        <a:pt x="19764" y="90750"/>
                      </a:cubicBezTo>
                      <a:cubicBezTo>
                        <a:pt x="21176" y="90750"/>
                        <a:pt x="21176" y="92250"/>
                        <a:pt x="21176" y="92250"/>
                      </a:cubicBezTo>
                      <a:cubicBezTo>
                        <a:pt x="21176" y="92250"/>
                        <a:pt x="22588" y="93750"/>
                        <a:pt x="24000" y="93750"/>
                      </a:cubicBezTo>
                      <a:cubicBezTo>
                        <a:pt x="24000" y="93750"/>
                        <a:pt x="25411" y="93750"/>
                        <a:pt x="25411" y="93750"/>
                      </a:cubicBezTo>
                      <a:cubicBezTo>
                        <a:pt x="25411" y="93750"/>
                        <a:pt x="25411" y="93750"/>
                        <a:pt x="25411" y="93750"/>
                      </a:cubicBezTo>
                      <a:cubicBezTo>
                        <a:pt x="26823" y="92250"/>
                        <a:pt x="26823" y="92250"/>
                        <a:pt x="26823" y="92250"/>
                      </a:cubicBezTo>
                      <a:cubicBezTo>
                        <a:pt x="25411" y="91500"/>
                        <a:pt x="25411" y="91500"/>
                        <a:pt x="25411" y="91500"/>
                      </a:cubicBezTo>
                      <a:cubicBezTo>
                        <a:pt x="25411" y="89250"/>
                        <a:pt x="25411" y="89250"/>
                        <a:pt x="25411" y="89250"/>
                      </a:cubicBezTo>
                      <a:cubicBezTo>
                        <a:pt x="24000" y="88500"/>
                        <a:pt x="24000" y="88500"/>
                        <a:pt x="24000" y="88500"/>
                      </a:cubicBezTo>
                      <a:cubicBezTo>
                        <a:pt x="22588" y="87000"/>
                        <a:pt x="22588" y="87000"/>
                        <a:pt x="22588" y="87000"/>
                      </a:cubicBezTo>
                      <a:cubicBezTo>
                        <a:pt x="16941" y="83250"/>
                        <a:pt x="16941" y="83250"/>
                        <a:pt x="16941" y="83250"/>
                      </a:cubicBezTo>
                      <a:cubicBezTo>
                        <a:pt x="14117" y="81000"/>
                        <a:pt x="14117" y="81000"/>
                        <a:pt x="14117" y="81000"/>
                      </a:cubicBezTo>
                      <a:cubicBezTo>
                        <a:pt x="16941" y="77250"/>
                        <a:pt x="16941" y="77250"/>
                        <a:pt x="16941" y="77250"/>
                      </a:cubicBezTo>
                      <a:cubicBezTo>
                        <a:pt x="15529" y="75750"/>
                        <a:pt x="15529" y="75750"/>
                        <a:pt x="15529" y="75750"/>
                      </a:cubicBezTo>
                      <a:cubicBezTo>
                        <a:pt x="15529" y="75750"/>
                        <a:pt x="16941" y="75000"/>
                        <a:pt x="16941" y="75000"/>
                      </a:cubicBezTo>
                      <a:cubicBezTo>
                        <a:pt x="16941" y="75000"/>
                        <a:pt x="18352" y="74250"/>
                        <a:pt x="18352" y="74250"/>
                      </a:cubicBezTo>
                      <a:cubicBezTo>
                        <a:pt x="18352" y="74250"/>
                        <a:pt x="18352" y="73500"/>
                        <a:pt x="18352" y="73500"/>
                      </a:cubicBezTo>
                      <a:cubicBezTo>
                        <a:pt x="18352" y="72750"/>
                        <a:pt x="18352" y="72750"/>
                        <a:pt x="18352" y="72750"/>
                      </a:cubicBezTo>
                      <a:cubicBezTo>
                        <a:pt x="19764" y="71250"/>
                        <a:pt x="19764" y="71250"/>
                        <a:pt x="19764" y="71250"/>
                      </a:cubicBezTo>
                      <a:cubicBezTo>
                        <a:pt x="16941" y="71250"/>
                        <a:pt x="16941" y="71250"/>
                        <a:pt x="16941" y="71250"/>
                      </a:cubicBezTo>
                      <a:cubicBezTo>
                        <a:pt x="16941" y="70500"/>
                        <a:pt x="18352" y="69750"/>
                        <a:pt x="18352" y="69750"/>
                      </a:cubicBezTo>
                      <a:cubicBezTo>
                        <a:pt x="18352" y="69750"/>
                        <a:pt x="18352" y="69750"/>
                        <a:pt x="19764" y="69750"/>
                      </a:cubicBezTo>
                      <a:cubicBezTo>
                        <a:pt x="22588" y="68250"/>
                        <a:pt x="22588" y="68250"/>
                        <a:pt x="22588" y="68250"/>
                      </a:cubicBezTo>
                      <a:cubicBezTo>
                        <a:pt x="22588" y="67500"/>
                        <a:pt x="22588" y="67500"/>
                        <a:pt x="22588" y="67500"/>
                      </a:cubicBezTo>
                      <a:cubicBezTo>
                        <a:pt x="18352" y="66750"/>
                        <a:pt x="18352" y="66750"/>
                        <a:pt x="18352" y="66750"/>
                      </a:cubicBezTo>
                      <a:cubicBezTo>
                        <a:pt x="19764" y="64500"/>
                        <a:pt x="19764" y="64500"/>
                        <a:pt x="19764" y="64500"/>
                      </a:cubicBezTo>
                      <a:cubicBezTo>
                        <a:pt x="18352" y="63750"/>
                        <a:pt x="16941" y="62250"/>
                        <a:pt x="16941" y="62250"/>
                      </a:cubicBezTo>
                      <a:cubicBezTo>
                        <a:pt x="18352" y="60750"/>
                        <a:pt x="18352" y="60750"/>
                        <a:pt x="18352" y="60750"/>
                      </a:cubicBezTo>
                      <a:cubicBezTo>
                        <a:pt x="18352" y="60750"/>
                        <a:pt x="19764" y="58500"/>
                        <a:pt x="19764" y="57750"/>
                      </a:cubicBezTo>
                      <a:cubicBezTo>
                        <a:pt x="19764" y="57000"/>
                        <a:pt x="19764" y="56250"/>
                        <a:pt x="19764" y="56250"/>
                      </a:cubicBezTo>
                      <a:cubicBezTo>
                        <a:pt x="19764" y="55500"/>
                        <a:pt x="19764" y="55500"/>
                        <a:pt x="19764" y="55500"/>
                      </a:cubicBezTo>
                      <a:cubicBezTo>
                        <a:pt x="18352" y="54750"/>
                        <a:pt x="16941" y="54000"/>
                        <a:pt x="16941" y="54000"/>
                      </a:cubicBezTo>
                      <a:cubicBezTo>
                        <a:pt x="16941" y="54000"/>
                        <a:pt x="15529" y="54000"/>
                        <a:pt x="15529" y="53250"/>
                      </a:cubicBezTo>
                      <a:cubicBezTo>
                        <a:pt x="14117" y="53250"/>
                        <a:pt x="14117" y="53250"/>
                        <a:pt x="14117" y="53250"/>
                      </a:cubicBezTo>
                      <a:cubicBezTo>
                        <a:pt x="11294" y="51750"/>
                        <a:pt x="11294" y="51750"/>
                        <a:pt x="11294" y="51750"/>
                      </a:cubicBezTo>
                      <a:cubicBezTo>
                        <a:pt x="15529" y="50250"/>
                        <a:pt x="15529" y="50250"/>
                        <a:pt x="15529" y="50250"/>
                      </a:cubicBezTo>
                      <a:cubicBezTo>
                        <a:pt x="15529" y="49500"/>
                        <a:pt x="15529" y="49500"/>
                        <a:pt x="15529" y="49500"/>
                      </a:cubicBezTo>
                      <a:cubicBezTo>
                        <a:pt x="16941" y="48750"/>
                        <a:pt x="18352" y="48750"/>
                        <a:pt x="18352" y="48750"/>
                      </a:cubicBezTo>
                      <a:cubicBezTo>
                        <a:pt x="18352" y="48750"/>
                        <a:pt x="19764" y="48000"/>
                        <a:pt x="19764" y="48000"/>
                      </a:cubicBezTo>
                      <a:cubicBezTo>
                        <a:pt x="19764" y="47250"/>
                        <a:pt x="19764" y="46500"/>
                        <a:pt x="19764" y="45750"/>
                      </a:cubicBezTo>
                      <a:cubicBezTo>
                        <a:pt x="15529" y="45000"/>
                        <a:pt x="15529" y="45000"/>
                        <a:pt x="15529" y="45000"/>
                      </a:cubicBezTo>
                      <a:cubicBezTo>
                        <a:pt x="15529" y="44250"/>
                        <a:pt x="15529" y="44250"/>
                        <a:pt x="15529" y="44250"/>
                      </a:cubicBezTo>
                      <a:cubicBezTo>
                        <a:pt x="15529" y="44250"/>
                        <a:pt x="16941" y="44250"/>
                        <a:pt x="18352" y="43500"/>
                      </a:cubicBezTo>
                      <a:cubicBezTo>
                        <a:pt x="19764" y="43500"/>
                        <a:pt x="21176" y="42750"/>
                        <a:pt x="21176" y="42750"/>
                      </a:cubicBezTo>
                      <a:cubicBezTo>
                        <a:pt x="22588" y="42750"/>
                        <a:pt x="22588" y="42000"/>
                        <a:pt x="22588" y="41250"/>
                      </a:cubicBezTo>
                      <a:cubicBezTo>
                        <a:pt x="19764" y="40500"/>
                        <a:pt x="19764" y="40500"/>
                        <a:pt x="19764" y="40500"/>
                      </a:cubicBezTo>
                      <a:cubicBezTo>
                        <a:pt x="21176" y="39000"/>
                        <a:pt x="21176" y="39000"/>
                        <a:pt x="21176" y="39000"/>
                      </a:cubicBezTo>
                      <a:cubicBezTo>
                        <a:pt x="19764" y="36750"/>
                        <a:pt x="19764" y="36750"/>
                        <a:pt x="19764" y="36750"/>
                      </a:cubicBezTo>
                      <a:cubicBezTo>
                        <a:pt x="21176" y="35250"/>
                        <a:pt x="21176" y="35250"/>
                        <a:pt x="21176" y="35250"/>
                      </a:cubicBezTo>
                      <a:cubicBezTo>
                        <a:pt x="19764" y="34500"/>
                        <a:pt x="19764" y="34500"/>
                        <a:pt x="19764" y="34500"/>
                      </a:cubicBezTo>
                      <a:cubicBezTo>
                        <a:pt x="14117" y="33000"/>
                        <a:pt x="14117" y="33000"/>
                        <a:pt x="14117" y="33000"/>
                      </a:cubicBezTo>
                      <a:cubicBezTo>
                        <a:pt x="12705" y="33000"/>
                        <a:pt x="12705" y="33000"/>
                        <a:pt x="12705" y="33000"/>
                      </a:cubicBezTo>
                      <a:cubicBezTo>
                        <a:pt x="11294" y="33000"/>
                        <a:pt x="9882" y="33750"/>
                        <a:pt x="9882" y="33750"/>
                      </a:cubicBezTo>
                      <a:cubicBezTo>
                        <a:pt x="5647" y="33000"/>
                        <a:pt x="5647" y="32250"/>
                        <a:pt x="5647" y="32250"/>
                      </a:cubicBezTo>
                      <a:cubicBezTo>
                        <a:pt x="7058" y="32250"/>
                        <a:pt x="7058" y="31500"/>
                        <a:pt x="7058" y="31500"/>
                      </a:cubicBezTo>
                      <a:cubicBezTo>
                        <a:pt x="5647" y="30750"/>
                        <a:pt x="5647" y="30750"/>
                        <a:pt x="5647" y="30750"/>
                      </a:cubicBezTo>
                      <a:cubicBezTo>
                        <a:pt x="5647" y="29250"/>
                        <a:pt x="5647" y="29250"/>
                        <a:pt x="5647" y="29250"/>
                      </a:cubicBezTo>
                      <a:cubicBezTo>
                        <a:pt x="5647" y="29250"/>
                        <a:pt x="7058" y="27750"/>
                        <a:pt x="7058" y="27750"/>
                      </a:cubicBezTo>
                      <a:cubicBezTo>
                        <a:pt x="5647" y="27000"/>
                        <a:pt x="5647" y="26250"/>
                        <a:pt x="5647" y="26250"/>
                      </a:cubicBezTo>
                      <a:cubicBezTo>
                        <a:pt x="7058" y="24750"/>
                        <a:pt x="7058" y="24750"/>
                        <a:pt x="7058" y="24750"/>
                      </a:cubicBezTo>
                      <a:cubicBezTo>
                        <a:pt x="7058" y="24000"/>
                        <a:pt x="7058" y="24000"/>
                        <a:pt x="7058" y="24000"/>
                      </a:cubicBezTo>
                      <a:cubicBezTo>
                        <a:pt x="7058" y="23250"/>
                        <a:pt x="7058" y="22500"/>
                        <a:pt x="7058" y="22500"/>
                      </a:cubicBezTo>
                      <a:cubicBezTo>
                        <a:pt x="1411" y="21000"/>
                        <a:pt x="1411" y="21000"/>
                        <a:pt x="1411" y="21000"/>
                      </a:cubicBezTo>
                      <a:cubicBezTo>
                        <a:pt x="0" y="20250"/>
                        <a:pt x="0" y="20250"/>
                        <a:pt x="0" y="20250"/>
                      </a:cubicBezTo>
                      <a:cubicBezTo>
                        <a:pt x="0" y="18750"/>
                        <a:pt x="0" y="18750"/>
                        <a:pt x="0" y="18750"/>
                      </a:cubicBezTo>
                      <a:cubicBezTo>
                        <a:pt x="2823" y="17250"/>
                        <a:pt x="2823" y="17250"/>
                        <a:pt x="2823" y="17250"/>
                      </a:cubicBezTo>
                      <a:cubicBezTo>
                        <a:pt x="4235" y="15750"/>
                        <a:pt x="4235" y="15750"/>
                        <a:pt x="4235" y="15750"/>
                      </a:cubicBezTo>
                      <a:cubicBezTo>
                        <a:pt x="4235" y="15000"/>
                        <a:pt x="4235" y="15000"/>
                        <a:pt x="4235" y="14250"/>
                      </a:cubicBezTo>
                      <a:cubicBezTo>
                        <a:pt x="4235" y="14250"/>
                        <a:pt x="5647" y="13500"/>
                        <a:pt x="5647" y="13500"/>
                      </a:cubicBezTo>
                      <a:cubicBezTo>
                        <a:pt x="5647" y="12000"/>
                        <a:pt x="5647" y="12000"/>
                        <a:pt x="5647" y="12000"/>
                      </a:cubicBezTo>
                      <a:cubicBezTo>
                        <a:pt x="5647" y="11250"/>
                        <a:pt x="5647" y="11250"/>
                        <a:pt x="5647" y="11250"/>
                      </a:cubicBezTo>
                      <a:cubicBezTo>
                        <a:pt x="7058" y="10500"/>
                        <a:pt x="7058" y="10500"/>
                        <a:pt x="7058" y="10500"/>
                      </a:cubicBezTo>
                      <a:cubicBezTo>
                        <a:pt x="7058" y="10500"/>
                        <a:pt x="8470" y="9750"/>
                        <a:pt x="9882" y="9750"/>
                      </a:cubicBezTo>
                      <a:cubicBezTo>
                        <a:pt x="9882" y="9000"/>
                        <a:pt x="9882" y="8250"/>
                        <a:pt x="9882" y="8250"/>
                      </a:cubicBezTo>
                      <a:cubicBezTo>
                        <a:pt x="15529" y="3750"/>
                        <a:pt x="15529" y="3750"/>
                        <a:pt x="15529" y="3750"/>
                      </a:cubicBezTo>
                      <a:cubicBezTo>
                        <a:pt x="14117" y="3000"/>
                        <a:pt x="14117" y="3000"/>
                        <a:pt x="14117" y="3000"/>
                      </a:cubicBezTo>
                      <a:cubicBezTo>
                        <a:pt x="18352" y="0"/>
                        <a:pt x="19764" y="0"/>
                        <a:pt x="19764" y="0"/>
                      </a:cubicBezTo>
                      <a:cubicBezTo>
                        <a:pt x="21176" y="0"/>
                        <a:pt x="22588" y="0"/>
                        <a:pt x="22588" y="0"/>
                      </a:cubicBezTo>
                      <a:cubicBezTo>
                        <a:pt x="24000" y="750"/>
                        <a:pt x="24000" y="750"/>
                        <a:pt x="24000" y="750"/>
                      </a:cubicBezTo>
                      <a:cubicBezTo>
                        <a:pt x="25411" y="1500"/>
                        <a:pt x="25411" y="1500"/>
                        <a:pt x="25411" y="1500"/>
                      </a:cubicBezTo>
                      <a:cubicBezTo>
                        <a:pt x="25411" y="2250"/>
                        <a:pt x="25411" y="2250"/>
                        <a:pt x="25411" y="2250"/>
                      </a:cubicBezTo>
                      <a:cubicBezTo>
                        <a:pt x="25411" y="3000"/>
                        <a:pt x="24000" y="3000"/>
                        <a:pt x="24000" y="3750"/>
                      </a:cubicBezTo>
                      <a:cubicBezTo>
                        <a:pt x="25411" y="3750"/>
                        <a:pt x="24000" y="4500"/>
                        <a:pt x="24000" y="4500"/>
                      </a:cubicBezTo>
                      <a:cubicBezTo>
                        <a:pt x="25411" y="4500"/>
                        <a:pt x="25411" y="5250"/>
                        <a:pt x="25411" y="5250"/>
                      </a:cubicBezTo>
                      <a:cubicBezTo>
                        <a:pt x="26823" y="6000"/>
                        <a:pt x="26823" y="6000"/>
                        <a:pt x="26823" y="6000"/>
                      </a:cubicBezTo>
                      <a:cubicBezTo>
                        <a:pt x="26823" y="6750"/>
                        <a:pt x="28235" y="6750"/>
                        <a:pt x="28235" y="6750"/>
                      </a:cubicBezTo>
                      <a:cubicBezTo>
                        <a:pt x="31058" y="6000"/>
                        <a:pt x="31058" y="6000"/>
                        <a:pt x="31058" y="6000"/>
                      </a:cubicBezTo>
                      <a:cubicBezTo>
                        <a:pt x="33882" y="5250"/>
                        <a:pt x="33882" y="5250"/>
                        <a:pt x="33882" y="5250"/>
                      </a:cubicBezTo>
                      <a:cubicBezTo>
                        <a:pt x="33882" y="5250"/>
                        <a:pt x="36705" y="4500"/>
                        <a:pt x="38117" y="4500"/>
                      </a:cubicBezTo>
                      <a:cubicBezTo>
                        <a:pt x="38117" y="4500"/>
                        <a:pt x="38117" y="3750"/>
                        <a:pt x="39529" y="3000"/>
                      </a:cubicBezTo>
                      <a:cubicBezTo>
                        <a:pt x="40941" y="3000"/>
                        <a:pt x="40941" y="3000"/>
                        <a:pt x="40941" y="3000"/>
                      </a:cubicBezTo>
                      <a:cubicBezTo>
                        <a:pt x="43764" y="3000"/>
                        <a:pt x="43764" y="3000"/>
                        <a:pt x="43764" y="3000"/>
                      </a:cubicBezTo>
                      <a:cubicBezTo>
                        <a:pt x="45176" y="4500"/>
                        <a:pt x="45176" y="4500"/>
                        <a:pt x="45176" y="4500"/>
                      </a:cubicBezTo>
                      <a:cubicBezTo>
                        <a:pt x="48000" y="5250"/>
                        <a:pt x="48000" y="5250"/>
                        <a:pt x="48000" y="5250"/>
                      </a:cubicBezTo>
                      <a:cubicBezTo>
                        <a:pt x="50823" y="6750"/>
                        <a:pt x="50823" y="6750"/>
                        <a:pt x="50823" y="6750"/>
                      </a:cubicBezTo>
                      <a:cubicBezTo>
                        <a:pt x="52235" y="9000"/>
                        <a:pt x="52235" y="9000"/>
                        <a:pt x="52235" y="9000"/>
                      </a:cubicBezTo>
                      <a:cubicBezTo>
                        <a:pt x="55058" y="11250"/>
                        <a:pt x="55058" y="11250"/>
                        <a:pt x="55058" y="11250"/>
                      </a:cubicBezTo>
                      <a:cubicBezTo>
                        <a:pt x="56470" y="10500"/>
                        <a:pt x="56470" y="10500"/>
                        <a:pt x="56470" y="10500"/>
                      </a:cubicBezTo>
                      <a:cubicBezTo>
                        <a:pt x="59294" y="12000"/>
                        <a:pt x="59294" y="12000"/>
                        <a:pt x="59294" y="12000"/>
                      </a:cubicBezTo>
                      <a:cubicBezTo>
                        <a:pt x="62117" y="12750"/>
                        <a:pt x="62117" y="12750"/>
                        <a:pt x="62117" y="12750"/>
                      </a:cubicBezTo>
                      <a:cubicBezTo>
                        <a:pt x="62117" y="12750"/>
                        <a:pt x="64941" y="12750"/>
                        <a:pt x="67764" y="13500"/>
                      </a:cubicBezTo>
                      <a:cubicBezTo>
                        <a:pt x="69176" y="13500"/>
                        <a:pt x="69176" y="14250"/>
                        <a:pt x="69176" y="14250"/>
                      </a:cubicBezTo>
                      <a:cubicBezTo>
                        <a:pt x="70588" y="15750"/>
                        <a:pt x="73411" y="17250"/>
                        <a:pt x="73411" y="17250"/>
                      </a:cubicBezTo>
                      <a:cubicBezTo>
                        <a:pt x="74823" y="19500"/>
                        <a:pt x="74823" y="19500"/>
                        <a:pt x="74823" y="19500"/>
                      </a:cubicBezTo>
                      <a:cubicBezTo>
                        <a:pt x="74823" y="19500"/>
                        <a:pt x="76235" y="21000"/>
                        <a:pt x="76235" y="21750"/>
                      </a:cubicBezTo>
                      <a:cubicBezTo>
                        <a:pt x="76235" y="21750"/>
                        <a:pt x="76235" y="22500"/>
                        <a:pt x="76235" y="22500"/>
                      </a:cubicBezTo>
                      <a:cubicBezTo>
                        <a:pt x="80470" y="24750"/>
                        <a:pt x="80470" y="24750"/>
                        <a:pt x="80470" y="24750"/>
                      </a:cubicBezTo>
                      <a:cubicBezTo>
                        <a:pt x="79058" y="27000"/>
                        <a:pt x="79058" y="27000"/>
                        <a:pt x="79058" y="27000"/>
                      </a:cubicBezTo>
                      <a:cubicBezTo>
                        <a:pt x="77647" y="28500"/>
                        <a:pt x="77647" y="28500"/>
                        <a:pt x="77647" y="28500"/>
                      </a:cubicBezTo>
                      <a:cubicBezTo>
                        <a:pt x="77647" y="28500"/>
                        <a:pt x="77647" y="30000"/>
                        <a:pt x="77647" y="30000"/>
                      </a:cubicBezTo>
                      <a:cubicBezTo>
                        <a:pt x="77647" y="30000"/>
                        <a:pt x="77647" y="31500"/>
                        <a:pt x="77647" y="31500"/>
                      </a:cubicBezTo>
                      <a:cubicBezTo>
                        <a:pt x="76235" y="32250"/>
                        <a:pt x="76235" y="32250"/>
                        <a:pt x="76235" y="32250"/>
                      </a:cubicBezTo>
                      <a:cubicBezTo>
                        <a:pt x="77647" y="36000"/>
                        <a:pt x="77647" y="36000"/>
                        <a:pt x="77647" y="36000"/>
                      </a:cubicBezTo>
                      <a:cubicBezTo>
                        <a:pt x="76235" y="38250"/>
                        <a:pt x="76235" y="38250"/>
                        <a:pt x="76235" y="38250"/>
                      </a:cubicBezTo>
                      <a:cubicBezTo>
                        <a:pt x="77647" y="38250"/>
                        <a:pt x="79058" y="39000"/>
                        <a:pt x="79058" y="39750"/>
                      </a:cubicBezTo>
                      <a:cubicBezTo>
                        <a:pt x="80470" y="39750"/>
                        <a:pt x="79058" y="40500"/>
                        <a:pt x="79058" y="40500"/>
                      </a:cubicBezTo>
                      <a:cubicBezTo>
                        <a:pt x="77647" y="41250"/>
                        <a:pt x="77647" y="41250"/>
                        <a:pt x="76235" y="42000"/>
                      </a:cubicBezTo>
                      <a:cubicBezTo>
                        <a:pt x="74823" y="42000"/>
                        <a:pt x="74823" y="42000"/>
                        <a:pt x="74823" y="42000"/>
                      </a:cubicBezTo>
                      <a:cubicBezTo>
                        <a:pt x="74823" y="42750"/>
                        <a:pt x="73411" y="42750"/>
                        <a:pt x="73411" y="42750"/>
                      </a:cubicBezTo>
                      <a:cubicBezTo>
                        <a:pt x="73411" y="42750"/>
                        <a:pt x="73411" y="43500"/>
                        <a:pt x="73411" y="44250"/>
                      </a:cubicBezTo>
                      <a:cubicBezTo>
                        <a:pt x="74823" y="45000"/>
                        <a:pt x="77647" y="45750"/>
                        <a:pt x="77647" y="45750"/>
                      </a:cubicBezTo>
                      <a:cubicBezTo>
                        <a:pt x="77647" y="45750"/>
                        <a:pt x="80470" y="47250"/>
                        <a:pt x="80470" y="48000"/>
                      </a:cubicBezTo>
                      <a:cubicBezTo>
                        <a:pt x="81882" y="48000"/>
                        <a:pt x="80470" y="48750"/>
                        <a:pt x="80470" y="49500"/>
                      </a:cubicBezTo>
                      <a:cubicBezTo>
                        <a:pt x="80470" y="49500"/>
                        <a:pt x="80470" y="50250"/>
                        <a:pt x="77647" y="51000"/>
                      </a:cubicBezTo>
                      <a:cubicBezTo>
                        <a:pt x="79058" y="51750"/>
                        <a:pt x="79058" y="51750"/>
                        <a:pt x="79058" y="51750"/>
                      </a:cubicBezTo>
                      <a:cubicBezTo>
                        <a:pt x="80470" y="54000"/>
                        <a:pt x="80470" y="54000"/>
                        <a:pt x="80470" y="54000"/>
                      </a:cubicBezTo>
                      <a:cubicBezTo>
                        <a:pt x="80470" y="54000"/>
                        <a:pt x="80470" y="54750"/>
                        <a:pt x="80470" y="54750"/>
                      </a:cubicBezTo>
                      <a:cubicBezTo>
                        <a:pt x="81882" y="55500"/>
                        <a:pt x="83294" y="57000"/>
                        <a:pt x="84705" y="57000"/>
                      </a:cubicBezTo>
                      <a:cubicBezTo>
                        <a:pt x="84705" y="57000"/>
                        <a:pt x="86117" y="58500"/>
                        <a:pt x="86117" y="59250"/>
                      </a:cubicBezTo>
                      <a:cubicBezTo>
                        <a:pt x="86117" y="59250"/>
                        <a:pt x="86117" y="60000"/>
                        <a:pt x="86117" y="60000"/>
                      </a:cubicBezTo>
                      <a:cubicBezTo>
                        <a:pt x="86117" y="60000"/>
                        <a:pt x="87529" y="60000"/>
                        <a:pt x="87529" y="60000"/>
                      </a:cubicBezTo>
                      <a:cubicBezTo>
                        <a:pt x="88941" y="60750"/>
                        <a:pt x="91764" y="60750"/>
                        <a:pt x="91764" y="60750"/>
                      </a:cubicBezTo>
                      <a:cubicBezTo>
                        <a:pt x="91764" y="60750"/>
                        <a:pt x="93176" y="61500"/>
                        <a:pt x="93176" y="62250"/>
                      </a:cubicBezTo>
                      <a:cubicBezTo>
                        <a:pt x="94588" y="63000"/>
                        <a:pt x="96000" y="64500"/>
                        <a:pt x="96000" y="65250"/>
                      </a:cubicBezTo>
                      <a:cubicBezTo>
                        <a:pt x="96000" y="65250"/>
                        <a:pt x="96000" y="66000"/>
                        <a:pt x="96000" y="66000"/>
                      </a:cubicBezTo>
                      <a:cubicBezTo>
                        <a:pt x="96000" y="66750"/>
                        <a:pt x="96000" y="66750"/>
                        <a:pt x="96000" y="66750"/>
                      </a:cubicBezTo>
                      <a:cubicBezTo>
                        <a:pt x="96000" y="67500"/>
                        <a:pt x="97411" y="66750"/>
                        <a:pt x="97411" y="66750"/>
                      </a:cubicBezTo>
                      <a:cubicBezTo>
                        <a:pt x="97411" y="66750"/>
                        <a:pt x="98823" y="66000"/>
                        <a:pt x="98823" y="66000"/>
                      </a:cubicBezTo>
                      <a:cubicBezTo>
                        <a:pt x="100235" y="66000"/>
                        <a:pt x="101647" y="66000"/>
                        <a:pt x="103058" y="66000"/>
                      </a:cubicBezTo>
                      <a:cubicBezTo>
                        <a:pt x="104470" y="66000"/>
                        <a:pt x="104470" y="66000"/>
                        <a:pt x="104470" y="66000"/>
                      </a:cubicBezTo>
                      <a:cubicBezTo>
                        <a:pt x="107294" y="66000"/>
                        <a:pt x="107294" y="66000"/>
                        <a:pt x="108705" y="66000"/>
                      </a:cubicBezTo>
                      <a:cubicBezTo>
                        <a:pt x="111529" y="66750"/>
                        <a:pt x="111529" y="66750"/>
                        <a:pt x="111529" y="66750"/>
                      </a:cubicBezTo>
                      <a:cubicBezTo>
                        <a:pt x="112941" y="68250"/>
                        <a:pt x="112941" y="68250"/>
                        <a:pt x="112941" y="68250"/>
                      </a:cubicBezTo>
                      <a:cubicBezTo>
                        <a:pt x="112941" y="68250"/>
                        <a:pt x="114352" y="68250"/>
                        <a:pt x="114352" y="68250"/>
                      </a:cubicBezTo>
                      <a:cubicBezTo>
                        <a:pt x="115764" y="69750"/>
                        <a:pt x="115764" y="69750"/>
                        <a:pt x="115764" y="69750"/>
                      </a:cubicBezTo>
                      <a:cubicBezTo>
                        <a:pt x="118588" y="72000"/>
                        <a:pt x="118588" y="72000"/>
                        <a:pt x="118588" y="72000"/>
                      </a:cubicBezTo>
                      <a:cubicBezTo>
                        <a:pt x="120000" y="78000"/>
                        <a:pt x="120000" y="78000"/>
                        <a:pt x="120000" y="78000"/>
                      </a:cubicBezTo>
                      <a:cubicBezTo>
                        <a:pt x="117176" y="78000"/>
                        <a:pt x="114352" y="79500"/>
                        <a:pt x="112941" y="80250"/>
                      </a:cubicBezTo>
                      <a:cubicBezTo>
                        <a:pt x="108705" y="86250"/>
                        <a:pt x="108705" y="86250"/>
                        <a:pt x="108705" y="86250"/>
                      </a:cubicBezTo>
                      <a:cubicBezTo>
                        <a:pt x="105882" y="93000"/>
                        <a:pt x="105882" y="93000"/>
                        <a:pt x="105882" y="93000"/>
                      </a:cubicBezTo>
                      <a:cubicBezTo>
                        <a:pt x="98823" y="99000"/>
                        <a:pt x="98823" y="99000"/>
                        <a:pt x="98823" y="99000"/>
                      </a:cubicBezTo>
                      <a:cubicBezTo>
                        <a:pt x="88941" y="102000"/>
                        <a:pt x="88941" y="102000"/>
                        <a:pt x="88941" y="102000"/>
                      </a:cubicBezTo>
                      <a:cubicBezTo>
                        <a:pt x="87529" y="102000"/>
                        <a:pt x="87529" y="102000"/>
                        <a:pt x="87529" y="102000"/>
                      </a:cubicBezTo>
                      <a:cubicBezTo>
                        <a:pt x="87529" y="102000"/>
                        <a:pt x="86117" y="102750"/>
                        <a:pt x="86117" y="102750"/>
                      </a:cubicBezTo>
                      <a:cubicBezTo>
                        <a:pt x="84705" y="105000"/>
                        <a:pt x="84705" y="105000"/>
                        <a:pt x="84705" y="105000"/>
                      </a:cubicBezTo>
                      <a:cubicBezTo>
                        <a:pt x="83294" y="105750"/>
                        <a:pt x="83294" y="105750"/>
                        <a:pt x="83294" y="105750"/>
                      </a:cubicBezTo>
                      <a:cubicBezTo>
                        <a:pt x="81882" y="105750"/>
                        <a:pt x="81882" y="105750"/>
                        <a:pt x="81882" y="105750"/>
                      </a:cubicBezTo>
                      <a:cubicBezTo>
                        <a:pt x="81882" y="106500"/>
                        <a:pt x="81882" y="106500"/>
                        <a:pt x="81882" y="106500"/>
                      </a:cubicBezTo>
                      <a:cubicBezTo>
                        <a:pt x="81882" y="107250"/>
                        <a:pt x="81882" y="107250"/>
                        <a:pt x="81882" y="108000"/>
                      </a:cubicBezTo>
                      <a:cubicBezTo>
                        <a:pt x="81882" y="108000"/>
                        <a:pt x="81882" y="108000"/>
                        <a:pt x="81882" y="108750"/>
                      </a:cubicBezTo>
                      <a:cubicBezTo>
                        <a:pt x="81882" y="108750"/>
                        <a:pt x="83294" y="108750"/>
                        <a:pt x="83294" y="109500"/>
                      </a:cubicBezTo>
                      <a:cubicBezTo>
                        <a:pt x="83294" y="109500"/>
                        <a:pt x="84705" y="110250"/>
                        <a:pt x="86117" y="110250"/>
                      </a:cubicBezTo>
                      <a:cubicBezTo>
                        <a:pt x="87529" y="111000"/>
                        <a:pt x="88941" y="111000"/>
                        <a:pt x="88941" y="111000"/>
                      </a:cubicBezTo>
                      <a:cubicBezTo>
                        <a:pt x="90352" y="112500"/>
                        <a:pt x="90352" y="112500"/>
                        <a:pt x="90352" y="112500"/>
                      </a:cubicBezTo>
                      <a:cubicBezTo>
                        <a:pt x="88941" y="113250"/>
                        <a:pt x="87529" y="113250"/>
                        <a:pt x="86117" y="113250"/>
                      </a:cubicBezTo>
                      <a:cubicBezTo>
                        <a:pt x="86117" y="113250"/>
                        <a:pt x="84705" y="113250"/>
                        <a:pt x="84705" y="113250"/>
                      </a:cubicBezTo>
                      <a:cubicBezTo>
                        <a:pt x="83294" y="113250"/>
                        <a:pt x="83294" y="113250"/>
                        <a:pt x="81882" y="113250"/>
                      </a:cubicBezTo>
                      <a:cubicBezTo>
                        <a:pt x="81882" y="113250"/>
                        <a:pt x="81882" y="114000"/>
                        <a:pt x="81882" y="114750"/>
                      </a:cubicBezTo>
                      <a:cubicBezTo>
                        <a:pt x="83294" y="115500"/>
                        <a:pt x="83294" y="115500"/>
                        <a:pt x="83294" y="115500"/>
                      </a:cubicBezTo>
                      <a:cubicBezTo>
                        <a:pt x="83294" y="115500"/>
                        <a:pt x="83294" y="117000"/>
                        <a:pt x="83294" y="117000"/>
                      </a:cubicBezTo>
                      <a:cubicBezTo>
                        <a:pt x="83294" y="117000"/>
                        <a:pt x="83294" y="117750"/>
                        <a:pt x="80470" y="118500"/>
                      </a:cubicBezTo>
                      <a:cubicBezTo>
                        <a:pt x="79058" y="120000"/>
                        <a:pt x="79058" y="120000"/>
                        <a:pt x="79058" y="120000"/>
                      </a:cubicBezTo>
                      <a:cubicBezTo>
                        <a:pt x="73411" y="120000"/>
                        <a:pt x="73411" y="120000"/>
                        <a:pt x="73411" y="120000"/>
                      </a:cubicBezTo>
                      <a:cubicBezTo>
                        <a:pt x="73411" y="120000"/>
                        <a:pt x="73411" y="120000"/>
                        <a:pt x="73411" y="120000"/>
                      </a:cubicBezTo>
                      <a:close/>
                      <a:moveTo>
                        <a:pt x="69176" y="118500"/>
                      </a:moveTo>
                      <a:cubicBezTo>
                        <a:pt x="69176" y="118500"/>
                        <a:pt x="69176" y="118500"/>
                        <a:pt x="69176" y="118500"/>
                      </a:cubicBezTo>
                      <a:cubicBezTo>
                        <a:pt x="73411" y="119250"/>
                        <a:pt x="73411" y="119250"/>
                        <a:pt x="73411" y="119250"/>
                      </a:cubicBezTo>
                      <a:cubicBezTo>
                        <a:pt x="77647" y="119250"/>
                        <a:pt x="77647" y="119250"/>
                        <a:pt x="77647" y="119250"/>
                      </a:cubicBezTo>
                      <a:cubicBezTo>
                        <a:pt x="80470" y="118500"/>
                        <a:pt x="80470" y="118500"/>
                        <a:pt x="80470" y="118500"/>
                      </a:cubicBezTo>
                      <a:cubicBezTo>
                        <a:pt x="81882" y="117750"/>
                        <a:pt x="83294" y="117000"/>
                        <a:pt x="83294" y="117000"/>
                      </a:cubicBezTo>
                      <a:cubicBezTo>
                        <a:pt x="83294" y="117000"/>
                        <a:pt x="81882" y="115500"/>
                        <a:pt x="81882" y="115500"/>
                      </a:cubicBezTo>
                      <a:cubicBezTo>
                        <a:pt x="81882" y="114750"/>
                        <a:pt x="81882" y="114750"/>
                        <a:pt x="81882" y="114750"/>
                      </a:cubicBezTo>
                      <a:cubicBezTo>
                        <a:pt x="81882" y="114750"/>
                        <a:pt x="80470" y="114000"/>
                        <a:pt x="80470" y="113250"/>
                      </a:cubicBezTo>
                      <a:cubicBezTo>
                        <a:pt x="80470" y="113250"/>
                        <a:pt x="81882" y="112500"/>
                        <a:pt x="81882" y="112500"/>
                      </a:cubicBezTo>
                      <a:cubicBezTo>
                        <a:pt x="83294" y="112500"/>
                        <a:pt x="83294" y="112500"/>
                        <a:pt x="83294" y="112500"/>
                      </a:cubicBezTo>
                      <a:cubicBezTo>
                        <a:pt x="83294" y="112500"/>
                        <a:pt x="84705" y="112500"/>
                        <a:pt x="84705" y="112500"/>
                      </a:cubicBezTo>
                      <a:cubicBezTo>
                        <a:pt x="86117" y="113250"/>
                        <a:pt x="86117" y="113250"/>
                        <a:pt x="86117" y="113250"/>
                      </a:cubicBezTo>
                      <a:cubicBezTo>
                        <a:pt x="86117" y="113250"/>
                        <a:pt x="86117" y="113250"/>
                        <a:pt x="86117" y="113250"/>
                      </a:cubicBezTo>
                      <a:cubicBezTo>
                        <a:pt x="87529" y="113250"/>
                        <a:pt x="88941" y="112500"/>
                        <a:pt x="88941" y="111750"/>
                      </a:cubicBezTo>
                      <a:cubicBezTo>
                        <a:pt x="88941" y="111750"/>
                        <a:pt x="88941" y="111750"/>
                        <a:pt x="88941" y="111750"/>
                      </a:cubicBezTo>
                      <a:cubicBezTo>
                        <a:pt x="87529" y="111750"/>
                        <a:pt x="87529" y="111000"/>
                        <a:pt x="86117" y="111000"/>
                      </a:cubicBezTo>
                      <a:cubicBezTo>
                        <a:pt x="83294" y="110250"/>
                        <a:pt x="81882" y="109500"/>
                        <a:pt x="81882" y="109500"/>
                      </a:cubicBezTo>
                      <a:cubicBezTo>
                        <a:pt x="81882" y="109500"/>
                        <a:pt x="81882" y="108750"/>
                        <a:pt x="81882" y="108750"/>
                      </a:cubicBezTo>
                      <a:cubicBezTo>
                        <a:pt x="80470" y="108750"/>
                        <a:pt x="80470" y="108000"/>
                        <a:pt x="80470" y="108000"/>
                      </a:cubicBezTo>
                      <a:cubicBezTo>
                        <a:pt x="80470" y="107250"/>
                        <a:pt x="80470" y="106500"/>
                        <a:pt x="80470" y="106500"/>
                      </a:cubicBezTo>
                      <a:cubicBezTo>
                        <a:pt x="80470" y="105750"/>
                        <a:pt x="80470" y="105750"/>
                        <a:pt x="80470" y="105750"/>
                      </a:cubicBezTo>
                      <a:cubicBezTo>
                        <a:pt x="80470" y="105750"/>
                        <a:pt x="81882" y="105000"/>
                        <a:pt x="83294" y="105000"/>
                      </a:cubicBezTo>
                      <a:cubicBezTo>
                        <a:pt x="84705" y="105000"/>
                        <a:pt x="84705" y="105000"/>
                        <a:pt x="84705" y="105000"/>
                      </a:cubicBezTo>
                      <a:cubicBezTo>
                        <a:pt x="86117" y="102750"/>
                        <a:pt x="86117" y="102750"/>
                        <a:pt x="86117" y="102750"/>
                      </a:cubicBezTo>
                      <a:cubicBezTo>
                        <a:pt x="86117" y="102750"/>
                        <a:pt x="86117" y="102000"/>
                        <a:pt x="87529" y="102000"/>
                      </a:cubicBezTo>
                      <a:cubicBezTo>
                        <a:pt x="88941" y="102000"/>
                        <a:pt x="88941" y="102000"/>
                        <a:pt x="88941" y="102000"/>
                      </a:cubicBezTo>
                      <a:cubicBezTo>
                        <a:pt x="88941" y="102000"/>
                        <a:pt x="88941" y="102000"/>
                        <a:pt x="88941" y="102000"/>
                      </a:cubicBezTo>
                      <a:cubicBezTo>
                        <a:pt x="98823" y="99000"/>
                        <a:pt x="98823" y="99000"/>
                        <a:pt x="98823" y="99000"/>
                      </a:cubicBezTo>
                      <a:cubicBezTo>
                        <a:pt x="105882" y="93000"/>
                        <a:pt x="105882" y="93000"/>
                        <a:pt x="105882" y="93000"/>
                      </a:cubicBezTo>
                      <a:cubicBezTo>
                        <a:pt x="107294" y="86250"/>
                        <a:pt x="107294" y="86250"/>
                        <a:pt x="107294" y="86250"/>
                      </a:cubicBezTo>
                      <a:cubicBezTo>
                        <a:pt x="111529" y="80250"/>
                        <a:pt x="111529" y="80250"/>
                        <a:pt x="111529" y="80250"/>
                      </a:cubicBezTo>
                      <a:cubicBezTo>
                        <a:pt x="112941" y="79500"/>
                        <a:pt x="117176" y="78000"/>
                        <a:pt x="118588" y="78000"/>
                      </a:cubicBezTo>
                      <a:cubicBezTo>
                        <a:pt x="118588" y="77250"/>
                        <a:pt x="118588" y="75000"/>
                        <a:pt x="117176" y="72000"/>
                      </a:cubicBezTo>
                      <a:cubicBezTo>
                        <a:pt x="114352" y="69750"/>
                        <a:pt x="114352" y="69750"/>
                        <a:pt x="114352" y="69750"/>
                      </a:cubicBezTo>
                      <a:cubicBezTo>
                        <a:pt x="114352" y="68250"/>
                        <a:pt x="114352" y="68250"/>
                        <a:pt x="114352" y="68250"/>
                      </a:cubicBezTo>
                      <a:cubicBezTo>
                        <a:pt x="114352" y="69000"/>
                        <a:pt x="112941" y="69000"/>
                        <a:pt x="112941" y="68250"/>
                      </a:cubicBezTo>
                      <a:cubicBezTo>
                        <a:pt x="112941" y="68250"/>
                        <a:pt x="111529" y="68250"/>
                        <a:pt x="111529" y="68250"/>
                      </a:cubicBezTo>
                      <a:cubicBezTo>
                        <a:pt x="111529" y="67500"/>
                        <a:pt x="111529" y="67500"/>
                        <a:pt x="111529" y="67500"/>
                      </a:cubicBezTo>
                      <a:cubicBezTo>
                        <a:pt x="107294" y="66750"/>
                        <a:pt x="107294" y="66750"/>
                        <a:pt x="107294" y="66750"/>
                      </a:cubicBezTo>
                      <a:cubicBezTo>
                        <a:pt x="107294" y="66750"/>
                        <a:pt x="107294" y="66750"/>
                        <a:pt x="105882" y="66750"/>
                      </a:cubicBezTo>
                      <a:cubicBezTo>
                        <a:pt x="105882" y="66750"/>
                        <a:pt x="104470" y="66750"/>
                        <a:pt x="104470" y="66750"/>
                      </a:cubicBezTo>
                      <a:cubicBezTo>
                        <a:pt x="101647" y="66000"/>
                        <a:pt x="100235" y="66000"/>
                        <a:pt x="100235" y="66750"/>
                      </a:cubicBezTo>
                      <a:cubicBezTo>
                        <a:pt x="98823" y="66750"/>
                        <a:pt x="98823" y="66750"/>
                        <a:pt x="97411" y="67500"/>
                      </a:cubicBezTo>
                      <a:cubicBezTo>
                        <a:pt x="97411" y="67500"/>
                        <a:pt x="97411" y="67500"/>
                        <a:pt x="97411" y="67500"/>
                      </a:cubicBezTo>
                      <a:cubicBezTo>
                        <a:pt x="96000" y="68250"/>
                        <a:pt x="96000" y="67500"/>
                        <a:pt x="96000" y="67500"/>
                      </a:cubicBezTo>
                      <a:cubicBezTo>
                        <a:pt x="96000" y="67500"/>
                        <a:pt x="96000" y="67500"/>
                        <a:pt x="94588" y="67500"/>
                      </a:cubicBezTo>
                      <a:cubicBezTo>
                        <a:pt x="94588" y="66000"/>
                        <a:pt x="94588" y="66000"/>
                        <a:pt x="94588" y="66000"/>
                      </a:cubicBezTo>
                      <a:cubicBezTo>
                        <a:pt x="94588" y="66000"/>
                        <a:pt x="94588" y="65250"/>
                        <a:pt x="94588" y="65250"/>
                      </a:cubicBezTo>
                      <a:cubicBezTo>
                        <a:pt x="94588" y="64500"/>
                        <a:pt x="93176" y="63000"/>
                        <a:pt x="93176" y="62250"/>
                      </a:cubicBezTo>
                      <a:cubicBezTo>
                        <a:pt x="91764" y="61500"/>
                        <a:pt x="91764" y="61500"/>
                        <a:pt x="91764" y="60750"/>
                      </a:cubicBezTo>
                      <a:cubicBezTo>
                        <a:pt x="91764" y="60750"/>
                        <a:pt x="88941" y="60750"/>
                        <a:pt x="88941" y="60750"/>
                      </a:cubicBezTo>
                      <a:cubicBezTo>
                        <a:pt x="87529" y="60750"/>
                        <a:pt x="86117" y="60750"/>
                        <a:pt x="86117" y="60750"/>
                      </a:cubicBezTo>
                      <a:cubicBezTo>
                        <a:pt x="84705" y="60000"/>
                        <a:pt x="84705" y="59250"/>
                        <a:pt x="86117" y="58500"/>
                      </a:cubicBezTo>
                      <a:cubicBezTo>
                        <a:pt x="86117" y="58500"/>
                        <a:pt x="84705" y="57750"/>
                        <a:pt x="83294" y="57000"/>
                      </a:cubicBezTo>
                      <a:cubicBezTo>
                        <a:pt x="83294" y="57000"/>
                        <a:pt x="80470" y="54750"/>
                        <a:pt x="80470" y="54750"/>
                      </a:cubicBezTo>
                      <a:cubicBezTo>
                        <a:pt x="80470" y="54750"/>
                        <a:pt x="79058" y="54750"/>
                        <a:pt x="79058" y="54000"/>
                      </a:cubicBezTo>
                      <a:cubicBezTo>
                        <a:pt x="77647" y="51000"/>
                        <a:pt x="77647" y="51000"/>
                        <a:pt x="77647" y="51000"/>
                      </a:cubicBezTo>
                      <a:cubicBezTo>
                        <a:pt x="79058" y="50250"/>
                        <a:pt x="79058" y="49500"/>
                        <a:pt x="79058" y="49500"/>
                      </a:cubicBezTo>
                      <a:cubicBezTo>
                        <a:pt x="80470" y="48750"/>
                        <a:pt x="80470" y="48000"/>
                        <a:pt x="80470" y="48000"/>
                      </a:cubicBezTo>
                      <a:cubicBezTo>
                        <a:pt x="80470" y="48000"/>
                        <a:pt x="77647" y="46500"/>
                        <a:pt x="76235" y="46500"/>
                      </a:cubicBezTo>
                      <a:cubicBezTo>
                        <a:pt x="76235" y="46500"/>
                        <a:pt x="73411" y="45000"/>
                        <a:pt x="73411" y="44250"/>
                      </a:cubicBezTo>
                      <a:cubicBezTo>
                        <a:pt x="72000" y="43500"/>
                        <a:pt x="72000" y="42750"/>
                        <a:pt x="72000" y="42750"/>
                      </a:cubicBezTo>
                      <a:cubicBezTo>
                        <a:pt x="73411" y="42000"/>
                        <a:pt x="73411" y="42000"/>
                        <a:pt x="74823" y="42000"/>
                      </a:cubicBezTo>
                      <a:cubicBezTo>
                        <a:pt x="76235" y="41250"/>
                        <a:pt x="76235" y="41250"/>
                        <a:pt x="76235" y="41250"/>
                      </a:cubicBezTo>
                      <a:cubicBezTo>
                        <a:pt x="76235" y="41250"/>
                        <a:pt x="77647" y="40500"/>
                        <a:pt x="77647" y="40500"/>
                      </a:cubicBezTo>
                      <a:cubicBezTo>
                        <a:pt x="77647" y="39750"/>
                        <a:pt x="77647" y="39750"/>
                        <a:pt x="77647" y="39750"/>
                      </a:cubicBezTo>
                      <a:cubicBezTo>
                        <a:pt x="77647" y="39750"/>
                        <a:pt x="76235" y="38250"/>
                        <a:pt x="76235" y="38250"/>
                      </a:cubicBezTo>
                      <a:cubicBezTo>
                        <a:pt x="77647" y="36000"/>
                        <a:pt x="77647" y="36000"/>
                        <a:pt x="77647" y="36000"/>
                      </a:cubicBezTo>
                      <a:cubicBezTo>
                        <a:pt x="76235" y="35250"/>
                        <a:pt x="76235" y="35250"/>
                        <a:pt x="76235" y="35250"/>
                      </a:cubicBezTo>
                      <a:cubicBezTo>
                        <a:pt x="76235" y="32250"/>
                        <a:pt x="76235" y="32250"/>
                        <a:pt x="76235" y="32250"/>
                      </a:cubicBezTo>
                      <a:cubicBezTo>
                        <a:pt x="76235" y="31500"/>
                        <a:pt x="76235" y="31500"/>
                        <a:pt x="76235" y="31500"/>
                      </a:cubicBezTo>
                      <a:cubicBezTo>
                        <a:pt x="76235" y="30750"/>
                        <a:pt x="76235" y="30000"/>
                        <a:pt x="76235" y="30000"/>
                      </a:cubicBezTo>
                      <a:cubicBezTo>
                        <a:pt x="76235" y="29250"/>
                        <a:pt x="77647" y="28500"/>
                        <a:pt x="77647" y="27750"/>
                      </a:cubicBezTo>
                      <a:cubicBezTo>
                        <a:pt x="77647" y="26250"/>
                        <a:pt x="77647" y="26250"/>
                        <a:pt x="77647" y="26250"/>
                      </a:cubicBezTo>
                      <a:cubicBezTo>
                        <a:pt x="79058" y="24750"/>
                        <a:pt x="79058" y="24750"/>
                        <a:pt x="79058" y="24750"/>
                      </a:cubicBezTo>
                      <a:cubicBezTo>
                        <a:pt x="76235" y="22500"/>
                        <a:pt x="76235" y="22500"/>
                        <a:pt x="76235" y="22500"/>
                      </a:cubicBezTo>
                      <a:cubicBezTo>
                        <a:pt x="76235" y="22500"/>
                        <a:pt x="76235" y="22500"/>
                        <a:pt x="74823" y="21750"/>
                      </a:cubicBezTo>
                      <a:cubicBezTo>
                        <a:pt x="74823" y="21000"/>
                        <a:pt x="73411" y="19500"/>
                        <a:pt x="73411" y="19500"/>
                      </a:cubicBezTo>
                      <a:cubicBezTo>
                        <a:pt x="72000" y="18000"/>
                        <a:pt x="72000" y="18000"/>
                        <a:pt x="72000" y="18000"/>
                      </a:cubicBezTo>
                      <a:cubicBezTo>
                        <a:pt x="72000" y="17250"/>
                        <a:pt x="69176" y="15750"/>
                        <a:pt x="69176" y="15750"/>
                      </a:cubicBezTo>
                      <a:cubicBezTo>
                        <a:pt x="69176" y="15000"/>
                        <a:pt x="67764" y="15000"/>
                        <a:pt x="67764" y="15000"/>
                      </a:cubicBezTo>
                      <a:cubicBezTo>
                        <a:pt x="67764" y="14250"/>
                        <a:pt x="67764" y="14250"/>
                        <a:pt x="66352" y="14250"/>
                      </a:cubicBezTo>
                      <a:cubicBezTo>
                        <a:pt x="64941" y="13500"/>
                        <a:pt x="62117" y="12750"/>
                        <a:pt x="62117" y="12750"/>
                      </a:cubicBezTo>
                      <a:cubicBezTo>
                        <a:pt x="59294" y="12750"/>
                        <a:pt x="59294" y="12750"/>
                        <a:pt x="59294" y="12750"/>
                      </a:cubicBezTo>
                      <a:cubicBezTo>
                        <a:pt x="56470" y="11250"/>
                        <a:pt x="56470" y="11250"/>
                        <a:pt x="56470" y="11250"/>
                      </a:cubicBezTo>
                      <a:cubicBezTo>
                        <a:pt x="55058" y="12000"/>
                        <a:pt x="55058" y="12000"/>
                        <a:pt x="55058" y="12000"/>
                      </a:cubicBezTo>
                      <a:cubicBezTo>
                        <a:pt x="50823" y="9000"/>
                        <a:pt x="50823" y="9000"/>
                        <a:pt x="50823" y="9000"/>
                      </a:cubicBezTo>
                      <a:cubicBezTo>
                        <a:pt x="50823" y="6750"/>
                        <a:pt x="50823" y="6750"/>
                        <a:pt x="50823" y="6750"/>
                      </a:cubicBezTo>
                      <a:cubicBezTo>
                        <a:pt x="40941" y="3000"/>
                        <a:pt x="40941" y="3000"/>
                        <a:pt x="40941" y="3000"/>
                      </a:cubicBezTo>
                      <a:cubicBezTo>
                        <a:pt x="39529" y="3750"/>
                        <a:pt x="39529" y="3750"/>
                        <a:pt x="39529" y="3750"/>
                      </a:cubicBezTo>
                      <a:cubicBezTo>
                        <a:pt x="39529" y="3750"/>
                        <a:pt x="38117" y="4500"/>
                        <a:pt x="38117" y="4500"/>
                      </a:cubicBezTo>
                      <a:cubicBezTo>
                        <a:pt x="38117" y="5250"/>
                        <a:pt x="33882" y="5250"/>
                        <a:pt x="33882" y="5250"/>
                      </a:cubicBezTo>
                      <a:cubicBezTo>
                        <a:pt x="32470" y="6750"/>
                        <a:pt x="32470" y="6750"/>
                        <a:pt x="32470" y="6750"/>
                      </a:cubicBezTo>
                      <a:cubicBezTo>
                        <a:pt x="28235" y="7500"/>
                        <a:pt x="28235" y="7500"/>
                        <a:pt x="28235" y="7500"/>
                      </a:cubicBezTo>
                      <a:cubicBezTo>
                        <a:pt x="28235" y="7500"/>
                        <a:pt x="26823" y="7500"/>
                        <a:pt x="26823" y="7500"/>
                      </a:cubicBezTo>
                      <a:cubicBezTo>
                        <a:pt x="26823" y="6750"/>
                        <a:pt x="25411" y="6750"/>
                        <a:pt x="25411" y="6750"/>
                      </a:cubicBezTo>
                      <a:cubicBezTo>
                        <a:pt x="25411" y="6000"/>
                        <a:pt x="25411" y="6000"/>
                        <a:pt x="25411" y="6000"/>
                      </a:cubicBezTo>
                      <a:cubicBezTo>
                        <a:pt x="24000" y="5250"/>
                        <a:pt x="24000" y="4500"/>
                        <a:pt x="24000" y="4500"/>
                      </a:cubicBezTo>
                      <a:cubicBezTo>
                        <a:pt x="24000" y="3750"/>
                        <a:pt x="24000" y="3750"/>
                        <a:pt x="24000" y="3750"/>
                      </a:cubicBezTo>
                      <a:cubicBezTo>
                        <a:pt x="24000" y="3000"/>
                        <a:pt x="24000" y="3000"/>
                        <a:pt x="24000" y="2250"/>
                      </a:cubicBezTo>
                      <a:cubicBezTo>
                        <a:pt x="24000" y="1500"/>
                        <a:pt x="24000" y="1500"/>
                        <a:pt x="24000" y="1500"/>
                      </a:cubicBezTo>
                      <a:cubicBezTo>
                        <a:pt x="21176" y="750"/>
                        <a:pt x="21176" y="750"/>
                        <a:pt x="21176" y="750"/>
                      </a:cubicBezTo>
                      <a:cubicBezTo>
                        <a:pt x="21176" y="750"/>
                        <a:pt x="19764" y="0"/>
                        <a:pt x="19764" y="0"/>
                      </a:cubicBezTo>
                      <a:cubicBezTo>
                        <a:pt x="19764" y="750"/>
                        <a:pt x="16941" y="1500"/>
                        <a:pt x="15529" y="3000"/>
                      </a:cubicBezTo>
                      <a:cubicBezTo>
                        <a:pt x="15529" y="3750"/>
                        <a:pt x="15529" y="3750"/>
                        <a:pt x="15529" y="3750"/>
                      </a:cubicBezTo>
                      <a:cubicBezTo>
                        <a:pt x="12705" y="6750"/>
                        <a:pt x="12705" y="6750"/>
                        <a:pt x="12705" y="6750"/>
                      </a:cubicBezTo>
                      <a:cubicBezTo>
                        <a:pt x="11294" y="9000"/>
                        <a:pt x="11294" y="9000"/>
                        <a:pt x="11294" y="9000"/>
                      </a:cubicBezTo>
                      <a:cubicBezTo>
                        <a:pt x="11294" y="9000"/>
                        <a:pt x="11294" y="9750"/>
                        <a:pt x="9882" y="9750"/>
                      </a:cubicBezTo>
                      <a:cubicBezTo>
                        <a:pt x="9882" y="10500"/>
                        <a:pt x="8470" y="11250"/>
                        <a:pt x="8470" y="11250"/>
                      </a:cubicBezTo>
                      <a:cubicBezTo>
                        <a:pt x="7058" y="11250"/>
                        <a:pt x="7058" y="11250"/>
                        <a:pt x="7058" y="11250"/>
                      </a:cubicBezTo>
                      <a:cubicBezTo>
                        <a:pt x="5647" y="12000"/>
                        <a:pt x="5647" y="12000"/>
                        <a:pt x="5647" y="12000"/>
                      </a:cubicBezTo>
                      <a:cubicBezTo>
                        <a:pt x="7058" y="13500"/>
                        <a:pt x="7058" y="13500"/>
                        <a:pt x="7058" y="13500"/>
                      </a:cubicBezTo>
                      <a:cubicBezTo>
                        <a:pt x="5647" y="13500"/>
                        <a:pt x="5647" y="14250"/>
                        <a:pt x="5647" y="15000"/>
                      </a:cubicBezTo>
                      <a:cubicBezTo>
                        <a:pt x="5647" y="15000"/>
                        <a:pt x="5647" y="15000"/>
                        <a:pt x="4235" y="15750"/>
                      </a:cubicBezTo>
                      <a:cubicBezTo>
                        <a:pt x="4235" y="17250"/>
                        <a:pt x="4235" y="17250"/>
                        <a:pt x="4235" y="17250"/>
                      </a:cubicBezTo>
                      <a:cubicBezTo>
                        <a:pt x="0" y="19500"/>
                        <a:pt x="0" y="19500"/>
                        <a:pt x="0" y="19500"/>
                      </a:cubicBezTo>
                      <a:cubicBezTo>
                        <a:pt x="0" y="20250"/>
                        <a:pt x="0" y="20250"/>
                        <a:pt x="0" y="20250"/>
                      </a:cubicBezTo>
                      <a:cubicBezTo>
                        <a:pt x="1411" y="21000"/>
                        <a:pt x="1411" y="21000"/>
                        <a:pt x="1411" y="21000"/>
                      </a:cubicBezTo>
                      <a:cubicBezTo>
                        <a:pt x="7058" y="22500"/>
                        <a:pt x="7058" y="22500"/>
                        <a:pt x="7058" y="22500"/>
                      </a:cubicBezTo>
                      <a:cubicBezTo>
                        <a:pt x="8470" y="22500"/>
                        <a:pt x="8470" y="23250"/>
                        <a:pt x="8470" y="24000"/>
                      </a:cubicBezTo>
                      <a:cubicBezTo>
                        <a:pt x="8470" y="24000"/>
                        <a:pt x="7058" y="24750"/>
                        <a:pt x="7058" y="24750"/>
                      </a:cubicBezTo>
                      <a:cubicBezTo>
                        <a:pt x="7058" y="26250"/>
                        <a:pt x="7058" y="26250"/>
                        <a:pt x="7058" y="26250"/>
                      </a:cubicBezTo>
                      <a:cubicBezTo>
                        <a:pt x="7058" y="26250"/>
                        <a:pt x="7058" y="27000"/>
                        <a:pt x="7058" y="27000"/>
                      </a:cubicBezTo>
                      <a:cubicBezTo>
                        <a:pt x="7058" y="27000"/>
                        <a:pt x="8470" y="27750"/>
                        <a:pt x="8470" y="27750"/>
                      </a:cubicBezTo>
                      <a:cubicBezTo>
                        <a:pt x="8470" y="28500"/>
                        <a:pt x="7058" y="29250"/>
                        <a:pt x="7058" y="29250"/>
                      </a:cubicBezTo>
                      <a:cubicBezTo>
                        <a:pt x="5647" y="30000"/>
                        <a:pt x="5647" y="30000"/>
                        <a:pt x="5647" y="30000"/>
                      </a:cubicBezTo>
                      <a:cubicBezTo>
                        <a:pt x="7058" y="30750"/>
                        <a:pt x="7058" y="30750"/>
                        <a:pt x="7058" y="30750"/>
                      </a:cubicBezTo>
                      <a:cubicBezTo>
                        <a:pt x="7058" y="30750"/>
                        <a:pt x="7058" y="32250"/>
                        <a:pt x="7058" y="32250"/>
                      </a:cubicBezTo>
                      <a:cubicBezTo>
                        <a:pt x="7058" y="32250"/>
                        <a:pt x="8470" y="33000"/>
                        <a:pt x="9882" y="33000"/>
                      </a:cubicBezTo>
                      <a:cubicBezTo>
                        <a:pt x="9882" y="33000"/>
                        <a:pt x="9882" y="33000"/>
                        <a:pt x="11294" y="33000"/>
                      </a:cubicBezTo>
                      <a:cubicBezTo>
                        <a:pt x="12705" y="33000"/>
                        <a:pt x="12705" y="33000"/>
                        <a:pt x="12705" y="33000"/>
                      </a:cubicBezTo>
                      <a:cubicBezTo>
                        <a:pt x="14117" y="33000"/>
                        <a:pt x="14117" y="33000"/>
                        <a:pt x="14117" y="33000"/>
                      </a:cubicBezTo>
                      <a:cubicBezTo>
                        <a:pt x="19764" y="33750"/>
                        <a:pt x="19764" y="33750"/>
                        <a:pt x="19764" y="33750"/>
                      </a:cubicBezTo>
                      <a:cubicBezTo>
                        <a:pt x="21176" y="34500"/>
                        <a:pt x="21176" y="34500"/>
                        <a:pt x="21176" y="34500"/>
                      </a:cubicBezTo>
                      <a:cubicBezTo>
                        <a:pt x="21176" y="36750"/>
                        <a:pt x="21176" y="36750"/>
                        <a:pt x="21176" y="36750"/>
                      </a:cubicBezTo>
                      <a:cubicBezTo>
                        <a:pt x="22588" y="39000"/>
                        <a:pt x="22588" y="39000"/>
                        <a:pt x="22588" y="39000"/>
                      </a:cubicBezTo>
                      <a:cubicBezTo>
                        <a:pt x="21176" y="40500"/>
                        <a:pt x="21176" y="40500"/>
                        <a:pt x="21176" y="40500"/>
                      </a:cubicBezTo>
                      <a:cubicBezTo>
                        <a:pt x="22588" y="40500"/>
                        <a:pt x="22588" y="40500"/>
                        <a:pt x="22588" y="40500"/>
                      </a:cubicBezTo>
                      <a:cubicBezTo>
                        <a:pt x="22588" y="40500"/>
                        <a:pt x="22588" y="41250"/>
                        <a:pt x="22588" y="41250"/>
                      </a:cubicBezTo>
                      <a:cubicBezTo>
                        <a:pt x="22588" y="42000"/>
                        <a:pt x="22588" y="43500"/>
                        <a:pt x="22588" y="43500"/>
                      </a:cubicBezTo>
                      <a:cubicBezTo>
                        <a:pt x="21176" y="43500"/>
                        <a:pt x="19764" y="44250"/>
                        <a:pt x="18352" y="44250"/>
                      </a:cubicBezTo>
                      <a:cubicBezTo>
                        <a:pt x="16941" y="44250"/>
                        <a:pt x="15529" y="44250"/>
                        <a:pt x="15529" y="44250"/>
                      </a:cubicBezTo>
                      <a:cubicBezTo>
                        <a:pt x="15529" y="45000"/>
                        <a:pt x="15529" y="45000"/>
                        <a:pt x="15529" y="45000"/>
                      </a:cubicBezTo>
                      <a:cubicBezTo>
                        <a:pt x="18352" y="45750"/>
                        <a:pt x="18352" y="45750"/>
                        <a:pt x="18352" y="45750"/>
                      </a:cubicBezTo>
                      <a:cubicBezTo>
                        <a:pt x="19764" y="45750"/>
                        <a:pt x="19764" y="45750"/>
                        <a:pt x="19764" y="45750"/>
                      </a:cubicBezTo>
                      <a:cubicBezTo>
                        <a:pt x="21176" y="46500"/>
                        <a:pt x="21176" y="48000"/>
                        <a:pt x="21176" y="48000"/>
                      </a:cubicBezTo>
                      <a:cubicBezTo>
                        <a:pt x="19764" y="48000"/>
                        <a:pt x="19764" y="48750"/>
                        <a:pt x="19764" y="48750"/>
                      </a:cubicBezTo>
                      <a:cubicBezTo>
                        <a:pt x="18352" y="48750"/>
                        <a:pt x="16941" y="49500"/>
                        <a:pt x="16941" y="49500"/>
                      </a:cubicBezTo>
                      <a:cubicBezTo>
                        <a:pt x="14117" y="51000"/>
                        <a:pt x="14117" y="51000"/>
                        <a:pt x="14117" y="51000"/>
                      </a:cubicBezTo>
                      <a:cubicBezTo>
                        <a:pt x="12705" y="51750"/>
                        <a:pt x="12705" y="51750"/>
                        <a:pt x="12705" y="51750"/>
                      </a:cubicBezTo>
                      <a:cubicBezTo>
                        <a:pt x="14117" y="53250"/>
                        <a:pt x="14117" y="53250"/>
                        <a:pt x="14117" y="53250"/>
                      </a:cubicBezTo>
                      <a:cubicBezTo>
                        <a:pt x="15529" y="53250"/>
                        <a:pt x="15529" y="53250"/>
                        <a:pt x="15529" y="53250"/>
                      </a:cubicBezTo>
                      <a:cubicBezTo>
                        <a:pt x="16941" y="53250"/>
                        <a:pt x="16941" y="53250"/>
                        <a:pt x="16941" y="54000"/>
                      </a:cubicBezTo>
                      <a:cubicBezTo>
                        <a:pt x="16941" y="54000"/>
                        <a:pt x="16941" y="54000"/>
                        <a:pt x="21176" y="54750"/>
                      </a:cubicBezTo>
                      <a:cubicBezTo>
                        <a:pt x="21176" y="56250"/>
                        <a:pt x="21176" y="56250"/>
                        <a:pt x="21176" y="56250"/>
                      </a:cubicBezTo>
                      <a:cubicBezTo>
                        <a:pt x="21176" y="56250"/>
                        <a:pt x="21176" y="57000"/>
                        <a:pt x="21176" y="57750"/>
                      </a:cubicBezTo>
                      <a:cubicBezTo>
                        <a:pt x="21176" y="58500"/>
                        <a:pt x="19764" y="60750"/>
                        <a:pt x="19764" y="60750"/>
                      </a:cubicBezTo>
                      <a:cubicBezTo>
                        <a:pt x="18352" y="62250"/>
                        <a:pt x="18352" y="62250"/>
                        <a:pt x="18352" y="62250"/>
                      </a:cubicBezTo>
                      <a:cubicBezTo>
                        <a:pt x="18352" y="62250"/>
                        <a:pt x="19764" y="63000"/>
                        <a:pt x="19764" y="64500"/>
                      </a:cubicBezTo>
                      <a:cubicBezTo>
                        <a:pt x="18352" y="66750"/>
                        <a:pt x="18352" y="66750"/>
                        <a:pt x="18352" y="66750"/>
                      </a:cubicBezTo>
                      <a:cubicBezTo>
                        <a:pt x="24000" y="67500"/>
                        <a:pt x="24000" y="67500"/>
                        <a:pt x="24000" y="67500"/>
                      </a:cubicBezTo>
                      <a:cubicBezTo>
                        <a:pt x="24000" y="69000"/>
                        <a:pt x="24000" y="69000"/>
                        <a:pt x="24000" y="69000"/>
                      </a:cubicBezTo>
                      <a:cubicBezTo>
                        <a:pt x="19764" y="69750"/>
                        <a:pt x="19764" y="69750"/>
                        <a:pt x="19764" y="69750"/>
                      </a:cubicBezTo>
                      <a:cubicBezTo>
                        <a:pt x="19764" y="69750"/>
                        <a:pt x="18352" y="69750"/>
                        <a:pt x="18352" y="70500"/>
                      </a:cubicBezTo>
                      <a:cubicBezTo>
                        <a:pt x="18352" y="70500"/>
                        <a:pt x="18352" y="71250"/>
                        <a:pt x="18352" y="71250"/>
                      </a:cubicBezTo>
                      <a:cubicBezTo>
                        <a:pt x="21176" y="71250"/>
                        <a:pt x="21176" y="71250"/>
                        <a:pt x="21176" y="71250"/>
                      </a:cubicBezTo>
                      <a:cubicBezTo>
                        <a:pt x="18352" y="72750"/>
                        <a:pt x="18352" y="72750"/>
                        <a:pt x="18352" y="72750"/>
                      </a:cubicBezTo>
                      <a:cubicBezTo>
                        <a:pt x="18352" y="72750"/>
                        <a:pt x="18352" y="74250"/>
                        <a:pt x="18352" y="74250"/>
                      </a:cubicBezTo>
                      <a:cubicBezTo>
                        <a:pt x="18352" y="74250"/>
                        <a:pt x="18352" y="75000"/>
                        <a:pt x="18352" y="75750"/>
                      </a:cubicBezTo>
                      <a:cubicBezTo>
                        <a:pt x="16941" y="75750"/>
                        <a:pt x="16941" y="75750"/>
                        <a:pt x="16941" y="75750"/>
                      </a:cubicBezTo>
                      <a:cubicBezTo>
                        <a:pt x="16941" y="77250"/>
                        <a:pt x="16941" y="77250"/>
                        <a:pt x="16941" y="77250"/>
                      </a:cubicBezTo>
                      <a:cubicBezTo>
                        <a:pt x="15529" y="81000"/>
                        <a:pt x="15529" y="81000"/>
                        <a:pt x="15529" y="81000"/>
                      </a:cubicBezTo>
                      <a:cubicBezTo>
                        <a:pt x="19764" y="85500"/>
                        <a:pt x="19764" y="85500"/>
                        <a:pt x="19764" y="85500"/>
                      </a:cubicBezTo>
                      <a:cubicBezTo>
                        <a:pt x="24000" y="87750"/>
                        <a:pt x="24000" y="87750"/>
                        <a:pt x="24000" y="87750"/>
                      </a:cubicBezTo>
                      <a:cubicBezTo>
                        <a:pt x="26823" y="89250"/>
                        <a:pt x="26823" y="89250"/>
                        <a:pt x="26823" y="89250"/>
                      </a:cubicBezTo>
                      <a:cubicBezTo>
                        <a:pt x="25411" y="91500"/>
                        <a:pt x="25411" y="91500"/>
                        <a:pt x="25411" y="91500"/>
                      </a:cubicBezTo>
                      <a:cubicBezTo>
                        <a:pt x="26823" y="92250"/>
                        <a:pt x="26823" y="92250"/>
                        <a:pt x="26823" y="92250"/>
                      </a:cubicBezTo>
                      <a:cubicBezTo>
                        <a:pt x="26823" y="93750"/>
                        <a:pt x="26823" y="93750"/>
                        <a:pt x="26823" y="93750"/>
                      </a:cubicBezTo>
                      <a:cubicBezTo>
                        <a:pt x="26823" y="93750"/>
                        <a:pt x="26823" y="94500"/>
                        <a:pt x="25411" y="94500"/>
                      </a:cubicBezTo>
                      <a:cubicBezTo>
                        <a:pt x="25411" y="94500"/>
                        <a:pt x="24000" y="94500"/>
                        <a:pt x="24000" y="94500"/>
                      </a:cubicBezTo>
                      <a:cubicBezTo>
                        <a:pt x="22588" y="93750"/>
                        <a:pt x="21176" y="92250"/>
                        <a:pt x="21176" y="92250"/>
                      </a:cubicBezTo>
                      <a:cubicBezTo>
                        <a:pt x="21176" y="92250"/>
                        <a:pt x="19764" y="91500"/>
                        <a:pt x="19764" y="90750"/>
                      </a:cubicBezTo>
                      <a:cubicBezTo>
                        <a:pt x="19764" y="90750"/>
                        <a:pt x="18352" y="90000"/>
                        <a:pt x="18352" y="90000"/>
                      </a:cubicBezTo>
                      <a:cubicBezTo>
                        <a:pt x="15529" y="90000"/>
                        <a:pt x="15529" y="90000"/>
                        <a:pt x="15529" y="90000"/>
                      </a:cubicBezTo>
                      <a:cubicBezTo>
                        <a:pt x="15529" y="90750"/>
                        <a:pt x="15529" y="90750"/>
                        <a:pt x="15529" y="90750"/>
                      </a:cubicBezTo>
                      <a:cubicBezTo>
                        <a:pt x="15529" y="90750"/>
                        <a:pt x="16941" y="91500"/>
                        <a:pt x="16941" y="92250"/>
                      </a:cubicBezTo>
                      <a:cubicBezTo>
                        <a:pt x="18352" y="92250"/>
                        <a:pt x="19764" y="93000"/>
                        <a:pt x="19764" y="93000"/>
                      </a:cubicBezTo>
                      <a:cubicBezTo>
                        <a:pt x="19764" y="93000"/>
                        <a:pt x="21176" y="93750"/>
                        <a:pt x="21176" y="93750"/>
                      </a:cubicBezTo>
                      <a:cubicBezTo>
                        <a:pt x="21176" y="93750"/>
                        <a:pt x="22588" y="96000"/>
                        <a:pt x="22588" y="96000"/>
                      </a:cubicBezTo>
                      <a:cubicBezTo>
                        <a:pt x="38117" y="101250"/>
                        <a:pt x="38117" y="101250"/>
                        <a:pt x="38117" y="101250"/>
                      </a:cubicBezTo>
                      <a:cubicBezTo>
                        <a:pt x="43764" y="102000"/>
                        <a:pt x="43764" y="102000"/>
                        <a:pt x="43764" y="102000"/>
                      </a:cubicBezTo>
                      <a:cubicBezTo>
                        <a:pt x="45176" y="103500"/>
                        <a:pt x="45176" y="103500"/>
                        <a:pt x="45176" y="103500"/>
                      </a:cubicBezTo>
                      <a:cubicBezTo>
                        <a:pt x="46588" y="103500"/>
                        <a:pt x="46588" y="103500"/>
                        <a:pt x="46588" y="103500"/>
                      </a:cubicBezTo>
                      <a:cubicBezTo>
                        <a:pt x="46588" y="103500"/>
                        <a:pt x="48000" y="103500"/>
                        <a:pt x="49411" y="103500"/>
                      </a:cubicBezTo>
                      <a:cubicBezTo>
                        <a:pt x="49411" y="103500"/>
                        <a:pt x="49411" y="103500"/>
                        <a:pt x="49411" y="103500"/>
                      </a:cubicBezTo>
                      <a:cubicBezTo>
                        <a:pt x="49411" y="103500"/>
                        <a:pt x="52235" y="104250"/>
                        <a:pt x="52235" y="104250"/>
                      </a:cubicBezTo>
                      <a:cubicBezTo>
                        <a:pt x="52235" y="104250"/>
                        <a:pt x="53647" y="104250"/>
                        <a:pt x="53647" y="104250"/>
                      </a:cubicBezTo>
                      <a:cubicBezTo>
                        <a:pt x="53647" y="105000"/>
                        <a:pt x="56470" y="107250"/>
                        <a:pt x="57882" y="108750"/>
                      </a:cubicBezTo>
                      <a:cubicBezTo>
                        <a:pt x="57882" y="108750"/>
                        <a:pt x="59294" y="109500"/>
                        <a:pt x="59294" y="110250"/>
                      </a:cubicBezTo>
                      <a:cubicBezTo>
                        <a:pt x="60705" y="110250"/>
                        <a:pt x="63529" y="111000"/>
                        <a:pt x="63529" y="111000"/>
                      </a:cubicBezTo>
                      <a:cubicBezTo>
                        <a:pt x="63529" y="111750"/>
                        <a:pt x="63529" y="112500"/>
                        <a:pt x="63529" y="113250"/>
                      </a:cubicBezTo>
                      <a:cubicBezTo>
                        <a:pt x="63529" y="113250"/>
                        <a:pt x="63529" y="113250"/>
                        <a:pt x="63529" y="114000"/>
                      </a:cubicBezTo>
                      <a:cubicBezTo>
                        <a:pt x="63529" y="114750"/>
                        <a:pt x="64941" y="114750"/>
                        <a:pt x="64941" y="114750"/>
                      </a:cubicBezTo>
                      <a:cubicBezTo>
                        <a:pt x="64941" y="115500"/>
                        <a:pt x="66352" y="116250"/>
                        <a:pt x="66352" y="116250"/>
                      </a:cubicBezTo>
                      <a:cubicBezTo>
                        <a:pt x="66352" y="118500"/>
                        <a:pt x="66352" y="118500"/>
                        <a:pt x="66352" y="118500"/>
                      </a:cubicBezTo>
                      <a:cubicBezTo>
                        <a:pt x="67764" y="118500"/>
                        <a:pt x="67764" y="118500"/>
                        <a:pt x="67764" y="118500"/>
                      </a:cubicBezTo>
                      <a:lnTo>
                        <a:pt x="69176" y="1185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1" name="Shape 2017"/>
                <p:cNvSpPr/>
                <p:nvPr/>
              </p:nvSpPr>
              <p:spPr>
                <a:xfrm>
                  <a:off x="5810958" y="3583492"/>
                  <a:ext cx="177008" cy="196037"/>
                </a:xfrm>
                <a:custGeom>
                  <a:avLst/>
                  <a:gdLst/>
                  <a:ahLst/>
                  <a:cxnLst/>
                  <a:rect l="0" t="0" r="0" b="0"/>
                  <a:pathLst>
                    <a:path w="120000" h="120000" extrusionOk="0">
                      <a:moveTo>
                        <a:pt x="64615" y="117303"/>
                      </a:moveTo>
                      <a:cubicBezTo>
                        <a:pt x="64615" y="117303"/>
                        <a:pt x="72307" y="120000"/>
                        <a:pt x="70769" y="120000"/>
                      </a:cubicBezTo>
                      <a:cubicBezTo>
                        <a:pt x="70769" y="120000"/>
                        <a:pt x="70769" y="120000"/>
                        <a:pt x="70769" y="118651"/>
                      </a:cubicBezTo>
                      <a:cubicBezTo>
                        <a:pt x="70769" y="118651"/>
                        <a:pt x="69230" y="120000"/>
                        <a:pt x="69230" y="120000"/>
                      </a:cubicBezTo>
                      <a:cubicBezTo>
                        <a:pt x="69230" y="120000"/>
                        <a:pt x="66153" y="117303"/>
                        <a:pt x="67692" y="117303"/>
                      </a:cubicBezTo>
                      <a:cubicBezTo>
                        <a:pt x="67692" y="117303"/>
                        <a:pt x="67692" y="115955"/>
                        <a:pt x="67692" y="115955"/>
                      </a:cubicBezTo>
                      <a:cubicBezTo>
                        <a:pt x="67692" y="114606"/>
                        <a:pt x="66153" y="113258"/>
                        <a:pt x="66153" y="113258"/>
                      </a:cubicBezTo>
                      <a:cubicBezTo>
                        <a:pt x="67692" y="111910"/>
                        <a:pt x="67692" y="111910"/>
                        <a:pt x="67692" y="111910"/>
                      </a:cubicBezTo>
                      <a:cubicBezTo>
                        <a:pt x="67692" y="111910"/>
                        <a:pt x="67692" y="109213"/>
                        <a:pt x="67692" y="109213"/>
                      </a:cubicBezTo>
                      <a:cubicBezTo>
                        <a:pt x="67692" y="109213"/>
                        <a:pt x="67692" y="107865"/>
                        <a:pt x="67692" y="107865"/>
                      </a:cubicBezTo>
                      <a:cubicBezTo>
                        <a:pt x="67692" y="107865"/>
                        <a:pt x="66153" y="106516"/>
                        <a:pt x="66153" y="106516"/>
                      </a:cubicBezTo>
                      <a:cubicBezTo>
                        <a:pt x="67692" y="103820"/>
                        <a:pt x="67692" y="103820"/>
                        <a:pt x="67692" y="103820"/>
                      </a:cubicBezTo>
                      <a:cubicBezTo>
                        <a:pt x="67692" y="103820"/>
                        <a:pt x="67692" y="102471"/>
                        <a:pt x="67692" y="102471"/>
                      </a:cubicBezTo>
                      <a:cubicBezTo>
                        <a:pt x="67692" y="101123"/>
                        <a:pt x="67692" y="99775"/>
                        <a:pt x="67692" y="99775"/>
                      </a:cubicBezTo>
                      <a:cubicBezTo>
                        <a:pt x="64615" y="98426"/>
                        <a:pt x="64615" y="98426"/>
                        <a:pt x="64615" y="98426"/>
                      </a:cubicBezTo>
                      <a:cubicBezTo>
                        <a:pt x="61538" y="97078"/>
                        <a:pt x="61538" y="97078"/>
                        <a:pt x="61538" y="97078"/>
                      </a:cubicBezTo>
                      <a:cubicBezTo>
                        <a:pt x="60000" y="95730"/>
                        <a:pt x="60000" y="95730"/>
                        <a:pt x="60000" y="95730"/>
                      </a:cubicBezTo>
                      <a:cubicBezTo>
                        <a:pt x="60000" y="93033"/>
                        <a:pt x="60000" y="93033"/>
                        <a:pt x="60000" y="93033"/>
                      </a:cubicBezTo>
                      <a:cubicBezTo>
                        <a:pt x="63076" y="90337"/>
                        <a:pt x="63076" y="90337"/>
                        <a:pt x="63076" y="90337"/>
                      </a:cubicBezTo>
                      <a:cubicBezTo>
                        <a:pt x="64615" y="87640"/>
                        <a:pt x="64615" y="87640"/>
                        <a:pt x="64615" y="87640"/>
                      </a:cubicBezTo>
                      <a:cubicBezTo>
                        <a:pt x="64615" y="87640"/>
                        <a:pt x="66153" y="86292"/>
                        <a:pt x="66153" y="86292"/>
                      </a:cubicBezTo>
                      <a:cubicBezTo>
                        <a:pt x="66153" y="84943"/>
                        <a:pt x="66153" y="83595"/>
                        <a:pt x="66153" y="83595"/>
                      </a:cubicBezTo>
                      <a:cubicBezTo>
                        <a:pt x="66153" y="80898"/>
                        <a:pt x="66153" y="80898"/>
                        <a:pt x="66153" y="80898"/>
                      </a:cubicBezTo>
                      <a:cubicBezTo>
                        <a:pt x="67692" y="79550"/>
                        <a:pt x="67692" y="79550"/>
                        <a:pt x="67692" y="79550"/>
                      </a:cubicBezTo>
                      <a:cubicBezTo>
                        <a:pt x="69230" y="78202"/>
                        <a:pt x="69230" y="78202"/>
                        <a:pt x="69230" y="78202"/>
                      </a:cubicBezTo>
                      <a:cubicBezTo>
                        <a:pt x="69230" y="78202"/>
                        <a:pt x="70769" y="76853"/>
                        <a:pt x="70769" y="76853"/>
                      </a:cubicBezTo>
                      <a:cubicBezTo>
                        <a:pt x="70769" y="75505"/>
                        <a:pt x="72307" y="74157"/>
                        <a:pt x="72307" y="74157"/>
                      </a:cubicBezTo>
                      <a:cubicBezTo>
                        <a:pt x="73846" y="71460"/>
                        <a:pt x="73846" y="71460"/>
                        <a:pt x="73846" y="71460"/>
                      </a:cubicBezTo>
                      <a:cubicBezTo>
                        <a:pt x="75384" y="68764"/>
                        <a:pt x="75384" y="68764"/>
                        <a:pt x="75384" y="68764"/>
                      </a:cubicBezTo>
                      <a:cubicBezTo>
                        <a:pt x="76923" y="66067"/>
                        <a:pt x="76923" y="66067"/>
                        <a:pt x="76923" y="66067"/>
                      </a:cubicBezTo>
                      <a:cubicBezTo>
                        <a:pt x="75384" y="64719"/>
                        <a:pt x="75384" y="64719"/>
                        <a:pt x="75384" y="64719"/>
                      </a:cubicBezTo>
                      <a:cubicBezTo>
                        <a:pt x="75384" y="64719"/>
                        <a:pt x="81538" y="59325"/>
                        <a:pt x="81538" y="59325"/>
                      </a:cubicBezTo>
                      <a:cubicBezTo>
                        <a:pt x="81538" y="59325"/>
                        <a:pt x="84615" y="59325"/>
                        <a:pt x="84615" y="59325"/>
                      </a:cubicBezTo>
                      <a:cubicBezTo>
                        <a:pt x="84615" y="60674"/>
                        <a:pt x="84615" y="60674"/>
                        <a:pt x="84615" y="60674"/>
                      </a:cubicBezTo>
                      <a:cubicBezTo>
                        <a:pt x="86153" y="62022"/>
                        <a:pt x="86153" y="62022"/>
                        <a:pt x="86153" y="62022"/>
                      </a:cubicBezTo>
                      <a:cubicBezTo>
                        <a:pt x="86153" y="63370"/>
                        <a:pt x="86153" y="63370"/>
                        <a:pt x="86153" y="63370"/>
                      </a:cubicBezTo>
                      <a:cubicBezTo>
                        <a:pt x="86153" y="63370"/>
                        <a:pt x="86153" y="64719"/>
                        <a:pt x="86153" y="66067"/>
                      </a:cubicBezTo>
                      <a:cubicBezTo>
                        <a:pt x="86153" y="66067"/>
                        <a:pt x="86153" y="67415"/>
                        <a:pt x="86153" y="67415"/>
                      </a:cubicBezTo>
                      <a:cubicBezTo>
                        <a:pt x="86153" y="67415"/>
                        <a:pt x="87692" y="68764"/>
                        <a:pt x="87692" y="68764"/>
                      </a:cubicBezTo>
                      <a:cubicBezTo>
                        <a:pt x="87692" y="70112"/>
                        <a:pt x="89230" y="71460"/>
                        <a:pt x="89230" y="71460"/>
                      </a:cubicBezTo>
                      <a:cubicBezTo>
                        <a:pt x="89230" y="71460"/>
                        <a:pt x="89230" y="71460"/>
                        <a:pt x="90769" y="71460"/>
                      </a:cubicBezTo>
                      <a:cubicBezTo>
                        <a:pt x="90769" y="72808"/>
                        <a:pt x="90769" y="72808"/>
                        <a:pt x="90769" y="72808"/>
                      </a:cubicBezTo>
                      <a:cubicBezTo>
                        <a:pt x="93846" y="71460"/>
                        <a:pt x="93846" y="71460"/>
                        <a:pt x="93846" y="71460"/>
                      </a:cubicBezTo>
                      <a:cubicBezTo>
                        <a:pt x="96923" y="68764"/>
                        <a:pt x="96923" y="68764"/>
                        <a:pt x="96923" y="68764"/>
                      </a:cubicBezTo>
                      <a:cubicBezTo>
                        <a:pt x="96923" y="68764"/>
                        <a:pt x="101538" y="67415"/>
                        <a:pt x="101538" y="67415"/>
                      </a:cubicBezTo>
                      <a:cubicBezTo>
                        <a:pt x="101538" y="67415"/>
                        <a:pt x="103076" y="64719"/>
                        <a:pt x="103076" y="64719"/>
                      </a:cubicBezTo>
                      <a:cubicBezTo>
                        <a:pt x="104615" y="64719"/>
                        <a:pt x="104615" y="64719"/>
                        <a:pt x="104615" y="64719"/>
                      </a:cubicBezTo>
                      <a:cubicBezTo>
                        <a:pt x="104615" y="64719"/>
                        <a:pt x="104615" y="64719"/>
                        <a:pt x="104615" y="64719"/>
                      </a:cubicBezTo>
                      <a:cubicBezTo>
                        <a:pt x="103076" y="62022"/>
                        <a:pt x="106153" y="59325"/>
                        <a:pt x="104615" y="56629"/>
                      </a:cubicBezTo>
                      <a:cubicBezTo>
                        <a:pt x="104615" y="56629"/>
                        <a:pt x="103076" y="55280"/>
                        <a:pt x="103076" y="55280"/>
                      </a:cubicBezTo>
                      <a:cubicBezTo>
                        <a:pt x="103076" y="55280"/>
                        <a:pt x="103076" y="55280"/>
                        <a:pt x="103076" y="55280"/>
                      </a:cubicBezTo>
                      <a:cubicBezTo>
                        <a:pt x="103076" y="55280"/>
                        <a:pt x="103076" y="55280"/>
                        <a:pt x="103076" y="55280"/>
                      </a:cubicBezTo>
                      <a:cubicBezTo>
                        <a:pt x="100000" y="52584"/>
                        <a:pt x="95384" y="51235"/>
                        <a:pt x="96923" y="51235"/>
                      </a:cubicBezTo>
                      <a:cubicBezTo>
                        <a:pt x="98461" y="48539"/>
                        <a:pt x="104615" y="49887"/>
                        <a:pt x="107692" y="48539"/>
                      </a:cubicBezTo>
                      <a:cubicBezTo>
                        <a:pt x="109230" y="48539"/>
                        <a:pt x="109230" y="45842"/>
                        <a:pt x="110769" y="44494"/>
                      </a:cubicBezTo>
                      <a:cubicBezTo>
                        <a:pt x="112307" y="44494"/>
                        <a:pt x="115384" y="45842"/>
                        <a:pt x="115384" y="43146"/>
                      </a:cubicBezTo>
                      <a:cubicBezTo>
                        <a:pt x="115384" y="40449"/>
                        <a:pt x="118461" y="40449"/>
                        <a:pt x="120000" y="41797"/>
                      </a:cubicBezTo>
                      <a:cubicBezTo>
                        <a:pt x="120000" y="41797"/>
                        <a:pt x="120000" y="41797"/>
                        <a:pt x="120000" y="41797"/>
                      </a:cubicBezTo>
                      <a:cubicBezTo>
                        <a:pt x="118461" y="39101"/>
                        <a:pt x="113846" y="36404"/>
                        <a:pt x="112307" y="35056"/>
                      </a:cubicBezTo>
                      <a:cubicBezTo>
                        <a:pt x="112307" y="35056"/>
                        <a:pt x="112307" y="33707"/>
                        <a:pt x="109230" y="33707"/>
                      </a:cubicBezTo>
                      <a:cubicBezTo>
                        <a:pt x="107692" y="33707"/>
                        <a:pt x="104615" y="31011"/>
                        <a:pt x="104615" y="31011"/>
                      </a:cubicBezTo>
                      <a:cubicBezTo>
                        <a:pt x="100000" y="31011"/>
                        <a:pt x="100000" y="31011"/>
                        <a:pt x="100000" y="31011"/>
                      </a:cubicBezTo>
                      <a:cubicBezTo>
                        <a:pt x="100000" y="31011"/>
                        <a:pt x="95384" y="26966"/>
                        <a:pt x="95384" y="26966"/>
                      </a:cubicBezTo>
                      <a:cubicBezTo>
                        <a:pt x="93846" y="26966"/>
                        <a:pt x="89230" y="25617"/>
                        <a:pt x="89230" y="25617"/>
                      </a:cubicBezTo>
                      <a:cubicBezTo>
                        <a:pt x="89230" y="22921"/>
                        <a:pt x="89230" y="22921"/>
                        <a:pt x="89230" y="22921"/>
                      </a:cubicBezTo>
                      <a:cubicBezTo>
                        <a:pt x="89230" y="22921"/>
                        <a:pt x="87692" y="22921"/>
                        <a:pt x="87692" y="22921"/>
                      </a:cubicBezTo>
                      <a:cubicBezTo>
                        <a:pt x="86153" y="22921"/>
                        <a:pt x="84615" y="24269"/>
                        <a:pt x="84615" y="24269"/>
                      </a:cubicBezTo>
                      <a:cubicBezTo>
                        <a:pt x="80000" y="25617"/>
                        <a:pt x="80000" y="25617"/>
                        <a:pt x="80000" y="25617"/>
                      </a:cubicBezTo>
                      <a:cubicBezTo>
                        <a:pt x="80000" y="25617"/>
                        <a:pt x="76923" y="25617"/>
                        <a:pt x="76923" y="25617"/>
                      </a:cubicBezTo>
                      <a:cubicBezTo>
                        <a:pt x="75384" y="24269"/>
                        <a:pt x="73846" y="21573"/>
                        <a:pt x="73846" y="21573"/>
                      </a:cubicBezTo>
                      <a:cubicBezTo>
                        <a:pt x="73846" y="21573"/>
                        <a:pt x="73846" y="21573"/>
                        <a:pt x="72307" y="21573"/>
                      </a:cubicBezTo>
                      <a:cubicBezTo>
                        <a:pt x="70769" y="22921"/>
                        <a:pt x="73846" y="24269"/>
                        <a:pt x="70769" y="22921"/>
                      </a:cubicBezTo>
                      <a:cubicBezTo>
                        <a:pt x="66153" y="21573"/>
                        <a:pt x="66153" y="21573"/>
                        <a:pt x="66153" y="21573"/>
                      </a:cubicBezTo>
                      <a:cubicBezTo>
                        <a:pt x="63076" y="18876"/>
                        <a:pt x="63076" y="18876"/>
                        <a:pt x="63076" y="18876"/>
                      </a:cubicBezTo>
                      <a:cubicBezTo>
                        <a:pt x="61538" y="18876"/>
                        <a:pt x="61538" y="18876"/>
                        <a:pt x="61538" y="18876"/>
                      </a:cubicBezTo>
                      <a:cubicBezTo>
                        <a:pt x="60000" y="18876"/>
                        <a:pt x="60000" y="18876"/>
                        <a:pt x="60000" y="18876"/>
                      </a:cubicBezTo>
                      <a:cubicBezTo>
                        <a:pt x="60000" y="18876"/>
                        <a:pt x="58461" y="16179"/>
                        <a:pt x="58461" y="16179"/>
                      </a:cubicBezTo>
                      <a:cubicBezTo>
                        <a:pt x="58461" y="16179"/>
                        <a:pt x="58461" y="13483"/>
                        <a:pt x="58461" y="13483"/>
                      </a:cubicBezTo>
                      <a:cubicBezTo>
                        <a:pt x="56923" y="13483"/>
                        <a:pt x="52307" y="12134"/>
                        <a:pt x="52307" y="12134"/>
                      </a:cubicBezTo>
                      <a:cubicBezTo>
                        <a:pt x="50769" y="9438"/>
                        <a:pt x="50769" y="9438"/>
                        <a:pt x="50769" y="9438"/>
                      </a:cubicBezTo>
                      <a:cubicBezTo>
                        <a:pt x="50769" y="9438"/>
                        <a:pt x="50769" y="9438"/>
                        <a:pt x="50769" y="9438"/>
                      </a:cubicBezTo>
                      <a:cubicBezTo>
                        <a:pt x="49230" y="9438"/>
                        <a:pt x="46153" y="8089"/>
                        <a:pt x="46153" y="8089"/>
                      </a:cubicBezTo>
                      <a:cubicBezTo>
                        <a:pt x="44615" y="6741"/>
                        <a:pt x="44615" y="6741"/>
                        <a:pt x="44615" y="6741"/>
                      </a:cubicBezTo>
                      <a:cubicBezTo>
                        <a:pt x="40000" y="6741"/>
                        <a:pt x="40000" y="6741"/>
                        <a:pt x="40000" y="6741"/>
                      </a:cubicBezTo>
                      <a:cubicBezTo>
                        <a:pt x="38461" y="4044"/>
                        <a:pt x="38461" y="4044"/>
                        <a:pt x="38461" y="4044"/>
                      </a:cubicBezTo>
                      <a:cubicBezTo>
                        <a:pt x="38461" y="4044"/>
                        <a:pt x="36923" y="2696"/>
                        <a:pt x="36923" y="2696"/>
                      </a:cubicBezTo>
                      <a:cubicBezTo>
                        <a:pt x="38461" y="2696"/>
                        <a:pt x="38461" y="0"/>
                        <a:pt x="38461" y="0"/>
                      </a:cubicBezTo>
                      <a:cubicBezTo>
                        <a:pt x="35384" y="0"/>
                        <a:pt x="35384" y="0"/>
                        <a:pt x="35384" y="0"/>
                      </a:cubicBezTo>
                      <a:cubicBezTo>
                        <a:pt x="35384" y="0"/>
                        <a:pt x="32307" y="1348"/>
                        <a:pt x="32307" y="1348"/>
                      </a:cubicBezTo>
                      <a:cubicBezTo>
                        <a:pt x="32307" y="1348"/>
                        <a:pt x="30769" y="2696"/>
                        <a:pt x="30769" y="2696"/>
                      </a:cubicBezTo>
                      <a:cubicBezTo>
                        <a:pt x="29230" y="2696"/>
                        <a:pt x="29230" y="2696"/>
                        <a:pt x="29230" y="2696"/>
                      </a:cubicBezTo>
                      <a:cubicBezTo>
                        <a:pt x="27692" y="1348"/>
                        <a:pt x="27692" y="1348"/>
                        <a:pt x="27692" y="1348"/>
                      </a:cubicBezTo>
                      <a:cubicBezTo>
                        <a:pt x="26153" y="0"/>
                        <a:pt x="26153" y="0"/>
                        <a:pt x="26153" y="0"/>
                      </a:cubicBezTo>
                      <a:cubicBezTo>
                        <a:pt x="23076" y="2696"/>
                        <a:pt x="23076" y="2696"/>
                        <a:pt x="23076" y="2696"/>
                      </a:cubicBezTo>
                      <a:cubicBezTo>
                        <a:pt x="21538" y="4044"/>
                        <a:pt x="21538" y="4044"/>
                        <a:pt x="21538" y="4044"/>
                      </a:cubicBezTo>
                      <a:cubicBezTo>
                        <a:pt x="21538" y="4044"/>
                        <a:pt x="21538" y="5393"/>
                        <a:pt x="21538" y="5393"/>
                      </a:cubicBezTo>
                      <a:cubicBezTo>
                        <a:pt x="21538" y="5393"/>
                        <a:pt x="24615" y="5393"/>
                        <a:pt x="24615" y="5393"/>
                      </a:cubicBezTo>
                      <a:cubicBezTo>
                        <a:pt x="24615" y="8089"/>
                        <a:pt x="24615" y="8089"/>
                        <a:pt x="24615" y="8089"/>
                      </a:cubicBezTo>
                      <a:cubicBezTo>
                        <a:pt x="24615" y="8089"/>
                        <a:pt x="24615" y="8089"/>
                        <a:pt x="26153" y="8089"/>
                      </a:cubicBezTo>
                      <a:cubicBezTo>
                        <a:pt x="26153" y="8089"/>
                        <a:pt x="27692" y="9438"/>
                        <a:pt x="27692" y="9438"/>
                      </a:cubicBezTo>
                      <a:cubicBezTo>
                        <a:pt x="29230" y="10786"/>
                        <a:pt x="29230" y="10786"/>
                        <a:pt x="29230" y="10786"/>
                      </a:cubicBezTo>
                      <a:cubicBezTo>
                        <a:pt x="29230" y="13483"/>
                        <a:pt x="29230" y="13483"/>
                        <a:pt x="29230" y="13483"/>
                      </a:cubicBezTo>
                      <a:cubicBezTo>
                        <a:pt x="32307" y="14831"/>
                        <a:pt x="32307" y="14831"/>
                        <a:pt x="32307" y="14831"/>
                      </a:cubicBezTo>
                      <a:cubicBezTo>
                        <a:pt x="32307" y="17528"/>
                        <a:pt x="32307" y="17528"/>
                        <a:pt x="32307" y="17528"/>
                      </a:cubicBezTo>
                      <a:cubicBezTo>
                        <a:pt x="30769" y="18876"/>
                        <a:pt x="30769" y="18876"/>
                        <a:pt x="30769" y="18876"/>
                      </a:cubicBezTo>
                      <a:cubicBezTo>
                        <a:pt x="29230" y="20224"/>
                        <a:pt x="29230" y="20224"/>
                        <a:pt x="29230" y="20224"/>
                      </a:cubicBezTo>
                      <a:cubicBezTo>
                        <a:pt x="26153" y="20224"/>
                        <a:pt x="26153" y="20224"/>
                        <a:pt x="26153" y="20224"/>
                      </a:cubicBezTo>
                      <a:cubicBezTo>
                        <a:pt x="26153" y="18876"/>
                        <a:pt x="26153" y="18876"/>
                        <a:pt x="26153" y="18876"/>
                      </a:cubicBezTo>
                      <a:cubicBezTo>
                        <a:pt x="24615" y="16179"/>
                        <a:pt x="24615" y="16179"/>
                        <a:pt x="24615" y="16179"/>
                      </a:cubicBezTo>
                      <a:cubicBezTo>
                        <a:pt x="23076" y="14831"/>
                        <a:pt x="23076" y="14831"/>
                        <a:pt x="23076" y="14831"/>
                      </a:cubicBezTo>
                      <a:cubicBezTo>
                        <a:pt x="18461" y="16179"/>
                        <a:pt x="18461" y="16179"/>
                        <a:pt x="18461" y="16179"/>
                      </a:cubicBezTo>
                      <a:cubicBezTo>
                        <a:pt x="18461" y="18876"/>
                        <a:pt x="18461" y="18876"/>
                        <a:pt x="18461" y="18876"/>
                      </a:cubicBezTo>
                      <a:cubicBezTo>
                        <a:pt x="10769" y="24269"/>
                        <a:pt x="10769" y="24269"/>
                        <a:pt x="10769" y="24269"/>
                      </a:cubicBezTo>
                      <a:cubicBezTo>
                        <a:pt x="12307" y="26966"/>
                        <a:pt x="12307" y="26966"/>
                        <a:pt x="12307" y="26966"/>
                      </a:cubicBezTo>
                      <a:cubicBezTo>
                        <a:pt x="9230" y="29662"/>
                        <a:pt x="9230" y="29662"/>
                        <a:pt x="9230" y="29662"/>
                      </a:cubicBezTo>
                      <a:cubicBezTo>
                        <a:pt x="9230" y="33707"/>
                        <a:pt x="9230" y="33707"/>
                        <a:pt x="9230" y="33707"/>
                      </a:cubicBezTo>
                      <a:cubicBezTo>
                        <a:pt x="10769" y="37752"/>
                        <a:pt x="10769" y="37752"/>
                        <a:pt x="10769" y="37752"/>
                      </a:cubicBezTo>
                      <a:cubicBezTo>
                        <a:pt x="10769" y="40449"/>
                        <a:pt x="10769" y="40449"/>
                        <a:pt x="10769" y="40449"/>
                      </a:cubicBezTo>
                      <a:cubicBezTo>
                        <a:pt x="4615" y="41797"/>
                        <a:pt x="4615" y="41797"/>
                        <a:pt x="4615" y="41797"/>
                      </a:cubicBezTo>
                      <a:cubicBezTo>
                        <a:pt x="0" y="43146"/>
                        <a:pt x="0" y="43146"/>
                        <a:pt x="0" y="43146"/>
                      </a:cubicBezTo>
                      <a:cubicBezTo>
                        <a:pt x="0" y="47191"/>
                        <a:pt x="0" y="47191"/>
                        <a:pt x="0" y="47191"/>
                      </a:cubicBezTo>
                      <a:cubicBezTo>
                        <a:pt x="0" y="48539"/>
                        <a:pt x="0" y="48539"/>
                        <a:pt x="0" y="48539"/>
                      </a:cubicBezTo>
                      <a:cubicBezTo>
                        <a:pt x="4615" y="53932"/>
                        <a:pt x="4615" y="53932"/>
                        <a:pt x="4615" y="53932"/>
                      </a:cubicBezTo>
                      <a:cubicBezTo>
                        <a:pt x="3076" y="55280"/>
                        <a:pt x="3076" y="55280"/>
                        <a:pt x="3076" y="55280"/>
                      </a:cubicBezTo>
                      <a:cubicBezTo>
                        <a:pt x="1538" y="56629"/>
                        <a:pt x="1538" y="56629"/>
                        <a:pt x="1538" y="56629"/>
                      </a:cubicBezTo>
                      <a:cubicBezTo>
                        <a:pt x="6153" y="62022"/>
                        <a:pt x="6153" y="62022"/>
                        <a:pt x="6153" y="62022"/>
                      </a:cubicBezTo>
                      <a:cubicBezTo>
                        <a:pt x="7692" y="63370"/>
                        <a:pt x="7692" y="63370"/>
                        <a:pt x="7692" y="63370"/>
                      </a:cubicBezTo>
                      <a:cubicBezTo>
                        <a:pt x="10769" y="63370"/>
                        <a:pt x="10769" y="63370"/>
                        <a:pt x="10769" y="63370"/>
                      </a:cubicBezTo>
                      <a:cubicBezTo>
                        <a:pt x="10769" y="66067"/>
                        <a:pt x="10769" y="66067"/>
                        <a:pt x="10769" y="66067"/>
                      </a:cubicBezTo>
                      <a:cubicBezTo>
                        <a:pt x="10769" y="67415"/>
                        <a:pt x="10769" y="67415"/>
                        <a:pt x="10769" y="67415"/>
                      </a:cubicBezTo>
                      <a:cubicBezTo>
                        <a:pt x="10769" y="70112"/>
                        <a:pt x="10769" y="70112"/>
                        <a:pt x="10769" y="70112"/>
                      </a:cubicBezTo>
                      <a:cubicBezTo>
                        <a:pt x="7692" y="72808"/>
                        <a:pt x="7692" y="72808"/>
                        <a:pt x="7692" y="72808"/>
                      </a:cubicBezTo>
                      <a:cubicBezTo>
                        <a:pt x="9230" y="75505"/>
                        <a:pt x="9230" y="75505"/>
                        <a:pt x="9230" y="75505"/>
                      </a:cubicBezTo>
                      <a:cubicBezTo>
                        <a:pt x="6153" y="74157"/>
                        <a:pt x="6153" y="74157"/>
                        <a:pt x="6153" y="74157"/>
                      </a:cubicBezTo>
                      <a:cubicBezTo>
                        <a:pt x="4615" y="76853"/>
                        <a:pt x="4615" y="76853"/>
                        <a:pt x="4615" y="76853"/>
                      </a:cubicBezTo>
                      <a:cubicBezTo>
                        <a:pt x="6153" y="78202"/>
                        <a:pt x="6153" y="78202"/>
                        <a:pt x="6153" y="78202"/>
                      </a:cubicBezTo>
                      <a:cubicBezTo>
                        <a:pt x="4615" y="79550"/>
                        <a:pt x="4615" y="79550"/>
                        <a:pt x="4615" y="79550"/>
                      </a:cubicBezTo>
                      <a:cubicBezTo>
                        <a:pt x="7692" y="82247"/>
                        <a:pt x="7692" y="82247"/>
                        <a:pt x="7692" y="82247"/>
                      </a:cubicBezTo>
                      <a:cubicBezTo>
                        <a:pt x="13846" y="83595"/>
                        <a:pt x="13846" y="83595"/>
                        <a:pt x="13846" y="83595"/>
                      </a:cubicBezTo>
                      <a:cubicBezTo>
                        <a:pt x="16923" y="82247"/>
                        <a:pt x="16923" y="82247"/>
                        <a:pt x="16923" y="82247"/>
                      </a:cubicBezTo>
                      <a:cubicBezTo>
                        <a:pt x="18461" y="80898"/>
                        <a:pt x="18461" y="80898"/>
                        <a:pt x="18461" y="80898"/>
                      </a:cubicBezTo>
                      <a:cubicBezTo>
                        <a:pt x="16923" y="79550"/>
                        <a:pt x="16923" y="79550"/>
                        <a:pt x="16923" y="79550"/>
                      </a:cubicBezTo>
                      <a:cubicBezTo>
                        <a:pt x="16923" y="79550"/>
                        <a:pt x="16923" y="78202"/>
                        <a:pt x="18461" y="78202"/>
                      </a:cubicBezTo>
                      <a:cubicBezTo>
                        <a:pt x="18461" y="76853"/>
                        <a:pt x="20000" y="76853"/>
                        <a:pt x="20000" y="76853"/>
                      </a:cubicBezTo>
                      <a:cubicBezTo>
                        <a:pt x="20000" y="78202"/>
                        <a:pt x="20000" y="78202"/>
                        <a:pt x="20000" y="78202"/>
                      </a:cubicBezTo>
                      <a:cubicBezTo>
                        <a:pt x="24615" y="78202"/>
                        <a:pt x="24615" y="78202"/>
                        <a:pt x="24615" y="78202"/>
                      </a:cubicBezTo>
                      <a:cubicBezTo>
                        <a:pt x="24615" y="80898"/>
                        <a:pt x="24615" y="80898"/>
                        <a:pt x="24615" y="80898"/>
                      </a:cubicBezTo>
                      <a:cubicBezTo>
                        <a:pt x="23076" y="82247"/>
                        <a:pt x="23076" y="82247"/>
                        <a:pt x="23076" y="82247"/>
                      </a:cubicBezTo>
                      <a:cubicBezTo>
                        <a:pt x="21538" y="80898"/>
                        <a:pt x="21538" y="80898"/>
                        <a:pt x="21538" y="80898"/>
                      </a:cubicBezTo>
                      <a:cubicBezTo>
                        <a:pt x="21538" y="80898"/>
                        <a:pt x="21538" y="82247"/>
                        <a:pt x="21538" y="82247"/>
                      </a:cubicBezTo>
                      <a:cubicBezTo>
                        <a:pt x="21538" y="82247"/>
                        <a:pt x="21538" y="86292"/>
                        <a:pt x="21538" y="86292"/>
                      </a:cubicBezTo>
                      <a:cubicBezTo>
                        <a:pt x="21538" y="86292"/>
                        <a:pt x="21538" y="87640"/>
                        <a:pt x="20000" y="86292"/>
                      </a:cubicBezTo>
                      <a:cubicBezTo>
                        <a:pt x="20000" y="86292"/>
                        <a:pt x="18461" y="84943"/>
                        <a:pt x="18461" y="84943"/>
                      </a:cubicBezTo>
                      <a:cubicBezTo>
                        <a:pt x="13846" y="83595"/>
                        <a:pt x="13846" y="83595"/>
                        <a:pt x="13846" y="83595"/>
                      </a:cubicBezTo>
                      <a:cubicBezTo>
                        <a:pt x="12307" y="84943"/>
                        <a:pt x="12307" y="84943"/>
                        <a:pt x="12307" y="84943"/>
                      </a:cubicBezTo>
                      <a:cubicBezTo>
                        <a:pt x="12307" y="84943"/>
                        <a:pt x="12307" y="86292"/>
                        <a:pt x="12307" y="87640"/>
                      </a:cubicBezTo>
                      <a:cubicBezTo>
                        <a:pt x="13846" y="87640"/>
                        <a:pt x="15384" y="87640"/>
                        <a:pt x="15384" y="87640"/>
                      </a:cubicBezTo>
                      <a:cubicBezTo>
                        <a:pt x="15384" y="87640"/>
                        <a:pt x="18461" y="87640"/>
                        <a:pt x="18461" y="87640"/>
                      </a:cubicBezTo>
                      <a:cubicBezTo>
                        <a:pt x="18461" y="87640"/>
                        <a:pt x="18461" y="87640"/>
                        <a:pt x="20000" y="87640"/>
                      </a:cubicBezTo>
                      <a:cubicBezTo>
                        <a:pt x="20000" y="87640"/>
                        <a:pt x="23076" y="87640"/>
                        <a:pt x="23076" y="87640"/>
                      </a:cubicBezTo>
                      <a:cubicBezTo>
                        <a:pt x="23076" y="90337"/>
                        <a:pt x="23076" y="90337"/>
                        <a:pt x="23076" y="90337"/>
                      </a:cubicBezTo>
                      <a:cubicBezTo>
                        <a:pt x="26153" y="93033"/>
                        <a:pt x="26153" y="93033"/>
                        <a:pt x="26153" y="93033"/>
                      </a:cubicBezTo>
                      <a:cubicBezTo>
                        <a:pt x="32307" y="93033"/>
                        <a:pt x="32307" y="93033"/>
                        <a:pt x="32307" y="93033"/>
                      </a:cubicBezTo>
                      <a:cubicBezTo>
                        <a:pt x="33846" y="93033"/>
                        <a:pt x="33846" y="93033"/>
                        <a:pt x="33846" y="93033"/>
                      </a:cubicBezTo>
                      <a:cubicBezTo>
                        <a:pt x="38461" y="95730"/>
                        <a:pt x="38461" y="95730"/>
                        <a:pt x="38461" y="95730"/>
                      </a:cubicBezTo>
                      <a:cubicBezTo>
                        <a:pt x="38461" y="95730"/>
                        <a:pt x="40000" y="98426"/>
                        <a:pt x="41538" y="98426"/>
                      </a:cubicBezTo>
                      <a:cubicBezTo>
                        <a:pt x="41538" y="98426"/>
                        <a:pt x="43076" y="101123"/>
                        <a:pt x="43076" y="101123"/>
                      </a:cubicBezTo>
                      <a:cubicBezTo>
                        <a:pt x="46153" y="101123"/>
                        <a:pt x="46153" y="101123"/>
                        <a:pt x="46153" y="101123"/>
                      </a:cubicBezTo>
                      <a:cubicBezTo>
                        <a:pt x="47692" y="101123"/>
                        <a:pt x="47692" y="101123"/>
                        <a:pt x="47692" y="101123"/>
                      </a:cubicBezTo>
                      <a:cubicBezTo>
                        <a:pt x="47692" y="101123"/>
                        <a:pt x="49230" y="102471"/>
                        <a:pt x="49230" y="102471"/>
                      </a:cubicBezTo>
                      <a:cubicBezTo>
                        <a:pt x="47692" y="103820"/>
                        <a:pt x="47692" y="103820"/>
                        <a:pt x="47692" y="103820"/>
                      </a:cubicBezTo>
                      <a:cubicBezTo>
                        <a:pt x="49230" y="106516"/>
                        <a:pt x="49230" y="106516"/>
                        <a:pt x="49230" y="106516"/>
                      </a:cubicBezTo>
                      <a:cubicBezTo>
                        <a:pt x="52307" y="106516"/>
                        <a:pt x="52307" y="106516"/>
                        <a:pt x="52307" y="106516"/>
                      </a:cubicBezTo>
                      <a:cubicBezTo>
                        <a:pt x="52307" y="106516"/>
                        <a:pt x="52307" y="106516"/>
                        <a:pt x="52307" y="107865"/>
                      </a:cubicBezTo>
                      <a:cubicBezTo>
                        <a:pt x="52307" y="107865"/>
                        <a:pt x="53846" y="110561"/>
                        <a:pt x="53846" y="110561"/>
                      </a:cubicBezTo>
                      <a:cubicBezTo>
                        <a:pt x="53846" y="111910"/>
                        <a:pt x="53846" y="111910"/>
                        <a:pt x="53846" y="111910"/>
                      </a:cubicBezTo>
                      <a:cubicBezTo>
                        <a:pt x="53846" y="111910"/>
                        <a:pt x="55384" y="111910"/>
                        <a:pt x="55384" y="113258"/>
                      </a:cubicBezTo>
                      <a:cubicBezTo>
                        <a:pt x="55384" y="113258"/>
                        <a:pt x="55384" y="113258"/>
                        <a:pt x="55384" y="114606"/>
                      </a:cubicBezTo>
                      <a:cubicBezTo>
                        <a:pt x="56923" y="114606"/>
                        <a:pt x="60000" y="114606"/>
                        <a:pt x="60000" y="114606"/>
                      </a:cubicBezTo>
                      <a:cubicBezTo>
                        <a:pt x="61538" y="115955"/>
                        <a:pt x="61538" y="115955"/>
                        <a:pt x="61538" y="115955"/>
                      </a:cubicBezTo>
                      <a:cubicBezTo>
                        <a:pt x="63076" y="117303"/>
                        <a:pt x="63076" y="117303"/>
                        <a:pt x="63076" y="117303"/>
                      </a:cubicBezTo>
                      <a:lnTo>
                        <a:pt x="64615" y="117303"/>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3" name="Shape 2018"/>
                <p:cNvSpPr/>
                <p:nvPr/>
              </p:nvSpPr>
              <p:spPr>
                <a:xfrm>
                  <a:off x="6017651" y="3676182"/>
                  <a:ext cx="241874" cy="205626"/>
                </a:xfrm>
                <a:custGeom>
                  <a:avLst/>
                  <a:gdLst/>
                  <a:ahLst/>
                  <a:cxnLst/>
                  <a:rect l="0" t="0" r="0" b="0"/>
                  <a:pathLst>
                    <a:path w="120000" h="120000" extrusionOk="0">
                      <a:moveTo>
                        <a:pt x="23773" y="116129"/>
                      </a:moveTo>
                      <a:cubicBezTo>
                        <a:pt x="23773" y="116129"/>
                        <a:pt x="22641" y="116129"/>
                        <a:pt x="21509" y="116129"/>
                      </a:cubicBezTo>
                      <a:cubicBezTo>
                        <a:pt x="20377" y="116129"/>
                        <a:pt x="19245" y="118709"/>
                        <a:pt x="18113" y="118709"/>
                      </a:cubicBezTo>
                      <a:cubicBezTo>
                        <a:pt x="18113" y="118709"/>
                        <a:pt x="18113" y="118709"/>
                        <a:pt x="18113" y="117419"/>
                      </a:cubicBezTo>
                      <a:cubicBezTo>
                        <a:pt x="18113" y="116129"/>
                        <a:pt x="18113" y="116129"/>
                        <a:pt x="16981" y="114838"/>
                      </a:cubicBezTo>
                      <a:cubicBezTo>
                        <a:pt x="16981" y="113548"/>
                        <a:pt x="16981" y="110967"/>
                        <a:pt x="15849" y="109677"/>
                      </a:cubicBezTo>
                      <a:cubicBezTo>
                        <a:pt x="14716" y="108387"/>
                        <a:pt x="14716" y="107096"/>
                        <a:pt x="14716" y="107096"/>
                      </a:cubicBezTo>
                      <a:cubicBezTo>
                        <a:pt x="14716" y="107096"/>
                        <a:pt x="12452" y="107096"/>
                        <a:pt x="11320" y="107096"/>
                      </a:cubicBezTo>
                      <a:cubicBezTo>
                        <a:pt x="11320" y="107096"/>
                        <a:pt x="10188" y="107096"/>
                        <a:pt x="10188" y="107096"/>
                      </a:cubicBezTo>
                      <a:cubicBezTo>
                        <a:pt x="10188" y="107096"/>
                        <a:pt x="9056" y="104516"/>
                        <a:pt x="10188" y="104516"/>
                      </a:cubicBezTo>
                      <a:cubicBezTo>
                        <a:pt x="10188" y="103225"/>
                        <a:pt x="9056" y="101935"/>
                        <a:pt x="7924" y="100645"/>
                      </a:cubicBezTo>
                      <a:cubicBezTo>
                        <a:pt x="7924" y="100645"/>
                        <a:pt x="5660" y="96774"/>
                        <a:pt x="5660" y="96774"/>
                      </a:cubicBezTo>
                      <a:cubicBezTo>
                        <a:pt x="5660" y="96774"/>
                        <a:pt x="4528" y="96774"/>
                        <a:pt x="4528" y="95483"/>
                      </a:cubicBezTo>
                      <a:cubicBezTo>
                        <a:pt x="4528" y="94193"/>
                        <a:pt x="4528" y="92903"/>
                        <a:pt x="4528" y="92903"/>
                      </a:cubicBezTo>
                      <a:cubicBezTo>
                        <a:pt x="3396" y="90322"/>
                        <a:pt x="3396" y="90322"/>
                        <a:pt x="3396" y="90322"/>
                      </a:cubicBezTo>
                      <a:cubicBezTo>
                        <a:pt x="3396" y="90322"/>
                        <a:pt x="5660" y="89032"/>
                        <a:pt x="5660" y="87741"/>
                      </a:cubicBezTo>
                      <a:cubicBezTo>
                        <a:pt x="5660" y="87741"/>
                        <a:pt x="6792" y="86451"/>
                        <a:pt x="5660" y="85161"/>
                      </a:cubicBezTo>
                      <a:cubicBezTo>
                        <a:pt x="5660" y="83870"/>
                        <a:pt x="3396" y="82580"/>
                        <a:pt x="3396" y="82580"/>
                      </a:cubicBezTo>
                      <a:cubicBezTo>
                        <a:pt x="2264" y="81290"/>
                        <a:pt x="1132" y="80000"/>
                        <a:pt x="0" y="78709"/>
                      </a:cubicBezTo>
                      <a:cubicBezTo>
                        <a:pt x="0" y="77419"/>
                        <a:pt x="0" y="76129"/>
                        <a:pt x="0" y="76129"/>
                      </a:cubicBezTo>
                      <a:cubicBezTo>
                        <a:pt x="0" y="76129"/>
                        <a:pt x="0" y="74838"/>
                        <a:pt x="1132" y="74838"/>
                      </a:cubicBezTo>
                      <a:cubicBezTo>
                        <a:pt x="2264" y="73548"/>
                        <a:pt x="3396" y="73548"/>
                        <a:pt x="3396" y="72258"/>
                      </a:cubicBezTo>
                      <a:cubicBezTo>
                        <a:pt x="3396" y="72258"/>
                        <a:pt x="4528" y="72258"/>
                        <a:pt x="4528" y="70967"/>
                      </a:cubicBezTo>
                      <a:cubicBezTo>
                        <a:pt x="3396" y="69677"/>
                        <a:pt x="2264" y="68387"/>
                        <a:pt x="2264" y="68387"/>
                      </a:cubicBezTo>
                      <a:cubicBezTo>
                        <a:pt x="3396" y="64516"/>
                        <a:pt x="3396" y="64516"/>
                        <a:pt x="3396" y="64516"/>
                      </a:cubicBezTo>
                      <a:cubicBezTo>
                        <a:pt x="2264" y="63225"/>
                        <a:pt x="2264" y="63225"/>
                        <a:pt x="2264" y="63225"/>
                      </a:cubicBezTo>
                      <a:cubicBezTo>
                        <a:pt x="2264" y="58064"/>
                        <a:pt x="2264" y="58064"/>
                        <a:pt x="2264" y="58064"/>
                      </a:cubicBezTo>
                      <a:cubicBezTo>
                        <a:pt x="2264" y="56774"/>
                        <a:pt x="2264" y="56774"/>
                        <a:pt x="2264" y="56774"/>
                      </a:cubicBezTo>
                      <a:cubicBezTo>
                        <a:pt x="2264" y="56774"/>
                        <a:pt x="3396" y="54193"/>
                        <a:pt x="3396" y="54193"/>
                      </a:cubicBezTo>
                      <a:cubicBezTo>
                        <a:pt x="3396" y="52903"/>
                        <a:pt x="3396" y="50322"/>
                        <a:pt x="3396" y="50322"/>
                      </a:cubicBezTo>
                      <a:cubicBezTo>
                        <a:pt x="3396" y="50322"/>
                        <a:pt x="3396" y="50322"/>
                        <a:pt x="3396" y="50322"/>
                      </a:cubicBezTo>
                      <a:cubicBezTo>
                        <a:pt x="5660" y="51612"/>
                        <a:pt x="9056" y="50322"/>
                        <a:pt x="10188" y="50322"/>
                      </a:cubicBezTo>
                      <a:cubicBezTo>
                        <a:pt x="12452" y="50322"/>
                        <a:pt x="12452" y="46451"/>
                        <a:pt x="11320" y="42580"/>
                      </a:cubicBezTo>
                      <a:cubicBezTo>
                        <a:pt x="11320" y="40000"/>
                        <a:pt x="12452" y="37419"/>
                        <a:pt x="12452" y="34838"/>
                      </a:cubicBezTo>
                      <a:cubicBezTo>
                        <a:pt x="13584" y="32258"/>
                        <a:pt x="16981" y="30967"/>
                        <a:pt x="20377" y="28387"/>
                      </a:cubicBezTo>
                      <a:cubicBezTo>
                        <a:pt x="22641" y="25806"/>
                        <a:pt x="22641" y="23225"/>
                        <a:pt x="26037" y="23225"/>
                      </a:cubicBezTo>
                      <a:cubicBezTo>
                        <a:pt x="26037" y="23225"/>
                        <a:pt x="27169" y="23225"/>
                        <a:pt x="28301" y="24516"/>
                      </a:cubicBezTo>
                      <a:cubicBezTo>
                        <a:pt x="28301" y="24516"/>
                        <a:pt x="28301" y="25806"/>
                        <a:pt x="29433" y="27096"/>
                      </a:cubicBezTo>
                      <a:cubicBezTo>
                        <a:pt x="29433" y="27096"/>
                        <a:pt x="29433" y="27096"/>
                        <a:pt x="30566" y="27096"/>
                      </a:cubicBezTo>
                      <a:cubicBezTo>
                        <a:pt x="32830" y="30967"/>
                        <a:pt x="35094" y="33548"/>
                        <a:pt x="35094" y="23225"/>
                      </a:cubicBezTo>
                      <a:cubicBezTo>
                        <a:pt x="36226" y="14193"/>
                        <a:pt x="41886" y="16774"/>
                        <a:pt x="46415" y="14193"/>
                      </a:cubicBezTo>
                      <a:cubicBezTo>
                        <a:pt x="46415" y="14193"/>
                        <a:pt x="46415" y="14193"/>
                        <a:pt x="47547" y="12903"/>
                      </a:cubicBezTo>
                      <a:cubicBezTo>
                        <a:pt x="48679" y="14193"/>
                        <a:pt x="49811" y="14193"/>
                        <a:pt x="50943" y="14193"/>
                      </a:cubicBezTo>
                      <a:cubicBezTo>
                        <a:pt x="52075" y="14193"/>
                        <a:pt x="52075" y="14193"/>
                        <a:pt x="52075" y="14193"/>
                      </a:cubicBezTo>
                      <a:cubicBezTo>
                        <a:pt x="52075" y="14193"/>
                        <a:pt x="55471" y="9032"/>
                        <a:pt x="55471" y="9032"/>
                      </a:cubicBezTo>
                      <a:cubicBezTo>
                        <a:pt x="56603" y="9032"/>
                        <a:pt x="58867" y="7741"/>
                        <a:pt x="58867" y="7741"/>
                      </a:cubicBezTo>
                      <a:cubicBezTo>
                        <a:pt x="61132" y="3870"/>
                        <a:pt x="61132" y="3870"/>
                        <a:pt x="61132" y="3870"/>
                      </a:cubicBezTo>
                      <a:cubicBezTo>
                        <a:pt x="61132" y="3870"/>
                        <a:pt x="63396" y="5161"/>
                        <a:pt x="64528" y="5161"/>
                      </a:cubicBezTo>
                      <a:cubicBezTo>
                        <a:pt x="65660" y="5161"/>
                        <a:pt x="66792" y="5161"/>
                        <a:pt x="69056" y="5161"/>
                      </a:cubicBezTo>
                      <a:cubicBezTo>
                        <a:pt x="70188" y="3870"/>
                        <a:pt x="70188" y="3870"/>
                        <a:pt x="70188" y="3870"/>
                      </a:cubicBezTo>
                      <a:cubicBezTo>
                        <a:pt x="70188" y="3870"/>
                        <a:pt x="72452" y="1290"/>
                        <a:pt x="74716" y="1290"/>
                      </a:cubicBezTo>
                      <a:cubicBezTo>
                        <a:pt x="76981" y="0"/>
                        <a:pt x="76981" y="1290"/>
                        <a:pt x="76981" y="1290"/>
                      </a:cubicBezTo>
                      <a:cubicBezTo>
                        <a:pt x="76981" y="1290"/>
                        <a:pt x="80377" y="1290"/>
                        <a:pt x="82641" y="1290"/>
                      </a:cubicBezTo>
                      <a:cubicBezTo>
                        <a:pt x="82641" y="1290"/>
                        <a:pt x="82641" y="0"/>
                        <a:pt x="82641" y="0"/>
                      </a:cubicBezTo>
                      <a:cubicBezTo>
                        <a:pt x="86037" y="2580"/>
                        <a:pt x="86037" y="6451"/>
                        <a:pt x="89433" y="10322"/>
                      </a:cubicBezTo>
                      <a:cubicBezTo>
                        <a:pt x="93962" y="15483"/>
                        <a:pt x="98490" y="14193"/>
                        <a:pt x="106415" y="19354"/>
                      </a:cubicBezTo>
                      <a:cubicBezTo>
                        <a:pt x="106415" y="20645"/>
                        <a:pt x="110943" y="24516"/>
                        <a:pt x="112075" y="28387"/>
                      </a:cubicBezTo>
                      <a:cubicBezTo>
                        <a:pt x="113207" y="33548"/>
                        <a:pt x="117735" y="33548"/>
                        <a:pt x="118867" y="38709"/>
                      </a:cubicBezTo>
                      <a:cubicBezTo>
                        <a:pt x="118867" y="42580"/>
                        <a:pt x="116603" y="43870"/>
                        <a:pt x="116603" y="47741"/>
                      </a:cubicBezTo>
                      <a:cubicBezTo>
                        <a:pt x="116603" y="51612"/>
                        <a:pt x="118867" y="60645"/>
                        <a:pt x="120000" y="61935"/>
                      </a:cubicBezTo>
                      <a:cubicBezTo>
                        <a:pt x="120000" y="61935"/>
                        <a:pt x="120000" y="63225"/>
                        <a:pt x="120000" y="63225"/>
                      </a:cubicBezTo>
                      <a:cubicBezTo>
                        <a:pt x="109811" y="65806"/>
                        <a:pt x="109811" y="65806"/>
                        <a:pt x="109811" y="65806"/>
                      </a:cubicBezTo>
                      <a:cubicBezTo>
                        <a:pt x="110943" y="77419"/>
                        <a:pt x="110943" y="77419"/>
                        <a:pt x="110943" y="77419"/>
                      </a:cubicBezTo>
                      <a:cubicBezTo>
                        <a:pt x="105283" y="82580"/>
                        <a:pt x="105283" y="82580"/>
                        <a:pt x="105283" y="82580"/>
                      </a:cubicBezTo>
                      <a:cubicBezTo>
                        <a:pt x="105283" y="82580"/>
                        <a:pt x="91698" y="85161"/>
                        <a:pt x="90566" y="85161"/>
                      </a:cubicBezTo>
                      <a:cubicBezTo>
                        <a:pt x="89433" y="85161"/>
                        <a:pt x="83773" y="86451"/>
                        <a:pt x="81509" y="87741"/>
                      </a:cubicBezTo>
                      <a:cubicBezTo>
                        <a:pt x="79245" y="87741"/>
                        <a:pt x="75849" y="90322"/>
                        <a:pt x="74716" y="90322"/>
                      </a:cubicBezTo>
                      <a:cubicBezTo>
                        <a:pt x="72452" y="91612"/>
                        <a:pt x="71320" y="98064"/>
                        <a:pt x="71320" y="98064"/>
                      </a:cubicBezTo>
                      <a:cubicBezTo>
                        <a:pt x="71320" y="98064"/>
                        <a:pt x="67924" y="103225"/>
                        <a:pt x="66792" y="104516"/>
                      </a:cubicBezTo>
                      <a:cubicBezTo>
                        <a:pt x="65660" y="105806"/>
                        <a:pt x="60000" y="109677"/>
                        <a:pt x="60000" y="109677"/>
                      </a:cubicBezTo>
                      <a:cubicBezTo>
                        <a:pt x="60000" y="109677"/>
                        <a:pt x="54339" y="109677"/>
                        <a:pt x="53207" y="109677"/>
                      </a:cubicBezTo>
                      <a:cubicBezTo>
                        <a:pt x="50943" y="109677"/>
                        <a:pt x="48679" y="112258"/>
                        <a:pt x="46415" y="112258"/>
                      </a:cubicBezTo>
                      <a:cubicBezTo>
                        <a:pt x="43018" y="113548"/>
                        <a:pt x="40754" y="114838"/>
                        <a:pt x="39622" y="114838"/>
                      </a:cubicBezTo>
                      <a:cubicBezTo>
                        <a:pt x="38490" y="114838"/>
                        <a:pt x="32830" y="116129"/>
                        <a:pt x="32830" y="116129"/>
                      </a:cubicBezTo>
                      <a:cubicBezTo>
                        <a:pt x="32830" y="120000"/>
                        <a:pt x="32830" y="120000"/>
                        <a:pt x="32830" y="120000"/>
                      </a:cubicBezTo>
                      <a:cubicBezTo>
                        <a:pt x="32830" y="120000"/>
                        <a:pt x="31698" y="120000"/>
                        <a:pt x="31698" y="120000"/>
                      </a:cubicBezTo>
                      <a:cubicBezTo>
                        <a:pt x="31698" y="120000"/>
                        <a:pt x="31698" y="120000"/>
                        <a:pt x="30566" y="120000"/>
                      </a:cubicBezTo>
                      <a:cubicBezTo>
                        <a:pt x="30566" y="118709"/>
                        <a:pt x="30566" y="118709"/>
                        <a:pt x="30566" y="118709"/>
                      </a:cubicBezTo>
                      <a:cubicBezTo>
                        <a:pt x="28301" y="116129"/>
                        <a:pt x="28301" y="116129"/>
                        <a:pt x="28301" y="116129"/>
                      </a:cubicBezTo>
                      <a:cubicBezTo>
                        <a:pt x="28301" y="116129"/>
                        <a:pt x="27169" y="117419"/>
                        <a:pt x="26037" y="117419"/>
                      </a:cubicBezTo>
                      <a:cubicBezTo>
                        <a:pt x="24905" y="117419"/>
                        <a:pt x="24905" y="116129"/>
                        <a:pt x="23773" y="11612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4" name="Shape 2019"/>
                <p:cNvSpPr/>
                <p:nvPr/>
              </p:nvSpPr>
              <p:spPr>
                <a:xfrm>
                  <a:off x="5588873" y="2851550"/>
                  <a:ext cx="445269" cy="240785"/>
                </a:xfrm>
                <a:custGeom>
                  <a:avLst/>
                  <a:gdLst/>
                  <a:ahLst/>
                  <a:cxnLst/>
                  <a:rect l="0" t="0" r="0" b="0"/>
                  <a:pathLst>
                    <a:path w="120000" h="120000" extrusionOk="0">
                      <a:moveTo>
                        <a:pt x="16000" y="59449"/>
                      </a:moveTo>
                      <a:cubicBezTo>
                        <a:pt x="17846" y="57247"/>
                        <a:pt x="17846" y="57247"/>
                        <a:pt x="17846" y="57247"/>
                      </a:cubicBezTo>
                      <a:cubicBezTo>
                        <a:pt x="17846" y="57247"/>
                        <a:pt x="17846" y="53944"/>
                        <a:pt x="18461" y="55045"/>
                      </a:cubicBezTo>
                      <a:cubicBezTo>
                        <a:pt x="18461" y="55045"/>
                        <a:pt x="19692" y="53944"/>
                        <a:pt x="19692" y="53944"/>
                      </a:cubicBezTo>
                      <a:cubicBezTo>
                        <a:pt x="20307" y="51743"/>
                        <a:pt x="20307" y="51743"/>
                        <a:pt x="20307" y="51743"/>
                      </a:cubicBezTo>
                      <a:cubicBezTo>
                        <a:pt x="20923" y="48440"/>
                        <a:pt x="20923" y="48440"/>
                        <a:pt x="20923" y="48440"/>
                      </a:cubicBezTo>
                      <a:cubicBezTo>
                        <a:pt x="24000" y="46238"/>
                        <a:pt x="24000" y="46238"/>
                        <a:pt x="24000" y="46238"/>
                      </a:cubicBezTo>
                      <a:cubicBezTo>
                        <a:pt x="24615" y="40733"/>
                        <a:pt x="24615" y="40733"/>
                        <a:pt x="24615" y="40733"/>
                      </a:cubicBezTo>
                      <a:cubicBezTo>
                        <a:pt x="24000" y="37431"/>
                        <a:pt x="24000" y="37431"/>
                        <a:pt x="24000" y="37431"/>
                      </a:cubicBezTo>
                      <a:cubicBezTo>
                        <a:pt x="24000" y="37431"/>
                        <a:pt x="24000" y="33027"/>
                        <a:pt x="24615" y="33027"/>
                      </a:cubicBezTo>
                      <a:cubicBezTo>
                        <a:pt x="25230" y="33027"/>
                        <a:pt x="27076" y="30825"/>
                        <a:pt x="27076" y="30825"/>
                      </a:cubicBezTo>
                      <a:cubicBezTo>
                        <a:pt x="28923" y="27522"/>
                        <a:pt x="28923" y="27522"/>
                        <a:pt x="28923" y="27522"/>
                      </a:cubicBezTo>
                      <a:cubicBezTo>
                        <a:pt x="28923" y="25321"/>
                        <a:pt x="28923" y="25321"/>
                        <a:pt x="28923" y="25321"/>
                      </a:cubicBezTo>
                      <a:cubicBezTo>
                        <a:pt x="30153" y="20917"/>
                        <a:pt x="30153" y="20917"/>
                        <a:pt x="30153" y="20917"/>
                      </a:cubicBezTo>
                      <a:cubicBezTo>
                        <a:pt x="31384" y="18715"/>
                        <a:pt x="31384" y="18715"/>
                        <a:pt x="31384" y="18715"/>
                      </a:cubicBezTo>
                      <a:cubicBezTo>
                        <a:pt x="32615" y="16513"/>
                        <a:pt x="32615" y="16513"/>
                        <a:pt x="32615" y="16513"/>
                      </a:cubicBezTo>
                      <a:cubicBezTo>
                        <a:pt x="34461" y="15412"/>
                        <a:pt x="34461" y="15412"/>
                        <a:pt x="34461" y="15412"/>
                      </a:cubicBezTo>
                      <a:cubicBezTo>
                        <a:pt x="34461" y="15412"/>
                        <a:pt x="35076" y="15412"/>
                        <a:pt x="35692" y="15412"/>
                      </a:cubicBezTo>
                      <a:cubicBezTo>
                        <a:pt x="36307" y="15412"/>
                        <a:pt x="36923" y="14311"/>
                        <a:pt x="36923" y="14311"/>
                      </a:cubicBezTo>
                      <a:cubicBezTo>
                        <a:pt x="37538" y="14311"/>
                        <a:pt x="39384" y="14311"/>
                        <a:pt x="39384" y="14311"/>
                      </a:cubicBezTo>
                      <a:cubicBezTo>
                        <a:pt x="39384" y="14311"/>
                        <a:pt x="40615" y="12110"/>
                        <a:pt x="40615" y="13211"/>
                      </a:cubicBezTo>
                      <a:cubicBezTo>
                        <a:pt x="40615" y="15412"/>
                        <a:pt x="40615" y="16513"/>
                        <a:pt x="40615" y="16513"/>
                      </a:cubicBezTo>
                      <a:cubicBezTo>
                        <a:pt x="41230" y="17614"/>
                        <a:pt x="41846" y="19816"/>
                        <a:pt x="41846" y="19816"/>
                      </a:cubicBezTo>
                      <a:cubicBezTo>
                        <a:pt x="41846" y="19816"/>
                        <a:pt x="43076" y="19816"/>
                        <a:pt x="43692" y="18715"/>
                      </a:cubicBezTo>
                      <a:cubicBezTo>
                        <a:pt x="44307" y="17614"/>
                        <a:pt x="45538" y="16513"/>
                        <a:pt x="45538" y="16513"/>
                      </a:cubicBezTo>
                      <a:cubicBezTo>
                        <a:pt x="45538" y="16513"/>
                        <a:pt x="46769" y="18715"/>
                        <a:pt x="46769" y="17614"/>
                      </a:cubicBezTo>
                      <a:cubicBezTo>
                        <a:pt x="46769" y="16513"/>
                        <a:pt x="46769" y="12110"/>
                        <a:pt x="46769" y="12110"/>
                      </a:cubicBezTo>
                      <a:cubicBezTo>
                        <a:pt x="48000" y="8807"/>
                        <a:pt x="48000" y="8807"/>
                        <a:pt x="48000" y="8807"/>
                      </a:cubicBezTo>
                      <a:cubicBezTo>
                        <a:pt x="48000" y="8807"/>
                        <a:pt x="49230" y="8807"/>
                        <a:pt x="49230" y="7706"/>
                      </a:cubicBezTo>
                      <a:cubicBezTo>
                        <a:pt x="49230" y="6605"/>
                        <a:pt x="50461" y="4403"/>
                        <a:pt x="50461" y="4403"/>
                      </a:cubicBezTo>
                      <a:cubicBezTo>
                        <a:pt x="52307" y="4403"/>
                        <a:pt x="52307" y="4403"/>
                        <a:pt x="52307" y="4403"/>
                      </a:cubicBezTo>
                      <a:cubicBezTo>
                        <a:pt x="53538" y="11009"/>
                        <a:pt x="53538" y="11009"/>
                        <a:pt x="53538" y="11009"/>
                      </a:cubicBezTo>
                      <a:cubicBezTo>
                        <a:pt x="55384" y="13211"/>
                        <a:pt x="55384" y="13211"/>
                        <a:pt x="55384" y="13211"/>
                      </a:cubicBezTo>
                      <a:cubicBezTo>
                        <a:pt x="56000" y="14311"/>
                        <a:pt x="56000" y="14311"/>
                        <a:pt x="56000" y="14311"/>
                      </a:cubicBezTo>
                      <a:cubicBezTo>
                        <a:pt x="57230" y="15412"/>
                        <a:pt x="57230" y="15412"/>
                        <a:pt x="57230" y="15412"/>
                      </a:cubicBezTo>
                      <a:cubicBezTo>
                        <a:pt x="59076" y="15412"/>
                        <a:pt x="59076" y="15412"/>
                        <a:pt x="59076" y="15412"/>
                      </a:cubicBezTo>
                      <a:cubicBezTo>
                        <a:pt x="59076" y="16513"/>
                        <a:pt x="59076" y="16513"/>
                        <a:pt x="59076" y="16513"/>
                      </a:cubicBezTo>
                      <a:cubicBezTo>
                        <a:pt x="60307" y="18715"/>
                        <a:pt x="60307" y="18715"/>
                        <a:pt x="60307" y="18715"/>
                      </a:cubicBezTo>
                      <a:cubicBezTo>
                        <a:pt x="60923" y="22018"/>
                        <a:pt x="60923" y="22018"/>
                        <a:pt x="60923" y="22018"/>
                      </a:cubicBezTo>
                      <a:cubicBezTo>
                        <a:pt x="59692" y="24220"/>
                        <a:pt x="59692" y="24220"/>
                        <a:pt x="59692" y="24220"/>
                      </a:cubicBezTo>
                      <a:cubicBezTo>
                        <a:pt x="59692" y="25321"/>
                        <a:pt x="59692" y="25321"/>
                        <a:pt x="59692" y="25321"/>
                      </a:cubicBezTo>
                      <a:cubicBezTo>
                        <a:pt x="60307" y="26422"/>
                        <a:pt x="60307" y="26422"/>
                        <a:pt x="60307" y="26422"/>
                      </a:cubicBezTo>
                      <a:cubicBezTo>
                        <a:pt x="60307" y="26422"/>
                        <a:pt x="60923" y="26422"/>
                        <a:pt x="60923" y="26422"/>
                      </a:cubicBezTo>
                      <a:cubicBezTo>
                        <a:pt x="60923" y="26422"/>
                        <a:pt x="62153" y="25321"/>
                        <a:pt x="62769" y="25321"/>
                      </a:cubicBezTo>
                      <a:cubicBezTo>
                        <a:pt x="62769" y="25321"/>
                        <a:pt x="62769" y="24220"/>
                        <a:pt x="62769" y="24220"/>
                      </a:cubicBezTo>
                      <a:cubicBezTo>
                        <a:pt x="62769" y="24220"/>
                        <a:pt x="64000" y="23119"/>
                        <a:pt x="64000" y="23119"/>
                      </a:cubicBezTo>
                      <a:cubicBezTo>
                        <a:pt x="64000" y="23119"/>
                        <a:pt x="64615" y="23119"/>
                        <a:pt x="64615" y="23119"/>
                      </a:cubicBezTo>
                      <a:cubicBezTo>
                        <a:pt x="64615" y="24220"/>
                        <a:pt x="65230" y="25321"/>
                        <a:pt x="65230" y="25321"/>
                      </a:cubicBezTo>
                      <a:cubicBezTo>
                        <a:pt x="65230" y="25321"/>
                        <a:pt x="65846" y="24220"/>
                        <a:pt x="65846" y="25321"/>
                      </a:cubicBezTo>
                      <a:cubicBezTo>
                        <a:pt x="65846" y="25321"/>
                        <a:pt x="66461" y="25321"/>
                        <a:pt x="66461" y="25321"/>
                      </a:cubicBezTo>
                      <a:cubicBezTo>
                        <a:pt x="66461" y="25321"/>
                        <a:pt x="66461" y="25321"/>
                        <a:pt x="66461" y="24220"/>
                      </a:cubicBezTo>
                      <a:cubicBezTo>
                        <a:pt x="66461" y="22018"/>
                        <a:pt x="66461" y="22018"/>
                        <a:pt x="66461" y="22018"/>
                      </a:cubicBezTo>
                      <a:cubicBezTo>
                        <a:pt x="66461" y="20917"/>
                        <a:pt x="66461" y="19816"/>
                        <a:pt x="66461" y="19816"/>
                      </a:cubicBezTo>
                      <a:cubicBezTo>
                        <a:pt x="67076" y="18715"/>
                        <a:pt x="67076" y="18715"/>
                        <a:pt x="67076" y="17614"/>
                      </a:cubicBezTo>
                      <a:cubicBezTo>
                        <a:pt x="67076" y="17614"/>
                        <a:pt x="66461" y="16513"/>
                        <a:pt x="67076" y="16513"/>
                      </a:cubicBezTo>
                      <a:cubicBezTo>
                        <a:pt x="67692" y="16513"/>
                        <a:pt x="68307" y="16513"/>
                        <a:pt x="68307" y="16513"/>
                      </a:cubicBezTo>
                      <a:cubicBezTo>
                        <a:pt x="68307" y="16513"/>
                        <a:pt x="68307" y="15412"/>
                        <a:pt x="68307" y="15412"/>
                      </a:cubicBezTo>
                      <a:cubicBezTo>
                        <a:pt x="68307" y="15412"/>
                        <a:pt x="68923" y="14311"/>
                        <a:pt x="69538" y="14311"/>
                      </a:cubicBezTo>
                      <a:cubicBezTo>
                        <a:pt x="69538" y="14311"/>
                        <a:pt x="69538" y="15412"/>
                        <a:pt x="70153" y="14311"/>
                      </a:cubicBezTo>
                      <a:cubicBezTo>
                        <a:pt x="70769" y="13211"/>
                        <a:pt x="70153" y="13211"/>
                        <a:pt x="70153" y="13211"/>
                      </a:cubicBezTo>
                      <a:cubicBezTo>
                        <a:pt x="70153" y="12110"/>
                        <a:pt x="70153" y="12110"/>
                        <a:pt x="70153" y="12110"/>
                      </a:cubicBezTo>
                      <a:cubicBezTo>
                        <a:pt x="70769" y="11009"/>
                        <a:pt x="70153" y="12110"/>
                        <a:pt x="71384" y="12110"/>
                      </a:cubicBezTo>
                      <a:cubicBezTo>
                        <a:pt x="72000" y="11009"/>
                        <a:pt x="72615" y="11009"/>
                        <a:pt x="72615" y="11009"/>
                      </a:cubicBezTo>
                      <a:cubicBezTo>
                        <a:pt x="72615" y="11009"/>
                        <a:pt x="72615" y="9908"/>
                        <a:pt x="72615" y="9908"/>
                      </a:cubicBezTo>
                      <a:cubicBezTo>
                        <a:pt x="73846" y="8807"/>
                        <a:pt x="73846" y="8807"/>
                        <a:pt x="73846" y="8807"/>
                      </a:cubicBezTo>
                      <a:cubicBezTo>
                        <a:pt x="73846" y="8807"/>
                        <a:pt x="73846" y="9908"/>
                        <a:pt x="73846" y="9908"/>
                      </a:cubicBezTo>
                      <a:cubicBezTo>
                        <a:pt x="73846" y="9908"/>
                        <a:pt x="74461" y="9908"/>
                        <a:pt x="75076" y="9908"/>
                      </a:cubicBezTo>
                      <a:cubicBezTo>
                        <a:pt x="75076" y="9908"/>
                        <a:pt x="75692" y="11009"/>
                        <a:pt x="75692" y="9908"/>
                      </a:cubicBezTo>
                      <a:cubicBezTo>
                        <a:pt x="75692" y="9908"/>
                        <a:pt x="76307" y="9908"/>
                        <a:pt x="76307" y="8807"/>
                      </a:cubicBezTo>
                      <a:cubicBezTo>
                        <a:pt x="76307" y="8807"/>
                        <a:pt x="76307" y="8807"/>
                        <a:pt x="76307" y="8807"/>
                      </a:cubicBezTo>
                      <a:cubicBezTo>
                        <a:pt x="76307" y="8807"/>
                        <a:pt x="76307" y="7706"/>
                        <a:pt x="76923" y="7706"/>
                      </a:cubicBezTo>
                      <a:cubicBezTo>
                        <a:pt x="77538" y="8807"/>
                        <a:pt x="76923" y="8807"/>
                        <a:pt x="77538" y="8807"/>
                      </a:cubicBezTo>
                      <a:cubicBezTo>
                        <a:pt x="77538" y="7706"/>
                        <a:pt x="78769" y="6605"/>
                        <a:pt x="78769" y="6605"/>
                      </a:cubicBezTo>
                      <a:cubicBezTo>
                        <a:pt x="78769" y="6605"/>
                        <a:pt x="78769" y="6605"/>
                        <a:pt x="79384" y="8807"/>
                      </a:cubicBezTo>
                      <a:cubicBezTo>
                        <a:pt x="79384" y="9908"/>
                        <a:pt x="80000" y="9908"/>
                        <a:pt x="80615" y="9908"/>
                      </a:cubicBezTo>
                      <a:cubicBezTo>
                        <a:pt x="80615" y="9908"/>
                        <a:pt x="80615" y="9908"/>
                        <a:pt x="80615" y="9908"/>
                      </a:cubicBezTo>
                      <a:cubicBezTo>
                        <a:pt x="80615" y="11009"/>
                        <a:pt x="81230" y="12110"/>
                        <a:pt x="81230" y="12110"/>
                      </a:cubicBezTo>
                      <a:cubicBezTo>
                        <a:pt x="81846" y="12110"/>
                        <a:pt x="81846" y="12110"/>
                        <a:pt x="81846" y="12110"/>
                      </a:cubicBezTo>
                      <a:cubicBezTo>
                        <a:pt x="82461" y="11009"/>
                        <a:pt x="82461" y="11009"/>
                        <a:pt x="82461" y="11009"/>
                      </a:cubicBezTo>
                      <a:cubicBezTo>
                        <a:pt x="82461" y="11009"/>
                        <a:pt x="82461" y="12110"/>
                        <a:pt x="83076" y="12110"/>
                      </a:cubicBezTo>
                      <a:cubicBezTo>
                        <a:pt x="83692" y="12110"/>
                        <a:pt x="84307" y="13211"/>
                        <a:pt x="84307" y="13211"/>
                      </a:cubicBezTo>
                      <a:cubicBezTo>
                        <a:pt x="84307" y="12110"/>
                        <a:pt x="84923" y="11009"/>
                        <a:pt x="84923" y="11009"/>
                      </a:cubicBezTo>
                      <a:cubicBezTo>
                        <a:pt x="84923" y="9908"/>
                        <a:pt x="84923" y="9908"/>
                        <a:pt x="85538" y="8807"/>
                      </a:cubicBezTo>
                      <a:cubicBezTo>
                        <a:pt x="85538" y="8807"/>
                        <a:pt x="87384" y="7706"/>
                        <a:pt x="87384" y="7706"/>
                      </a:cubicBezTo>
                      <a:cubicBezTo>
                        <a:pt x="87384" y="7706"/>
                        <a:pt x="86769" y="5504"/>
                        <a:pt x="86153" y="5504"/>
                      </a:cubicBezTo>
                      <a:cubicBezTo>
                        <a:pt x="86153" y="5504"/>
                        <a:pt x="85538" y="4403"/>
                        <a:pt x="86769" y="3302"/>
                      </a:cubicBezTo>
                      <a:cubicBezTo>
                        <a:pt x="87384" y="3302"/>
                        <a:pt x="88000" y="3302"/>
                        <a:pt x="88000" y="3302"/>
                      </a:cubicBezTo>
                      <a:cubicBezTo>
                        <a:pt x="89230" y="4403"/>
                        <a:pt x="89230" y="4403"/>
                        <a:pt x="89230" y="4403"/>
                      </a:cubicBezTo>
                      <a:cubicBezTo>
                        <a:pt x="89230" y="3302"/>
                        <a:pt x="89230" y="3302"/>
                        <a:pt x="89230" y="3302"/>
                      </a:cubicBezTo>
                      <a:cubicBezTo>
                        <a:pt x="89846" y="2201"/>
                        <a:pt x="89846" y="2201"/>
                        <a:pt x="89846" y="2201"/>
                      </a:cubicBezTo>
                      <a:cubicBezTo>
                        <a:pt x="89846" y="2201"/>
                        <a:pt x="90461" y="1100"/>
                        <a:pt x="90461" y="1100"/>
                      </a:cubicBezTo>
                      <a:cubicBezTo>
                        <a:pt x="90461" y="1100"/>
                        <a:pt x="91076" y="1100"/>
                        <a:pt x="91076" y="1100"/>
                      </a:cubicBezTo>
                      <a:cubicBezTo>
                        <a:pt x="91692" y="1100"/>
                        <a:pt x="92307" y="1100"/>
                        <a:pt x="92307" y="1100"/>
                      </a:cubicBezTo>
                      <a:cubicBezTo>
                        <a:pt x="92307" y="1100"/>
                        <a:pt x="92923" y="2201"/>
                        <a:pt x="92923" y="2201"/>
                      </a:cubicBezTo>
                      <a:cubicBezTo>
                        <a:pt x="93538" y="2201"/>
                        <a:pt x="94153" y="2201"/>
                        <a:pt x="94153" y="2201"/>
                      </a:cubicBezTo>
                      <a:cubicBezTo>
                        <a:pt x="94153" y="2201"/>
                        <a:pt x="94769" y="3302"/>
                        <a:pt x="94769" y="2201"/>
                      </a:cubicBezTo>
                      <a:cubicBezTo>
                        <a:pt x="95384" y="2201"/>
                        <a:pt x="95384" y="1100"/>
                        <a:pt x="95384" y="1100"/>
                      </a:cubicBezTo>
                      <a:cubicBezTo>
                        <a:pt x="95384" y="1100"/>
                        <a:pt x="97846" y="0"/>
                        <a:pt x="97846" y="0"/>
                      </a:cubicBezTo>
                      <a:cubicBezTo>
                        <a:pt x="97846" y="0"/>
                        <a:pt x="98461" y="0"/>
                        <a:pt x="98461" y="0"/>
                      </a:cubicBezTo>
                      <a:cubicBezTo>
                        <a:pt x="99076" y="1100"/>
                        <a:pt x="99692" y="1100"/>
                        <a:pt x="99692" y="1100"/>
                      </a:cubicBezTo>
                      <a:cubicBezTo>
                        <a:pt x="100307" y="1100"/>
                        <a:pt x="100923" y="2201"/>
                        <a:pt x="100923" y="2201"/>
                      </a:cubicBezTo>
                      <a:cubicBezTo>
                        <a:pt x="101538" y="3302"/>
                        <a:pt x="102153" y="3302"/>
                        <a:pt x="102153" y="3302"/>
                      </a:cubicBezTo>
                      <a:cubicBezTo>
                        <a:pt x="102153" y="3302"/>
                        <a:pt x="102153" y="1100"/>
                        <a:pt x="102153" y="1100"/>
                      </a:cubicBezTo>
                      <a:cubicBezTo>
                        <a:pt x="102769" y="1100"/>
                        <a:pt x="103384" y="1100"/>
                        <a:pt x="103384" y="1100"/>
                      </a:cubicBezTo>
                      <a:cubicBezTo>
                        <a:pt x="104000" y="2201"/>
                        <a:pt x="104000" y="2201"/>
                        <a:pt x="104000" y="2201"/>
                      </a:cubicBezTo>
                      <a:cubicBezTo>
                        <a:pt x="104000" y="2201"/>
                        <a:pt x="104615" y="3302"/>
                        <a:pt x="105230" y="3302"/>
                      </a:cubicBezTo>
                      <a:cubicBezTo>
                        <a:pt x="105230" y="3302"/>
                        <a:pt x="105846" y="2201"/>
                        <a:pt x="105846" y="2201"/>
                      </a:cubicBezTo>
                      <a:cubicBezTo>
                        <a:pt x="105846" y="3302"/>
                        <a:pt x="106461" y="3302"/>
                        <a:pt x="106461" y="4403"/>
                      </a:cubicBezTo>
                      <a:cubicBezTo>
                        <a:pt x="106461" y="4403"/>
                        <a:pt x="107076" y="5504"/>
                        <a:pt x="107076" y="5504"/>
                      </a:cubicBezTo>
                      <a:cubicBezTo>
                        <a:pt x="107076" y="6605"/>
                        <a:pt x="107692" y="6605"/>
                        <a:pt x="107692" y="6605"/>
                      </a:cubicBezTo>
                      <a:cubicBezTo>
                        <a:pt x="107692" y="7706"/>
                        <a:pt x="107692" y="8807"/>
                        <a:pt x="107692" y="8807"/>
                      </a:cubicBezTo>
                      <a:cubicBezTo>
                        <a:pt x="107692" y="8807"/>
                        <a:pt x="107692" y="8807"/>
                        <a:pt x="107692" y="9908"/>
                      </a:cubicBezTo>
                      <a:cubicBezTo>
                        <a:pt x="108307" y="9908"/>
                        <a:pt x="110153" y="9908"/>
                        <a:pt x="110153" y="9908"/>
                      </a:cubicBezTo>
                      <a:cubicBezTo>
                        <a:pt x="110153" y="9908"/>
                        <a:pt x="110769" y="9908"/>
                        <a:pt x="110769" y="11009"/>
                      </a:cubicBezTo>
                      <a:cubicBezTo>
                        <a:pt x="110769" y="11009"/>
                        <a:pt x="112000" y="11009"/>
                        <a:pt x="112000" y="11009"/>
                      </a:cubicBezTo>
                      <a:cubicBezTo>
                        <a:pt x="112000" y="11009"/>
                        <a:pt x="112615" y="9908"/>
                        <a:pt x="112615" y="11009"/>
                      </a:cubicBezTo>
                      <a:cubicBezTo>
                        <a:pt x="112615" y="11009"/>
                        <a:pt x="112615" y="12110"/>
                        <a:pt x="112615" y="12110"/>
                      </a:cubicBezTo>
                      <a:cubicBezTo>
                        <a:pt x="113846" y="12110"/>
                        <a:pt x="113846" y="12110"/>
                        <a:pt x="113846" y="12110"/>
                      </a:cubicBezTo>
                      <a:cubicBezTo>
                        <a:pt x="114461" y="12110"/>
                        <a:pt x="114461" y="12110"/>
                        <a:pt x="114461" y="12110"/>
                      </a:cubicBezTo>
                      <a:cubicBezTo>
                        <a:pt x="114461" y="12110"/>
                        <a:pt x="115076" y="11009"/>
                        <a:pt x="115076" y="12110"/>
                      </a:cubicBezTo>
                      <a:cubicBezTo>
                        <a:pt x="115076" y="12110"/>
                        <a:pt x="115692" y="12110"/>
                        <a:pt x="115692" y="12110"/>
                      </a:cubicBezTo>
                      <a:cubicBezTo>
                        <a:pt x="115692" y="12110"/>
                        <a:pt x="116923" y="13211"/>
                        <a:pt x="116923" y="13211"/>
                      </a:cubicBezTo>
                      <a:cubicBezTo>
                        <a:pt x="116923" y="13211"/>
                        <a:pt x="117538" y="13211"/>
                        <a:pt x="118153" y="13211"/>
                      </a:cubicBezTo>
                      <a:cubicBezTo>
                        <a:pt x="118153" y="13211"/>
                        <a:pt x="120000" y="13211"/>
                        <a:pt x="120000" y="13211"/>
                      </a:cubicBezTo>
                      <a:cubicBezTo>
                        <a:pt x="120000" y="13211"/>
                        <a:pt x="120000" y="14311"/>
                        <a:pt x="120000" y="15412"/>
                      </a:cubicBezTo>
                      <a:cubicBezTo>
                        <a:pt x="120000" y="15412"/>
                        <a:pt x="120000" y="17614"/>
                        <a:pt x="120000" y="17614"/>
                      </a:cubicBezTo>
                      <a:cubicBezTo>
                        <a:pt x="120000" y="17614"/>
                        <a:pt x="119384" y="18715"/>
                        <a:pt x="119384" y="19816"/>
                      </a:cubicBezTo>
                      <a:cubicBezTo>
                        <a:pt x="118769" y="19816"/>
                        <a:pt x="118769" y="22018"/>
                        <a:pt x="118769" y="22018"/>
                      </a:cubicBezTo>
                      <a:cubicBezTo>
                        <a:pt x="118769" y="22018"/>
                        <a:pt x="118769" y="23119"/>
                        <a:pt x="118769" y="23119"/>
                      </a:cubicBezTo>
                      <a:cubicBezTo>
                        <a:pt x="118769" y="23119"/>
                        <a:pt x="118769" y="25321"/>
                        <a:pt x="118769" y="25321"/>
                      </a:cubicBezTo>
                      <a:cubicBezTo>
                        <a:pt x="118153" y="27522"/>
                        <a:pt x="118153" y="27522"/>
                        <a:pt x="118153" y="27522"/>
                      </a:cubicBezTo>
                      <a:cubicBezTo>
                        <a:pt x="118153" y="27522"/>
                        <a:pt x="117538" y="28623"/>
                        <a:pt x="118153" y="29724"/>
                      </a:cubicBezTo>
                      <a:cubicBezTo>
                        <a:pt x="118153" y="29724"/>
                        <a:pt x="118153" y="30825"/>
                        <a:pt x="118153" y="30825"/>
                      </a:cubicBezTo>
                      <a:cubicBezTo>
                        <a:pt x="118769" y="31926"/>
                        <a:pt x="118769" y="31926"/>
                        <a:pt x="118769" y="31926"/>
                      </a:cubicBezTo>
                      <a:cubicBezTo>
                        <a:pt x="117538" y="34128"/>
                        <a:pt x="117538" y="34128"/>
                        <a:pt x="117538" y="34128"/>
                      </a:cubicBezTo>
                      <a:cubicBezTo>
                        <a:pt x="117538" y="36330"/>
                        <a:pt x="117538" y="36330"/>
                        <a:pt x="117538" y="36330"/>
                      </a:cubicBezTo>
                      <a:cubicBezTo>
                        <a:pt x="117538" y="36330"/>
                        <a:pt x="118153" y="37431"/>
                        <a:pt x="117538" y="38532"/>
                      </a:cubicBezTo>
                      <a:cubicBezTo>
                        <a:pt x="117538" y="38532"/>
                        <a:pt x="116923" y="39633"/>
                        <a:pt x="116923" y="39633"/>
                      </a:cubicBezTo>
                      <a:cubicBezTo>
                        <a:pt x="116923" y="39633"/>
                        <a:pt x="115692" y="41834"/>
                        <a:pt x="115692" y="41834"/>
                      </a:cubicBezTo>
                      <a:cubicBezTo>
                        <a:pt x="115692" y="41834"/>
                        <a:pt x="115692" y="42935"/>
                        <a:pt x="115692" y="42935"/>
                      </a:cubicBezTo>
                      <a:cubicBezTo>
                        <a:pt x="115692" y="42935"/>
                        <a:pt x="115076" y="45137"/>
                        <a:pt x="115076" y="45137"/>
                      </a:cubicBezTo>
                      <a:cubicBezTo>
                        <a:pt x="115076" y="45137"/>
                        <a:pt x="115076" y="48440"/>
                        <a:pt x="115076" y="48440"/>
                      </a:cubicBezTo>
                      <a:cubicBezTo>
                        <a:pt x="115076" y="48440"/>
                        <a:pt x="115692" y="49541"/>
                        <a:pt x="115692" y="49541"/>
                      </a:cubicBezTo>
                      <a:cubicBezTo>
                        <a:pt x="115692" y="49541"/>
                        <a:pt x="115692" y="50642"/>
                        <a:pt x="115692" y="51743"/>
                      </a:cubicBezTo>
                      <a:cubicBezTo>
                        <a:pt x="115076" y="51743"/>
                        <a:pt x="115692" y="52844"/>
                        <a:pt x="115692" y="53944"/>
                      </a:cubicBezTo>
                      <a:cubicBezTo>
                        <a:pt x="115692" y="53944"/>
                        <a:pt x="115692" y="55045"/>
                        <a:pt x="115692" y="55045"/>
                      </a:cubicBezTo>
                      <a:cubicBezTo>
                        <a:pt x="115076" y="57247"/>
                        <a:pt x="115076" y="57247"/>
                        <a:pt x="115076" y="57247"/>
                      </a:cubicBezTo>
                      <a:cubicBezTo>
                        <a:pt x="114461" y="57247"/>
                        <a:pt x="114461" y="57247"/>
                        <a:pt x="114461" y="57247"/>
                      </a:cubicBezTo>
                      <a:cubicBezTo>
                        <a:pt x="115076" y="60550"/>
                        <a:pt x="115076" y="60550"/>
                        <a:pt x="115076" y="60550"/>
                      </a:cubicBezTo>
                      <a:cubicBezTo>
                        <a:pt x="113846" y="62752"/>
                        <a:pt x="113846" y="62752"/>
                        <a:pt x="113846" y="62752"/>
                      </a:cubicBezTo>
                      <a:cubicBezTo>
                        <a:pt x="108923" y="62752"/>
                        <a:pt x="108923" y="62752"/>
                        <a:pt x="108923" y="62752"/>
                      </a:cubicBezTo>
                      <a:cubicBezTo>
                        <a:pt x="104000" y="53944"/>
                        <a:pt x="104000" y="53944"/>
                        <a:pt x="104000" y="53944"/>
                      </a:cubicBezTo>
                      <a:cubicBezTo>
                        <a:pt x="100307" y="52844"/>
                        <a:pt x="100307" y="52844"/>
                        <a:pt x="100307" y="52844"/>
                      </a:cubicBezTo>
                      <a:cubicBezTo>
                        <a:pt x="97230" y="57247"/>
                        <a:pt x="97230" y="57247"/>
                        <a:pt x="97230" y="57247"/>
                      </a:cubicBezTo>
                      <a:cubicBezTo>
                        <a:pt x="92923" y="58348"/>
                        <a:pt x="92923" y="58348"/>
                        <a:pt x="92923" y="58348"/>
                      </a:cubicBezTo>
                      <a:cubicBezTo>
                        <a:pt x="89846" y="55045"/>
                        <a:pt x="89846" y="55045"/>
                        <a:pt x="89846" y="55045"/>
                      </a:cubicBezTo>
                      <a:cubicBezTo>
                        <a:pt x="81230" y="59449"/>
                        <a:pt x="81230" y="59449"/>
                        <a:pt x="81230" y="59449"/>
                      </a:cubicBezTo>
                      <a:cubicBezTo>
                        <a:pt x="80615" y="62752"/>
                        <a:pt x="80615" y="62752"/>
                        <a:pt x="80615" y="62752"/>
                      </a:cubicBezTo>
                      <a:cubicBezTo>
                        <a:pt x="79384" y="70458"/>
                        <a:pt x="79384" y="70458"/>
                        <a:pt x="79384" y="70458"/>
                      </a:cubicBezTo>
                      <a:cubicBezTo>
                        <a:pt x="77538" y="77064"/>
                        <a:pt x="77538" y="77064"/>
                        <a:pt x="77538" y="77064"/>
                      </a:cubicBezTo>
                      <a:cubicBezTo>
                        <a:pt x="75076" y="79266"/>
                        <a:pt x="75076" y="79266"/>
                        <a:pt x="75076" y="79266"/>
                      </a:cubicBezTo>
                      <a:cubicBezTo>
                        <a:pt x="73230" y="81467"/>
                        <a:pt x="73230" y="81467"/>
                        <a:pt x="73230" y="81467"/>
                      </a:cubicBezTo>
                      <a:cubicBezTo>
                        <a:pt x="71384" y="85871"/>
                        <a:pt x="71384" y="85871"/>
                        <a:pt x="71384" y="85871"/>
                      </a:cubicBezTo>
                      <a:cubicBezTo>
                        <a:pt x="67692" y="85871"/>
                        <a:pt x="67692" y="85871"/>
                        <a:pt x="67692" y="85871"/>
                      </a:cubicBezTo>
                      <a:cubicBezTo>
                        <a:pt x="65230" y="84770"/>
                        <a:pt x="65230" y="84770"/>
                        <a:pt x="65230" y="84770"/>
                      </a:cubicBezTo>
                      <a:cubicBezTo>
                        <a:pt x="61538" y="85871"/>
                        <a:pt x="61538" y="85871"/>
                        <a:pt x="61538" y="85871"/>
                      </a:cubicBezTo>
                      <a:cubicBezTo>
                        <a:pt x="60307" y="92477"/>
                        <a:pt x="60307" y="92477"/>
                        <a:pt x="60307" y="92477"/>
                      </a:cubicBezTo>
                      <a:cubicBezTo>
                        <a:pt x="57846" y="93577"/>
                        <a:pt x="57846" y="93577"/>
                        <a:pt x="57846" y="93577"/>
                      </a:cubicBezTo>
                      <a:cubicBezTo>
                        <a:pt x="53538" y="94678"/>
                        <a:pt x="53538" y="94678"/>
                        <a:pt x="53538" y="94678"/>
                      </a:cubicBezTo>
                      <a:cubicBezTo>
                        <a:pt x="48000" y="97981"/>
                        <a:pt x="48000" y="97981"/>
                        <a:pt x="48000" y="97981"/>
                      </a:cubicBezTo>
                      <a:cubicBezTo>
                        <a:pt x="44923" y="103486"/>
                        <a:pt x="44923" y="103486"/>
                        <a:pt x="44923" y="103486"/>
                      </a:cubicBezTo>
                      <a:cubicBezTo>
                        <a:pt x="44923" y="105688"/>
                        <a:pt x="44923" y="105688"/>
                        <a:pt x="44923" y="105688"/>
                      </a:cubicBezTo>
                      <a:cubicBezTo>
                        <a:pt x="44923" y="105688"/>
                        <a:pt x="47384" y="108990"/>
                        <a:pt x="48615" y="110091"/>
                      </a:cubicBezTo>
                      <a:cubicBezTo>
                        <a:pt x="49846" y="112293"/>
                        <a:pt x="46153" y="113394"/>
                        <a:pt x="45538" y="114495"/>
                      </a:cubicBezTo>
                      <a:cubicBezTo>
                        <a:pt x="44923" y="115596"/>
                        <a:pt x="39384" y="116697"/>
                        <a:pt x="39384" y="116697"/>
                      </a:cubicBezTo>
                      <a:cubicBezTo>
                        <a:pt x="28923" y="117798"/>
                        <a:pt x="28923" y="117798"/>
                        <a:pt x="28923" y="117798"/>
                      </a:cubicBezTo>
                      <a:cubicBezTo>
                        <a:pt x="23384" y="120000"/>
                        <a:pt x="23384" y="120000"/>
                        <a:pt x="23384" y="120000"/>
                      </a:cubicBezTo>
                      <a:cubicBezTo>
                        <a:pt x="20923" y="117798"/>
                        <a:pt x="20923" y="117798"/>
                        <a:pt x="20923" y="117798"/>
                      </a:cubicBezTo>
                      <a:cubicBezTo>
                        <a:pt x="16615" y="113394"/>
                        <a:pt x="16615" y="113394"/>
                        <a:pt x="16615" y="113394"/>
                      </a:cubicBezTo>
                      <a:cubicBezTo>
                        <a:pt x="13538" y="107889"/>
                        <a:pt x="13538" y="107889"/>
                        <a:pt x="13538" y="107889"/>
                      </a:cubicBezTo>
                      <a:cubicBezTo>
                        <a:pt x="13538" y="107889"/>
                        <a:pt x="13538" y="107889"/>
                        <a:pt x="13538" y="107889"/>
                      </a:cubicBezTo>
                      <a:cubicBezTo>
                        <a:pt x="8615" y="106788"/>
                        <a:pt x="8615" y="106788"/>
                        <a:pt x="8615" y="106788"/>
                      </a:cubicBezTo>
                      <a:cubicBezTo>
                        <a:pt x="8615" y="107889"/>
                        <a:pt x="8615" y="107889"/>
                        <a:pt x="8615" y="107889"/>
                      </a:cubicBezTo>
                      <a:cubicBezTo>
                        <a:pt x="8615" y="112293"/>
                        <a:pt x="8615" y="112293"/>
                        <a:pt x="8615" y="112293"/>
                      </a:cubicBezTo>
                      <a:cubicBezTo>
                        <a:pt x="6769" y="116697"/>
                        <a:pt x="6769" y="116697"/>
                        <a:pt x="6769" y="116697"/>
                      </a:cubicBezTo>
                      <a:cubicBezTo>
                        <a:pt x="5538" y="113394"/>
                        <a:pt x="4923" y="107889"/>
                        <a:pt x="3692" y="102385"/>
                      </a:cubicBezTo>
                      <a:cubicBezTo>
                        <a:pt x="3692" y="102385"/>
                        <a:pt x="3692" y="101284"/>
                        <a:pt x="3076" y="100183"/>
                      </a:cubicBezTo>
                      <a:cubicBezTo>
                        <a:pt x="3076" y="99082"/>
                        <a:pt x="2461" y="96880"/>
                        <a:pt x="2461" y="96880"/>
                      </a:cubicBezTo>
                      <a:cubicBezTo>
                        <a:pt x="2461" y="96880"/>
                        <a:pt x="2461" y="96880"/>
                        <a:pt x="2461" y="96880"/>
                      </a:cubicBezTo>
                      <a:cubicBezTo>
                        <a:pt x="1846" y="95779"/>
                        <a:pt x="1230" y="94678"/>
                        <a:pt x="1230" y="94678"/>
                      </a:cubicBezTo>
                      <a:cubicBezTo>
                        <a:pt x="1230" y="94678"/>
                        <a:pt x="1230" y="93577"/>
                        <a:pt x="1230" y="93577"/>
                      </a:cubicBezTo>
                      <a:cubicBezTo>
                        <a:pt x="615" y="93577"/>
                        <a:pt x="0" y="92477"/>
                        <a:pt x="0" y="92477"/>
                      </a:cubicBezTo>
                      <a:cubicBezTo>
                        <a:pt x="0" y="92477"/>
                        <a:pt x="0" y="89174"/>
                        <a:pt x="0" y="89174"/>
                      </a:cubicBezTo>
                      <a:cubicBezTo>
                        <a:pt x="0" y="86972"/>
                        <a:pt x="0" y="86972"/>
                        <a:pt x="0" y="86972"/>
                      </a:cubicBezTo>
                      <a:cubicBezTo>
                        <a:pt x="1230" y="84770"/>
                        <a:pt x="1230" y="84770"/>
                        <a:pt x="1230" y="84770"/>
                      </a:cubicBezTo>
                      <a:cubicBezTo>
                        <a:pt x="1230" y="84770"/>
                        <a:pt x="1230" y="82568"/>
                        <a:pt x="1230" y="82568"/>
                      </a:cubicBezTo>
                      <a:cubicBezTo>
                        <a:pt x="1230" y="82568"/>
                        <a:pt x="1846" y="80366"/>
                        <a:pt x="1846" y="80366"/>
                      </a:cubicBezTo>
                      <a:cubicBezTo>
                        <a:pt x="1230" y="79266"/>
                        <a:pt x="1230" y="79266"/>
                        <a:pt x="1230" y="79266"/>
                      </a:cubicBezTo>
                      <a:cubicBezTo>
                        <a:pt x="1230" y="75963"/>
                        <a:pt x="1230" y="75963"/>
                        <a:pt x="1230" y="75963"/>
                      </a:cubicBezTo>
                      <a:cubicBezTo>
                        <a:pt x="1846" y="74862"/>
                        <a:pt x="1846" y="74862"/>
                        <a:pt x="1846" y="74862"/>
                      </a:cubicBezTo>
                      <a:cubicBezTo>
                        <a:pt x="1846" y="72660"/>
                        <a:pt x="1846" y="72660"/>
                        <a:pt x="1846" y="72660"/>
                      </a:cubicBezTo>
                      <a:cubicBezTo>
                        <a:pt x="1846" y="72660"/>
                        <a:pt x="1846" y="71559"/>
                        <a:pt x="1846" y="71559"/>
                      </a:cubicBezTo>
                      <a:cubicBezTo>
                        <a:pt x="2461" y="71559"/>
                        <a:pt x="2461" y="68256"/>
                        <a:pt x="2461" y="68256"/>
                      </a:cubicBezTo>
                      <a:cubicBezTo>
                        <a:pt x="2461" y="68256"/>
                        <a:pt x="3076" y="66055"/>
                        <a:pt x="3076" y="66055"/>
                      </a:cubicBezTo>
                      <a:cubicBezTo>
                        <a:pt x="3692" y="66055"/>
                        <a:pt x="3692" y="64954"/>
                        <a:pt x="3692" y="64954"/>
                      </a:cubicBezTo>
                      <a:cubicBezTo>
                        <a:pt x="3692" y="63853"/>
                        <a:pt x="3692" y="62752"/>
                        <a:pt x="3692" y="62752"/>
                      </a:cubicBezTo>
                      <a:cubicBezTo>
                        <a:pt x="4923" y="61651"/>
                        <a:pt x="4923" y="61651"/>
                        <a:pt x="4923" y="61651"/>
                      </a:cubicBezTo>
                      <a:cubicBezTo>
                        <a:pt x="4923" y="61651"/>
                        <a:pt x="5538" y="60550"/>
                        <a:pt x="5538" y="60550"/>
                      </a:cubicBezTo>
                      <a:cubicBezTo>
                        <a:pt x="5538" y="60550"/>
                        <a:pt x="6153" y="60550"/>
                        <a:pt x="6769" y="60550"/>
                      </a:cubicBezTo>
                      <a:cubicBezTo>
                        <a:pt x="6769" y="60550"/>
                        <a:pt x="7384" y="60550"/>
                        <a:pt x="8000" y="60550"/>
                      </a:cubicBezTo>
                      <a:cubicBezTo>
                        <a:pt x="8000" y="60550"/>
                        <a:pt x="8000" y="61651"/>
                        <a:pt x="8615" y="61651"/>
                      </a:cubicBezTo>
                      <a:cubicBezTo>
                        <a:pt x="9230" y="61651"/>
                        <a:pt x="9846" y="62752"/>
                        <a:pt x="9846" y="62752"/>
                      </a:cubicBezTo>
                      <a:cubicBezTo>
                        <a:pt x="10461" y="61651"/>
                        <a:pt x="10461" y="61651"/>
                        <a:pt x="10461" y="61651"/>
                      </a:cubicBezTo>
                      <a:cubicBezTo>
                        <a:pt x="11076" y="61651"/>
                        <a:pt x="11076" y="60550"/>
                        <a:pt x="11076" y="60550"/>
                      </a:cubicBezTo>
                      <a:cubicBezTo>
                        <a:pt x="11692" y="60550"/>
                        <a:pt x="12923" y="61651"/>
                        <a:pt x="12923" y="61651"/>
                      </a:cubicBezTo>
                      <a:cubicBezTo>
                        <a:pt x="12923" y="61651"/>
                        <a:pt x="13538" y="62752"/>
                        <a:pt x="13538" y="61651"/>
                      </a:cubicBezTo>
                      <a:cubicBezTo>
                        <a:pt x="14153" y="61651"/>
                        <a:pt x="14769" y="60550"/>
                        <a:pt x="14769" y="60550"/>
                      </a:cubicBezTo>
                      <a:cubicBezTo>
                        <a:pt x="16000" y="59449"/>
                        <a:pt x="16000" y="59449"/>
                        <a:pt x="16000" y="5944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5" name="Shape 2020"/>
                <p:cNvSpPr/>
                <p:nvPr/>
              </p:nvSpPr>
              <p:spPr>
                <a:xfrm>
                  <a:off x="5320612" y="3211660"/>
                  <a:ext cx="266061" cy="194972"/>
                </a:xfrm>
                <a:custGeom>
                  <a:avLst/>
                  <a:gdLst/>
                  <a:ahLst/>
                  <a:cxnLst/>
                  <a:rect l="0" t="0" r="0" b="0"/>
                  <a:pathLst>
                    <a:path w="120000" h="120000" extrusionOk="0">
                      <a:moveTo>
                        <a:pt x="9230" y="65454"/>
                      </a:moveTo>
                      <a:cubicBezTo>
                        <a:pt x="7179" y="64090"/>
                        <a:pt x="7179" y="64090"/>
                        <a:pt x="7179" y="64090"/>
                      </a:cubicBezTo>
                      <a:cubicBezTo>
                        <a:pt x="5128" y="62727"/>
                        <a:pt x="5128" y="62727"/>
                        <a:pt x="5128" y="62727"/>
                      </a:cubicBezTo>
                      <a:cubicBezTo>
                        <a:pt x="2051" y="62727"/>
                        <a:pt x="2051" y="62727"/>
                        <a:pt x="2051" y="62727"/>
                      </a:cubicBezTo>
                      <a:cubicBezTo>
                        <a:pt x="0" y="60000"/>
                        <a:pt x="0" y="60000"/>
                        <a:pt x="0" y="60000"/>
                      </a:cubicBezTo>
                      <a:cubicBezTo>
                        <a:pt x="1025" y="57272"/>
                        <a:pt x="1025" y="57272"/>
                        <a:pt x="1025" y="57272"/>
                      </a:cubicBezTo>
                      <a:cubicBezTo>
                        <a:pt x="1025" y="54545"/>
                        <a:pt x="1025" y="54545"/>
                        <a:pt x="1025" y="54545"/>
                      </a:cubicBezTo>
                      <a:cubicBezTo>
                        <a:pt x="1025" y="54545"/>
                        <a:pt x="3076" y="51818"/>
                        <a:pt x="3076" y="51818"/>
                      </a:cubicBezTo>
                      <a:cubicBezTo>
                        <a:pt x="4102" y="50454"/>
                        <a:pt x="6153" y="49090"/>
                        <a:pt x="6153" y="49090"/>
                      </a:cubicBezTo>
                      <a:cubicBezTo>
                        <a:pt x="7179" y="46363"/>
                        <a:pt x="7179" y="46363"/>
                        <a:pt x="7179" y="46363"/>
                      </a:cubicBezTo>
                      <a:cubicBezTo>
                        <a:pt x="7179" y="46363"/>
                        <a:pt x="8205" y="45000"/>
                        <a:pt x="9230" y="45000"/>
                      </a:cubicBezTo>
                      <a:cubicBezTo>
                        <a:pt x="10256" y="45000"/>
                        <a:pt x="10256" y="46363"/>
                        <a:pt x="10256" y="45000"/>
                      </a:cubicBezTo>
                      <a:cubicBezTo>
                        <a:pt x="11282" y="45000"/>
                        <a:pt x="11282" y="39545"/>
                        <a:pt x="11282" y="39545"/>
                      </a:cubicBezTo>
                      <a:cubicBezTo>
                        <a:pt x="11282" y="36818"/>
                        <a:pt x="11282" y="36818"/>
                        <a:pt x="11282" y="36818"/>
                      </a:cubicBezTo>
                      <a:cubicBezTo>
                        <a:pt x="13333" y="36818"/>
                        <a:pt x="13333" y="36818"/>
                        <a:pt x="13333" y="36818"/>
                      </a:cubicBezTo>
                      <a:cubicBezTo>
                        <a:pt x="22564" y="40909"/>
                        <a:pt x="22564" y="40909"/>
                        <a:pt x="22564" y="40909"/>
                      </a:cubicBezTo>
                      <a:cubicBezTo>
                        <a:pt x="32820" y="42272"/>
                        <a:pt x="32820" y="42272"/>
                        <a:pt x="32820" y="42272"/>
                      </a:cubicBezTo>
                      <a:cubicBezTo>
                        <a:pt x="42051" y="42272"/>
                        <a:pt x="42051" y="42272"/>
                        <a:pt x="42051" y="42272"/>
                      </a:cubicBezTo>
                      <a:cubicBezTo>
                        <a:pt x="44102" y="42272"/>
                        <a:pt x="44102" y="42272"/>
                        <a:pt x="44102" y="42272"/>
                      </a:cubicBezTo>
                      <a:cubicBezTo>
                        <a:pt x="47179" y="39545"/>
                        <a:pt x="47179" y="39545"/>
                        <a:pt x="47179" y="39545"/>
                      </a:cubicBezTo>
                      <a:cubicBezTo>
                        <a:pt x="49230" y="35454"/>
                        <a:pt x="49230" y="35454"/>
                        <a:pt x="49230" y="35454"/>
                      </a:cubicBezTo>
                      <a:cubicBezTo>
                        <a:pt x="53333" y="34090"/>
                        <a:pt x="53333" y="34090"/>
                        <a:pt x="53333" y="34090"/>
                      </a:cubicBezTo>
                      <a:cubicBezTo>
                        <a:pt x="54358" y="31363"/>
                        <a:pt x="54358" y="31363"/>
                        <a:pt x="54358" y="31363"/>
                      </a:cubicBezTo>
                      <a:cubicBezTo>
                        <a:pt x="56410" y="25909"/>
                        <a:pt x="56410" y="25909"/>
                        <a:pt x="56410" y="25909"/>
                      </a:cubicBezTo>
                      <a:cubicBezTo>
                        <a:pt x="59487" y="23181"/>
                        <a:pt x="59487" y="23181"/>
                        <a:pt x="59487" y="23181"/>
                      </a:cubicBezTo>
                      <a:cubicBezTo>
                        <a:pt x="65641" y="23181"/>
                        <a:pt x="65641" y="23181"/>
                        <a:pt x="65641" y="23181"/>
                      </a:cubicBezTo>
                      <a:cubicBezTo>
                        <a:pt x="72820" y="20454"/>
                        <a:pt x="72820" y="20454"/>
                        <a:pt x="72820" y="20454"/>
                      </a:cubicBezTo>
                      <a:cubicBezTo>
                        <a:pt x="77948" y="23181"/>
                        <a:pt x="77948" y="23181"/>
                        <a:pt x="77948" y="23181"/>
                      </a:cubicBezTo>
                      <a:cubicBezTo>
                        <a:pt x="84102" y="17727"/>
                        <a:pt x="84102" y="17727"/>
                        <a:pt x="84102" y="17727"/>
                      </a:cubicBezTo>
                      <a:cubicBezTo>
                        <a:pt x="87179" y="16363"/>
                        <a:pt x="87179" y="16363"/>
                        <a:pt x="87179" y="16363"/>
                      </a:cubicBezTo>
                      <a:cubicBezTo>
                        <a:pt x="92307" y="13636"/>
                        <a:pt x="92307" y="13636"/>
                        <a:pt x="92307" y="13636"/>
                      </a:cubicBezTo>
                      <a:cubicBezTo>
                        <a:pt x="98461" y="19090"/>
                        <a:pt x="98461" y="19090"/>
                        <a:pt x="98461" y="19090"/>
                      </a:cubicBezTo>
                      <a:cubicBezTo>
                        <a:pt x="97435" y="10909"/>
                        <a:pt x="97435" y="10909"/>
                        <a:pt x="97435" y="10909"/>
                      </a:cubicBezTo>
                      <a:cubicBezTo>
                        <a:pt x="98461" y="5454"/>
                        <a:pt x="98461" y="5454"/>
                        <a:pt x="98461" y="5454"/>
                      </a:cubicBezTo>
                      <a:cubicBezTo>
                        <a:pt x="102564" y="2727"/>
                        <a:pt x="102564" y="2727"/>
                        <a:pt x="102564" y="2727"/>
                      </a:cubicBezTo>
                      <a:cubicBezTo>
                        <a:pt x="103589" y="2727"/>
                        <a:pt x="103589" y="2727"/>
                        <a:pt x="103589" y="2727"/>
                      </a:cubicBezTo>
                      <a:cubicBezTo>
                        <a:pt x="103589" y="2727"/>
                        <a:pt x="103589" y="2727"/>
                        <a:pt x="103589" y="2727"/>
                      </a:cubicBezTo>
                      <a:cubicBezTo>
                        <a:pt x="107692" y="0"/>
                        <a:pt x="107692" y="0"/>
                        <a:pt x="107692" y="0"/>
                      </a:cubicBezTo>
                      <a:cubicBezTo>
                        <a:pt x="109743" y="2727"/>
                        <a:pt x="109743" y="2727"/>
                        <a:pt x="109743" y="2727"/>
                      </a:cubicBezTo>
                      <a:cubicBezTo>
                        <a:pt x="110769" y="5454"/>
                        <a:pt x="110769" y="5454"/>
                        <a:pt x="110769" y="5454"/>
                      </a:cubicBezTo>
                      <a:cubicBezTo>
                        <a:pt x="110769" y="5454"/>
                        <a:pt x="110769" y="5454"/>
                        <a:pt x="110769" y="5454"/>
                      </a:cubicBezTo>
                      <a:cubicBezTo>
                        <a:pt x="110769" y="5454"/>
                        <a:pt x="110769" y="5454"/>
                        <a:pt x="110769" y="6818"/>
                      </a:cubicBezTo>
                      <a:cubicBezTo>
                        <a:pt x="110769" y="6818"/>
                        <a:pt x="110769" y="6818"/>
                        <a:pt x="110769" y="6818"/>
                      </a:cubicBezTo>
                      <a:cubicBezTo>
                        <a:pt x="110769" y="8181"/>
                        <a:pt x="110769" y="8181"/>
                        <a:pt x="110769" y="8181"/>
                      </a:cubicBezTo>
                      <a:cubicBezTo>
                        <a:pt x="111794" y="9545"/>
                        <a:pt x="111794" y="9545"/>
                        <a:pt x="111794" y="9545"/>
                      </a:cubicBezTo>
                      <a:cubicBezTo>
                        <a:pt x="112820" y="10909"/>
                        <a:pt x="112820" y="10909"/>
                        <a:pt x="112820" y="10909"/>
                      </a:cubicBezTo>
                      <a:cubicBezTo>
                        <a:pt x="112820" y="10909"/>
                        <a:pt x="112820" y="10909"/>
                        <a:pt x="112820" y="10909"/>
                      </a:cubicBezTo>
                      <a:cubicBezTo>
                        <a:pt x="113846" y="13636"/>
                        <a:pt x="113846" y="13636"/>
                        <a:pt x="113846" y="13636"/>
                      </a:cubicBezTo>
                      <a:cubicBezTo>
                        <a:pt x="113846" y="16363"/>
                        <a:pt x="113846" y="16363"/>
                        <a:pt x="113846" y="16363"/>
                      </a:cubicBezTo>
                      <a:cubicBezTo>
                        <a:pt x="120000" y="25909"/>
                        <a:pt x="120000" y="25909"/>
                        <a:pt x="120000" y="25909"/>
                      </a:cubicBezTo>
                      <a:cubicBezTo>
                        <a:pt x="120000" y="25909"/>
                        <a:pt x="117948" y="25909"/>
                        <a:pt x="117948" y="25909"/>
                      </a:cubicBezTo>
                      <a:cubicBezTo>
                        <a:pt x="116923" y="25909"/>
                        <a:pt x="114871" y="25909"/>
                        <a:pt x="114871" y="25909"/>
                      </a:cubicBezTo>
                      <a:cubicBezTo>
                        <a:pt x="114871" y="25909"/>
                        <a:pt x="113846" y="27272"/>
                        <a:pt x="112820" y="27272"/>
                      </a:cubicBezTo>
                      <a:cubicBezTo>
                        <a:pt x="112820" y="27272"/>
                        <a:pt x="111794" y="30000"/>
                        <a:pt x="111794" y="30000"/>
                      </a:cubicBezTo>
                      <a:cubicBezTo>
                        <a:pt x="110769" y="31363"/>
                        <a:pt x="110769" y="31363"/>
                        <a:pt x="110769" y="31363"/>
                      </a:cubicBezTo>
                      <a:cubicBezTo>
                        <a:pt x="111794" y="32727"/>
                        <a:pt x="111794" y="32727"/>
                        <a:pt x="111794" y="32727"/>
                      </a:cubicBezTo>
                      <a:cubicBezTo>
                        <a:pt x="113846" y="38181"/>
                        <a:pt x="114871" y="38181"/>
                        <a:pt x="109743" y="36818"/>
                      </a:cubicBezTo>
                      <a:cubicBezTo>
                        <a:pt x="107692" y="35454"/>
                        <a:pt x="107692" y="35454"/>
                        <a:pt x="107692" y="35454"/>
                      </a:cubicBezTo>
                      <a:cubicBezTo>
                        <a:pt x="106666" y="36818"/>
                        <a:pt x="106666" y="36818"/>
                        <a:pt x="106666" y="36818"/>
                      </a:cubicBezTo>
                      <a:cubicBezTo>
                        <a:pt x="104615" y="38181"/>
                        <a:pt x="104615" y="38181"/>
                        <a:pt x="104615" y="38181"/>
                      </a:cubicBezTo>
                      <a:cubicBezTo>
                        <a:pt x="104615" y="38181"/>
                        <a:pt x="104615" y="38181"/>
                        <a:pt x="104615" y="38181"/>
                      </a:cubicBezTo>
                      <a:cubicBezTo>
                        <a:pt x="104615" y="38181"/>
                        <a:pt x="104615" y="40909"/>
                        <a:pt x="104615" y="40909"/>
                      </a:cubicBezTo>
                      <a:cubicBezTo>
                        <a:pt x="103589" y="43636"/>
                        <a:pt x="103589" y="43636"/>
                        <a:pt x="103589" y="43636"/>
                      </a:cubicBezTo>
                      <a:cubicBezTo>
                        <a:pt x="101538" y="45000"/>
                        <a:pt x="101538" y="45000"/>
                        <a:pt x="101538" y="45000"/>
                      </a:cubicBezTo>
                      <a:cubicBezTo>
                        <a:pt x="99487" y="46363"/>
                        <a:pt x="99487" y="46363"/>
                        <a:pt x="99487" y="46363"/>
                      </a:cubicBezTo>
                      <a:cubicBezTo>
                        <a:pt x="98461" y="47727"/>
                        <a:pt x="98461" y="47727"/>
                        <a:pt x="98461" y="47727"/>
                      </a:cubicBezTo>
                      <a:cubicBezTo>
                        <a:pt x="96410" y="47727"/>
                        <a:pt x="96410" y="47727"/>
                        <a:pt x="96410" y="47727"/>
                      </a:cubicBezTo>
                      <a:cubicBezTo>
                        <a:pt x="94358" y="49090"/>
                        <a:pt x="94358" y="49090"/>
                        <a:pt x="94358" y="49090"/>
                      </a:cubicBezTo>
                      <a:cubicBezTo>
                        <a:pt x="93333" y="51818"/>
                        <a:pt x="93333" y="51818"/>
                        <a:pt x="93333" y="51818"/>
                      </a:cubicBezTo>
                      <a:cubicBezTo>
                        <a:pt x="93333" y="51818"/>
                        <a:pt x="91282" y="51818"/>
                        <a:pt x="91282" y="51818"/>
                      </a:cubicBezTo>
                      <a:cubicBezTo>
                        <a:pt x="91282" y="51818"/>
                        <a:pt x="88205" y="53181"/>
                        <a:pt x="88205" y="53181"/>
                      </a:cubicBezTo>
                      <a:cubicBezTo>
                        <a:pt x="88205" y="55909"/>
                        <a:pt x="88205" y="55909"/>
                        <a:pt x="88205" y="55909"/>
                      </a:cubicBezTo>
                      <a:cubicBezTo>
                        <a:pt x="88205" y="55909"/>
                        <a:pt x="87179" y="57272"/>
                        <a:pt x="87179" y="57272"/>
                      </a:cubicBezTo>
                      <a:cubicBezTo>
                        <a:pt x="87179" y="57272"/>
                        <a:pt x="87179" y="61363"/>
                        <a:pt x="87179" y="61363"/>
                      </a:cubicBezTo>
                      <a:cubicBezTo>
                        <a:pt x="87179" y="61363"/>
                        <a:pt x="89230" y="62727"/>
                        <a:pt x="89230" y="62727"/>
                      </a:cubicBezTo>
                      <a:cubicBezTo>
                        <a:pt x="90256" y="64090"/>
                        <a:pt x="90256" y="64090"/>
                        <a:pt x="90256" y="64090"/>
                      </a:cubicBezTo>
                      <a:cubicBezTo>
                        <a:pt x="91282" y="65454"/>
                        <a:pt x="91282" y="65454"/>
                        <a:pt x="91282" y="65454"/>
                      </a:cubicBezTo>
                      <a:cubicBezTo>
                        <a:pt x="91282" y="65454"/>
                        <a:pt x="92307" y="66818"/>
                        <a:pt x="92307" y="66818"/>
                      </a:cubicBezTo>
                      <a:cubicBezTo>
                        <a:pt x="91282" y="66818"/>
                        <a:pt x="91282" y="70909"/>
                        <a:pt x="91282" y="70909"/>
                      </a:cubicBezTo>
                      <a:cubicBezTo>
                        <a:pt x="92307" y="75000"/>
                        <a:pt x="92307" y="75000"/>
                        <a:pt x="92307" y="75000"/>
                      </a:cubicBezTo>
                      <a:cubicBezTo>
                        <a:pt x="91282" y="76363"/>
                        <a:pt x="91282" y="76363"/>
                        <a:pt x="91282" y="76363"/>
                      </a:cubicBezTo>
                      <a:cubicBezTo>
                        <a:pt x="92307" y="79090"/>
                        <a:pt x="92307" y="79090"/>
                        <a:pt x="92307" y="79090"/>
                      </a:cubicBezTo>
                      <a:cubicBezTo>
                        <a:pt x="92307" y="79090"/>
                        <a:pt x="93333" y="79090"/>
                        <a:pt x="92307" y="80454"/>
                      </a:cubicBezTo>
                      <a:cubicBezTo>
                        <a:pt x="91282" y="80454"/>
                        <a:pt x="90256" y="81818"/>
                        <a:pt x="90256" y="81818"/>
                      </a:cubicBezTo>
                      <a:cubicBezTo>
                        <a:pt x="90256" y="81818"/>
                        <a:pt x="88205" y="81818"/>
                        <a:pt x="88205" y="81818"/>
                      </a:cubicBezTo>
                      <a:cubicBezTo>
                        <a:pt x="88205" y="81818"/>
                        <a:pt x="86153" y="81818"/>
                        <a:pt x="86153" y="81818"/>
                      </a:cubicBezTo>
                      <a:cubicBezTo>
                        <a:pt x="85128" y="84545"/>
                        <a:pt x="85128" y="84545"/>
                        <a:pt x="85128" y="84545"/>
                      </a:cubicBezTo>
                      <a:cubicBezTo>
                        <a:pt x="83076" y="83181"/>
                        <a:pt x="83076" y="83181"/>
                        <a:pt x="83076" y="83181"/>
                      </a:cubicBezTo>
                      <a:cubicBezTo>
                        <a:pt x="83076" y="85909"/>
                        <a:pt x="83076" y="85909"/>
                        <a:pt x="83076" y="85909"/>
                      </a:cubicBezTo>
                      <a:cubicBezTo>
                        <a:pt x="80000" y="87272"/>
                        <a:pt x="80000" y="87272"/>
                        <a:pt x="80000" y="87272"/>
                      </a:cubicBezTo>
                      <a:cubicBezTo>
                        <a:pt x="77948" y="88636"/>
                        <a:pt x="77948" y="88636"/>
                        <a:pt x="77948" y="88636"/>
                      </a:cubicBezTo>
                      <a:cubicBezTo>
                        <a:pt x="76923" y="91363"/>
                        <a:pt x="76923" y="91363"/>
                        <a:pt x="76923" y="91363"/>
                      </a:cubicBezTo>
                      <a:cubicBezTo>
                        <a:pt x="77948" y="92727"/>
                        <a:pt x="77948" y="92727"/>
                        <a:pt x="77948" y="92727"/>
                      </a:cubicBezTo>
                      <a:cubicBezTo>
                        <a:pt x="77948" y="92727"/>
                        <a:pt x="78974" y="94090"/>
                        <a:pt x="78974" y="92727"/>
                      </a:cubicBezTo>
                      <a:cubicBezTo>
                        <a:pt x="78974" y="92727"/>
                        <a:pt x="78974" y="91363"/>
                        <a:pt x="78974" y="91363"/>
                      </a:cubicBezTo>
                      <a:cubicBezTo>
                        <a:pt x="80000" y="92727"/>
                        <a:pt x="81025" y="94090"/>
                        <a:pt x="81025" y="94090"/>
                      </a:cubicBezTo>
                      <a:cubicBezTo>
                        <a:pt x="82051" y="96818"/>
                        <a:pt x="82051" y="96818"/>
                        <a:pt x="82051" y="96818"/>
                      </a:cubicBezTo>
                      <a:cubicBezTo>
                        <a:pt x="82051" y="96818"/>
                        <a:pt x="80000" y="96818"/>
                        <a:pt x="80000" y="96818"/>
                      </a:cubicBezTo>
                      <a:cubicBezTo>
                        <a:pt x="80000" y="96818"/>
                        <a:pt x="78974" y="98181"/>
                        <a:pt x="78974" y="98181"/>
                      </a:cubicBezTo>
                      <a:cubicBezTo>
                        <a:pt x="77948" y="99545"/>
                        <a:pt x="77948" y="99545"/>
                        <a:pt x="77948" y="99545"/>
                      </a:cubicBezTo>
                      <a:cubicBezTo>
                        <a:pt x="77948" y="100909"/>
                        <a:pt x="77948" y="100909"/>
                        <a:pt x="77948" y="102272"/>
                      </a:cubicBezTo>
                      <a:cubicBezTo>
                        <a:pt x="77948" y="102272"/>
                        <a:pt x="77948" y="103636"/>
                        <a:pt x="77948" y="103636"/>
                      </a:cubicBezTo>
                      <a:cubicBezTo>
                        <a:pt x="78974" y="103636"/>
                        <a:pt x="80000" y="106363"/>
                        <a:pt x="80000" y="106363"/>
                      </a:cubicBezTo>
                      <a:cubicBezTo>
                        <a:pt x="80000" y="106363"/>
                        <a:pt x="81025" y="107727"/>
                        <a:pt x="81025" y="107727"/>
                      </a:cubicBezTo>
                      <a:cubicBezTo>
                        <a:pt x="81025" y="107727"/>
                        <a:pt x="81025" y="109090"/>
                        <a:pt x="81025" y="109090"/>
                      </a:cubicBezTo>
                      <a:cubicBezTo>
                        <a:pt x="81025" y="109090"/>
                        <a:pt x="80000" y="110454"/>
                        <a:pt x="78974" y="110454"/>
                      </a:cubicBezTo>
                      <a:cubicBezTo>
                        <a:pt x="78974" y="110454"/>
                        <a:pt x="76923" y="110454"/>
                        <a:pt x="76923" y="110454"/>
                      </a:cubicBezTo>
                      <a:cubicBezTo>
                        <a:pt x="76923" y="110454"/>
                        <a:pt x="75897" y="113181"/>
                        <a:pt x="75897" y="113181"/>
                      </a:cubicBezTo>
                      <a:cubicBezTo>
                        <a:pt x="75897" y="113181"/>
                        <a:pt x="74871" y="113181"/>
                        <a:pt x="73846" y="113181"/>
                      </a:cubicBezTo>
                      <a:cubicBezTo>
                        <a:pt x="73846" y="113181"/>
                        <a:pt x="75897" y="114545"/>
                        <a:pt x="73846" y="113181"/>
                      </a:cubicBezTo>
                      <a:cubicBezTo>
                        <a:pt x="70769" y="111818"/>
                        <a:pt x="70769" y="110454"/>
                        <a:pt x="70769" y="110454"/>
                      </a:cubicBezTo>
                      <a:cubicBezTo>
                        <a:pt x="70769" y="110454"/>
                        <a:pt x="69743" y="109090"/>
                        <a:pt x="69743" y="109090"/>
                      </a:cubicBezTo>
                      <a:cubicBezTo>
                        <a:pt x="68717" y="109090"/>
                        <a:pt x="67692" y="109090"/>
                        <a:pt x="67692" y="109090"/>
                      </a:cubicBezTo>
                      <a:cubicBezTo>
                        <a:pt x="65641" y="109090"/>
                        <a:pt x="65641" y="109090"/>
                        <a:pt x="65641" y="109090"/>
                      </a:cubicBezTo>
                      <a:cubicBezTo>
                        <a:pt x="64615" y="107727"/>
                        <a:pt x="64615" y="107727"/>
                        <a:pt x="64615" y="107727"/>
                      </a:cubicBezTo>
                      <a:cubicBezTo>
                        <a:pt x="63589" y="110454"/>
                        <a:pt x="63589" y="110454"/>
                        <a:pt x="63589" y="110454"/>
                      </a:cubicBezTo>
                      <a:cubicBezTo>
                        <a:pt x="63589" y="110454"/>
                        <a:pt x="63589" y="111818"/>
                        <a:pt x="62564" y="111818"/>
                      </a:cubicBezTo>
                      <a:cubicBezTo>
                        <a:pt x="61538" y="113181"/>
                        <a:pt x="62564" y="113181"/>
                        <a:pt x="61538" y="113181"/>
                      </a:cubicBezTo>
                      <a:cubicBezTo>
                        <a:pt x="59487" y="113181"/>
                        <a:pt x="58461" y="110454"/>
                        <a:pt x="58461" y="110454"/>
                      </a:cubicBezTo>
                      <a:cubicBezTo>
                        <a:pt x="58461" y="110454"/>
                        <a:pt x="56410" y="109090"/>
                        <a:pt x="56410" y="109090"/>
                      </a:cubicBezTo>
                      <a:cubicBezTo>
                        <a:pt x="55384" y="107727"/>
                        <a:pt x="55384" y="107727"/>
                        <a:pt x="55384" y="107727"/>
                      </a:cubicBezTo>
                      <a:cubicBezTo>
                        <a:pt x="54358" y="107727"/>
                        <a:pt x="54358" y="109090"/>
                        <a:pt x="54358" y="106363"/>
                      </a:cubicBezTo>
                      <a:cubicBezTo>
                        <a:pt x="54358" y="105000"/>
                        <a:pt x="54358" y="105000"/>
                        <a:pt x="54358" y="105000"/>
                      </a:cubicBezTo>
                      <a:cubicBezTo>
                        <a:pt x="53333" y="103636"/>
                        <a:pt x="53333" y="105000"/>
                        <a:pt x="52307" y="103636"/>
                      </a:cubicBezTo>
                      <a:cubicBezTo>
                        <a:pt x="52307" y="102272"/>
                        <a:pt x="51282" y="100909"/>
                        <a:pt x="51282" y="100909"/>
                      </a:cubicBezTo>
                      <a:cubicBezTo>
                        <a:pt x="50256" y="98181"/>
                        <a:pt x="50256" y="98181"/>
                        <a:pt x="50256" y="98181"/>
                      </a:cubicBezTo>
                      <a:cubicBezTo>
                        <a:pt x="50256" y="98181"/>
                        <a:pt x="50256" y="98181"/>
                        <a:pt x="50256" y="99545"/>
                      </a:cubicBezTo>
                      <a:cubicBezTo>
                        <a:pt x="49230" y="100909"/>
                        <a:pt x="48205" y="100909"/>
                        <a:pt x="48205" y="100909"/>
                      </a:cubicBezTo>
                      <a:cubicBezTo>
                        <a:pt x="48205" y="102272"/>
                        <a:pt x="47179" y="103636"/>
                        <a:pt x="47179" y="103636"/>
                      </a:cubicBezTo>
                      <a:cubicBezTo>
                        <a:pt x="47179" y="103636"/>
                        <a:pt x="46153" y="105000"/>
                        <a:pt x="46153" y="106363"/>
                      </a:cubicBezTo>
                      <a:cubicBezTo>
                        <a:pt x="47179" y="106363"/>
                        <a:pt x="47179" y="106363"/>
                        <a:pt x="47179" y="107727"/>
                      </a:cubicBezTo>
                      <a:cubicBezTo>
                        <a:pt x="47179" y="107727"/>
                        <a:pt x="46153" y="109090"/>
                        <a:pt x="46153" y="109090"/>
                      </a:cubicBezTo>
                      <a:cubicBezTo>
                        <a:pt x="45128" y="110454"/>
                        <a:pt x="45128" y="110454"/>
                        <a:pt x="44102" y="110454"/>
                      </a:cubicBezTo>
                      <a:cubicBezTo>
                        <a:pt x="44102" y="111818"/>
                        <a:pt x="42051" y="113181"/>
                        <a:pt x="42051" y="113181"/>
                      </a:cubicBezTo>
                      <a:cubicBezTo>
                        <a:pt x="40000" y="113181"/>
                        <a:pt x="40000" y="113181"/>
                        <a:pt x="40000" y="113181"/>
                      </a:cubicBezTo>
                      <a:cubicBezTo>
                        <a:pt x="36923" y="111818"/>
                        <a:pt x="36923" y="111818"/>
                        <a:pt x="36923" y="111818"/>
                      </a:cubicBezTo>
                      <a:cubicBezTo>
                        <a:pt x="34871" y="114545"/>
                        <a:pt x="34871" y="114545"/>
                        <a:pt x="34871" y="114545"/>
                      </a:cubicBezTo>
                      <a:cubicBezTo>
                        <a:pt x="34871" y="114545"/>
                        <a:pt x="33846" y="114545"/>
                        <a:pt x="33846" y="114545"/>
                      </a:cubicBezTo>
                      <a:cubicBezTo>
                        <a:pt x="32820" y="114545"/>
                        <a:pt x="31794" y="114545"/>
                        <a:pt x="31794" y="114545"/>
                      </a:cubicBezTo>
                      <a:cubicBezTo>
                        <a:pt x="31794" y="114545"/>
                        <a:pt x="30769" y="113181"/>
                        <a:pt x="29743" y="113181"/>
                      </a:cubicBezTo>
                      <a:cubicBezTo>
                        <a:pt x="29743" y="113181"/>
                        <a:pt x="28717" y="113181"/>
                        <a:pt x="28717" y="113181"/>
                      </a:cubicBezTo>
                      <a:cubicBezTo>
                        <a:pt x="27692" y="113181"/>
                        <a:pt x="26666" y="113181"/>
                        <a:pt x="26666" y="113181"/>
                      </a:cubicBezTo>
                      <a:cubicBezTo>
                        <a:pt x="26666" y="114545"/>
                        <a:pt x="26666" y="114545"/>
                        <a:pt x="26666" y="114545"/>
                      </a:cubicBezTo>
                      <a:cubicBezTo>
                        <a:pt x="26666" y="114545"/>
                        <a:pt x="27692" y="114545"/>
                        <a:pt x="27692" y="114545"/>
                      </a:cubicBezTo>
                      <a:cubicBezTo>
                        <a:pt x="27692" y="115909"/>
                        <a:pt x="27692" y="117272"/>
                        <a:pt x="27692" y="117272"/>
                      </a:cubicBezTo>
                      <a:cubicBezTo>
                        <a:pt x="27692" y="117272"/>
                        <a:pt x="26666" y="117272"/>
                        <a:pt x="26666" y="117272"/>
                      </a:cubicBezTo>
                      <a:cubicBezTo>
                        <a:pt x="26666" y="118636"/>
                        <a:pt x="24615" y="118636"/>
                        <a:pt x="24615" y="118636"/>
                      </a:cubicBezTo>
                      <a:cubicBezTo>
                        <a:pt x="24615" y="118636"/>
                        <a:pt x="24615" y="120000"/>
                        <a:pt x="24615" y="120000"/>
                      </a:cubicBezTo>
                      <a:cubicBezTo>
                        <a:pt x="24615" y="120000"/>
                        <a:pt x="24615" y="120000"/>
                        <a:pt x="23589" y="120000"/>
                      </a:cubicBezTo>
                      <a:cubicBezTo>
                        <a:pt x="22564" y="120000"/>
                        <a:pt x="22564" y="120000"/>
                        <a:pt x="21538" y="120000"/>
                      </a:cubicBezTo>
                      <a:cubicBezTo>
                        <a:pt x="21538" y="118636"/>
                        <a:pt x="20512" y="118636"/>
                        <a:pt x="19487" y="118636"/>
                      </a:cubicBezTo>
                      <a:cubicBezTo>
                        <a:pt x="19487" y="118636"/>
                        <a:pt x="16410" y="117272"/>
                        <a:pt x="16410" y="117272"/>
                      </a:cubicBezTo>
                      <a:cubicBezTo>
                        <a:pt x="16410" y="117272"/>
                        <a:pt x="15384" y="118636"/>
                        <a:pt x="15384" y="118636"/>
                      </a:cubicBezTo>
                      <a:cubicBezTo>
                        <a:pt x="14358" y="118636"/>
                        <a:pt x="13333" y="118636"/>
                        <a:pt x="12307" y="117272"/>
                      </a:cubicBezTo>
                      <a:cubicBezTo>
                        <a:pt x="12307" y="117272"/>
                        <a:pt x="11282" y="117272"/>
                        <a:pt x="11282" y="117272"/>
                      </a:cubicBezTo>
                      <a:cubicBezTo>
                        <a:pt x="11282" y="115909"/>
                        <a:pt x="11282" y="114545"/>
                        <a:pt x="11282" y="114545"/>
                      </a:cubicBezTo>
                      <a:cubicBezTo>
                        <a:pt x="11282" y="114545"/>
                        <a:pt x="10256" y="113181"/>
                        <a:pt x="11282" y="113181"/>
                      </a:cubicBezTo>
                      <a:cubicBezTo>
                        <a:pt x="11282" y="113181"/>
                        <a:pt x="12307" y="113181"/>
                        <a:pt x="13333" y="113181"/>
                      </a:cubicBezTo>
                      <a:cubicBezTo>
                        <a:pt x="14358" y="113181"/>
                        <a:pt x="15384" y="113181"/>
                        <a:pt x="15384" y="111818"/>
                      </a:cubicBezTo>
                      <a:cubicBezTo>
                        <a:pt x="15384" y="111818"/>
                        <a:pt x="15384" y="111818"/>
                        <a:pt x="16410" y="111818"/>
                      </a:cubicBezTo>
                      <a:cubicBezTo>
                        <a:pt x="16410" y="111818"/>
                        <a:pt x="17435" y="113181"/>
                        <a:pt x="17435" y="111818"/>
                      </a:cubicBezTo>
                      <a:cubicBezTo>
                        <a:pt x="17435" y="110454"/>
                        <a:pt x="17435" y="110454"/>
                        <a:pt x="17435" y="110454"/>
                      </a:cubicBezTo>
                      <a:cubicBezTo>
                        <a:pt x="16410" y="109090"/>
                        <a:pt x="16410" y="109090"/>
                        <a:pt x="16410" y="109090"/>
                      </a:cubicBezTo>
                      <a:cubicBezTo>
                        <a:pt x="16410" y="109090"/>
                        <a:pt x="17435" y="107727"/>
                        <a:pt x="17435" y="107727"/>
                      </a:cubicBezTo>
                      <a:cubicBezTo>
                        <a:pt x="18461" y="107727"/>
                        <a:pt x="19487" y="107727"/>
                        <a:pt x="19487" y="107727"/>
                      </a:cubicBezTo>
                      <a:cubicBezTo>
                        <a:pt x="20512" y="107727"/>
                        <a:pt x="21538" y="107727"/>
                        <a:pt x="21538" y="107727"/>
                      </a:cubicBezTo>
                      <a:cubicBezTo>
                        <a:pt x="21538" y="107727"/>
                        <a:pt x="21538" y="107727"/>
                        <a:pt x="22564" y="106363"/>
                      </a:cubicBezTo>
                      <a:cubicBezTo>
                        <a:pt x="22564" y="106363"/>
                        <a:pt x="18461" y="106363"/>
                        <a:pt x="17435" y="105000"/>
                      </a:cubicBezTo>
                      <a:cubicBezTo>
                        <a:pt x="15384" y="102272"/>
                        <a:pt x="13333" y="100909"/>
                        <a:pt x="13333" y="95454"/>
                      </a:cubicBezTo>
                      <a:cubicBezTo>
                        <a:pt x="12307" y="95454"/>
                        <a:pt x="12307" y="92727"/>
                        <a:pt x="11282" y="92727"/>
                      </a:cubicBezTo>
                      <a:cubicBezTo>
                        <a:pt x="11282" y="92727"/>
                        <a:pt x="9230" y="91363"/>
                        <a:pt x="9230" y="91363"/>
                      </a:cubicBezTo>
                      <a:cubicBezTo>
                        <a:pt x="9230" y="90000"/>
                        <a:pt x="9230" y="90000"/>
                        <a:pt x="10256" y="88636"/>
                      </a:cubicBezTo>
                      <a:cubicBezTo>
                        <a:pt x="10256" y="87272"/>
                        <a:pt x="10256" y="87272"/>
                        <a:pt x="11282" y="85909"/>
                      </a:cubicBezTo>
                      <a:cubicBezTo>
                        <a:pt x="11282" y="85909"/>
                        <a:pt x="11282" y="83181"/>
                        <a:pt x="11282" y="83181"/>
                      </a:cubicBezTo>
                      <a:cubicBezTo>
                        <a:pt x="11282" y="83181"/>
                        <a:pt x="12307" y="81818"/>
                        <a:pt x="11282" y="81818"/>
                      </a:cubicBezTo>
                      <a:cubicBezTo>
                        <a:pt x="11282" y="80454"/>
                        <a:pt x="10256" y="79090"/>
                        <a:pt x="10256" y="79090"/>
                      </a:cubicBezTo>
                      <a:cubicBezTo>
                        <a:pt x="10256" y="79090"/>
                        <a:pt x="10256" y="79090"/>
                        <a:pt x="9230" y="79090"/>
                      </a:cubicBezTo>
                      <a:cubicBezTo>
                        <a:pt x="9230" y="80454"/>
                        <a:pt x="9230" y="80454"/>
                        <a:pt x="9230" y="80454"/>
                      </a:cubicBezTo>
                      <a:cubicBezTo>
                        <a:pt x="7179" y="81818"/>
                        <a:pt x="7179" y="81818"/>
                        <a:pt x="7179" y="81818"/>
                      </a:cubicBezTo>
                      <a:cubicBezTo>
                        <a:pt x="7179" y="81818"/>
                        <a:pt x="6153" y="79090"/>
                        <a:pt x="6153" y="79090"/>
                      </a:cubicBezTo>
                      <a:cubicBezTo>
                        <a:pt x="5128" y="79090"/>
                        <a:pt x="5128" y="79090"/>
                        <a:pt x="5128" y="77727"/>
                      </a:cubicBezTo>
                      <a:cubicBezTo>
                        <a:pt x="5128" y="77727"/>
                        <a:pt x="6153" y="76363"/>
                        <a:pt x="6153" y="76363"/>
                      </a:cubicBezTo>
                      <a:cubicBezTo>
                        <a:pt x="6153" y="76363"/>
                        <a:pt x="5128" y="75000"/>
                        <a:pt x="5128" y="75000"/>
                      </a:cubicBezTo>
                      <a:cubicBezTo>
                        <a:pt x="5128" y="75000"/>
                        <a:pt x="6153" y="72272"/>
                        <a:pt x="7179" y="72272"/>
                      </a:cubicBezTo>
                      <a:cubicBezTo>
                        <a:pt x="8205" y="70909"/>
                        <a:pt x="10256" y="68181"/>
                        <a:pt x="10256" y="68181"/>
                      </a:cubicBezTo>
                      <a:cubicBezTo>
                        <a:pt x="11282" y="65454"/>
                        <a:pt x="11282" y="65454"/>
                        <a:pt x="11282" y="65454"/>
                      </a:cubicBezTo>
                      <a:cubicBezTo>
                        <a:pt x="10256" y="64090"/>
                        <a:pt x="10256" y="64090"/>
                        <a:pt x="10256" y="64090"/>
                      </a:cubicBezTo>
                      <a:cubicBezTo>
                        <a:pt x="10256" y="64090"/>
                        <a:pt x="9230" y="65454"/>
                        <a:pt x="9230" y="6545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6" name="Shape 2021"/>
                <p:cNvSpPr/>
                <p:nvPr/>
              </p:nvSpPr>
              <p:spPr>
                <a:xfrm>
                  <a:off x="5338203" y="3253211"/>
                  <a:ext cx="517832" cy="466653"/>
                </a:xfrm>
                <a:custGeom>
                  <a:avLst/>
                  <a:gdLst/>
                  <a:ahLst/>
                  <a:cxnLst/>
                  <a:rect l="0" t="0" r="0" b="0"/>
                  <a:pathLst>
                    <a:path w="120000" h="120000" extrusionOk="0">
                      <a:moveTo>
                        <a:pt x="113656" y="46635"/>
                      </a:moveTo>
                      <a:cubicBezTo>
                        <a:pt x="113656" y="45497"/>
                        <a:pt x="113127" y="44928"/>
                        <a:pt x="114185" y="44360"/>
                      </a:cubicBezTo>
                      <a:cubicBezTo>
                        <a:pt x="114713" y="44360"/>
                        <a:pt x="115242" y="45497"/>
                        <a:pt x="115242" y="44360"/>
                      </a:cubicBezTo>
                      <a:cubicBezTo>
                        <a:pt x="115242" y="43222"/>
                        <a:pt x="115770" y="43791"/>
                        <a:pt x="115242" y="42654"/>
                      </a:cubicBezTo>
                      <a:cubicBezTo>
                        <a:pt x="115242" y="42654"/>
                        <a:pt x="115242" y="42654"/>
                        <a:pt x="115242" y="42654"/>
                      </a:cubicBezTo>
                      <a:cubicBezTo>
                        <a:pt x="115242" y="42654"/>
                        <a:pt x="115242" y="42654"/>
                        <a:pt x="115242" y="42654"/>
                      </a:cubicBezTo>
                      <a:cubicBezTo>
                        <a:pt x="115242" y="42654"/>
                        <a:pt x="115242" y="43791"/>
                        <a:pt x="114713" y="43791"/>
                      </a:cubicBezTo>
                      <a:cubicBezTo>
                        <a:pt x="114713" y="43791"/>
                        <a:pt x="114185" y="44360"/>
                        <a:pt x="113656" y="44360"/>
                      </a:cubicBezTo>
                      <a:cubicBezTo>
                        <a:pt x="113127" y="43791"/>
                        <a:pt x="113127" y="43791"/>
                        <a:pt x="113127" y="43791"/>
                      </a:cubicBezTo>
                      <a:cubicBezTo>
                        <a:pt x="114185" y="42654"/>
                        <a:pt x="114185" y="42654"/>
                        <a:pt x="114185" y="42654"/>
                      </a:cubicBezTo>
                      <a:cubicBezTo>
                        <a:pt x="114185" y="40379"/>
                        <a:pt x="114185" y="40379"/>
                        <a:pt x="114185" y="40379"/>
                      </a:cubicBezTo>
                      <a:cubicBezTo>
                        <a:pt x="114185" y="40379"/>
                        <a:pt x="113656" y="39241"/>
                        <a:pt x="113127" y="38104"/>
                      </a:cubicBezTo>
                      <a:cubicBezTo>
                        <a:pt x="112599" y="37535"/>
                        <a:pt x="112070" y="36966"/>
                        <a:pt x="112070" y="36966"/>
                      </a:cubicBezTo>
                      <a:cubicBezTo>
                        <a:pt x="113656" y="35829"/>
                        <a:pt x="113656" y="35829"/>
                        <a:pt x="113656" y="35829"/>
                      </a:cubicBezTo>
                      <a:cubicBezTo>
                        <a:pt x="114185" y="35260"/>
                        <a:pt x="114185" y="35260"/>
                        <a:pt x="114185" y="35260"/>
                      </a:cubicBezTo>
                      <a:cubicBezTo>
                        <a:pt x="114185" y="34691"/>
                        <a:pt x="114185" y="34691"/>
                        <a:pt x="114185" y="34691"/>
                      </a:cubicBezTo>
                      <a:cubicBezTo>
                        <a:pt x="114185" y="34691"/>
                        <a:pt x="115242" y="35829"/>
                        <a:pt x="116299" y="35829"/>
                      </a:cubicBezTo>
                      <a:cubicBezTo>
                        <a:pt x="116828" y="35829"/>
                        <a:pt x="116299" y="35829"/>
                        <a:pt x="117356" y="35260"/>
                      </a:cubicBezTo>
                      <a:cubicBezTo>
                        <a:pt x="118414" y="35260"/>
                        <a:pt x="120000" y="33554"/>
                        <a:pt x="120000" y="33554"/>
                      </a:cubicBezTo>
                      <a:cubicBezTo>
                        <a:pt x="120000" y="33554"/>
                        <a:pt x="118942" y="32417"/>
                        <a:pt x="118414" y="32417"/>
                      </a:cubicBezTo>
                      <a:cubicBezTo>
                        <a:pt x="117885" y="32985"/>
                        <a:pt x="118414" y="32985"/>
                        <a:pt x="116828" y="32985"/>
                      </a:cubicBezTo>
                      <a:cubicBezTo>
                        <a:pt x="115242" y="32417"/>
                        <a:pt x="114713" y="31848"/>
                        <a:pt x="114713" y="31848"/>
                      </a:cubicBezTo>
                      <a:cubicBezTo>
                        <a:pt x="114713" y="31848"/>
                        <a:pt x="114185" y="31848"/>
                        <a:pt x="113656" y="31848"/>
                      </a:cubicBezTo>
                      <a:cubicBezTo>
                        <a:pt x="113127" y="31848"/>
                        <a:pt x="113127" y="31848"/>
                        <a:pt x="112599" y="31279"/>
                      </a:cubicBezTo>
                      <a:cubicBezTo>
                        <a:pt x="111541" y="30142"/>
                        <a:pt x="110484" y="29004"/>
                        <a:pt x="110484" y="29004"/>
                      </a:cubicBezTo>
                      <a:cubicBezTo>
                        <a:pt x="110484" y="29004"/>
                        <a:pt x="109427" y="29573"/>
                        <a:pt x="109427" y="29004"/>
                      </a:cubicBezTo>
                      <a:cubicBezTo>
                        <a:pt x="109427" y="29004"/>
                        <a:pt x="109955" y="27867"/>
                        <a:pt x="109955" y="27867"/>
                      </a:cubicBezTo>
                      <a:cubicBezTo>
                        <a:pt x="109955" y="27298"/>
                        <a:pt x="109955" y="27298"/>
                        <a:pt x="109955" y="27298"/>
                      </a:cubicBezTo>
                      <a:cubicBezTo>
                        <a:pt x="109427" y="26729"/>
                        <a:pt x="109427" y="26729"/>
                        <a:pt x="109427" y="26729"/>
                      </a:cubicBezTo>
                      <a:cubicBezTo>
                        <a:pt x="109427" y="26729"/>
                        <a:pt x="110484" y="26729"/>
                        <a:pt x="110484" y="26729"/>
                      </a:cubicBezTo>
                      <a:cubicBezTo>
                        <a:pt x="111013" y="26161"/>
                        <a:pt x="111013" y="26161"/>
                        <a:pt x="111013" y="26161"/>
                      </a:cubicBezTo>
                      <a:cubicBezTo>
                        <a:pt x="112070" y="25023"/>
                        <a:pt x="111013" y="23886"/>
                        <a:pt x="109427" y="24454"/>
                      </a:cubicBezTo>
                      <a:cubicBezTo>
                        <a:pt x="108898" y="24454"/>
                        <a:pt x="108370" y="25023"/>
                        <a:pt x="108370" y="25023"/>
                      </a:cubicBezTo>
                      <a:cubicBezTo>
                        <a:pt x="107841" y="25023"/>
                        <a:pt x="106784" y="24454"/>
                        <a:pt x="106784" y="23886"/>
                      </a:cubicBezTo>
                      <a:cubicBezTo>
                        <a:pt x="106784" y="23317"/>
                        <a:pt x="106255" y="23317"/>
                        <a:pt x="107312" y="22748"/>
                      </a:cubicBezTo>
                      <a:cubicBezTo>
                        <a:pt x="107841" y="22748"/>
                        <a:pt x="108370" y="21611"/>
                        <a:pt x="108370" y="21611"/>
                      </a:cubicBezTo>
                      <a:cubicBezTo>
                        <a:pt x="107312" y="19905"/>
                        <a:pt x="107312" y="19905"/>
                        <a:pt x="107312" y="19905"/>
                      </a:cubicBezTo>
                      <a:cubicBezTo>
                        <a:pt x="107841" y="16492"/>
                        <a:pt x="107841" y="16492"/>
                        <a:pt x="107841" y="16492"/>
                      </a:cubicBezTo>
                      <a:cubicBezTo>
                        <a:pt x="105726" y="15924"/>
                        <a:pt x="105726" y="15924"/>
                        <a:pt x="105726" y="15924"/>
                      </a:cubicBezTo>
                      <a:cubicBezTo>
                        <a:pt x="105726" y="14786"/>
                        <a:pt x="105726" y="14786"/>
                        <a:pt x="105726" y="14786"/>
                      </a:cubicBezTo>
                      <a:cubicBezTo>
                        <a:pt x="104669" y="14218"/>
                        <a:pt x="104669" y="14218"/>
                        <a:pt x="104669" y="14218"/>
                      </a:cubicBezTo>
                      <a:cubicBezTo>
                        <a:pt x="103612" y="17061"/>
                        <a:pt x="103612" y="17061"/>
                        <a:pt x="103612" y="17061"/>
                      </a:cubicBezTo>
                      <a:cubicBezTo>
                        <a:pt x="103612" y="17061"/>
                        <a:pt x="102026" y="17630"/>
                        <a:pt x="102026" y="18199"/>
                      </a:cubicBezTo>
                      <a:cubicBezTo>
                        <a:pt x="101497" y="18767"/>
                        <a:pt x="98854" y="18767"/>
                        <a:pt x="98854" y="18767"/>
                      </a:cubicBezTo>
                      <a:cubicBezTo>
                        <a:pt x="96740" y="18767"/>
                        <a:pt x="96740" y="18767"/>
                        <a:pt x="96740" y="18767"/>
                      </a:cubicBezTo>
                      <a:cubicBezTo>
                        <a:pt x="93039" y="19905"/>
                        <a:pt x="93039" y="19905"/>
                        <a:pt x="93039" y="19905"/>
                      </a:cubicBezTo>
                      <a:cubicBezTo>
                        <a:pt x="93039" y="19905"/>
                        <a:pt x="91982" y="20473"/>
                        <a:pt x="91453" y="20473"/>
                      </a:cubicBezTo>
                      <a:cubicBezTo>
                        <a:pt x="90925" y="20473"/>
                        <a:pt x="88281" y="19905"/>
                        <a:pt x="88281" y="19905"/>
                      </a:cubicBezTo>
                      <a:cubicBezTo>
                        <a:pt x="86696" y="20473"/>
                        <a:pt x="86696" y="20473"/>
                        <a:pt x="86696" y="20473"/>
                      </a:cubicBezTo>
                      <a:cubicBezTo>
                        <a:pt x="82995" y="19336"/>
                        <a:pt x="82995" y="19336"/>
                        <a:pt x="82995" y="19336"/>
                      </a:cubicBezTo>
                      <a:cubicBezTo>
                        <a:pt x="81938" y="18199"/>
                        <a:pt x="81938" y="18199"/>
                        <a:pt x="81938" y="18199"/>
                      </a:cubicBezTo>
                      <a:cubicBezTo>
                        <a:pt x="81409" y="17630"/>
                        <a:pt x="81409" y="17630"/>
                        <a:pt x="81409" y="17630"/>
                      </a:cubicBezTo>
                      <a:cubicBezTo>
                        <a:pt x="78766" y="17061"/>
                        <a:pt x="78766" y="17061"/>
                        <a:pt x="78766" y="17061"/>
                      </a:cubicBezTo>
                      <a:cubicBezTo>
                        <a:pt x="78237" y="15924"/>
                        <a:pt x="78237" y="15924"/>
                        <a:pt x="78237" y="15924"/>
                      </a:cubicBezTo>
                      <a:cubicBezTo>
                        <a:pt x="76123" y="15924"/>
                        <a:pt x="76123" y="15924"/>
                        <a:pt x="76123" y="15924"/>
                      </a:cubicBezTo>
                      <a:cubicBezTo>
                        <a:pt x="76123" y="15924"/>
                        <a:pt x="76123" y="15924"/>
                        <a:pt x="76123" y="15924"/>
                      </a:cubicBezTo>
                      <a:cubicBezTo>
                        <a:pt x="76123" y="15924"/>
                        <a:pt x="76123" y="15924"/>
                        <a:pt x="76123" y="15924"/>
                      </a:cubicBezTo>
                      <a:cubicBezTo>
                        <a:pt x="75066" y="15355"/>
                        <a:pt x="75066" y="15355"/>
                        <a:pt x="75066" y="15355"/>
                      </a:cubicBezTo>
                      <a:cubicBezTo>
                        <a:pt x="75066" y="14786"/>
                        <a:pt x="75066" y="14786"/>
                        <a:pt x="75066" y="14786"/>
                      </a:cubicBezTo>
                      <a:cubicBezTo>
                        <a:pt x="74537" y="14786"/>
                        <a:pt x="74537" y="14786"/>
                        <a:pt x="74537" y="14218"/>
                      </a:cubicBezTo>
                      <a:cubicBezTo>
                        <a:pt x="74008" y="13649"/>
                        <a:pt x="74008" y="13649"/>
                        <a:pt x="74008" y="13649"/>
                      </a:cubicBezTo>
                      <a:cubicBezTo>
                        <a:pt x="71365" y="10236"/>
                        <a:pt x="71365" y="10236"/>
                        <a:pt x="71365" y="10236"/>
                      </a:cubicBezTo>
                      <a:cubicBezTo>
                        <a:pt x="70837" y="10236"/>
                        <a:pt x="70837" y="10236"/>
                        <a:pt x="70837" y="10236"/>
                      </a:cubicBezTo>
                      <a:cubicBezTo>
                        <a:pt x="70837" y="10236"/>
                        <a:pt x="70837" y="10236"/>
                        <a:pt x="70837" y="10236"/>
                      </a:cubicBezTo>
                      <a:cubicBezTo>
                        <a:pt x="66079" y="8530"/>
                        <a:pt x="66079" y="8530"/>
                        <a:pt x="66079" y="8530"/>
                      </a:cubicBezTo>
                      <a:cubicBezTo>
                        <a:pt x="64493" y="6255"/>
                        <a:pt x="64493" y="6255"/>
                        <a:pt x="64493" y="6255"/>
                      </a:cubicBezTo>
                      <a:cubicBezTo>
                        <a:pt x="62907" y="5118"/>
                        <a:pt x="62907" y="5118"/>
                        <a:pt x="62907" y="5118"/>
                      </a:cubicBezTo>
                      <a:cubicBezTo>
                        <a:pt x="60792" y="3412"/>
                        <a:pt x="60792" y="3412"/>
                        <a:pt x="60792" y="3412"/>
                      </a:cubicBezTo>
                      <a:cubicBezTo>
                        <a:pt x="58678" y="1706"/>
                        <a:pt x="58678" y="1706"/>
                        <a:pt x="58678" y="1706"/>
                      </a:cubicBezTo>
                      <a:cubicBezTo>
                        <a:pt x="57621" y="568"/>
                        <a:pt x="57621" y="568"/>
                        <a:pt x="57621" y="568"/>
                      </a:cubicBezTo>
                      <a:cubicBezTo>
                        <a:pt x="57621" y="568"/>
                        <a:pt x="57621" y="568"/>
                        <a:pt x="57621" y="568"/>
                      </a:cubicBezTo>
                      <a:cubicBezTo>
                        <a:pt x="57621" y="568"/>
                        <a:pt x="57092" y="0"/>
                        <a:pt x="57092" y="0"/>
                      </a:cubicBezTo>
                      <a:cubicBezTo>
                        <a:pt x="57092" y="0"/>
                        <a:pt x="56563" y="0"/>
                        <a:pt x="56563" y="0"/>
                      </a:cubicBezTo>
                      <a:cubicBezTo>
                        <a:pt x="56035" y="0"/>
                        <a:pt x="54977" y="0"/>
                        <a:pt x="54977" y="0"/>
                      </a:cubicBezTo>
                      <a:cubicBezTo>
                        <a:pt x="54977" y="0"/>
                        <a:pt x="54449" y="568"/>
                        <a:pt x="53920" y="568"/>
                      </a:cubicBezTo>
                      <a:cubicBezTo>
                        <a:pt x="53920" y="568"/>
                        <a:pt x="53392" y="1706"/>
                        <a:pt x="53392" y="1706"/>
                      </a:cubicBezTo>
                      <a:cubicBezTo>
                        <a:pt x="52863" y="2274"/>
                        <a:pt x="52863" y="2274"/>
                        <a:pt x="52863" y="2274"/>
                      </a:cubicBezTo>
                      <a:cubicBezTo>
                        <a:pt x="53392" y="2843"/>
                        <a:pt x="53392" y="2843"/>
                        <a:pt x="53392" y="2843"/>
                      </a:cubicBezTo>
                      <a:cubicBezTo>
                        <a:pt x="54449" y="5118"/>
                        <a:pt x="54977" y="5118"/>
                        <a:pt x="52334" y="4549"/>
                      </a:cubicBezTo>
                      <a:cubicBezTo>
                        <a:pt x="51277" y="3981"/>
                        <a:pt x="51277" y="3981"/>
                        <a:pt x="51277" y="3981"/>
                      </a:cubicBezTo>
                      <a:cubicBezTo>
                        <a:pt x="50748" y="4549"/>
                        <a:pt x="50748" y="4549"/>
                        <a:pt x="50748" y="4549"/>
                      </a:cubicBezTo>
                      <a:cubicBezTo>
                        <a:pt x="49691" y="5118"/>
                        <a:pt x="49691" y="5118"/>
                        <a:pt x="49691" y="5118"/>
                      </a:cubicBezTo>
                      <a:cubicBezTo>
                        <a:pt x="49691" y="5118"/>
                        <a:pt x="49691" y="5118"/>
                        <a:pt x="49691" y="5118"/>
                      </a:cubicBezTo>
                      <a:cubicBezTo>
                        <a:pt x="49691" y="5118"/>
                        <a:pt x="49691" y="6255"/>
                        <a:pt x="49691" y="6255"/>
                      </a:cubicBezTo>
                      <a:cubicBezTo>
                        <a:pt x="49162" y="7393"/>
                        <a:pt x="49162" y="7393"/>
                        <a:pt x="49162" y="7393"/>
                      </a:cubicBezTo>
                      <a:cubicBezTo>
                        <a:pt x="48105" y="7962"/>
                        <a:pt x="48105" y="7962"/>
                        <a:pt x="48105" y="7962"/>
                      </a:cubicBezTo>
                      <a:cubicBezTo>
                        <a:pt x="47048" y="8530"/>
                        <a:pt x="47048" y="8530"/>
                        <a:pt x="47048" y="8530"/>
                      </a:cubicBezTo>
                      <a:cubicBezTo>
                        <a:pt x="46519" y="9099"/>
                        <a:pt x="46519" y="9099"/>
                        <a:pt x="46519" y="9099"/>
                      </a:cubicBezTo>
                      <a:cubicBezTo>
                        <a:pt x="45462" y="9099"/>
                        <a:pt x="45462" y="9099"/>
                        <a:pt x="45462" y="9099"/>
                      </a:cubicBezTo>
                      <a:cubicBezTo>
                        <a:pt x="44405" y="9668"/>
                        <a:pt x="44405" y="9668"/>
                        <a:pt x="44405" y="9668"/>
                      </a:cubicBezTo>
                      <a:cubicBezTo>
                        <a:pt x="43876" y="10805"/>
                        <a:pt x="43876" y="10805"/>
                        <a:pt x="43876" y="10805"/>
                      </a:cubicBezTo>
                      <a:cubicBezTo>
                        <a:pt x="43876" y="10805"/>
                        <a:pt x="42819" y="10805"/>
                        <a:pt x="42819" y="10805"/>
                      </a:cubicBezTo>
                      <a:cubicBezTo>
                        <a:pt x="42819" y="10805"/>
                        <a:pt x="41233" y="11374"/>
                        <a:pt x="41233" y="11374"/>
                      </a:cubicBezTo>
                      <a:cubicBezTo>
                        <a:pt x="41233" y="12511"/>
                        <a:pt x="41233" y="12511"/>
                        <a:pt x="41233" y="12511"/>
                      </a:cubicBezTo>
                      <a:cubicBezTo>
                        <a:pt x="41233" y="12511"/>
                        <a:pt x="40704" y="13080"/>
                        <a:pt x="40704" y="13080"/>
                      </a:cubicBezTo>
                      <a:cubicBezTo>
                        <a:pt x="40704" y="13080"/>
                        <a:pt x="40704" y="14786"/>
                        <a:pt x="40704" y="14786"/>
                      </a:cubicBezTo>
                      <a:cubicBezTo>
                        <a:pt x="40704" y="14786"/>
                        <a:pt x="41762" y="15355"/>
                        <a:pt x="41762" y="15355"/>
                      </a:cubicBezTo>
                      <a:cubicBezTo>
                        <a:pt x="42290" y="15924"/>
                        <a:pt x="42290" y="15924"/>
                        <a:pt x="42290" y="15924"/>
                      </a:cubicBezTo>
                      <a:cubicBezTo>
                        <a:pt x="42819" y="16492"/>
                        <a:pt x="42819" y="16492"/>
                        <a:pt x="42819" y="16492"/>
                      </a:cubicBezTo>
                      <a:cubicBezTo>
                        <a:pt x="42819" y="16492"/>
                        <a:pt x="43348" y="17061"/>
                        <a:pt x="43348" y="17061"/>
                      </a:cubicBezTo>
                      <a:cubicBezTo>
                        <a:pt x="42819" y="17061"/>
                        <a:pt x="42819" y="18767"/>
                        <a:pt x="42819" y="18767"/>
                      </a:cubicBezTo>
                      <a:cubicBezTo>
                        <a:pt x="43348" y="20473"/>
                        <a:pt x="43348" y="20473"/>
                        <a:pt x="43348" y="20473"/>
                      </a:cubicBezTo>
                      <a:cubicBezTo>
                        <a:pt x="42819" y="21042"/>
                        <a:pt x="42819" y="21042"/>
                        <a:pt x="42819" y="21042"/>
                      </a:cubicBezTo>
                      <a:cubicBezTo>
                        <a:pt x="43348" y="22180"/>
                        <a:pt x="43348" y="22180"/>
                        <a:pt x="43348" y="22180"/>
                      </a:cubicBezTo>
                      <a:cubicBezTo>
                        <a:pt x="43348" y="22180"/>
                        <a:pt x="43876" y="22180"/>
                        <a:pt x="43348" y="22748"/>
                      </a:cubicBezTo>
                      <a:cubicBezTo>
                        <a:pt x="42819" y="22748"/>
                        <a:pt x="42290" y="23317"/>
                        <a:pt x="42290" y="23317"/>
                      </a:cubicBezTo>
                      <a:cubicBezTo>
                        <a:pt x="42290" y="23317"/>
                        <a:pt x="41233" y="23317"/>
                        <a:pt x="41233" y="23317"/>
                      </a:cubicBezTo>
                      <a:cubicBezTo>
                        <a:pt x="41233" y="23317"/>
                        <a:pt x="40176" y="23317"/>
                        <a:pt x="40176" y="23317"/>
                      </a:cubicBezTo>
                      <a:cubicBezTo>
                        <a:pt x="39647" y="24454"/>
                        <a:pt x="39647" y="24454"/>
                        <a:pt x="39647" y="24454"/>
                      </a:cubicBezTo>
                      <a:cubicBezTo>
                        <a:pt x="38590" y="23886"/>
                        <a:pt x="38590" y="23886"/>
                        <a:pt x="38590" y="23886"/>
                      </a:cubicBezTo>
                      <a:cubicBezTo>
                        <a:pt x="38590" y="25023"/>
                        <a:pt x="38590" y="25023"/>
                        <a:pt x="38590" y="25023"/>
                      </a:cubicBezTo>
                      <a:cubicBezTo>
                        <a:pt x="37004" y="25592"/>
                        <a:pt x="37004" y="25592"/>
                        <a:pt x="37004" y="25592"/>
                      </a:cubicBezTo>
                      <a:cubicBezTo>
                        <a:pt x="35947" y="26161"/>
                        <a:pt x="35947" y="26161"/>
                        <a:pt x="35947" y="26161"/>
                      </a:cubicBezTo>
                      <a:cubicBezTo>
                        <a:pt x="35418" y="27298"/>
                        <a:pt x="35418" y="27298"/>
                        <a:pt x="35418" y="27298"/>
                      </a:cubicBezTo>
                      <a:cubicBezTo>
                        <a:pt x="35947" y="27867"/>
                        <a:pt x="35947" y="27867"/>
                        <a:pt x="35947" y="27867"/>
                      </a:cubicBezTo>
                      <a:cubicBezTo>
                        <a:pt x="35947" y="27867"/>
                        <a:pt x="36475" y="28436"/>
                        <a:pt x="36475" y="27867"/>
                      </a:cubicBezTo>
                      <a:cubicBezTo>
                        <a:pt x="36475" y="27867"/>
                        <a:pt x="36475" y="27298"/>
                        <a:pt x="36475" y="27298"/>
                      </a:cubicBezTo>
                      <a:cubicBezTo>
                        <a:pt x="37004" y="27867"/>
                        <a:pt x="37533" y="28436"/>
                        <a:pt x="37533" y="28436"/>
                      </a:cubicBezTo>
                      <a:cubicBezTo>
                        <a:pt x="38061" y="29573"/>
                        <a:pt x="38061" y="29573"/>
                        <a:pt x="38061" y="29573"/>
                      </a:cubicBezTo>
                      <a:cubicBezTo>
                        <a:pt x="38061" y="29573"/>
                        <a:pt x="37004" y="29573"/>
                        <a:pt x="37004" y="29573"/>
                      </a:cubicBezTo>
                      <a:cubicBezTo>
                        <a:pt x="37004" y="29573"/>
                        <a:pt x="36475" y="30142"/>
                        <a:pt x="36475" y="30142"/>
                      </a:cubicBezTo>
                      <a:cubicBezTo>
                        <a:pt x="35947" y="30710"/>
                        <a:pt x="35947" y="30710"/>
                        <a:pt x="35947" y="30710"/>
                      </a:cubicBezTo>
                      <a:cubicBezTo>
                        <a:pt x="35947" y="31279"/>
                        <a:pt x="35947" y="31279"/>
                        <a:pt x="35947" y="31848"/>
                      </a:cubicBezTo>
                      <a:cubicBezTo>
                        <a:pt x="35947" y="31848"/>
                        <a:pt x="35947" y="32417"/>
                        <a:pt x="35947" y="32417"/>
                      </a:cubicBezTo>
                      <a:cubicBezTo>
                        <a:pt x="36475" y="32417"/>
                        <a:pt x="37004" y="33554"/>
                        <a:pt x="37004" y="33554"/>
                      </a:cubicBezTo>
                      <a:cubicBezTo>
                        <a:pt x="37004" y="33554"/>
                        <a:pt x="37533" y="34123"/>
                        <a:pt x="37533" y="34123"/>
                      </a:cubicBezTo>
                      <a:cubicBezTo>
                        <a:pt x="37533" y="34123"/>
                        <a:pt x="37533" y="34691"/>
                        <a:pt x="37533" y="34691"/>
                      </a:cubicBezTo>
                      <a:cubicBezTo>
                        <a:pt x="37533" y="34691"/>
                        <a:pt x="37004" y="35260"/>
                        <a:pt x="36475" y="35260"/>
                      </a:cubicBezTo>
                      <a:cubicBezTo>
                        <a:pt x="36475" y="35260"/>
                        <a:pt x="35418" y="35260"/>
                        <a:pt x="35418" y="35260"/>
                      </a:cubicBezTo>
                      <a:cubicBezTo>
                        <a:pt x="35418" y="35260"/>
                        <a:pt x="34889" y="36398"/>
                        <a:pt x="34889" y="36398"/>
                      </a:cubicBezTo>
                      <a:cubicBezTo>
                        <a:pt x="34889" y="36398"/>
                        <a:pt x="34361" y="36398"/>
                        <a:pt x="33832" y="36398"/>
                      </a:cubicBezTo>
                      <a:cubicBezTo>
                        <a:pt x="33832" y="36398"/>
                        <a:pt x="34889" y="36966"/>
                        <a:pt x="33832" y="36398"/>
                      </a:cubicBezTo>
                      <a:cubicBezTo>
                        <a:pt x="32246" y="35829"/>
                        <a:pt x="32246" y="35260"/>
                        <a:pt x="32246" y="35260"/>
                      </a:cubicBezTo>
                      <a:cubicBezTo>
                        <a:pt x="32246" y="35260"/>
                        <a:pt x="31718" y="34691"/>
                        <a:pt x="31718" y="34691"/>
                      </a:cubicBezTo>
                      <a:cubicBezTo>
                        <a:pt x="31189" y="34691"/>
                        <a:pt x="30660" y="34691"/>
                        <a:pt x="30660" y="34691"/>
                      </a:cubicBezTo>
                      <a:cubicBezTo>
                        <a:pt x="29603" y="34691"/>
                        <a:pt x="29603" y="34691"/>
                        <a:pt x="29603" y="34691"/>
                      </a:cubicBezTo>
                      <a:cubicBezTo>
                        <a:pt x="29074" y="34123"/>
                        <a:pt x="29074" y="34123"/>
                        <a:pt x="29074" y="34123"/>
                      </a:cubicBezTo>
                      <a:cubicBezTo>
                        <a:pt x="28546" y="35260"/>
                        <a:pt x="28546" y="35260"/>
                        <a:pt x="28546" y="35260"/>
                      </a:cubicBezTo>
                      <a:cubicBezTo>
                        <a:pt x="28546" y="35260"/>
                        <a:pt x="28546" y="35829"/>
                        <a:pt x="28017" y="35829"/>
                      </a:cubicBezTo>
                      <a:cubicBezTo>
                        <a:pt x="27488" y="36398"/>
                        <a:pt x="28017" y="36398"/>
                        <a:pt x="27488" y="36398"/>
                      </a:cubicBezTo>
                      <a:cubicBezTo>
                        <a:pt x="26431" y="36398"/>
                        <a:pt x="25903" y="35260"/>
                        <a:pt x="25903" y="35260"/>
                      </a:cubicBezTo>
                      <a:cubicBezTo>
                        <a:pt x="25903" y="35260"/>
                        <a:pt x="24845" y="34691"/>
                        <a:pt x="24845" y="34691"/>
                      </a:cubicBezTo>
                      <a:cubicBezTo>
                        <a:pt x="24317" y="34123"/>
                        <a:pt x="24317" y="34123"/>
                        <a:pt x="24317" y="34123"/>
                      </a:cubicBezTo>
                      <a:cubicBezTo>
                        <a:pt x="23788" y="34123"/>
                        <a:pt x="23788" y="34691"/>
                        <a:pt x="23788" y="33554"/>
                      </a:cubicBezTo>
                      <a:cubicBezTo>
                        <a:pt x="23788" y="32985"/>
                        <a:pt x="23788" y="32985"/>
                        <a:pt x="23788" y="32985"/>
                      </a:cubicBezTo>
                      <a:cubicBezTo>
                        <a:pt x="23259" y="32417"/>
                        <a:pt x="23259" y="32985"/>
                        <a:pt x="22731" y="32417"/>
                      </a:cubicBezTo>
                      <a:cubicBezTo>
                        <a:pt x="22731" y="31848"/>
                        <a:pt x="22202" y="31279"/>
                        <a:pt x="22202" y="31279"/>
                      </a:cubicBezTo>
                      <a:cubicBezTo>
                        <a:pt x="21674" y="30142"/>
                        <a:pt x="21674" y="30142"/>
                        <a:pt x="21674" y="30142"/>
                      </a:cubicBezTo>
                      <a:cubicBezTo>
                        <a:pt x="21674" y="30142"/>
                        <a:pt x="21674" y="30142"/>
                        <a:pt x="21674" y="30710"/>
                      </a:cubicBezTo>
                      <a:cubicBezTo>
                        <a:pt x="21145" y="31279"/>
                        <a:pt x="20616" y="31279"/>
                        <a:pt x="20616" y="31279"/>
                      </a:cubicBezTo>
                      <a:cubicBezTo>
                        <a:pt x="20616" y="31848"/>
                        <a:pt x="20088" y="32417"/>
                        <a:pt x="20088" y="32417"/>
                      </a:cubicBezTo>
                      <a:cubicBezTo>
                        <a:pt x="20088" y="32417"/>
                        <a:pt x="19559" y="32985"/>
                        <a:pt x="19559" y="33554"/>
                      </a:cubicBezTo>
                      <a:cubicBezTo>
                        <a:pt x="20088" y="33554"/>
                        <a:pt x="20088" y="33554"/>
                        <a:pt x="20088" y="34123"/>
                      </a:cubicBezTo>
                      <a:cubicBezTo>
                        <a:pt x="20088" y="34123"/>
                        <a:pt x="19559" y="34691"/>
                        <a:pt x="19559" y="34691"/>
                      </a:cubicBezTo>
                      <a:cubicBezTo>
                        <a:pt x="19030" y="35260"/>
                        <a:pt x="19030" y="35260"/>
                        <a:pt x="18502" y="35260"/>
                      </a:cubicBezTo>
                      <a:cubicBezTo>
                        <a:pt x="18502" y="35829"/>
                        <a:pt x="17444" y="36398"/>
                        <a:pt x="17444" y="36398"/>
                      </a:cubicBezTo>
                      <a:cubicBezTo>
                        <a:pt x="16387" y="36398"/>
                        <a:pt x="16387" y="36398"/>
                        <a:pt x="16387" y="36398"/>
                      </a:cubicBezTo>
                      <a:cubicBezTo>
                        <a:pt x="14801" y="35829"/>
                        <a:pt x="14801" y="35829"/>
                        <a:pt x="14801" y="35829"/>
                      </a:cubicBezTo>
                      <a:cubicBezTo>
                        <a:pt x="13744" y="36966"/>
                        <a:pt x="13744" y="36966"/>
                        <a:pt x="13744" y="36966"/>
                      </a:cubicBezTo>
                      <a:cubicBezTo>
                        <a:pt x="13744" y="36966"/>
                        <a:pt x="13215" y="36966"/>
                        <a:pt x="13215" y="36966"/>
                      </a:cubicBezTo>
                      <a:cubicBezTo>
                        <a:pt x="12687" y="36966"/>
                        <a:pt x="12158" y="36966"/>
                        <a:pt x="12158" y="36966"/>
                      </a:cubicBezTo>
                      <a:cubicBezTo>
                        <a:pt x="12158" y="36966"/>
                        <a:pt x="11629" y="36398"/>
                        <a:pt x="11101" y="36398"/>
                      </a:cubicBezTo>
                      <a:cubicBezTo>
                        <a:pt x="11101" y="36398"/>
                        <a:pt x="10572" y="36398"/>
                        <a:pt x="10572" y="36398"/>
                      </a:cubicBezTo>
                      <a:cubicBezTo>
                        <a:pt x="10044" y="36398"/>
                        <a:pt x="9515" y="36398"/>
                        <a:pt x="9515" y="36398"/>
                      </a:cubicBezTo>
                      <a:cubicBezTo>
                        <a:pt x="9515" y="36966"/>
                        <a:pt x="9515" y="36966"/>
                        <a:pt x="9515" y="36966"/>
                      </a:cubicBezTo>
                      <a:cubicBezTo>
                        <a:pt x="9515" y="36966"/>
                        <a:pt x="10044" y="36966"/>
                        <a:pt x="10044" y="36966"/>
                      </a:cubicBezTo>
                      <a:cubicBezTo>
                        <a:pt x="10044" y="37535"/>
                        <a:pt x="10044" y="38104"/>
                        <a:pt x="10044" y="38104"/>
                      </a:cubicBezTo>
                      <a:cubicBezTo>
                        <a:pt x="10044" y="38104"/>
                        <a:pt x="9515" y="38104"/>
                        <a:pt x="9515" y="38104"/>
                      </a:cubicBezTo>
                      <a:cubicBezTo>
                        <a:pt x="9515" y="38672"/>
                        <a:pt x="8458" y="38672"/>
                        <a:pt x="8458" y="38672"/>
                      </a:cubicBezTo>
                      <a:cubicBezTo>
                        <a:pt x="8458" y="38672"/>
                        <a:pt x="8458" y="39241"/>
                        <a:pt x="8458" y="39241"/>
                      </a:cubicBezTo>
                      <a:cubicBezTo>
                        <a:pt x="8458" y="39241"/>
                        <a:pt x="8458" y="39241"/>
                        <a:pt x="7929" y="39241"/>
                      </a:cubicBezTo>
                      <a:cubicBezTo>
                        <a:pt x="7400" y="39241"/>
                        <a:pt x="7400" y="39241"/>
                        <a:pt x="6872" y="39241"/>
                      </a:cubicBezTo>
                      <a:cubicBezTo>
                        <a:pt x="6872" y="38672"/>
                        <a:pt x="6343" y="38672"/>
                        <a:pt x="5814" y="38672"/>
                      </a:cubicBezTo>
                      <a:cubicBezTo>
                        <a:pt x="5814" y="38672"/>
                        <a:pt x="4229" y="38104"/>
                        <a:pt x="4229" y="38104"/>
                      </a:cubicBezTo>
                      <a:cubicBezTo>
                        <a:pt x="4229" y="38104"/>
                        <a:pt x="3700" y="38672"/>
                        <a:pt x="3700" y="38672"/>
                      </a:cubicBezTo>
                      <a:cubicBezTo>
                        <a:pt x="3171" y="38672"/>
                        <a:pt x="2643" y="38672"/>
                        <a:pt x="2114" y="38104"/>
                      </a:cubicBezTo>
                      <a:cubicBezTo>
                        <a:pt x="2114"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6966"/>
                        <a:pt x="1585" y="36966"/>
                        <a:pt x="1585" y="36966"/>
                      </a:cubicBezTo>
                      <a:cubicBezTo>
                        <a:pt x="0" y="38104"/>
                        <a:pt x="0" y="38104"/>
                        <a:pt x="0" y="38104"/>
                      </a:cubicBezTo>
                      <a:cubicBezTo>
                        <a:pt x="1057" y="40379"/>
                        <a:pt x="1057" y="40379"/>
                        <a:pt x="1057" y="40379"/>
                      </a:cubicBezTo>
                      <a:cubicBezTo>
                        <a:pt x="528" y="40947"/>
                        <a:pt x="528" y="40947"/>
                        <a:pt x="528" y="40947"/>
                      </a:cubicBezTo>
                      <a:cubicBezTo>
                        <a:pt x="528" y="40947"/>
                        <a:pt x="1057" y="41516"/>
                        <a:pt x="1057" y="41516"/>
                      </a:cubicBezTo>
                      <a:cubicBezTo>
                        <a:pt x="1057" y="42085"/>
                        <a:pt x="1585" y="42085"/>
                        <a:pt x="1585" y="42654"/>
                      </a:cubicBezTo>
                      <a:cubicBezTo>
                        <a:pt x="1585" y="43222"/>
                        <a:pt x="1585" y="43791"/>
                        <a:pt x="1585" y="43791"/>
                      </a:cubicBezTo>
                      <a:cubicBezTo>
                        <a:pt x="2114" y="43791"/>
                        <a:pt x="2114" y="43791"/>
                        <a:pt x="2114" y="43791"/>
                      </a:cubicBezTo>
                      <a:cubicBezTo>
                        <a:pt x="2643" y="44928"/>
                        <a:pt x="2643" y="44928"/>
                        <a:pt x="2643" y="44928"/>
                      </a:cubicBezTo>
                      <a:cubicBezTo>
                        <a:pt x="2643" y="45497"/>
                        <a:pt x="2643" y="45497"/>
                        <a:pt x="2643" y="45497"/>
                      </a:cubicBezTo>
                      <a:cubicBezTo>
                        <a:pt x="2643" y="46635"/>
                        <a:pt x="2643" y="46635"/>
                        <a:pt x="2643" y="46635"/>
                      </a:cubicBezTo>
                      <a:cubicBezTo>
                        <a:pt x="2643" y="46635"/>
                        <a:pt x="3171" y="47203"/>
                        <a:pt x="3171" y="47772"/>
                      </a:cubicBezTo>
                      <a:cubicBezTo>
                        <a:pt x="3171" y="47772"/>
                        <a:pt x="3171" y="48341"/>
                        <a:pt x="3171" y="48909"/>
                      </a:cubicBezTo>
                      <a:cubicBezTo>
                        <a:pt x="3171" y="48909"/>
                        <a:pt x="4229" y="50047"/>
                        <a:pt x="4229" y="50047"/>
                      </a:cubicBezTo>
                      <a:cubicBezTo>
                        <a:pt x="4229" y="51184"/>
                        <a:pt x="4229" y="51184"/>
                        <a:pt x="4229" y="51184"/>
                      </a:cubicBezTo>
                      <a:cubicBezTo>
                        <a:pt x="4229" y="51184"/>
                        <a:pt x="4757" y="51753"/>
                        <a:pt x="5286" y="52322"/>
                      </a:cubicBezTo>
                      <a:cubicBezTo>
                        <a:pt x="5286" y="52322"/>
                        <a:pt x="5814" y="52890"/>
                        <a:pt x="5814" y="52890"/>
                      </a:cubicBezTo>
                      <a:cubicBezTo>
                        <a:pt x="6343" y="54028"/>
                        <a:pt x="6343" y="54028"/>
                        <a:pt x="6343" y="54028"/>
                      </a:cubicBezTo>
                      <a:cubicBezTo>
                        <a:pt x="6872" y="55165"/>
                        <a:pt x="6872" y="55165"/>
                        <a:pt x="6872" y="55165"/>
                      </a:cubicBezTo>
                      <a:cubicBezTo>
                        <a:pt x="7400" y="55734"/>
                        <a:pt x="7400" y="55734"/>
                        <a:pt x="7400" y="55734"/>
                      </a:cubicBezTo>
                      <a:cubicBezTo>
                        <a:pt x="7929" y="56872"/>
                        <a:pt x="7929" y="56872"/>
                        <a:pt x="7929" y="56872"/>
                      </a:cubicBezTo>
                      <a:cubicBezTo>
                        <a:pt x="8458" y="57440"/>
                        <a:pt x="8458" y="57440"/>
                        <a:pt x="8458" y="57440"/>
                      </a:cubicBezTo>
                      <a:cubicBezTo>
                        <a:pt x="8986" y="58009"/>
                        <a:pt x="8986" y="58009"/>
                        <a:pt x="8986" y="58009"/>
                      </a:cubicBezTo>
                      <a:cubicBezTo>
                        <a:pt x="8986" y="58009"/>
                        <a:pt x="8986" y="58578"/>
                        <a:pt x="9515" y="58578"/>
                      </a:cubicBezTo>
                      <a:cubicBezTo>
                        <a:pt x="10044" y="58578"/>
                        <a:pt x="10572" y="58578"/>
                        <a:pt x="10572" y="58578"/>
                      </a:cubicBezTo>
                      <a:cubicBezTo>
                        <a:pt x="11101" y="58578"/>
                        <a:pt x="11101" y="59146"/>
                        <a:pt x="11629" y="57440"/>
                      </a:cubicBezTo>
                      <a:cubicBezTo>
                        <a:pt x="11629" y="56303"/>
                        <a:pt x="11629" y="55734"/>
                        <a:pt x="11629" y="55734"/>
                      </a:cubicBezTo>
                      <a:cubicBezTo>
                        <a:pt x="11629" y="55734"/>
                        <a:pt x="12158" y="55734"/>
                        <a:pt x="12158" y="55165"/>
                      </a:cubicBezTo>
                      <a:cubicBezTo>
                        <a:pt x="12687" y="55165"/>
                        <a:pt x="13215" y="55165"/>
                        <a:pt x="13215" y="54597"/>
                      </a:cubicBezTo>
                      <a:cubicBezTo>
                        <a:pt x="13215" y="53459"/>
                        <a:pt x="12158" y="52890"/>
                        <a:pt x="12158" y="52890"/>
                      </a:cubicBezTo>
                      <a:cubicBezTo>
                        <a:pt x="12158" y="52890"/>
                        <a:pt x="13215" y="52322"/>
                        <a:pt x="13744" y="52890"/>
                      </a:cubicBezTo>
                      <a:cubicBezTo>
                        <a:pt x="13744" y="53459"/>
                        <a:pt x="13744" y="54028"/>
                        <a:pt x="14273" y="53459"/>
                      </a:cubicBezTo>
                      <a:cubicBezTo>
                        <a:pt x="14801" y="52322"/>
                        <a:pt x="14801" y="52322"/>
                        <a:pt x="14801" y="52322"/>
                      </a:cubicBezTo>
                      <a:cubicBezTo>
                        <a:pt x="14273" y="51753"/>
                        <a:pt x="14273" y="51184"/>
                        <a:pt x="14273" y="50616"/>
                      </a:cubicBezTo>
                      <a:cubicBezTo>
                        <a:pt x="14273" y="50616"/>
                        <a:pt x="14801" y="50047"/>
                        <a:pt x="14801" y="49478"/>
                      </a:cubicBezTo>
                      <a:cubicBezTo>
                        <a:pt x="15330" y="48909"/>
                        <a:pt x="15330" y="48341"/>
                        <a:pt x="15330" y="47772"/>
                      </a:cubicBezTo>
                      <a:cubicBezTo>
                        <a:pt x="15330" y="46635"/>
                        <a:pt x="15330" y="47203"/>
                        <a:pt x="15859" y="46066"/>
                      </a:cubicBezTo>
                      <a:cubicBezTo>
                        <a:pt x="15859" y="45497"/>
                        <a:pt x="15859" y="46066"/>
                        <a:pt x="15859" y="43791"/>
                      </a:cubicBezTo>
                      <a:cubicBezTo>
                        <a:pt x="16387" y="42085"/>
                        <a:pt x="16387" y="41516"/>
                        <a:pt x="16916" y="41516"/>
                      </a:cubicBezTo>
                      <a:cubicBezTo>
                        <a:pt x="16916" y="41516"/>
                        <a:pt x="21145" y="43222"/>
                        <a:pt x="21145" y="43222"/>
                      </a:cubicBezTo>
                      <a:cubicBezTo>
                        <a:pt x="21145" y="43222"/>
                        <a:pt x="21674" y="44360"/>
                        <a:pt x="21674" y="44360"/>
                      </a:cubicBezTo>
                      <a:cubicBezTo>
                        <a:pt x="21674" y="44928"/>
                        <a:pt x="21674" y="45497"/>
                        <a:pt x="21674" y="45497"/>
                      </a:cubicBezTo>
                      <a:cubicBezTo>
                        <a:pt x="21674" y="46066"/>
                        <a:pt x="21145" y="47203"/>
                        <a:pt x="21145" y="47203"/>
                      </a:cubicBezTo>
                      <a:cubicBezTo>
                        <a:pt x="21145" y="47772"/>
                        <a:pt x="21145" y="47772"/>
                        <a:pt x="21145" y="47772"/>
                      </a:cubicBezTo>
                      <a:cubicBezTo>
                        <a:pt x="21145" y="47772"/>
                        <a:pt x="20088" y="47772"/>
                        <a:pt x="20088" y="48909"/>
                      </a:cubicBezTo>
                      <a:cubicBezTo>
                        <a:pt x="19559" y="49478"/>
                        <a:pt x="19559" y="49478"/>
                        <a:pt x="20088" y="50047"/>
                      </a:cubicBezTo>
                      <a:cubicBezTo>
                        <a:pt x="20616" y="50616"/>
                        <a:pt x="21145" y="51184"/>
                        <a:pt x="21145" y="51184"/>
                      </a:cubicBezTo>
                      <a:cubicBezTo>
                        <a:pt x="21674" y="51184"/>
                        <a:pt x="22202" y="50616"/>
                        <a:pt x="22731" y="50616"/>
                      </a:cubicBezTo>
                      <a:cubicBezTo>
                        <a:pt x="22731" y="50616"/>
                        <a:pt x="23259" y="50616"/>
                        <a:pt x="23259" y="50616"/>
                      </a:cubicBezTo>
                      <a:cubicBezTo>
                        <a:pt x="23259" y="51184"/>
                        <a:pt x="23259" y="51753"/>
                        <a:pt x="23788" y="52322"/>
                      </a:cubicBezTo>
                      <a:cubicBezTo>
                        <a:pt x="24317" y="52322"/>
                        <a:pt x="24845" y="52890"/>
                        <a:pt x="24845" y="52890"/>
                      </a:cubicBezTo>
                      <a:cubicBezTo>
                        <a:pt x="25374" y="52890"/>
                        <a:pt x="25903" y="52890"/>
                        <a:pt x="25903" y="52890"/>
                      </a:cubicBezTo>
                      <a:cubicBezTo>
                        <a:pt x="25903" y="52890"/>
                        <a:pt x="26431" y="52322"/>
                        <a:pt x="26960" y="52322"/>
                      </a:cubicBezTo>
                      <a:cubicBezTo>
                        <a:pt x="26960" y="52322"/>
                        <a:pt x="28546" y="54028"/>
                        <a:pt x="27488" y="51753"/>
                      </a:cubicBezTo>
                      <a:cubicBezTo>
                        <a:pt x="25903" y="50047"/>
                        <a:pt x="25903" y="50047"/>
                        <a:pt x="25903" y="49478"/>
                      </a:cubicBezTo>
                      <a:cubicBezTo>
                        <a:pt x="25374" y="49478"/>
                        <a:pt x="24845" y="48909"/>
                        <a:pt x="24845" y="48909"/>
                      </a:cubicBezTo>
                      <a:cubicBezTo>
                        <a:pt x="24317" y="48909"/>
                        <a:pt x="24317" y="48909"/>
                        <a:pt x="24317" y="48909"/>
                      </a:cubicBezTo>
                      <a:cubicBezTo>
                        <a:pt x="24317" y="48909"/>
                        <a:pt x="24317" y="48341"/>
                        <a:pt x="24317" y="47772"/>
                      </a:cubicBezTo>
                      <a:cubicBezTo>
                        <a:pt x="24845" y="47203"/>
                        <a:pt x="24845" y="47203"/>
                        <a:pt x="25374" y="47203"/>
                      </a:cubicBezTo>
                      <a:cubicBezTo>
                        <a:pt x="25903" y="47203"/>
                        <a:pt x="25903" y="46635"/>
                        <a:pt x="26960" y="47772"/>
                      </a:cubicBezTo>
                      <a:cubicBezTo>
                        <a:pt x="27488" y="48341"/>
                        <a:pt x="27488" y="48341"/>
                        <a:pt x="27488" y="48909"/>
                      </a:cubicBezTo>
                      <a:cubicBezTo>
                        <a:pt x="28017" y="50047"/>
                        <a:pt x="28546" y="50616"/>
                        <a:pt x="29074" y="51184"/>
                      </a:cubicBezTo>
                      <a:cubicBezTo>
                        <a:pt x="29074" y="51184"/>
                        <a:pt x="29603" y="51184"/>
                        <a:pt x="29603" y="52322"/>
                      </a:cubicBezTo>
                      <a:cubicBezTo>
                        <a:pt x="29603" y="53459"/>
                        <a:pt x="29603" y="54597"/>
                        <a:pt x="29603" y="55165"/>
                      </a:cubicBezTo>
                      <a:cubicBezTo>
                        <a:pt x="29603" y="55165"/>
                        <a:pt x="29603" y="57440"/>
                        <a:pt x="29603" y="57440"/>
                      </a:cubicBezTo>
                      <a:cubicBezTo>
                        <a:pt x="29603" y="57440"/>
                        <a:pt x="29603" y="58578"/>
                        <a:pt x="29603" y="59146"/>
                      </a:cubicBezTo>
                      <a:cubicBezTo>
                        <a:pt x="29603" y="59715"/>
                        <a:pt x="32246" y="63696"/>
                        <a:pt x="32246" y="63696"/>
                      </a:cubicBezTo>
                      <a:cubicBezTo>
                        <a:pt x="32246" y="63696"/>
                        <a:pt x="33303" y="65402"/>
                        <a:pt x="33832" y="65402"/>
                      </a:cubicBezTo>
                      <a:cubicBezTo>
                        <a:pt x="33832" y="65402"/>
                        <a:pt x="34361" y="67109"/>
                        <a:pt x="34889" y="67677"/>
                      </a:cubicBezTo>
                      <a:cubicBezTo>
                        <a:pt x="35947" y="67677"/>
                        <a:pt x="38061" y="68815"/>
                        <a:pt x="38061" y="68815"/>
                      </a:cubicBezTo>
                      <a:cubicBezTo>
                        <a:pt x="41762" y="71090"/>
                        <a:pt x="41762" y="71090"/>
                        <a:pt x="41762" y="71090"/>
                      </a:cubicBezTo>
                      <a:cubicBezTo>
                        <a:pt x="41762" y="71090"/>
                        <a:pt x="42819" y="72796"/>
                        <a:pt x="43348" y="72796"/>
                      </a:cubicBezTo>
                      <a:cubicBezTo>
                        <a:pt x="43348" y="72796"/>
                        <a:pt x="45991" y="72796"/>
                        <a:pt x="43876" y="72796"/>
                      </a:cubicBezTo>
                      <a:cubicBezTo>
                        <a:pt x="42290" y="72796"/>
                        <a:pt x="40176" y="71658"/>
                        <a:pt x="40176" y="71658"/>
                      </a:cubicBezTo>
                      <a:cubicBezTo>
                        <a:pt x="40176" y="71658"/>
                        <a:pt x="39647" y="70521"/>
                        <a:pt x="39647" y="70521"/>
                      </a:cubicBezTo>
                      <a:cubicBezTo>
                        <a:pt x="39118" y="70521"/>
                        <a:pt x="37004" y="69952"/>
                        <a:pt x="36475" y="69383"/>
                      </a:cubicBezTo>
                      <a:cubicBezTo>
                        <a:pt x="36475" y="69383"/>
                        <a:pt x="35947" y="68815"/>
                        <a:pt x="35418" y="68246"/>
                      </a:cubicBezTo>
                      <a:cubicBezTo>
                        <a:pt x="34889" y="67109"/>
                        <a:pt x="33832" y="66540"/>
                        <a:pt x="33832" y="66540"/>
                      </a:cubicBezTo>
                      <a:cubicBezTo>
                        <a:pt x="33832" y="66540"/>
                        <a:pt x="33303" y="65971"/>
                        <a:pt x="32775" y="64834"/>
                      </a:cubicBezTo>
                      <a:cubicBezTo>
                        <a:pt x="32246" y="64265"/>
                        <a:pt x="32246" y="64265"/>
                        <a:pt x="32246" y="63696"/>
                      </a:cubicBezTo>
                      <a:cubicBezTo>
                        <a:pt x="31718" y="63696"/>
                        <a:pt x="32246" y="63696"/>
                        <a:pt x="31189" y="63127"/>
                      </a:cubicBezTo>
                      <a:cubicBezTo>
                        <a:pt x="30132" y="62559"/>
                        <a:pt x="29603" y="61990"/>
                        <a:pt x="29603" y="61990"/>
                      </a:cubicBezTo>
                      <a:cubicBezTo>
                        <a:pt x="29074" y="61990"/>
                        <a:pt x="28017" y="61421"/>
                        <a:pt x="28017" y="61421"/>
                      </a:cubicBezTo>
                      <a:cubicBezTo>
                        <a:pt x="28017" y="61421"/>
                        <a:pt x="26960" y="60284"/>
                        <a:pt x="26960" y="60284"/>
                      </a:cubicBezTo>
                      <a:cubicBezTo>
                        <a:pt x="26960" y="60284"/>
                        <a:pt x="26431" y="61421"/>
                        <a:pt x="27488" y="61990"/>
                      </a:cubicBezTo>
                      <a:cubicBezTo>
                        <a:pt x="28017" y="61990"/>
                        <a:pt x="29074" y="63127"/>
                        <a:pt x="29074" y="63127"/>
                      </a:cubicBezTo>
                      <a:cubicBezTo>
                        <a:pt x="29074" y="63127"/>
                        <a:pt x="30132" y="63696"/>
                        <a:pt x="30132" y="63696"/>
                      </a:cubicBezTo>
                      <a:cubicBezTo>
                        <a:pt x="30132" y="63696"/>
                        <a:pt x="30132" y="64834"/>
                        <a:pt x="30132" y="64834"/>
                      </a:cubicBezTo>
                      <a:cubicBezTo>
                        <a:pt x="30132" y="64834"/>
                        <a:pt x="28546" y="64265"/>
                        <a:pt x="30132" y="64834"/>
                      </a:cubicBezTo>
                      <a:cubicBezTo>
                        <a:pt x="31189" y="65402"/>
                        <a:pt x="32246" y="65402"/>
                        <a:pt x="32246" y="65402"/>
                      </a:cubicBezTo>
                      <a:cubicBezTo>
                        <a:pt x="32246" y="65402"/>
                        <a:pt x="31189" y="65971"/>
                        <a:pt x="30660" y="65971"/>
                      </a:cubicBezTo>
                      <a:cubicBezTo>
                        <a:pt x="30660" y="66540"/>
                        <a:pt x="31718" y="68246"/>
                        <a:pt x="31718" y="67677"/>
                      </a:cubicBezTo>
                      <a:cubicBezTo>
                        <a:pt x="32246" y="67677"/>
                        <a:pt x="32775" y="68246"/>
                        <a:pt x="33303" y="68246"/>
                      </a:cubicBezTo>
                      <a:cubicBezTo>
                        <a:pt x="33303" y="68246"/>
                        <a:pt x="34361" y="68246"/>
                        <a:pt x="34361" y="68815"/>
                      </a:cubicBezTo>
                      <a:cubicBezTo>
                        <a:pt x="34889" y="68815"/>
                        <a:pt x="34889" y="68815"/>
                        <a:pt x="34889" y="69383"/>
                      </a:cubicBezTo>
                      <a:cubicBezTo>
                        <a:pt x="34361" y="69383"/>
                        <a:pt x="34889" y="70521"/>
                        <a:pt x="34889" y="70521"/>
                      </a:cubicBezTo>
                      <a:cubicBezTo>
                        <a:pt x="35947" y="71090"/>
                        <a:pt x="35947" y="71090"/>
                        <a:pt x="35947" y="71090"/>
                      </a:cubicBezTo>
                      <a:cubicBezTo>
                        <a:pt x="35947" y="71090"/>
                        <a:pt x="34361" y="71090"/>
                        <a:pt x="34361" y="70521"/>
                      </a:cubicBezTo>
                      <a:cubicBezTo>
                        <a:pt x="33832" y="70521"/>
                        <a:pt x="33832" y="69952"/>
                        <a:pt x="33303" y="70521"/>
                      </a:cubicBezTo>
                      <a:cubicBezTo>
                        <a:pt x="32775" y="71090"/>
                        <a:pt x="32775" y="71090"/>
                        <a:pt x="32775" y="71658"/>
                      </a:cubicBezTo>
                      <a:cubicBezTo>
                        <a:pt x="33303" y="72227"/>
                        <a:pt x="33832" y="72796"/>
                        <a:pt x="34361" y="72227"/>
                      </a:cubicBezTo>
                      <a:cubicBezTo>
                        <a:pt x="34361" y="72227"/>
                        <a:pt x="34361" y="72227"/>
                        <a:pt x="34889" y="71658"/>
                      </a:cubicBezTo>
                      <a:cubicBezTo>
                        <a:pt x="34889" y="71658"/>
                        <a:pt x="34889" y="71658"/>
                        <a:pt x="35418" y="71658"/>
                      </a:cubicBezTo>
                      <a:cubicBezTo>
                        <a:pt x="35418" y="71658"/>
                        <a:pt x="35947" y="71658"/>
                        <a:pt x="35947" y="71658"/>
                      </a:cubicBezTo>
                      <a:cubicBezTo>
                        <a:pt x="36475" y="71090"/>
                        <a:pt x="36475" y="71090"/>
                        <a:pt x="36475" y="71090"/>
                      </a:cubicBezTo>
                      <a:cubicBezTo>
                        <a:pt x="36475" y="71090"/>
                        <a:pt x="36475" y="71090"/>
                        <a:pt x="36475" y="71658"/>
                      </a:cubicBezTo>
                      <a:cubicBezTo>
                        <a:pt x="36475" y="71658"/>
                        <a:pt x="37004" y="71658"/>
                        <a:pt x="36475" y="72227"/>
                      </a:cubicBezTo>
                      <a:cubicBezTo>
                        <a:pt x="36475" y="72796"/>
                        <a:pt x="35947" y="72796"/>
                        <a:pt x="35947" y="72796"/>
                      </a:cubicBezTo>
                      <a:cubicBezTo>
                        <a:pt x="35947" y="73364"/>
                        <a:pt x="35418" y="72796"/>
                        <a:pt x="35947" y="73933"/>
                      </a:cubicBezTo>
                      <a:cubicBezTo>
                        <a:pt x="35947" y="74502"/>
                        <a:pt x="35947" y="75071"/>
                        <a:pt x="35947" y="75071"/>
                      </a:cubicBezTo>
                      <a:cubicBezTo>
                        <a:pt x="35947" y="75071"/>
                        <a:pt x="36475" y="75071"/>
                        <a:pt x="36475" y="75071"/>
                      </a:cubicBezTo>
                      <a:cubicBezTo>
                        <a:pt x="37004" y="75639"/>
                        <a:pt x="37004" y="76208"/>
                        <a:pt x="37004" y="76777"/>
                      </a:cubicBezTo>
                      <a:cubicBezTo>
                        <a:pt x="37533" y="76777"/>
                        <a:pt x="38590" y="78483"/>
                        <a:pt x="38590" y="78483"/>
                      </a:cubicBezTo>
                      <a:cubicBezTo>
                        <a:pt x="38590" y="78483"/>
                        <a:pt x="40176" y="79620"/>
                        <a:pt x="40176" y="79620"/>
                      </a:cubicBezTo>
                      <a:cubicBezTo>
                        <a:pt x="40176" y="79620"/>
                        <a:pt x="40704" y="80189"/>
                        <a:pt x="40704" y="80189"/>
                      </a:cubicBezTo>
                      <a:cubicBezTo>
                        <a:pt x="40704" y="80189"/>
                        <a:pt x="40704" y="80758"/>
                        <a:pt x="40176" y="80189"/>
                      </a:cubicBezTo>
                      <a:cubicBezTo>
                        <a:pt x="39647" y="79620"/>
                        <a:pt x="38590" y="79052"/>
                        <a:pt x="38590" y="79052"/>
                      </a:cubicBezTo>
                      <a:cubicBezTo>
                        <a:pt x="38590" y="80189"/>
                        <a:pt x="38590" y="80189"/>
                        <a:pt x="38590" y="80189"/>
                      </a:cubicBezTo>
                      <a:cubicBezTo>
                        <a:pt x="38590" y="80189"/>
                        <a:pt x="39118" y="80758"/>
                        <a:pt x="39647" y="80758"/>
                      </a:cubicBezTo>
                      <a:cubicBezTo>
                        <a:pt x="39647" y="81327"/>
                        <a:pt x="39647" y="81327"/>
                        <a:pt x="40176" y="81895"/>
                      </a:cubicBezTo>
                      <a:cubicBezTo>
                        <a:pt x="40704" y="81895"/>
                        <a:pt x="41233" y="81895"/>
                        <a:pt x="41762" y="81895"/>
                      </a:cubicBezTo>
                      <a:cubicBezTo>
                        <a:pt x="41762" y="82464"/>
                        <a:pt x="41762" y="81327"/>
                        <a:pt x="41762" y="81327"/>
                      </a:cubicBezTo>
                      <a:cubicBezTo>
                        <a:pt x="41762" y="81327"/>
                        <a:pt x="42290" y="81327"/>
                        <a:pt x="42290" y="81327"/>
                      </a:cubicBezTo>
                      <a:cubicBezTo>
                        <a:pt x="42290" y="81895"/>
                        <a:pt x="42819" y="82464"/>
                        <a:pt x="42290" y="83033"/>
                      </a:cubicBezTo>
                      <a:cubicBezTo>
                        <a:pt x="42290" y="83033"/>
                        <a:pt x="42290" y="83601"/>
                        <a:pt x="41762" y="83033"/>
                      </a:cubicBezTo>
                      <a:cubicBezTo>
                        <a:pt x="41233" y="83033"/>
                        <a:pt x="40704" y="82464"/>
                        <a:pt x="40176" y="82464"/>
                      </a:cubicBezTo>
                      <a:cubicBezTo>
                        <a:pt x="40176" y="82464"/>
                        <a:pt x="39647" y="81895"/>
                        <a:pt x="39118" y="82464"/>
                      </a:cubicBezTo>
                      <a:cubicBezTo>
                        <a:pt x="39118" y="82464"/>
                        <a:pt x="38061" y="81895"/>
                        <a:pt x="38061" y="82464"/>
                      </a:cubicBezTo>
                      <a:cubicBezTo>
                        <a:pt x="38061" y="83033"/>
                        <a:pt x="38061" y="83601"/>
                        <a:pt x="38061" y="83601"/>
                      </a:cubicBezTo>
                      <a:cubicBezTo>
                        <a:pt x="38061" y="83601"/>
                        <a:pt x="37533" y="81327"/>
                        <a:pt x="37004" y="81327"/>
                      </a:cubicBezTo>
                      <a:cubicBezTo>
                        <a:pt x="36475" y="81327"/>
                        <a:pt x="35418" y="80758"/>
                        <a:pt x="35418" y="80758"/>
                      </a:cubicBezTo>
                      <a:cubicBezTo>
                        <a:pt x="34889" y="79620"/>
                        <a:pt x="34889" y="79620"/>
                        <a:pt x="34889" y="79620"/>
                      </a:cubicBezTo>
                      <a:cubicBezTo>
                        <a:pt x="34889" y="79620"/>
                        <a:pt x="35418" y="79620"/>
                        <a:pt x="35418" y="79620"/>
                      </a:cubicBezTo>
                      <a:cubicBezTo>
                        <a:pt x="35947" y="80189"/>
                        <a:pt x="35418" y="80189"/>
                        <a:pt x="35947" y="80189"/>
                      </a:cubicBezTo>
                      <a:cubicBezTo>
                        <a:pt x="36475" y="80189"/>
                        <a:pt x="35418" y="79052"/>
                        <a:pt x="36475" y="79052"/>
                      </a:cubicBezTo>
                      <a:cubicBezTo>
                        <a:pt x="37533" y="79052"/>
                        <a:pt x="37533" y="79052"/>
                        <a:pt x="37533" y="79052"/>
                      </a:cubicBezTo>
                      <a:cubicBezTo>
                        <a:pt x="37533" y="78483"/>
                        <a:pt x="38590" y="78483"/>
                        <a:pt x="37533" y="77914"/>
                      </a:cubicBezTo>
                      <a:cubicBezTo>
                        <a:pt x="36475" y="77345"/>
                        <a:pt x="36475" y="77345"/>
                        <a:pt x="36475" y="77345"/>
                      </a:cubicBezTo>
                      <a:cubicBezTo>
                        <a:pt x="35947" y="77345"/>
                        <a:pt x="35947" y="77345"/>
                        <a:pt x="35947" y="76777"/>
                      </a:cubicBezTo>
                      <a:cubicBezTo>
                        <a:pt x="35418" y="76208"/>
                        <a:pt x="35418" y="75639"/>
                        <a:pt x="34889" y="75639"/>
                      </a:cubicBezTo>
                      <a:cubicBezTo>
                        <a:pt x="34889" y="75639"/>
                        <a:pt x="33303" y="75639"/>
                        <a:pt x="33303" y="75639"/>
                      </a:cubicBezTo>
                      <a:cubicBezTo>
                        <a:pt x="33303" y="75639"/>
                        <a:pt x="32775" y="75071"/>
                        <a:pt x="32246" y="75071"/>
                      </a:cubicBezTo>
                      <a:cubicBezTo>
                        <a:pt x="31718" y="75071"/>
                        <a:pt x="30660" y="73933"/>
                        <a:pt x="30660" y="73933"/>
                      </a:cubicBezTo>
                      <a:cubicBezTo>
                        <a:pt x="30132" y="73364"/>
                        <a:pt x="28546" y="72796"/>
                        <a:pt x="28546" y="72796"/>
                      </a:cubicBezTo>
                      <a:cubicBezTo>
                        <a:pt x="28546" y="72796"/>
                        <a:pt x="28017" y="72227"/>
                        <a:pt x="27488" y="72227"/>
                      </a:cubicBezTo>
                      <a:cubicBezTo>
                        <a:pt x="26960" y="72227"/>
                        <a:pt x="26960" y="72227"/>
                        <a:pt x="26431" y="72227"/>
                      </a:cubicBezTo>
                      <a:cubicBezTo>
                        <a:pt x="25903" y="71658"/>
                        <a:pt x="25374" y="71090"/>
                        <a:pt x="25374" y="71090"/>
                      </a:cubicBezTo>
                      <a:cubicBezTo>
                        <a:pt x="24845" y="70521"/>
                        <a:pt x="24317" y="70521"/>
                        <a:pt x="24317" y="70521"/>
                      </a:cubicBezTo>
                      <a:cubicBezTo>
                        <a:pt x="24845" y="71090"/>
                        <a:pt x="24317" y="71090"/>
                        <a:pt x="25374" y="71658"/>
                      </a:cubicBezTo>
                      <a:cubicBezTo>
                        <a:pt x="25903" y="72227"/>
                        <a:pt x="26431" y="72227"/>
                        <a:pt x="26431" y="72227"/>
                      </a:cubicBezTo>
                      <a:cubicBezTo>
                        <a:pt x="26431" y="72227"/>
                        <a:pt x="26960" y="72796"/>
                        <a:pt x="26960" y="72796"/>
                      </a:cubicBezTo>
                      <a:cubicBezTo>
                        <a:pt x="26960" y="73364"/>
                        <a:pt x="27488" y="72796"/>
                        <a:pt x="28017" y="72796"/>
                      </a:cubicBezTo>
                      <a:cubicBezTo>
                        <a:pt x="28017" y="73364"/>
                        <a:pt x="28546" y="73364"/>
                        <a:pt x="28546" y="73933"/>
                      </a:cubicBezTo>
                      <a:cubicBezTo>
                        <a:pt x="28546" y="73933"/>
                        <a:pt x="30132" y="73933"/>
                        <a:pt x="30132" y="74502"/>
                      </a:cubicBezTo>
                      <a:cubicBezTo>
                        <a:pt x="30132" y="75071"/>
                        <a:pt x="30660" y="75639"/>
                        <a:pt x="30132" y="75639"/>
                      </a:cubicBezTo>
                      <a:cubicBezTo>
                        <a:pt x="30132" y="75639"/>
                        <a:pt x="29603" y="76208"/>
                        <a:pt x="29603" y="76208"/>
                      </a:cubicBezTo>
                      <a:cubicBezTo>
                        <a:pt x="30132" y="76208"/>
                        <a:pt x="30660" y="76777"/>
                        <a:pt x="31189" y="76777"/>
                      </a:cubicBezTo>
                      <a:cubicBezTo>
                        <a:pt x="31718" y="76777"/>
                        <a:pt x="31189" y="76777"/>
                        <a:pt x="32246" y="77345"/>
                      </a:cubicBezTo>
                      <a:cubicBezTo>
                        <a:pt x="33303" y="77345"/>
                        <a:pt x="33303" y="78483"/>
                        <a:pt x="33303" y="78483"/>
                      </a:cubicBezTo>
                      <a:cubicBezTo>
                        <a:pt x="33303" y="79052"/>
                        <a:pt x="34361" y="79620"/>
                        <a:pt x="34361" y="79620"/>
                      </a:cubicBezTo>
                      <a:cubicBezTo>
                        <a:pt x="34361" y="79620"/>
                        <a:pt x="33832" y="79620"/>
                        <a:pt x="34361" y="80189"/>
                      </a:cubicBezTo>
                      <a:cubicBezTo>
                        <a:pt x="34361" y="80189"/>
                        <a:pt x="33832" y="80189"/>
                        <a:pt x="34361" y="80758"/>
                      </a:cubicBezTo>
                      <a:cubicBezTo>
                        <a:pt x="34889" y="80758"/>
                        <a:pt x="35418" y="80758"/>
                        <a:pt x="35418" y="80758"/>
                      </a:cubicBezTo>
                      <a:cubicBezTo>
                        <a:pt x="35418" y="81327"/>
                        <a:pt x="35418" y="81327"/>
                        <a:pt x="35418" y="81895"/>
                      </a:cubicBezTo>
                      <a:cubicBezTo>
                        <a:pt x="35418" y="81895"/>
                        <a:pt x="34361" y="83033"/>
                        <a:pt x="35947" y="83033"/>
                      </a:cubicBezTo>
                      <a:cubicBezTo>
                        <a:pt x="37004" y="83033"/>
                        <a:pt x="37004" y="83033"/>
                        <a:pt x="37004" y="83033"/>
                      </a:cubicBezTo>
                      <a:cubicBezTo>
                        <a:pt x="37533" y="83601"/>
                        <a:pt x="37533" y="83601"/>
                        <a:pt x="37533" y="83601"/>
                      </a:cubicBezTo>
                      <a:cubicBezTo>
                        <a:pt x="37533" y="83601"/>
                        <a:pt x="37004" y="84170"/>
                        <a:pt x="37533" y="84739"/>
                      </a:cubicBezTo>
                      <a:cubicBezTo>
                        <a:pt x="37533" y="85308"/>
                        <a:pt x="39647" y="85308"/>
                        <a:pt x="39647" y="85308"/>
                      </a:cubicBezTo>
                      <a:cubicBezTo>
                        <a:pt x="39647" y="84739"/>
                        <a:pt x="39647" y="84739"/>
                        <a:pt x="39647" y="84739"/>
                      </a:cubicBezTo>
                      <a:cubicBezTo>
                        <a:pt x="39647" y="84739"/>
                        <a:pt x="40704" y="85308"/>
                        <a:pt x="40176" y="85308"/>
                      </a:cubicBezTo>
                      <a:cubicBezTo>
                        <a:pt x="40176" y="85876"/>
                        <a:pt x="39647" y="85876"/>
                        <a:pt x="39647" y="85876"/>
                      </a:cubicBezTo>
                      <a:cubicBezTo>
                        <a:pt x="39647" y="85876"/>
                        <a:pt x="39647" y="87014"/>
                        <a:pt x="40176" y="87014"/>
                      </a:cubicBezTo>
                      <a:cubicBezTo>
                        <a:pt x="40704" y="87014"/>
                        <a:pt x="41233" y="87582"/>
                        <a:pt x="41233" y="87582"/>
                      </a:cubicBezTo>
                      <a:cubicBezTo>
                        <a:pt x="41233" y="87582"/>
                        <a:pt x="41762" y="87582"/>
                        <a:pt x="41762" y="88151"/>
                      </a:cubicBezTo>
                      <a:cubicBezTo>
                        <a:pt x="42290" y="88151"/>
                        <a:pt x="42290" y="88720"/>
                        <a:pt x="42290" y="88720"/>
                      </a:cubicBezTo>
                      <a:cubicBezTo>
                        <a:pt x="42819" y="88720"/>
                        <a:pt x="43348" y="88720"/>
                        <a:pt x="43348" y="89289"/>
                      </a:cubicBezTo>
                      <a:cubicBezTo>
                        <a:pt x="43876" y="89289"/>
                        <a:pt x="44405" y="89857"/>
                        <a:pt x="44405" y="89289"/>
                      </a:cubicBezTo>
                      <a:cubicBezTo>
                        <a:pt x="44405" y="88720"/>
                        <a:pt x="44933" y="88720"/>
                        <a:pt x="44405" y="88151"/>
                      </a:cubicBezTo>
                      <a:cubicBezTo>
                        <a:pt x="43876" y="87582"/>
                        <a:pt x="43348" y="87582"/>
                        <a:pt x="42819" y="87582"/>
                      </a:cubicBezTo>
                      <a:cubicBezTo>
                        <a:pt x="42819" y="87582"/>
                        <a:pt x="42290" y="87582"/>
                        <a:pt x="42290" y="87014"/>
                      </a:cubicBezTo>
                      <a:cubicBezTo>
                        <a:pt x="41762" y="87014"/>
                        <a:pt x="41762" y="87014"/>
                        <a:pt x="41762" y="86445"/>
                      </a:cubicBezTo>
                      <a:cubicBezTo>
                        <a:pt x="41762" y="85876"/>
                        <a:pt x="41233" y="85308"/>
                        <a:pt x="41233" y="85308"/>
                      </a:cubicBezTo>
                      <a:cubicBezTo>
                        <a:pt x="41233" y="85308"/>
                        <a:pt x="41233" y="84170"/>
                        <a:pt x="41233" y="84170"/>
                      </a:cubicBezTo>
                      <a:cubicBezTo>
                        <a:pt x="40704" y="84170"/>
                        <a:pt x="40704" y="84170"/>
                        <a:pt x="40176" y="84170"/>
                      </a:cubicBezTo>
                      <a:cubicBezTo>
                        <a:pt x="40176" y="84170"/>
                        <a:pt x="39647" y="83601"/>
                        <a:pt x="39647" y="83601"/>
                      </a:cubicBezTo>
                      <a:cubicBezTo>
                        <a:pt x="39118" y="83601"/>
                        <a:pt x="38590" y="83601"/>
                        <a:pt x="38590" y="83601"/>
                      </a:cubicBezTo>
                      <a:cubicBezTo>
                        <a:pt x="38590" y="83033"/>
                        <a:pt x="39118" y="83033"/>
                        <a:pt x="39118" y="83033"/>
                      </a:cubicBezTo>
                      <a:cubicBezTo>
                        <a:pt x="39118" y="83033"/>
                        <a:pt x="39647" y="83033"/>
                        <a:pt x="40176" y="83033"/>
                      </a:cubicBezTo>
                      <a:cubicBezTo>
                        <a:pt x="40704" y="83601"/>
                        <a:pt x="40704" y="83033"/>
                        <a:pt x="41233" y="83601"/>
                      </a:cubicBezTo>
                      <a:cubicBezTo>
                        <a:pt x="41762" y="83601"/>
                        <a:pt x="41233" y="84170"/>
                        <a:pt x="41762" y="84170"/>
                      </a:cubicBezTo>
                      <a:cubicBezTo>
                        <a:pt x="42819" y="84170"/>
                        <a:pt x="42819" y="83601"/>
                        <a:pt x="42819" y="83601"/>
                      </a:cubicBezTo>
                      <a:cubicBezTo>
                        <a:pt x="43876" y="83033"/>
                        <a:pt x="43876" y="83033"/>
                        <a:pt x="43876" y="83033"/>
                      </a:cubicBezTo>
                      <a:cubicBezTo>
                        <a:pt x="43876" y="83033"/>
                        <a:pt x="43876" y="83033"/>
                        <a:pt x="44405" y="83601"/>
                      </a:cubicBezTo>
                      <a:cubicBezTo>
                        <a:pt x="44933" y="83601"/>
                        <a:pt x="43876" y="84170"/>
                        <a:pt x="44933" y="84170"/>
                      </a:cubicBezTo>
                      <a:cubicBezTo>
                        <a:pt x="45991" y="84170"/>
                        <a:pt x="46519" y="84170"/>
                        <a:pt x="46519" y="84170"/>
                      </a:cubicBezTo>
                      <a:cubicBezTo>
                        <a:pt x="46519" y="84739"/>
                        <a:pt x="46519" y="85308"/>
                        <a:pt x="46519" y="85308"/>
                      </a:cubicBezTo>
                      <a:cubicBezTo>
                        <a:pt x="46519" y="85308"/>
                        <a:pt x="46519" y="85876"/>
                        <a:pt x="46519" y="85876"/>
                      </a:cubicBezTo>
                      <a:cubicBezTo>
                        <a:pt x="47048" y="85876"/>
                        <a:pt x="48105" y="85876"/>
                        <a:pt x="48105" y="85876"/>
                      </a:cubicBezTo>
                      <a:cubicBezTo>
                        <a:pt x="48105" y="85876"/>
                        <a:pt x="48634" y="85876"/>
                        <a:pt x="48634" y="86445"/>
                      </a:cubicBezTo>
                      <a:cubicBezTo>
                        <a:pt x="49162" y="87014"/>
                        <a:pt x="47577" y="87582"/>
                        <a:pt x="47577" y="87582"/>
                      </a:cubicBezTo>
                      <a:cubicBezTo>
                        <a:pt x="47577" y="87582"/>
                        <a:pt x="47048" y="87014"/>
                        <a:pt x="47048" y="87582"/>
                      </a:cubicBezTo>
                      <a:cubicBezTo>
                        <a:pt x="47048" y="88151"/>
                        <a:pt x="46519" y="88151"/>
                        <a:pt x="47048" y="88720"/>
                      </a:cubicBezTo>
                      <a:cubicBezTo>
                        <a:pt x="47577" y="88720"/>
                        <a:pt x="47048" y="88720"/>
                        <a:pt x="47048" y="88720"/>
                      </a:cubicBezTo>
                      <a:cubicBezTo>
                        <a:pt x="46519" y="88720"/>
                        <a:pt x="45991" y="88151"/>
                        <a:pt x="46519" y="89289"/>
                      </a:cubicBezTo>
                      <a:cubicBezTo>
                        <a:pt x="46519" y="89857"/>
                        <a:pt x="47048" y="90426"/>
                        <a:pt x="47048" y="90426"/>
                      </a:cubicBezTo>
                      <a:cubicBezTo>
                        <a:pt x="47577" y="90426"/>
                        <a:pt x="48634" y="90426"/>
                        <a:pt x="48634" y="90426"/>
                      </a:cubicBezTo>
                      <a:cubicBezTo>
                        <a:pt x="49162" y="90426"/>
                        <a:pt x="49691" y="90426"/>
                        <a:pt x="49162" y="90426"/>
                      </a:cubicBezTo>
                      <a:cubicBezTo>
                        <a:pt x="48634" y="89857"/>
                        <a:pt x="48105" y="89857"/>
                        <a:pt x="48105" y="89857"/>
                      </a:cubicBezTo>
                      <a:cubicBezTo>
                        <a:pt x="48105" y="89857"/>
                        <a:pt x="48105" y="89857"/>
                        <a:pt x="48105" y="89289"/>
                      </a:cubicBezTo>
                      <a:cubicBezTo>
                        <a:pt x="48105" y="89289"/>
                        <a:pt x="48634" y="89289"/>
                        <a:pt x="48634" y="89289"/>
                      </a:cubicBezTo>
                      <a:cubicBezTo>
                        <a:pt x="48634" y="88720"/>
                        <a:pt x="49162" y="88151"/>
                        <a:pt x="49162" y="88151"/>
                      </a:cubicBezTo>
                      <a:cubicBezTo>
                        <a:pt x="49162" y="88151"/>
                        <a:pt x="49691" y="87014"/>
                        <a:pt x="50220" y="87582"/>
                      </a:cubicBezTo>
                      <a:cubicBezTo>
                        <a:pt x="50220" y="88151"/>
                        <a:pt x="50220" y="88151"/>
                        <a:pt x="50748" y="88151"/>
                      </a:cubicBezTo>
                      <a:cubicBezTo>
                        <a:pt x="50748" y="88151"/>
                        <a:pt x="52334" y="86445"/>
                        <a:pt x="52334" y="86445"/>
                      </a:cubicBezTo>
                      <a:cubicBezTo>
                        <a:pt x="52334" y="86445"/>
                        <a:pt x="52863" y="86445"/>
                        <a:pt x="52334" y="87014"/>
                      </a:cubicBezTo>
                      <a:cubicBezTo>
                        <a:pt x="52334" y="87582"/>
                        <a:pt x="51806" y="88151"/>
                        <a:pt x="52334" y="88720"/>
                      </a:cubicBezTo>
                      <a:cubicBezTo>
                        <a:pt x="52334" y="89289"/>
                        <a:pt x="52334" y="89289"/>
                        <a:pt x="52334" y="89289"/>
                      </a:cubicBezTo>
                      <a:cubicBezTo>
                        <a:pt x="52863" y="89857"/>
                        <a:pt x="52334" y="89857"/>
                        <a:pt x="52863" y="90426"/>
                      </a:cubicBezTo>
                      <a:cubicBezTo>
                        <a:pt x="52863" y="90995"/>
                        <a:pt x="52863" y="90426"/>
                        <a:pt x="52863" y="90995"/>
                      </a:cubicBezTo>
                      <a:cubicBezTo>
                        <a:pt x="53392" y="91563"/>
                        <a:pt x="53920" y="92701"/>
                        <a:pt x="53920" y="92701"/>
                      </a:cubicBezTo>
                      <a:cubicBezTo>
                        <a:pt x="53920" y="92701"/>
                        <a:pt x="53392" y="93270"/>
                        <a:pt x="53920" y="93270"/>
                      </a:cubicBezTo>
                      <a:cubicBezTo>
                        <a:pt x="54449" y="93838"/>
                        <a:pt x="55506" y="93838"/>
                        <a:pt x="55506" y="93838"/>
                      </a:cubicBezTo>
                      <a:cubicBezTo>
                        <a:pt x="55506" y="93838"/>
                        <a:pt x="55506" y="93838"/>
                        <a:pt x="55506" y="93838"/>
                      </a:cubicBezTo>
                      <a:cubicBezTo>
                        <a:pt x="55506" y="93838"/>
                        <a:pt x="56035" y="94407"/>
                        <a:pt x="56563" y="93838"/>
                      </a:cubicBezTo>
                      <a:cubicBezTo>
                        <a:pt x="56563" y="93270"/>
                        <a:pt x="57092" y="93270"/>
                        <a:pt x="57092" y="93270"/>
                      </a:cubicBezTo>
                      <a:cubicBezTo>
                        <a:pt x="57621" y="93270"/>
                        <a:pt x="57092" y="93270"/>
                        <a:pt x="58149" y="93270"/>
                      </a:cubicBezTo>
                      <a:cubicBezTo>
                        <a:pt x="59207" y="93270"/>
                        <a:pt x="59207" y="93838"/>
                        <a:pt x="59735" y="93270"/>
                      </a:cubicBezTo>
                      <a:cubicBezTo>
                        <a:pt x="60264" y="92701"/>
                        <a:pt x="59735" y="92701"/>
                        <a:pt x="60792" y="92701"/>
                      </a:cubicBezTo>
                      <a:cubicBezTo>
                        <a:pt x="61850" y="92701"/>
                        <a:pt x="62907" y="92132"/>
                        <a:pt x="62907" y="92132"/>
                      </a:cubicBezTo>
                      <a:cubicBezTo>
                        <a:pt x="62907" y="92132"/>
                        <a:pt x="64493" y="92132"/>
                        <a:pt x="64493" y="92132"/>
                      </a:cubicBezTo>
                      <a:cubicBezTo>
                        <a:pt x="65550" y="92701"/>
                        <a:pt x="65550" y="92701"/>
                        <a:pt x="65550" y="92701"/>
                      </a:cubicBezTo>
                      <a:cubicBezTo>
                        <a:pt x="65550" y="92701"/>
                        <a:pt x="66079" y="93270"/>
                        <a:pt x="66607" y="93270"/>
                      </a:cubicBezTo>
                      <a:cubicBezTo>
                        <a:pt x="66607" y="93270"/>
                        <a:pt x="67136" y="93270"/>
                        <a:pt x="67665" y="93270"/>
                      </a:cubicBezTo>
                      <a:cubicBezTo>
                        <a:pt x="67665" y="93270"/>
                        <a:pt x="69779" y="93838"/>
                        <a:pt x="69779" y="93838"/>
                      </a:cubicBezTo>
                      <a:cubicBezTo>
                        <a:pt x="71894" y="94407"/>
                        <a:pt x="71894" y="94407"/>
                        <a:pt x="71894" y="94407"/>
                      </a:cubicBezTo>
                      <a:cubicBezTo>
                        <a:pt x="72951" y="94976"/>
                        <a:pt x="72951" y="94976"/>
                        <a:pt x="72951" y="94976"/>
                      </a:cubicBezTo>
                      <a:cubicBezTo>
                        <a:pt x="75066" y="96682"/>
                        <a:pt x="75066" y="96682"/>
                        <a:pt x="75066" y="96682"/>
                      </a:cubicBezTo>
                      <a:cubicBezTo>
                        <a:pt x="77180" y="98957"/>
                        <a:pt x="77180" y="98957"/>
                        <a:pt x="77180" y="98957"/>
                      </a:cubicBezTo>
                      <a:cubicBezTo>
                        <a:pt x="79823" y="100094"/>
                        <a:pt x="79823" y="100094"/>
                        <a:pt x="79823" y="100094"/>
                      </a:cubicBezTo>
                      <a:cubicBezTo>
                        <a:pt x="81409" y="101232"/>
                        <a:pt x="81409" y="101232"/>
                        <a:pt x="81409" y="101232"/>
                      </a:cubicBezTo>
                      <a:cubicBezTo>
                        <a:pt x="82466" y="102369"/>
                        <a:pt x="82466" y="102369"/>
                        <a:pt x="82466" y="102369"/>
                      </a:cubicBezTo>
                      <a:cubicBezTo>
                        <a:pt x="82466" y="102369"/>
                        <a:pt x="84052" y="103507"/>
                        <a:pt x="84052" y="103507"/>
                      </a:cubicBezTo>
                      <a:cubicBezTo>
                        <a:pt x="84581" y="103507"/>
                        <a:pt x="86167" y="104644"/>
                        <a:pt x="86167" y="104644"/>
                      </a:cubicBezTo>
                      <a:cubicBezTo>
                        <a:pt x="87753" y="105781"/>
                        <a:pt x="87753" y="105781"/>
                        <a:pt x="87753" y="105781"/>
                      </a:cubicBezTo>
                      <a:cubicBezTo>
                        <a:pt x="87753" y="105781"/>
                        <a:pt x="88281" y="106919"/>
                        <a:pt x="88281" y="106919"/>
                      </a:cubicBezTo>
                      <a:cubicBezTo>
                        <a:pt x="88281" y="107488"/>
                        <a:pt x="87753" y="106919"/>
                        <a:pt x="87224" y="106919"/>
                      </a:cubicBezTo>
                      <a:cubicBezTo>
                        <a:pt x="86696" y="107488"/>
                        <a:pt x="84581" y="106350"/>
                        <a:pt x="84581" y="106350"/>
                      </a:cubicBezTo>
                      <a:cubicBezTo>
                        <a:pt x="83524" y="105213"/>
                        <a:pt x="83524" y="105213"/>
                        <a:pt x="83524" y="105213"/>
                      </a:cubicBezTo>
                      <a:cubicBezTo>
                        <a:pt x="81938" y="105213"/>
                        <a:pt x="81938" y="105213"/>
                        <a:pt x="81938" y="105213"/>
                      </a:cubicBezTo>
                      <a:cubicBezTo>
                        <a:pt x="80881" y="104644"/>
                        <a:pt x="80881" y="104644"/>
                        <a:pt x="80881" y="104644"/>
                      </a:cubicBezTo>
                      <a:cubicBezTo>
                        <a:pt x="78766" y="105213"/>
                        <a:pt x="78766" y="105213"/>
                        <a:pt x="78766" y="105213"/>
                      </a:cubicBezTo>
                      <a:cubicBezTo>
                        <a:pt x="77180" y="104644"/>
                        <a:pt x="77180" y="104644"/>
                        <a:pt x="77180" y="104644"/>
                      </a:cubicBezTo>
                      <a:cubicBezTo>
                        <a:pt x="77180" y="104644"/>
                        <a:pt x="76651" y="104644"/>
                        <a:pt x="77180" y="105213"/>
                      </a:cubicBezTo>
                      <a:cubicBezTo>
                        <a:pt x="77180" y="105213"/>
                        <a:pt x="77180" y="105781"/>
                        <a:pt x="77180" y="105781"/>
                      </a:cubicBezTo>
                      <a:cubicBezTo>
                        <a:pt x="75594" y="106919"/>
                        <a:pt x="75594" y="106919"/>
                        <a:pt x="75594" y="106919"/>
                      </a:cubicBezTo>
                      <a:cubicBezTo>
                        <a:pt x="73480" y="107488"/>
                        <a:pt x="73480" y="107488"/>
                        <a:pt x="73480" y="107488"/>
                      </a:cubicBezTo>
                      <a:cubicBezTo>
                        <a:pt x="71365" y="107488"/>
                        <a:pt x="71365" y="107488"/>
                        <a:pt x="71365" y="107488"/>
                      </a:cubicBezTo>
                      <a:cubicBezTo>
                        <a:pt x="69779" y="107488"/>
                        <a:pt x="69779" y="107488"/>
                        <a:pt x="69779" y="107488"/>
                      </a:cubicBezTo>
                      <a:cubicBezTo>
                        <a:pt x="69779" y="108625"/>
                        <a:pt x="69779" y="108625"/>
                        <a:pt x="69779" y="108625"/>
                      </a:cubicBezTo>
                      <a:cubicBezTo>
                        <a:pt x="69779" y="108625"/>
                        <a:pt x="67665" y="108625"/>
                        <a:pt x="69779" y="109194"/>
                      </a:cubicBezTo>
                      <a:cubicBezTo>
                        <a:pt x="71894" y="109194"/>
                        <a:pt x="72951" y="109194"/>
                        <a:pt x="72951" y="108625"/>
                      </a:cubicBezTo>
                      <a:cubicBezTo>
                        <a:pt x="73480" y="108625"/>
                        <a:pt x="73480" y="108056"/>
                        <a:pt x="74008" y="108056"/>
                      </a:cubicBezTo>
                      <a:cubicBezTo>
                        <a:pt x="74537" y="108056"/>
                        <a:pt x="75594" y="108056"/>
                        <a:pt x="76123" y="108056"/>
                      </a:cubicBezTo>
                      <a:cubicBezTo>
                        <a:pt x="76123" y="108056"/>
                        <a:pt x="76651" y="108056"/>
                        <a:pt x="77709" y="107488"/>
                      </a:cubicBezTo>
                      <a:cubicBezTo>
                        <a:pt x="78237" y="107488"/>
                        <a:pt x="78237" y="106919"/>
                        <a:pt x="79295" y="107488"/>
                      </a:cubicBezTo>
                      <a:cubicBezTo>
                        <a:pt x="80352" y="108056"/>
                        <a:pt x="79823" y="106350"/>
                        <a:pt x="79823" y="106350"/>
                      </a:cubicBezTo>
                      <a:cubicBezTo>
                        <a:pt x="79823" y="106350"/>
                        <a:pt x="79823" y="105781"/>
                        <a:pt x="80352" y="105781"/>
                      </a:cubicBezTo>
                      <a:cubicBezTo>
                        <a:pt x="81409" y="106350"/>
                        <a:pt x="81409" y="106350"/>
                        <a:pt x="81409" y="106350"/>
                      </a:cubicBezTo>
                      <a:cubicBezTo>
                        <a:pt x="81938" y="106350"/>
                        <a:pt x="82995" y="106919"/>
                        <a:pt x="82995" y="106919"/>
                      </a:cubicBezTo>
                      <a:cubicBezTo>
                        <a:pt x="83524" y="106919"/>
                        <a:pt x="85638" y="107488"/>
                        <a:pt x="85638" y="107488"/>
                      </a:cubicBezTo>
                      <a:cubicBezTo>
                        <a:pt x="85638" y="107488"/>
                        <a:pt x="86167" y="109194"/>
                        <a:pt x="86167" y="109194"/>
                      </a:cubicBezTo>
                      <a:cubicBezTo>
                        <a:pt x="86696" y="109194"/>
                        <a:pt x="88281" y="109194"/>
                        <a:pt x="88810" y="109194"/>
                      </a:cubicBezTo>
                      <a:cubicBezTo>
                        <a:pt x="89339" y="109194"/>
                        <a:pt x="90396" y="109194"/>
                        <a:pt x="90925" y="109763"/>
                      </a:cubicBezTo>
                      <a:cubicBezTo>
                        <a:pt x="91453" y="110331"/>
                        <a:pt x="91982" y="110331"/>
                        <a:pt x="91982" y="110331"/>
                      </a:cubicBezTo>
                      <a:cubicBezTo>
                        <a:pt x="91982" y="110331"/>
                        <a:pt x="92511" y="110900"/>
                        <a:pt x="93039" y="111469"/>
                      </a:cubicBezTo>
                      <a:cubicBezTo>
                        <a:pt x="93039" y="111469"/>
                        <a:pt x="94625" y="112606"/>
                        <a:pt x="94625" y="112606"/>
                      </a:cubicBezTo>
                      <a:cubicBezTo>
                        <a:pt x="94625" y="112606"/>
                        <a:pt x="97268" y="113744"/>
                        <a:pt x="97268" y="113744"/>
                      </a:cubicBezTo>
                      <a:cubicBezTo>
                        <a:pt x="97797" y="113175"/>
                        <a:pt x="97797" y="113175"/>
                        <a:pt x="97797" y="113175"/>
                      </a:cubicBezTo>
                      <a:cubicBezTo>
                        <a:pt x="97797" y="112606"/>
                        <a:pt x="97797" y="112037"/>
                        <a:pt x="97797" y="112037"/>
                      </a:cubicBezTo>
                      <a:cubicBezTo>
                        <a:pt x="97268" y="111469"/>
                        <a:pt x="95154" y="110900"/>
                        <a:pt x="95154" y="110900"/>
                      </a:cubicBezTo>
                      <a:cubicBezTo>
                        <a:pt x="95154" y="110900"/>
                        <a:pt x="94096" y="110331"/>
                        <a:pt x="94096" y="110331"/>
                      </a:cubicBezTo>
                      <a:cubicBezTo>
                        <a:pt x="93568" y="107488"/>
                        <a:pt x="94096" y="109763"/>
                        <a:pt x="92511" y="109194"/>
                      </a:cubicBezTo>
                      <a:cubicBezTo>
                        <a:pt x="92511" y="109194"/>
                        <a:pt x="92511" y="109194"/>
                        <a:pt x="92511" y="109194"/>
                      </a:cubicBezTo>
                      <a:cubicBezTo>
                        <a:pt x="92511" y="109194"/>
                        <a:pt x="92511" y="109194"/>
                        <a:pt x="92511" y="109194"/>
                      </a:cubicBezTo>
                      <a:cubicBezTo>
                        <a:pt x="91453" y="109763"/>
                        <a:pt x="91453" y="109194"/>
                        <a:pt x="91453" y="109194"/>
                      </a:cubicBezTo>
                      <a:cubicBezTo>
                        <a:pt x="91453" y="108625"/>
                        <a:pt x="91453" y="108625"/>
                        <a:pt x="91453" y="108625"/>
                      </a:cubicBezTo>
                      <a:cubicBezTo>
                        <a:pt x="90925" y="108056"/>
                        <a:pt x="90925" y="108056"/>
                        <a:pt x="90925" y="108056"/>
                      </a:cubicBezTo>
                      <a:cubicBezTo>
                        <a:pt x="90925" y="108056"/>
                        <a:pt x="90396" y="106919"/>
                        <a:pt x="90925" y="106350"/>
                      </a:cubicBezTo>
                      <a:cubicBezTo>
                        <a:pt x="91453" y="106350"/>
                        <a:pt x="90396" y="109194"/>
                        <a:pt x="92511" y="105781"/>
                      </a:cubicBezTo>
                      <a:cubicBezTo>
                        <a:pt x="92511" y="105781"/>
                        <a:pt x="92511" y="105213"/>
                        <a:pt x="92511" y="105213"/>
                      </a:cubicBezTo>
                      <a:cubicBezTo>
                        <a:pt x="91982" y="105213"/>
                        <a:pt x="91982" y="105213"/>
                        <a:pt x="91982" y="105213"/>
                      </a:cubicBezTo>
                      <a:cubicBezTo>
                        <a:pt x="90396" y="105213"/>
                        <a:pt x="90396" y="105213"/>
                        <a:pt x="90396" y="105213"/>
                      </a:cubicBezTo>
                      <a:cubicBezTo>
                        <a:pt x="90396" y="105213"/>
                        <a:pt x="90396" y="105781"/>
                        <a:pt x="89867" y="106350"/>
                      </a:cubicBezTo>
                      <a:cubicBezTo>
                        <a:pt x="89339" y="106919"/>
                        <a:pt x="89339" y="106350"/>
                        <a:pt x="89339" y="106350"/>
                      </a:cubicBezTo>
                      <a:cubicBezTo>
                        <a:pt x="89339" y="105781"/>
                        <a:pt x="89339" y="105781"/>
                        <a:pt x="89339" y="105781"/>
                      </a:cubicBezTo>
                      <a:cubicBezTo>
                        <a:pt x="89867" y="105213"/>
                        <a:pt x="89867" y="105213"/>
                        <a:pt x="89867" y="105213"/>
                      </a:cubicBezTo>
                      <a:cubicBezTo>
                        <a:pt x="89867" y="105213"/>
                        <a:pt x="89867" y="103507"/>
                        <a:pt x="89867" y="102938"/>
                      </a:cubicBezTo>
                      <a:cubicBezTo>
                        <a:pt x="89867" y="102938"/>
                        <a:pt x="89867" y="102938"/>
                        <a:pt x="89867" y="102938"/>
                      </a:cubicBezTo>
                      <a:cubicBezTo>
                        <a:pt x="88281" y="101800"/>
                        <a:pt x="88281" y="101800"/>
                        <a:pt x="88281" y="101800"/>
                      </a:cubicBezTo>
                      <a:cubicBezTo>
                        <a:pt x="87224" y="100663"/>
                        <a:pt x="87224" y="100663"/>
                        <a:pt x="87224" y="100663"/>
                      </a:cubicBezTo>
                      <a:cubicBezTo>
                        <a:pt x="85638" y="99526"/>
                        <a:pt x="85638" y="99526"/>
                        <a:pt x="85638" y="99526"/>
                      </a:cubicBezTo>
                      <a:cubicBezTo>
                        <a:pt x="83524" y="97251"/>
                        <a:pt x="83524" y="97251"/>
                        <a:pt x="83524" y="97251"/>
                      </a:cubicBezTo>
                      <a:cubicBezTo>
                        <a:pt x="82466" y="96682"/>
                        <a:pt x="82466" y="96682"/>
                        <a:pt x="82466" y="96682"/>
                      </a:cubicBezTo>
                      <a:cubicBezTo>
                        <a:pt x="81409" y="95545"/>
                        <a:pt x="81409" y="95545"/>
                        <a:pt x="81409" y="95545"/>
                      </a:cubicBezTo>
                      <a:cubicBezTo>
                        <a:pt x="81409" y="94407"/>
                        <a:pt x="81409" y="94407"/>
                        <a:pt x="81409" y="94407"/>
                      </a:cubicBezTo>
                      <a:cubicBezTo>
                        <a:pt x="80881" y="92132"/>
                        <a:pt x="80881" y="92132"/>
                        <a:pt x="80881" y="92132"/>
                      </a:cubicBezTo>
                      <a:cubicBezTo>
                        <a:pt x="80881" y="92132"/>
                        <a:pt x="80881" y="92132"/>
                        <a:pt x="80881" y="92132"/>
                      </a:cubicBezTo>
                      <a:cubicBezTo>
                        <a:pt x="80881" y="92132"/>
                        <a:pt x="78766" y="91563"/>
                        <a:pt x="77709" y="90995"/>
                      </a:cubicBezTo>
                      <a:cubicBezTo>
                        <a:pt x="76651" y="90426"/>
                        <a:pt x="76651" y="90426"/>
                        <a:pt x="76651" y="90426"/>
                      </a:cubicBezTo>
                      <a:cubicBezTo>
                        <a:pt x="75594" y="88720"/>
                        <a:pt x="75594" y="88720"/>
                        <a:pt x="75594" y="88720"/>
                      </a:cubicBezTo>
                      <a:cubicBezTo>
                        <a:pt x="75066" y="88151"/>
                        <a:pt x="75066" y="88151"/>
                        <a:pt x="75066" y="88151"/>
                      </a:cubicBezTo>
                      <a:cubicBezTo>
                        <a:pt x="73480" y="86445"/>
                        <a:pt x="73480" y="86445"/>
                        <a:pt x="73480" y="86445"/>
                      </a:cubicBezTo>
                      <a:cubicBezTo>
                        <a:pt x="72951" y="86445"/>
                        <a:pt x="72951" y="86445"/>
                        <a:pt x="72951" y="86445"/>
                      </a:cubicBezTo>
                      <a:cubicBezTo>
                        <a:pt x="70308" y="85308"/>
                        <a:pt x="70308" y="85308"/>
                        <a:pt x="70308" y="85308"/>
                      </a:cubicBezTo>
                      <a:cubicBezTo>
                        <a:pt x="69779" y="84170"/>
                        <a:pt x="69779" y="84170"/>
                        <a:pt x="69779" y="84170"/>
                      </a:cubicBezTo>
                      <a:cubicBezTo>
                        <a:pt x="68722" y="83601"/>
                        <a:pt x="68722" y="83601"/>
                        <a:pt x="68722" y="83601"/>
                      </a:cubicBezTo>
                      <a:cubicBezTo>
                        <a:pt x="68193" y="82464"/>
                        <a:pt x="68193" y="82464"/>
                        <a:pt x="68193" y="82464"/>
                      </a:cubicBezTo>
                      <a:cubicBezTo>
                        <a:pt x="66607" y="81895"/>
                        <a:pt x="66607" y="81895"/>
                        <a:pt x="66607" y="81895"/>
                      </a:cubicBezTo>
                      <a:cubicBezTo>
                        <a:pt x="66079" y="80758"/>
                        <a:pt x="66079" y="80758"/>
                        <a:pt x="66079" y="80758"/>
                      </a:cubicBezTo>
                      <a:cubicBezTo>
                        <a:pt x="65550" y="80189"/>
                        <a:pt x="65550" y="80189"/>
                        <a:pt x="65550" y="80189"/>
                      </a:cubicBezTo>
                      <a:cubicBezTo>
                        <a:pt x="63964" y="77914"/>
                        <a:pt x="63964" y="77914"/>
                        <a:pt x="63964" y="77914"/>
                      </a:cubicBezTo>
                      <a:cubicBezTo>
                        <a:pt x="62378" y="76777"/>
                        <a:pt x="62378" y="76777"/>
                        <a:pt x="62378" y="76777"/>
                      </a:cubicBezTo>
                      <a:cubicBezTo>
                        <a:pt x="61850" y="76208"/>
                        <a:pt x="61850" y="76208"/>
                        <a:pt x="61850" y="76208"/>
                      </a:cubicBezTo>
                      <a:cubicBezTo>
                        <a:pt x="61321" y="75639"/>
                        <a:pt x="61321" y="75639"/>
                        <a:pt x="61321" y="75639"/>
                      </a:cubicBezTo>
                      <a:cubicBezTo>
                        <a:pt x="60264" y="73933"/>
                        <a:pt x="60264" y="73933"/>
                        <a:pt x="60264" y="73933"/>
                      </a:cubicBezTo>
                      <a:cubicBezTo>
                        <a:pt x="58678" y="72227"/>
                        <a:pt x="58678" y="72227"/>
                        <a:pt x="58678" y="72227"/>
                      </a:cubicBezTo>
                      <a:cubicBezTo>
                        <a:pt x="57621" y="71090"/>
                        <a:pt x="57621" y="71090"/>
                        <a:pt x="57621" y="71090"/>
                      </a:cubicBezTo>
                      <a:cubicBezTo>
                        <a:pt x="56563" y="69383"/>
                        <a:pt x="56563" y="69383"/>
                        <a:pt x="56563" y="69383"/>
                      </a:cubicBezTo>
                      <a:cubicBezTo>
                        <a:pt x="57621" y="68246"/>
                        <a:pt x="57621" y="68246"/>
                        <a:pt x="57621" y="68246"/>
                      </a:cubicBezTo>
                      <a:cubicBezTo>
                        <a:pt x="57092" y="67677"/>
                        <a:pt x="56563" y="67677"/>
                        <a:pt x="56563" y="67109"/>
                      </a:cubicBezTo>
                      <a:cubicBezTo>
                        <a:pt x="56035" y="67109"/>
                        <a:pt x="54977" y="66540"/>
                        <a:pt x="55506" y="65971"/>
                      </a:cubicBezTo>
                      <a:cubicBezTo>
                        <a:pt x="55506" y="65402"/>
                        <a:pt x="54977" y="64834"/>
                        <a:pt x="54977" y="63696"/>
                      </a:cubicBezTo>
                      <a:cubicBezTo>
                        <a:pt x="54977" y="63127"/>
                        <a:pt x="54977" y="62559"/>
                        <a:pt x="54449" y="62559"/>
                      </a:cubicBezTo>
                      <a:cubicBezTo>
                        <a:pt x="53920" y="61990"/>
                        <a:pt x="53920" y="61990"/>
                        <a:pt x="53920" y="61990"/>
                      </a:cubicBezTo>
                      <a:cubicBezTo>
                        <a:pt x="53392" y="61990"/>
                        <a:pt x="52863" y="61990"/>
                        <a:pt x="52863" y="61990"/>
                      </a:cubicBezTo>
                      <a:cubicBezTo>
                        <a:pt x="52334" y="61990"/>
                        <a:pt x="52334" y="61990"/>
                        <a:pt x="52334" y="61990"/>
                      </a:cubicBezTo>
                      <a:cubicBezTo>
                        <a:pt x="52334" y="61990"/>
                        <a:pt x="52863" y="60853"/>
                        <a:pt x="52863" y="59715"/>
                      </a:cubicBezTo>
                      <a:cubicBezTo>
                        <a:pt x="50748" y="59146"/>
                        <a:pt x="50748" y="59146"/>
                        <a:pt x="50748" y="59146"/>
                      </a:cubicBezTo>
                      <a:cubicBezTo>
                        <a:pt x="50748" y="59146"/>
                        <a:pt x="50748" y="57440"/>
                        <a:pt x="49691" y="56872"/>
                      </a:cubicBezTo>
                      <a:cubicBezTo>
                        <a:pt x="48634" y="56872"/>
                        <a:pt x="48634" y="56872"/>
                        <a:pt x="48634" y="56872"/>
                      </a:cubicBezTo>
                      <a:cubicBezTo>
                        <a:pt x="48105" y="57440"/>
                        <a:pt x="48105" y="58009"/>
                        <a:pt x="48105" y="58009"/>
                      </a:cubicBezTo>
                      <a:cubicBezTo>
                        <a:pt x="45991" y="55734"/>
                        <a:pt x="45991" y="55734"/>
                        <a:pt x="45991" y="55734"/>
                      </a:cubicBezTo>
                      <a:cubicBezTo>
                        <a:pt x="45991" y="55734"/>
                        <a:pt x="45991" y="55165"/>
                        <a:pt x="46519" y="54028"/>
                      </a:cubicBezTo>
                      <a:cubicBezTo>
                        <a:pt x="47577" y="52890"/>
                        <a:pt x="46519" y="52322"/>
                        <a:pt x="46519" y="52322"/>
                      </a:cubicBezTo>
                      <a:cubicBezTo>
                        <a:pt x="45991" y="50616"/>
                        <a:pt x="45991" y="50616"/>
                        <a:pt x="45991" y="50616"/>
                      </a:cubicBezTo>
                      <a:cubicBezTo>
                        <a:pt x="46519" y="49478"/>
                        <a:pt x="46519" y="49478"/>
                        <a:pt x="46519" y="49478"/>
                      </a:cubicBezTo>
                      <a:cubicBezTo>
                        <a:pt x="45991" y="48909"/>
                        <a:pt x="45991" y="48909"/>
                        <a:pt x="45991" y="48909"/>
                      </a:cubicBezTo>
                      <a:cubicBezTo>
                        <a:pt x="45462" y="48341"/>
                        <a:pt x="45462" y="48341"/>
                        <a:pt x="45462" y="48341"/>
                      </a:cubicBezTo>
                      <a:cubicBezTo>
                        <a:pt x="45462" y="48341"/>
                        <a:pt x="45462" y="48341"/>
                        <a:pt x="45462" y="48341"/>
                      </a:cubicBezTo>
                      <a:cubicBezTo>
                        <a:pt x="45462" y="48341"/>
                        <a:pt x="45462" y="48341"/>
                        <a:pt x="45462" y="48341"/>
                      </a:cubicBezTo>
                      <a:cubicBezTo>
                        <a:pt x="46519" y="46066"/>
                        <a:pt x="46519" y="46066"/>
                        <a:pt x="46519" y="46066"/>
                      </a:cubicBezTo>
                      <a:cubicBezTo>
                        <a:pt x="46519" y="46066"/>
                        <a:pt x="45991" y="43791"/>
                        <a:pt x="46519" y="43222"/>
                      </a:cubicBezTo>
                      <a:cubicBezTo>
                        <a:pt x="46519" y="43222"/>
                        <a:pt x="46519" y="43222"/>
                        <a:pt x="46519" y="43222"/>
                      </a:cubicBezTo>
                      <a:cubicBezTo>
                        <a:pt x="46519" y="42654"/>
                        <a:pt x="46519" y="42654"/>
                        <a:pt x="47048" y="42654"/>
                      </a:cubicBezTo>
                      <a:cubicBezTo>
                        <a:pt x="47048" y="42085"/>
                        <a:pt x="49691" y="41516"/>
                        <a:pt x="49691" y="41516"/>
                      </a:cubicBezTo>
                      <a:cubicBezTo>
                        <a:pt x="50748" y="40947"/>
                        <a:pt x="50748" y="40947"/>
                        <a:pt x="50748" y="40947"/>
                      </a:cubicBezTo>
                      <a:cubicBezTo>
                        <a:pt x="52863" y="43791"/>
                        <a:pt x="52863" y="43791"/>
                        <a:pt x="52863" y="43791"/>
                      </a:cubicBezTo>
                      <a:cubicBezTo>
                        <a:pt x="54977" y="46066"/>
                        <a:pt x="54977" y="46066"/>
                        <a:pt x="54977" y="46066"/>
                      </a:cubicBezTo>
                      <a:cubicBezTo>
                        <a:pt x="56563" y="47203"/>
                        <a:pt x="56563" y="47203"/>
                        <a:pt x="56563" y="47203"/>
                      </a:cubicBezTo>
                      <a:cubicBezTo>
                        <a:pt x="56563" y="47203"/>
                        <a:pt x="57092" y="46635"/>
                        <a:pt x="57621" y="46635"/>
                      </a:cubicBezTo>
                      <a:cubicBezTo>
                        <a:pt x="57621" y="46066"/>
                        <a:pt x="57621" y="44928"/>
                        <a:pt x="57621" y="44928"/>
                      </a:cubicBezTo>
                      <a:cubicBezTo>
                        <a:pt x="58678" y="43791"/>
                        <a:pt x="58678" y="43791"/>
                        <a:pt x="58678" y="43791"/>
                      </a:cubicBezTo>
                      <a:cubicBezTo>
                        <a:pt x="59207" y="42654"/>
                        <a:pt x="59207" y="42654"/>
                        <a:pt x="59207" y="42654"/>
                      </a:cubicBezTo>
                      <a:cubicBezTo>
                        <a:pt x="59207" y="41516"/>
                        <a:pt x="59207" y="41516"/>
                        <a:pt x="59207" y="41516"/>
                      </a:cubicBezTo>
                      <a:cubicBezTo>
                        <a:pt x="60264" y="40947"/>
                        <a:pt x="60264" y="40947"/>
                        <a:pt x="60264" y="40947"/>
                      </a:cubicBezTo>
                      <a:cubicBezTo>
                        <a:pt x="61850" y="40379"/>
                        <a:pt x="61850" y="40379"/>
                        <a:pt x="61850" y="40379"/>
                      </a:cubicBezTo>
                      <a:cubicBezTo>
                        <a:pt x="63964" y="39810"/>
                        <a:pt x="63964" y="39810"/>
                        <a:pt x="63964" y="39810"/>
                      </a:cubicBezTo>
                      <a:cubicBezTo>
                        <a:pt x="63964" y="39810"/>
                        <a:pt x="65550" y="40379"/>
                        <a:pt x="66079" y="40379"/>
                      </a:cubicBezTo>
                      <a:cubicBezTo>
                        <a:pt x="66079" y="40379"/>
                        <a:pt x="66607" y="40379"/>
                        <a:pt x="66607" y="40379"/>
                      </a:cubicBezTo>
                      <a:cubicBezTo>
                        <a:pt x="67665" y="38672"/>
                        <a:pt x="67665" y="38672"/>
                        <a:pt x="67665" y="38672"/>
                      </a:cubicBezTo>
                      <a:cubicBezTo>
                        <a:pt x="67665" y="38672"/>
                        <a:pt x="67665" y="38672"/>
                        <a:pt x="67665" y="38672"/>
                      </a:cubicBezTo>
                      <a:cubicBezTo>
                        <a:pt x="68193" y="37535"/>
                        <a:pt x="68193" y="37535"/>
                        <a:pt x="68193" y="37535"/>
                      </a:cubicBezTo>
                      <a:cubicBezTo>
                        <a:pt x="70837" y="38672"/>
                        <a:pt x="70837" y="38672"/>
                        <a:pt x="70837" y="38672"/>
                      </a:cubicBezTo>
                      <a:cubicBezTo>
                        <a:pt x="71894" y="39810"/>
                        <a:pt x="71894" y="39810"/>
                        <a:pt x="71894" y="39810"/>
                      </a:cubicBezTo>
                      <a:cubicBezTo>
                        <a:pt x="74537" y="40379"/>
                        <a:pt x="74537" y="40379"/>
                        <a:pt x="74537" y="40379"/>
                      </a:cubicBezTo>
                      <a:cubicBezTo>
                        <a:pt x="74537" y="40379"/>
                        <a:pt x="74537" y="40379"/>
                        <a:pt x="74537" y="40379"/>
                      </a:cubicBezTo>
                      <a:cubicBezTo>
                        <a:pt x="75594" y="40379"/>
                        <a:pt x="75594" y="40379"/>
                        <a:pt x="75594" y="40379"/>
                      </a:cubicBezTo>
                      <a:cubicBezTo>
                        <a:pt x="75594" y="39810"/>
                        <a:pt x="75594" y="39810"/>
                        <a:pt x="75594" y="39810"/>
                      </a:cubicBezTo>
                      <a:cubicBezTo>
                        <a:pt x="77709" y="39810"/>
                        <a:pt x="77709" y="39810"/>
                        <a:pt x="77709" y="39810"/>
                      </a:cubicBezTo>
                      <a:cubicBezTo>
                        <a:pt x="80352" y="40379"/>
                        <a:pt x="80352" y="40379"/>
                        <a:pt x="80352" y="40379"/>
                      </a:cubicBezTo>
                      <a:cubicBezTo>
                        <a:pt x="81938" y="40379"/>
                        <a:pt x="81938" y="40379"/>
                        <a:pt x="81938" y="40379"/>
                      </a:cubicBezTo>
                      <a:cubicBezTo>
                        <a:pt x="84581" y="40379"/>
                        <a:pt x="84581" y="40379"/>
                        <a:pt x="84581" y="40379"/>
                      </a:cubicBezTo>
                      <a:cubicBezTo>
                        <a:pt x="86167" y="40947"/>
                        <a:pt x="86167" y="40947"/>
                        <a:pt x="86167" y="40947"/>
                      </a:cubicBezTo>
                      <a:cubicBezTo>
                        <a:pt x="87224" y="41516"/>
                        <a:pt x="87224" y="41516"/>
                        <a:pt x="87224" y="41516"/>
                      </a:cubicBezTo>
                      <a:cubicBezTo>
                        <a:pt x="87224" y="41516"/>
                        <a:pt x="87224" y="41516"/>
                        <a:pt x="87753" y="40947"/>
                      </a:cubicBezTo>
                      <a:cubicBezTo>
                        <a:pt x="87753" y="40947"/>
                        <a:pt x="89339" y="40947"/>
                        <a:pt x="89339" y="40947"/>
                      </a:cubicBezTo>
                      <a:cubicBezTo>
                        <a:pt x="89867" y="39241"/>
                        <a:pt x="89867" y="39241"/>
                        <a:pt x="89867" y="39241"/>
                      </a:cubicBezTo>
                      <a:cubicBezTo>
                        <a:pt x="90396" y="40379"/>
                        <a:pt x="90396" y="40379"/>
                        <a:pt x="90396" y="40379"/>
                      </a:cubicBezTo>
                      <a:cubicBezTo>
                        <a:pt x="90925" y="40379"/>
                        <a:pt x="91982" y="40379"/>
                        <a:pt x="91982" y="40379"/>
                      </a:cubicBezTo>
                      <a:cubicBezTo>
                        <a:pt x="92511" y="38672"/>
                        <a:pt x="92511" y="38672"/>
                        <a:pt x="92511" y="38672"/>
                      </a:cubicBezTo>
                      <a:cubicBezTo>
                        <a:pt x="93039" y="39241"/>
                        <a:pt x="93039" y="39241"/>
                        <a:pt x="93039" y="39241"/>
                      </a:cubicBezTo>
                      <a:cubicBezTo>
                        <a:pt x="93568" y="39241"/>
                        <a:pt x="93568" y="39241"/>
                        <a:pt x="94096" y="39241"/>
                      </a:cubicBezTo>
                      <a:cubicBezTo>
                        <a:pt x="94625" y="39241"/>
                        <a:pt x="95154" y="38672"/>
                        <a:pt x="95154" y="38672"/>
                      </a:cubicBezTo>
                      <a:cubicBezTo>
                        <a:pt x="95154" y="38672"/>
                        <a:pt x="95682" y="39241"/>
                        <a:pt x="95682" y="39241"/>
                      </a:cubicBezTo>
                      <a:cubicBezTo>
                        <a:pt x="95682" y="39241"/>
                        <a:pt x="96211" y="38672"/>
                        <a:pt x="96740" y="38672"/>
                      </a:cubicBezTo>
                      <a:cubicBezTo>
                        <a:pt x="97797" y="38672"/>
                        <a:pt x="98325" y="38104"/>
                        <a:pt x="98325" y="38104"/>
                      </a:cubicBezTo>
                      <a:cubicBezTo>
                        <a:pt x="98325" y="38104"/>
                        <a:pt x="98854" y="39241"/>
                        <a:pt x="99911" y="39810"/>
                      </a:cubicBezTo>
                      <a:cubicBezTo>
                        <a:pt x="99911" y="39810"/>
                        <a:pt x="99911" y="39810"/>
                        <a:pt x="99911" y="39810"/>
                      </a:cubicBezTo>
                      <a:cubicBezTo>
                        <a:pt x="100969" y="39810"/>
                        <a:pt x="100969" y="39810"/>
                        <a:pt x="100969" y="39810"/>
                      </a:cubicBezTo>
                      <a:cubicBezTo>
                        <a:pt x="100969" y="39810"/>
                        <a:pt x="100969" y="39810"/>
                        <a:pt x="100969" y="39810"/>
                      </a:cubicBezTo>
                      <a:cubicBezTo>
                        <a:pt x="100969" y="39810"/>
                        <a:pt x="101497" y="39241"/>
                        <a:pt x="102026" y="39241"/>
                      </a:cubicBezTo>
                      <a:cubicBezTo>
                        <a:pt x="103083" y="39241"/>
                        <a:pt x="103612" y="39241"/>
                        <a:pt x="104140" y="39241"/>
                      </a:cubicBezTo>
                      <a:cubicBezTo>
                        <a:pt x="105198" y="39241"/>
                        <a:pt x="105726" y="40379"/>
                        <a:pt x="105726" y="40379"/>
                      </a:cubicBezTo>
                      <a:cubicBezTo>
                        <a:pt x="107312" y="42085"/>
                        <a:pt x="107312" y="42085"/>
                        <a:pt x="107312" y="42085"/>
                      </a:cubicBezTo>
                      <a:cubicBezTo>
                        <a:pt x="107312" y="42085"/>
                        <a:pt x="107841" y="43222"/>
                        <a:pt x="107841" y="43791"/>
                      </a:cubicBezTo>
                      <a:cubicBezTo>
                        <a:pt x="108370" y="44360"/>
                        <a:pt x="108370" y="44928"/>
                        <a:pt x="108370" y="44928"/>
                      </a:cubicBezTo>
                      <a:cubicBezTo>
                        <a:pt x="108370" y="44928"/>
                        <a:pt x="112599" y="46635"/>
                        <a:pt x="113127" y="46635"/>
                      </a:cubicBezTo>
                      <a:cubicBezTo>
                        <a:pt x="113127" y="46635"/>
                        <a:pt x="113656" y="46635"/>
                        <a:pt x="113656" y="46635"/>
                      </a:cubicBezTo>
                      <a:close/>
                      <a:moveTo>
                        <a:pt x="92511" y="108625"/>
                      </a:moveTo>
                      <a:cubicBezTo>
                        <a:pt x="92511" y="108625"/>
                        <a:pt x="92511" y="108625"/>
                        <a:pt x="92511" y="108625"/>
                      </a:cubicBezTo>
                      <a:cubicBezTo>
                        <a:pt x="93039" y="108625"/>
                        <a:pt x="93039" y="108056"/>
                        <a:pt x="93039" y="108056"/>
                      </a:cubicBezTo>
                      <a:cubicBezTo>
                        <a:pt x="94625" y="108056"/>
                        <a:pt x="94625" y="108056"/>
                        <a:pt x="94625" y="108056"/>
                      </a:cubicBezTo>
                      <a:cubicBezTo>
                        <a:pt x="94625" y="108056"/>
                        <a:pt x="94625" y="108056"/>
                        <a:pt x="94625" y="108056"/>
                      </a:cubicBezTo>
                      <a:cubicBezTo>
                        <a:pt x="96211" y="108625"/>
                        <a:pt x="96211" y="108625"/>
                        <a:pt x="96211" y="108625"/>
                      </a:cubicBezTo>
                      <a:cubicBezTo>
                        <a:pt x="97268" y="109763"/>
                        <a:pt x="97268" y="109763"/>
                        <a:pt x="97268" y="109763"/>
                      </a:cubicBezTo>
                      <a:cubicBezTo>
                        <a:pt x="97797" y="110900"/>
                        <a:pt x="97797" y="110900"/>
                        <a:pt x="97797" y="110900"/>
                      </a:cubicBezTo>
                      <a:cubicBezTo>
                        <a:pt x="98854" y="112037"/>
                        <a:pt x="98854" y="112037"/>
                        <a:pt x="98854" y="112037"/>
                      </a:cubicBezTo>
                      <a:cubicBezTo>
                        <a:pt x="101497" y="113744"/>
                        <a:pt x="101497" y="113744"/>
                        <a:pt x="101497" y="113744"/>
                      </a:cubicBezTo>
                      <a:cubicBezTo>
                        <a:pt x="104669" y="115450"/>
                        <a:pt x="104669" y="115450"/>
                        <a:pt x="104669" y="115450"/>
                      </a:cubicBezTo>
                      <a:cubicBezTo>
                        <a:pt x="104669" y="115450"/>
                        <a:pt x="106784" y="116587"/>
                        <a:pt x="107312" y="116587"/>
                      </a:cubicBezTo>
                      <a:cubicBezTo>
                        <a:pt x="107312" y="116587"/>
                        <a:pt x="107312" y="117156"/>
                        <a:pt x="107841" y="117156"/>
                      </a:cubicBezTo>
                      <a:cubicBezTo>
                        <a:pt x="107841" y="117725"/>
                        <a:pt x="108898" y="119431"/>
                        <a:pt x="108898" y="119431"/>
                      </a:cubicBezTo>
                      <a:cubicBezTo>
                        <a:pt x="109427" y="120000"/>
                        <a:pt x="107841" y="118862"/>
                        <a:pt x="107841" y="118862"/>
                      </a:cubicBezTo>
                      <a:cubicBezTo>
                        <a:pt x="107841" y="118862"/>
                        <a:pt x="107312" y="117725"/>
                        <a:pt x="106784" y="117156"/>
                      </a:cubicBezTo>
                      <a:cubicBezTo>
                        <a:pt x="105726" y="117156"/>
                        <a:pt x="104669" y="117156"/>
                        <a:pt x="104140" y="116587"/>
                      </a:cubicBezTo>
                      <a:cubicBezTo>
                        <a:pt x="103612" y="116018"/>
                        <a:pt x="103612" y="115450"/>
                        <a:pt x="103612" y="115450"/>
                      </a:cubicBezTo>
                      <a:cubicBezTo>
                        <a:pt x="103083" y="115450"/>
                        <a:pt x="103083" y="114312"/>
                        <a:pt x="101497" y="114312"/>
                      </a:cubicBezTo>
                      <a:cubicBezTo>
                        <a:pt x="99911" y="113744"/>
                        <a:pt x="99911" y="114312"/>
                        <a:pt x="99383" y="113175"/>
                      </a:cubicBezTo>
                      <a:cubicBezTo>
                        <a:pt x="98854" y="111469"/>
                        <a:pt x="98854" y="112606"/>
                        <a:pt x="98325" y="111469"/>
                      </a:cubicBezTo>
                      <a:cubicBezTo>
                        <a:pt x="97268" y="110900"/>
                        <a:pt x="97797" y="111469"/>
                        <a:pt x="95682" y="110900"/>
                      </a:cubicBezTo>
                      <a:cubicBezTo>
                        <a:pt x="94096" y="109763"/>
                        <a:pt x="95154" y="110331"/>
                        <a:pt x="95154" y="109763"/>
                      </a:cubicBezTo>
                      <a:cubicBezTo>
                        <a:pt x="94625" y="108625"/>
                        <a:pt x="95154" y="109194"/>
                        <a:pt x="94096" y="109194"/>
                      </a:cubicBezTo>
                      <a:cubicBezTo>
                        <a:pt x="93568" y="108625"/>
                        <a:pt x="94096" y="108625"/>
                        <a:pt x="93568" y="108625"/>
                      </a:cubicBezTo>
                      <a:cubicBezTo>
                        <a:pt x="93568" y="108625"/>
                        <a:pt x="93039" y="109194"/>
                        <a:pt x="92511" y="109194"/>
                      </a:cubicBezTo>
                      <a:cubicBezTo>
                        <a:pt x="92511" y="108625"/>
                        <a:pt x="92511" y="108625"/>
                        <a:pt x="92511" y="108625"/>
                      </a:cubicBezTo>
                      <a:close/>
                      <a:moveTo>
                        <a:pt x="89339" y="112606"/>
                      </a:moveTo>
                      <a:cubicBezTo>
                        <a:pt x="89339" y="112606"/>
                        <a:pt x="89339" y="112606"/>
                        <a:pt x="89339" y="112606"/>
                      </a:cubicBezTo>
                      <a:cubicBezTo>
                        <a:pt x="89339" y="112606"/>
                        <a:pt x="88281" y="112606"/>
                        <a:pt x="87753" y="112606"/>
                      </a:cubicBezTo>
                      <a:cubicBezTo>
                        <a:pt x="87753" y="112606"/>
                        <a:pt x="87224" y="112037"/>
                        <a:pt x="86696" y="112037"/>
                      </a:cubicBezTo>
                      <a:cubicBezTo>
                        <a:pt x="86167" y="112037"/>
                        <a:pt x="85110" y="112037"/>
                        <a:pt x="85110" y="112037"/>
                      </a:cubicBezTo>
                      <a:cubicBezTo>
                        <a:pt x="84581" y="112037"/>
                        <a:pt x="84052" y="111469"/>
                        <a:pt x="84052" y="111469"/>
                      </a:cubicBezTo>
                      <a:cubicBezTo>
                        <a:pt x="84052" y="111469"/>
                        <a:pt x="84052" y="110900"/>
                        <a:pt x="84052" y="110900"/>
                      </a:cubicBezTo>
                      <a:cubicBezTo>
                        <a:pt x="84052" y="110900"/>
                        <a:pt x="85110" y="110331"/>
                        <a:pt x="85110" y="110331"/>
                      </a:cubicBezTo>
                      <a:cubicBezTo>
                        <a:pt x="85110" y="110900"/>
                        <a:pt x="88281" y="111469"/>
                        <a:pt x="88281" y="111469"/>
                      </a:cubicBezTo>
                      <a:cubicBezTo>
                        <a:pt x="90396" y="111469"/>
                        <a:pt x="90396" y="111469"/>
                        <a:pt x="90396" y="111469"/>
                      </a:cubicBezTo>
                      <a:cubicBezTo>
                        <a:pt x="90396" y="111469"/>
                        <a:pt x="90925" y="111469"/>
                        <a:pt x="90925" y="111469"/>
                      </a:cubicBezTo>
                      <a:cubicBezTo>
                        <a:pt x="90925" y="111469"/>
                        <a:pt x="91453" y="111469"/>
                        <a:pt x="91982" y="112037"/>
                      </a:cubicBezTo>
                      <a:cubicBezTo>
                        <a:pt x="92511" y="112037"/>
                        <a:pt x="92511" y="112037"/>
                        <a:pt x="92511" y="112606"/>
                      </a:cubicBezTo>
                      <a:cubicBezTo>
                        <a:pt x="92511" y="112606"/>
                        <a:pt x="93039" y="113175"/>
                        <a:pt x="92511" y="113175"/>
                      </a:cubicBezTo>
                      <a:cubicBezTo>
                        <a:pt x="92511" y="113175"/>
                        <a:pt x="91982" y="113175"/>
                        <a:pt x="91982" y="113175"/>
                      </a:cubicBezTo>
                      <a:cubicBezTo>
                        <a:pt x="91982" y="113175"/>
                        <a:pt x="90925" y="112606"/>
                        <a:pt x="90925" y="112606"/>
                      </a:cubicBezTo>
                      <a:cubicBezTo>
                        <a:pt x="89867" y="112606"/>
                        <a:pt x="89867" y="112606"/>
                        <a:pt x="89867" y="112606"/>
                      </a:cubicBezTo>
                      <a:cubicBezTo>
                        <a:pt x="89339" y="112606"/>
                        <a:pt x="89339" y="112606"/>
                        <a:pt x="89339" y="112606"/>
                      </a:cubicBezTo>
                      <a:close/>
                      <a:moveTo>
                        <a:pt x="72951" y="113175"/>
                      </a:moveTo>
                      <a:cubicBezTo>
                        <a:pt x="72951" y="113175"/>
                        <a:pt x="72951" y="113175"/>
                        <a:pt x="72951" y="113175"/>
                      </a:cubicBezTo>
                      <a:cubicBezTo>
                        <a:pt x="72951" y="113175"/>
                        <a:pt x="75066" y="112606"/>
                        <a:pt x="75066" y="112606"/>
                      </a:cubicBezTo>
                      <a:cubicBezTo>
                        <a:pt x="76123" y="113175"/>
                        <a:pt x="76123" y="113175"/>
                        <a:pt x="76123" y="113175"/>
                      </a:cubicBezTo>
                      <a:cubicBezTo>
                        <a:pt x="76123" y="113175"/>
                        <a:pt x="76123" y="113744"/>
                        <a:pt x="75594" y="113744"/>
                      </a:cubicBezTo>
                      <a:cubicBezTo>
                        <a:pt x="75594" y="113744"/>
                        <a:pt x="74537" y="114881"/>
                        <a:pt x="74537" y="114881"/>
                      </a:cubicBezTo>
                      <a:cubicBezTo>
                        <a:pt x="72951" y="113744"/>
                        <a:pt x="72951" y="113744"/>
                        <a:pt x="72951" y="113744"/>
                      </a:cubicBezTo>
                      <a:cubicBezTo>
                        <a:pt x="72951" y="113175"/>
                        <a:pt x="72951" y="113175"/>
                        <a:pt x="72951" y="113175"/>
                      </a:cubicBezTo>
                      <a:close/>
                      <a:moveTo>
                        <a:pt x="56563" y="110331"/>
                      </a:moveTo>
                      <a:cubicBezTo>
                        <a:pt x="56563" y="110331"/>
                        <a:pt x="56563" y="110331"/>
                        <a:pt x="56563" y="110331"/>
                      </a:cubicBezTo>
                      <a:cubicBezTo>
                        <a:pt x="57092" y="110331"/>
                        <a:pt x="57621" y="109763"/>
                        <a:pt x="57621" y="110331"/>
                      </a:cubicBezTo>
                      <a:cubicBezTo>
                        <a:pt x="57621" y="110900"/>
                        <a:pt x="57092" y="111469"/>
                        <a:pt x="57092" y="111469"/>
                      </a:cubicBezTo>
                      <a:cubicBezTo>
                        <a:pt x="57092" y="111469"/>
                        <a:pt x="56563" y="111469"/>
                        <a:pt x="56563" y="111469"/>
                      </a:cubicBezTo>
                      <a:cubicBezTo>
                        <a:pt x="56563" y="110900"/>
                        <a:pt x="56563" y="110331"/>
                        <a:pt x="56563" y="110331"/>
                      </a:cubicBezTo>
                      <a:close/>
                      <a:moveTo>
                        <a:pt x="59735" y="107488"/>
                      </a:moveTo>
                      <a:cubicBezTo>
                        <a:pt x="59735" y="107488"/>
                        <a:pt x="59735" y="107488"/>
                        <a:pt x="59735" y="107488"/>
                      </a:cubicBezTo>
                      <a:cubicBezTo>
                        <a:pt x="59735" y="107488"/>
                        <a:pt x="60792" y="106919"/>
                        <a:pt x="60792" y="106919"/>
                      </a:cubicBezTo>
                      <a:cubicBezTo>
                        <a:pt x="61321" y="107488"/>
                        <a:pt x="61850" y="107488"/>
                        <a:pt x="61321" y="108056"/>
                      </a:cubicBezTo>
                      <a:cubicBezTo>
                        <a:pt x="61321" y="108056"/>
                        <a:pt x="61321" y="108056"/>
                        <a:pt x="60792" y="108625"/>
                      </a:cubicBezTo>
                      <a:cubicBezTo>
                        <a:pt x="60264" y="109194"/>
                        <a:pt x="59207" y="109763"/>
                        <a:pt x="59207" y="109763"/>
                      </a:cubicBezTo>
                      <a:cubicBezTo>
                        <a:pt x="59207" y="109763"/>
                        <a:pt x="59207" y="109763"/>
                        <a:pt x="58678" y="109763"/>
                      </a:cubicBezTo>
                      <a:cubicBezTo>
                        <a:pt x="57621" y="109194"/>
                        <a:pt x="57092" y="108625"/>
                        <a:pt x="57092" y="108625"/>
                      </a:cubicBezTo>
                      <a:cubicBezTo>
                        <a:pt x="57092" y="108625"/>
                        <a:pt x="56563" y="108056"/>
                        <a:pt x="57621" y="108056"/>
                      </a:cubicBezTo>
                      <a:cubicBezTo>
                        <a:pt x="58149" y="107488"/>
                        <a:pt x="58678" y="107488"/>
                        <a:pt x="58678" y="107488"/>
                      </a:cubicBezTo>
                      <a:cubicBezTo>
                        <a:pt x="59207" y="107488"/>
                        <a:pt x="59735" y="107488"/>
                        <a:pt x="59735" y="107488"/>
                      </a:cubicBezTo>
                      <a:close/>
                      <a:moveTo>
                        <a:pt x="65550" y="101232"/>
                      </a:moveTo>
                      <a:cubicBezTo>
                        <a:pt x="65550" y="101232"/>
                        <a:pt x="65550" y="101232"/>
                        <a:pt x="65550" y="101232"/>
                      </a:cubicBezTo>
                      <a:cubicBezTo>
                        <a:pt x="65550" y="101232"/>
                        <a:pt x="66607" y="100663"/>
                        <a:pt x="66607" y="100663"/>
                      </a:cubicBezTo>
                      <a:cubicBezTo>
                        <a:pt x="66607" y="100663"/>
                        <a:pt x="66607" y="100663"/>
                        <a:pt x="67136" y="100663"/>
                      </a:cubicBezTo>
                      <a:cubicBezTo>
                        <a:pt x="67136" y="100663"/>
                        <a:pt x="67136" y="100663"/>
                        <a:pt x="67665" y="100663"/>
                      </a:cubicBezTo>
                      <a:cubicBezTo>
                        <a:pt x="67665" y="100663"/>
                        <a:pt x="68193" y="100094"/>
                        <a:pt x="68722" y="100663"/>
                      </a:cubicBezTo>
                      <a:cubicBezTo>
                        <a:pt x="69251" y="100663"/>
                        <a:pt x="69251" y="101232"/>
                        <a:pt x="69779" y="101232"/>
                      </a:cubicBezTo>
                      <a:cubicBezTo>
                        <a:pt x="69779" y="101232"/>
                        <a:pt x="70308" y="101232"/>
                        <a:pt x="70308" y="101232"/>
                      </a:cubicBezTo>
                      <a:cubicBezTo>
                        <a:pt x="70837" y="101232"/>
                        <a:pt x="70837" y="101232"/>
                        <a:pt x="71894" y="101232"/>
                      </a:cubicBezTo>
                      <a:cubicBezTo>
                        <a:pt x="72951" y="101232"/>
                        <a:pt x="74537" y="101232"/>
                        <a:pt x="74537" y="101232"/>
                      </a:cubicBezTo>
                      <a:cubicBezTo>
                        <a:pt x="74537" y="101800"/>
                        <a:pt x="75066" y="101232"/>
                        <a:pt x="75594" y="101232"/>
                      </a:cubicBezTo>
                      <a:cubicBezTo>
                        <a:pt x="76651" y="101800"/>
                        <a:pt x="76651" y="101800"/>
                        <a:pt x="76651" y="101800"/>
                      </a:cubicBezTo>
                      <a:cubicBezTo>
                        <a:pt x="77180" y="101800"/>
                        <a:pt x="76651" y="102369"/>
                        <a:pt x="77709" y="101800"/>
                      </a:cubicBezTo>
                      <a:cubicBezTo>
                        <a:pt x="78237" y="101800"/>
                        <a:pt x="78237" y="101800"/>
                        <a:pt x="78237" y="101800"/>
                      </a:cubicBezTo>
                      <a:cubicBezTo>
                        <a:pt x="78237" y="101800"/>
                        <a:pt x="78237" y="101800"/>
                        <a:pt x="78766" y="101232"/>
                      </a:cubicBezTo>
                      <a:cubicBezTo>
                        <a:pt x="79295" y="101232"/>
                        <a:pt x="79823" y="100663"/>
                        <a:pt x="79823" y="100663"/>
                      </a:cubicBezTo>
                      <a:cubicBezTo>
                        <a:pt x="80352" y="100663"/>
                        <a:pt x="80352" y="100663"/>
                        <a:pt x="80352" y="100663"/>
                      </a:cubicBezTo>
                      <a:cubicBezTo>
                        <a:pt x="80352" y="102369"/>
                        <a:pt x="80352" y="102369"/>
                        <a:pt x="80352" y="102369"/>
                      </a:cubicBezTo>
                      <a:cubicBezTo>
                        <a:pt x="80352" y="102369"/>
                        <a:pt x="80352" y="102369"/>
                        <a:pt x="80352" y="102938"/>
                      </a:cubicBezTo>
                      <a:cubicBezTo>
                        <a:pt x="80352" y="102938"/>
                        <a:pt x="79823" y="103507"/>
                        <a:pt x="79295" y="103507"/>
                      </a:cubicBezTo>
                      <a:cubicBezTo>
                        <a:pt x="79295" y="103507"/>
                        <a:pt x="78766" y="102938"/>
                        <a:pt x="78766" y="102938"/>
                      </a:cubicBezTo>
                      <a:cubicBezTo>
                        <a:pt x="78766" y="102369"/>
                        <a:pt x="78237" y="102369"/>
                        <a:pt x="78237" y="102369"/>
                      </a:cubicBezTo>
                      <a:cubicBezTo>
                        <a:pt x="77709" y="102369"/>
                        <a:pt x="77180" y="102938"/>
                        <a:pt x="76651" y="102938"/>
                      </a:cubicBezTo>
                      <a:cubicBezTo>
                        <a:pt x="76651" y="102938"/>
                        <a:pt x="76123" y="102369"/>
                        <a:pt x="76123" y="102369"/>
                      </a:cubicBezTo>
                      <a:cubicBezTo>
                        <a:pt x="76123" y="102369"/>
                        <a:pt x="75066" y="102369"/>
                        <a:pt x="74537" y="102369"/>
                      </a:cubicBezTo>
                      <a:cubicBezTo>
                        <a:pt x="74537" y="102369"/>
                        <a:pt x="74008" y="102369"/>
                        <a:pt x="73480" y="102369"/>
                      </a:cubicBezTo>
                      <a:cubicBezTo>
                        <a:pt x="72951" y="102369"/>
                        <a:pt x="72422" y="102369"/>
                        <a:pt x="71894" y="102369"/>
                      </a:cubicBezTo>
                      <a:cubicBezTo>
                        <a:pt x="71365" y="102938"/>
                        <a:pt x="70308" y="102369"/>
                        <a:pt x="70308" y="102938"/>
                      </a:cubicBezTo>
                      <a:cubicBezTo>
                        <a:pt x="70308" y="102938"/>
                        <a:pt x="70308" y="103507"/>
                        <a:pt x="70308" y="103507"/>
                      </a:cubicBezTo>
                      <a:cubicBezTo>
                        <a:pt x="70308" y="103507"/>
                        <a:pt x="70837" y="104075"/>
                        <a:pt x="70308" y="104075"/>
                      </a:cubicBezTo>
                      <a:cubicBezTo>
                        <a:pt x="69251" y="104075"/>
                        <a:pt x="69251" y="104075"/>
                        <a:pt x="69251" y="103507"/>
                      </a:cubicBezTo>
                      <a:cubicBezTo>
                        <a:pt x="68722" y="102938"/>
                        <a:pt x="69779" y="102369"/>
                        <a:pt x="68193" y="102938"/>
                      </a:cubicBezTo>
                      <a:cubicBezTo>
                        <a:pt x="67136" y="102938"/>
                        <a:pt x="67136" y="102369"/>
                        <a:pt x="66607" y="102369"/>
                      </a:cubicBezTo>
                      <a:cubicBezTo>
                        <a:pt x="66607" y="102938"/>
                        <a:pt x="65550" y="101800"/>
                        <a:pt x="65022" y="102369"/>
                      </a:cubicBezTo>
                      <a:cubicBezTo>
                        <a:pt x="65022" y="102369"/>
                        <a:pt x="64493" y="102938"/>
                        <a:pt x="64493" y="102938"/>
                      </a:cubicBezTo>
                      <a:cubicBezTo>
                        <a:pt x="64493" y="102938"/>
                        <a:pt x="62907" y="102938"/>
                        <a:pt x="62907" y="102938"/>
                      </a:cubicBezTo>
                      <a:cubicBezTo>
                        <a:pt x="62907" y="102938"/>
                        <a:pt x="63436" y="101232"/>
                        <a:pt x="63436" y="101232"/>
                      </a:cubicBezTo>
                      <a:cubicBezTo>
                        <a:pt x="63436" y="101232"/>
                        <a:pt x="63436" y="101232"/>
                        <a:pt x="63964" y="101232"/>
                      </a:cubicBezTo>
                      <a:cubicBezTo>
                        <a:pt x="64493" y="101232"/>
                        <a:pt x="65022" y="101232"/>
                        <a:pt x="65022" y="101232"/>
                      </a:cubicBezTo>
                      <a:cubicBezTo>
                        <a:pt x="65550" y="101232"/>
                        <a:pt x="65550" y="101232"/>
                        <a:pt x="65550" y="101232"/>
                      </a:cubicBezTo>
                      <a:close/>
                      <a:moveTo>
                        <a:pt x="63436" y="97819"/>
                      </a:moveTo>
                      <a:cubicBezTo>
                        <a:pt x="63436" y="97819"/>
                        <a:pt x="63436" y="97819"/>
                        <a:pt x="63436" y="97819"/>
                      </a:cubicBezTo>
                      <a:cubicBezTo>
                        <a:pt x="63436" y="97819"/>
                        <a:pt x="61321" y="96682"/>
                        <a:pt x="61321" y="96682"/>
                      </a:cubicBezTo>
                      <a:cubicBezTo>
                        <a:pt x="60792" y="96682"/>
                        <a:pt x="60264" y="96682"/>
                        <a:pt x="59735" y="96682"/>
                      </a:cubicBezTo>
                      <a:cubicBezTo>
                        <a:pt x="59735" y="96682"/>
                        <a:pt x="58678" y="96113"/>
                        <a:pt x="59207" y="95545"/>
                      </a:cubicBezTo>
                      <a:cubicBezTo>
                        <a:pt x="59207" y="95545"/>
                        <a:pt x="59735" y="94976"/>
                        <a:pt x="60264" y="95545"/>
                      </a:cubicBezTo>
                      <a:cubicBezTo>
                        <a:pt x="60792" y="96113"/>
                        <a:pt x="61321" y="96113"/>
                        <a:pt x="61321" y="96682"/>
                      </a:cubicBezTo>
                      <a:cubicBezTo>
                        <a:pt x="61850" y="96682"/>
                        <a:pt x="62907" y="97251"/>
                        <a:pt x="62907" y="97251"/>
                      </a:cubicBezTo>
                      <a:cubicBezTo>
                        <a:pt x="63436" y="97251"/>
                        <a:pt x="63436" y="97819"/>
                        <a:pt x="63436" y="97251"/>
                      </a:cubicBezTo>
                      <a:cubicBezTo>
                        <a:pt x="63964" y="97251"/>
                        <a:pt x="63964" y="96113"/>
                        <a:pt x="63964" y="96113"/>
                      </a:cubicBezTo>
                      <a:cubicBezTo>
                        <a:pt x="63964" y="95545"/>
                        <a:pt x="63436" y="95545"/>
                        <a:pt x="63436" y="95545"/>
                      </a:cubicBezTo>
                      <a:cubicBezTo>
                        <a:pt x="63964" y="95545"/>
                        <a:pt x="65022" y="94976"/>
                        <a:pt x="65022" y="94976"/>
                      </a:cubicBezTo>
                      <a:cubicBezTo>
                        <a:pt x="65550" y="95545"/>
                        <a:pt x="66079" y="95545"/>
                        <a:pt x="66607" y="95545"/>
                      </a:cubicBezTo>
                      <a:cubicBezTo>
                        <a:pt x="66607" y="95545"/>
                        <a:pt x="66079" y="95545"/>
                        <a:pt x="68193" y="95545"/>
                      </a:cubicBezTo>
                      <a:cubicBezTo>
                        <a:pt x="69779" y="95545"/>
                        <a:pt x="69251" y="95545"/>
                        <a:pt x="70308" y="95545"/>
                      </a:cubicBezTo>
                      <a:cubicBezTo>
                        <a:pt x="70837" y="95545"/>
                        <a:pt x="71894" y="95545"/>
                        <a:pt x="71894" y="95545"/>
                      </a:cubicBezTo>
                      <a:cubicBezTo>
                        <a:pt x="71894" y="96113"/>
                        <a:pt x="72951" y="96682"/>
                        <a:pt x="72951" y="96682"/>
                      </a:cubicBezTo>
                      <a:cubicBezTo>
                        <a:pt x="72951" y="97251"/>
                        <a:pt x="73480" y="97251"/>
                        <a:pt x="72951" y="97819"/>
                      </a:cubicBezTo>
                      <a:cubicBezTo>
                        <a:pt x="71894" y="98388"/>
                        <a:pt x="71894" y="98388"/>
                        <a:pt x="70837" y="98388"/>
                      </a:cubicBezTo>
                      <a:cubicBezTo>
                        <a:pt x="70308" y="98388"/>
                        <a:pt x="70837" y="98388"/>
                        <a:pt x="69779" y="98957"/>
                      </a:cubicBezTo>
                      <a:cubicBezTo>
                        <a:pt x="68193" y="98957"/>
                        <a:pt x="67136" y="98957"/>
                        <a:pt x="67136" y="98957"/>
                      </a:cubicBezTo>
                      <a:cubicBezTo>
                        <a:pt x="67136" y="98957"/>
                        <a:pt x="67665" y="98957"/>
                        <a:pt x="66079" y="98957"/>
                      </a:cubicBezTo>
                      <a:cubicBezTo>
                        <a:pt x="65022" y="98388"/>
                        <a:pt x="64493" y="98957"/>
                        <a:pt x="63964" y="98388"/>
                      </a:cubicBezTo>
                      <a:cubicBezTo>
                        <a:pt x="63964" y="98388"/>
                        <a:pt x="63436" y="97819"/>
                        <a:pt x="63436" y="97819"/>
                      </a:cubicBezTo>
                      <a:close/>
                      <a:moveTo>
                        <a:pt x="26431" y="53459"/>
                      </a:moveTo>
                      <a:cubicBezTo>
                        <a:pt x="26431" y="53459"/>
                        <a:pt x="26431" y="53459"/>
                        <a:pt x="26431" y="53459"/>
                      </a:cubicBezTo>
                      <a:cubicBezTo>
                        <a:pt x="26431" y="53459"/>
                        <a:pt x="26431" y="52890"/>
                        <a:pt x="26431" y="52890"/>
                      </a:cubicBezTo>
                      <a:cubicBezTo>
                        <a:pt x="26431" y="52890"/>
                        <a:pt x="26431" y="52890"/>
                        <a:pt x="26431" y="52890"/>
                      </a:cubicBezTo>
                      <a:cubicBezTo>
                        <a:pt x="26431" y="52890"/>
                        <a:pt x="26960" y="52890"/>
                        <a:pt x="26960" y="52890"/>
                      </a:cubicBezTo>
                      <a:cubicBezTo>
                        <a:pt x="26960" y="53459"/>
                        <a:pt x="26960" y="53459"/>
                        <a:pt x="27488" y="53459"/>
                      </a:cubicBezTo>
                      <a:cubicBezTo>
                        <a:pt x="27488" y="53459"/>
                        <a:pt x="27488" y="53459"/>
                        <a:pt x="28017" y="53459"/>
                      </a:cubicBezTo>
                      <a:cubicBezTo>
                        <a:pt x="28017" y="54028"/>
                        <a:pt x="28017" y="54028"/>
                        <a:pt x="28017" y="54028"/>
                      </a:cubicBezTo>
                      <a:cubicBezTo>
                        <a:pt x="28017" y="54028"/>
                        <a:pt x="28017" y="55165"/>
                        <a:pt x="27488" y="54597"/>
                      </a:cubicBezTo>
                      <a:cubicBezTo>
                        <a:pt x="26960" y="54597"/>
                        <a:pt x="26431" y="54597"/>
                        <a:pt x="26431" y="54028"/>
                      </a:cubicBezTo>
                      <a:cubicBezTo>
                        <a:pt x="26431" y="54028"/>
                        <a:pt x="26431" y="53459"/>
                        <a:pt x="26431" y="53459"/>
                      </a:cubicBezTo>
                      <a:close/>
                      <a:moveTo>
                        <a:pt x="26960" y="58578"/>
                      </a:moveTo>
                      <a:cubicBezTo>
                        <a:pt x="26960" y="58578"/>
                        <a:pt x="26960" y="58578"/>
                        <a:pt x="26960" y="58578"/>
                      </a:cubicBezTo>
                      <a:cubicBezTo>
                        <a:pt x="26960" y="58578"/>
                        <a:pt x="26431" y="58578"/>
                        <a:pt x="26431" y="58578"/>
                      </a:cubicBezTo>
                      <a:cubicBezTo>
                        <a:pt x="26431" y="58578"/>
                        <a:pt x="25374" y="58009"/>
                        <a:pt x="24845" y="58009"/>
                      </a:cubicBezTo>
                      <a:cubicBezTo>
                        <a:pt x="24845" y="57440"/>
                        <a:pt x="24845" y="57440"/>
                        <a:pt x="25374" y="57440"/>
                      </a:cubicBezTo>
                      <a:cubicBezTo>
                        <a:pt x="25374" y="56872"/>
                        <a:pt x="25374" y="56303"/>
                        <a:pt x="25374" y="56303"/>
                      </a:cubicBezTo>
                      <a:cubicBezTo>
                        <a:pt x="25374" y="56303"/>
                        <a:pt x="25903" y="55734"/>
                        <a:pt x="25903" y="55734"/>
                      </a:cubicBezTo>
                      <a:cubicBezTo>
                        <a:pt x="26431" y="55734"/>
                        <a:pt x="26431" y="55734"/>
                        <a:pt x="26431" y="55734"/>
                      </a:cubicBezTo>
                      <a:cubicBezTo>
                        <a:pt x="26431" y="55734"/>
                        <a:pt x="26431" y="55165"/>
                        <a:pt x="26431" y="55165"/>
                      </a:cubicBezTo>
                      <a:cubicBezTo>
                        <a:pt x="26431" y="54597"/>
                        <a:pt x="26960" y="54597"/>
                        <a:pt x="26960" y="54597"/>
                      </a:cubicBezTo>
                      <a:cubicBezTo>
                        <a:pt x="26960" y="54597"/>
                        <a:pt x="28017" y="55734"/>
                        <a:pt x="28017" y="56303"/>
                      </a:cubicBezTo>
                      <a:cubicBezTo>
                        <a:pt x="28017" y="56303"/>
                        <a:pt x="26431" y="56303"/>
                        <a:pt x="26431" y="56303"/>
                      </a:cubicBezTo>
                      <a:cubicBezTo>
                        <a:pt x="26431" y="56303"/>
                        <a:pt x="26431" y="56303"/>
                        <a:pt x="26960" y="57440"/>
                      </a:cubicBezTo>
                      <a:cubicBezTo>
                        <a:pt x="27488" y="58009"/>
                        <a:pt x="27488" y="57440"/>
                        <a:pt x="27488" y="57440"/>
                      </a:cubicBezTo>
                      <a:cubicBezTo>
                        <a:pt x="27488" y="58009"/>
                        <a:pt x="27488" y="58009"/>
                        <a:pt x="28546" y="58009"/>
                      </a:cubicBezTo>
                      <a:cubicBezTo>
                        <a:pt x="29074" y="58578"/>
                        <a:pt x="28546" y="58578"/>
                        <a:pt x="29074" y="59146"/>
                      </a:cubicBezTo>
                      <a:cubicBezTo>
                        <a:pt x="29074" y="59146"/>
                        <a:pt x="28546" y="59715"/>
                        <a:pt x="28546" y="59715"/>
                      </a:cubicBezTo>
                      <a:cubicBezTo>
                        <a:pt x="28017" y="60284"/>
                        <a:pt x="28017" y="59715"/>
                        <a:pt x="28017" y="59715"/>
                      </a:cubicBezTo>
                      <a:cubicBezTo>
                        <a:pt x="28017" y="59715"/>
                        <a:pt x="27488" y="58578"/>
                        <a:pt x="26960" y="58578"/>
                      </a:cubicBezTo>
                      <a:close/>
                      <a:moveTo>
                        <a:pt x="29074" y="66540"/>
                      </a:moveTo>
                      <a:cubicBezTo>
                        <a:pt x="29074" y="66540"/>
                        <a:pt x="29074" y="66540"/>
                        <a:pt x="29074" y="66540"/>
                      </a:cubicBezTo>
                      <a:cubicBezTo>
                        <a:pt x="29074" y="66540"/>
                        <a:pt x="29603" y="65971"/>
                        <a:pt x="29603" y="66540"/>
                      </a:cubicBezTo>
                      <a:cubicBezTo>
                        <a:pt x="30132" y="66540"/>
                        <a:pt x="30132" y="67109"/>
                        <a:pt x="30132" y="67109"/>
                      </a:cubicBezTo>
                      <a:cubicBezTo>
                        <a:pt x="30660" y="67677"/>
                        <a:pt x="31189" y="67677"/>
                        <a:pt x="31718" y="67677"/>
                      </a:cubicBezTo>
                      <a:cubicBezTo>
                        <a:pt x="31718" y="68246"/>
                        <a:pt x="31718" y="68815"/>
                        <a:pt x="31718" y="68815"/>
                      </a:cubicBezTo>
                      <a:cubicBezTo>
                        <a:pt x="31718" y="68815"/>
                        <a:pt x="31189" y="69383"/>
                        <a:pt x="31189" y="68815"/>
                      </a:cubicBezTo>
                      <a:cubicBezTo>
                        <a:pt x="30660" y="68246"/>
                        <a:pt x="30660" y="68246"/>
                        <a:pt x="30660" y="68246"/>
                      </a:cubicBezTo>
                      <a:cubicBezTo>
                        <a:pt x="30660" y="68246"/>
                        <a:pt x="30132" y="67677"/>
                        <a:pt x="30132" y="67677"/>
                      </a:cubicBezTo>
                      <a:cubicBezTo>
                        <a:pt x="30132" y="67677"/>
                        <a:pt x="29074" y="66540"/>
                        <a:pt x="29074" y="66540"/>
                      </a:cubicBezTo>
                      <a:close/>
                      <a:moveTo>
                        <a:pt x="28017" y="68815"/>
                      </a:moveTo>
                      <a:cubicBezTo>
                        <a:pt x="28017" y="68815"/>
                        <a:pt x="28017" y="68815"/>
                        <a:pt x="28017" y="68815"/>
                      </a:cubicBezTo>
                      <a:cubicBezTo>
                        <a:pt x="28017" y="68815"/>
                        <a:pt x="28017" y="68246"/>
                        <a:pt x="28017" y="68246"/>
                      </a:cubicBezTo>
                      <a:cubicBezTo>
                        <a:pt x="28017" y="68246"/>
                        <a:pt x="28546" y="68246"/>
                        <a:pt x="28546" y="68815"/>
                      </a:cubicBezTo>
                      <a:cubicBezTo>
                        <a:pt x="28546" y="68815"/>
                        <a:pt x="29074" y="69383"/>
                        <a:pt x="29074" y="69383"/>
                      </a:cubicBezTo>
                      <a:cubicBezTo>
                        <a:pt x="29074" y="69952"/>
                        <a:pt x="28546" y="69952"/>
                        <a:pt x="28546" y="69952"/>
                      </a:cubicBezTo>
                      <a:cubicBezTo>
                        <a:pt x="28546" y="70521"/>
                        <a:pt x="29074" y="70521"/>
                        <a:pt x="28546" y="70521"/>
                      </a:cubicBezTo>
                      <a:cubicBezTo>
                        <a:pt x="28017" y="70521"/>
                        <a:pt x="28017" y="70521"/>
                        <a:pt x="28017" y="70521"/>
                      </a:cubicBezTo>
                      <a:cubicBezTo>
                        <a:pt x="28017" y="70521"/>
                        <a:pt x="28017" y="69952"/>
                        <a:pt x="28017" y="69952"/>
                      </a:cubicBezTo>
                      <a:cubicBezTo>
                        <a:pt x="28017" y="69383"/>
                        <a:pt x="28017" y="68815"/>
                        <a:pt x="28017" y="68815"/>
                      </a:cubicBezTo>
                      <a:close/>
                      <a:moveTo>
                        <a:pt x="25903" y="68815"/>
                      </a:moveTo>
                      <a:cubicBezTo>
                        <a:pt x="25903" y="68815"/>
                        <a:pt x="25903" y="68815"/>
                        <a:pt x="25903" y="68815"/>
                      </a:cubicBezTo>
                      <a:cubicBezTo>
                        <a:pt x="25903" y="68815"/>
                        <a:pt x="26431" y="68815"/>
                        <a:pt x="26431" y="69383"/>
                      </a:cubicBezTo>
                      <a:cubicBezTo>
                        <a:pt x="26431" y="69383"/>
                        <a:pt x="26960" y="69383"/>
                        <a:pt x="26960" y="69952"/>
                      </a:cubicBezTo>
                      <a:cubicBezTo>
                        <a:pt x="26960" y="69952"/>
                        <a:pt x="26960" y="69952"/>
                        <a:pt x="26960" y="70521"/>
                      </a:cubicBezTo>
                      <a:cubicBezTo>
                        <a:pt x="26960" y="71090"/>
                        <a:pt x="27488" y="71090"/>
                        <a:pt x="26960" y="71090"/>
                      </a:cubicBezTo>
                      <a:cubicBezTo>
                        <a:pt x="26431" y="70521"/>
                        <a:pt x="26431" y="70521"/>
                        <a:pt x="26431" y="70521"/>
                      </a:cubicBezTo>
                      <a:cubicBezTo>
                        <a:pt x="25903" y="69952"/>
                        <a:pt x="25903" y="69952"/>
                        <a:pt x="25903" y="69952"/>
                      </a:cubicBezTo>
                      <a:cubicBezTo>
                        <a:pt x="25903" y="69383"/>
                        <a:pt x="25903" y="69383"/>
                        <a:pt x="25903" y="69383"/>
                      </a:cubicBezTo>
                      <a:cubicBezTo>
                        <a:pt x="25903" y="68815"/>
                        <a:pt x="25903" y="68815"/>
                        <a:pt x="25903" y="68815"/>
                      </a:cubicBezTo>
                      <a:close/>
                      <a:moveTo>
                        <a:pt x="17973" y="65971"/>
                      </a:moveTo>
                      <a:cubicBezTo>
                        <a:pt x="17973" y="65971"/>
                        <a:pt x="17973" y="65971"/>
                        <a:pt x="17973" y="65971"/>
                      </a:cubicBezTo>
                      <a:cubicBezTo>
                        <a:pt x="17973" y="65971"/>
                        <a:pt x="18502" y="65971"/>
                        <a:pt x="18502" y="65971"/>
                      </a:cubicBezTo>
                      <a:cubicBezTo>
                        <a:pt x="19030" y="66540"/>
                        <a:pt x="18502" y="66540"/>
                        <a:pt x="19030" y="67109"/>
                      </a:cubicBezTo>
                      <a:cubicBezTo>
                        <a:pt x="19030" y="67109"/>
                        <a:pt x="18502" y="67677"/>
                        <a:pt x="18502" y="67677"/>
                      </a:cubicBezTo>
                      <a:cubicBezTo>
                        <a:pt x="17973" y="67109"/>
                        <a:pt x="17973" y="67109"/>
                        <a:pt x="17973" y="67109"/>
                      </a:cubicBezTo>
                      <a:cubicBezTo>
                        <a:pt x="17973" y="65971"/>
                        <a:pt x="17973" y="65971"/>
                        <a:pt x="17973" y="65971"/>
                      </a:cubicBezTo>
                      <a:close/>
                      <a:moveTo>
                        <a:pt x="17973" y="63696"/>
                      </a:moveTo>
                      <a:cubicBezTo>
                        <a:pt x="17973" y="63696"/>
                        <a:pt x="17973" y="63696"/>
                        <a:pt x="17973" y="63696"/>
                      </a:cubicBezTo>
                      <a:cubicBezTo>
                        <a:pt x="17973" y="63696"/>
                        <a:pt x="16916" y="63696"/>
                        <a:pt x="16916" y="63696"/>
                      </a:cubicBezTo>
                      <a:cubicBezTo>
                        <a:pt x="16916" y="63696"/>
                        <a:pt x="16387" y="63696"/>
                        <a:pt x="16387" y="63127"/>
                      </a:cubicBezTo>
                      <a:cubicBezTo>
                        <a:pt x="16387" y="63127"/>
                        <a:pt x="16387" y="62559"/>
                        <a:pt x="16916" y="62559"/>
                      </a:cubicBezTo>
                      <a:cubicBezTo>
                        <a:pt x="16916" y="62559"/>
                        <a:pt x="16916" y="61990"/>
                        <a:pt x="16916" y="61421"/>
                      </a:cubicBezTo>
                      <a:cubicBezTo>
                        <a:pt x="16916" y="61421"/>
                        <a:pt x="17444" y="61421"/>
                        <a:pt x="17444" y="61421"/>
                      </a:cubicBezTo>
                      <a:cubicBezTo>
                        <a:pt x="17444" y="61421"/>
                        <a:pt x="17973" y="61990"/>
                        <a:pt x="17973" y="61990"/>
                      </a:cubicBezTo>
                      <a:cubicBezTo>
                        <a:pt x="17973" y="61990"/>
                        <a:pt x="17973" y="63127"/>
                        <a:pt x="17973" y="63696"/>
                      </a:cubicBezTo>
                      <a:close/>
                      <a:moveTo>
                        <a:pt x="17973" y="50616"/>
                      </a:moveTo>
                      <a:cubicBezTo>
                        <a:pt x="17973" y="50616"/>
                        <a:pt x="17973" y="50616"/>
                        <a:pt x="17973" y="50616"/>
                      </a:cubicBezTo>
                      <a:cubicBezTo>
                        <a:pt x="17973" y="50616"/>
                        <a:pt x="19030" y="50616"/>
                        <a:pt x="19030" y="50616"/>
                      </a:cubicBezTo>
                      <a:cubicBezTo>
                        <a:pt x="19030" y="50616"/>
                        <a:pt x="19030" y="51184"/>
                        <a:pt x="19030" y="51753"/>
                      </a:cubicBezTo>
                      <a:cubicBezTo>
                        <a:pt x="19559" y="51753"/>
                        <a:pt x="19559" y="52322"/>
                        <a:pt x="19559" y="52322"/>
                      </a:cubicBezTo>
                      <a:cubicBezTo>
                        <a:pt x="20088" y="52322"/>
                        <a:pt x="20088" y="52322"/>
                        <a:pt x="20088" y="52322"/>
                      </a:cubicBezTo>
                      <a:cubicBezTo>
                        <a:pt x="20088" y="52322"/>
                        <a:pt x="20616" y="51753"/>
                        <a:pt x="20616" y="52322"/>
                      </a:cubicBezTo>
                      <a:cubicBezTo>
                        <a:pt x="21145" y="52322"/>
                        <a:pt x="21674" y="51753"/>
                        <a:pt x="21674" y="51753"/>
                      </a:cubicBezTo>
                      <a:cubicBezTo>
                        <a:pt x="21674" y="51753"/>
                        <a:pt x="22202" y="52322"/>
                        <a:pt x="22202" y="52322"/>
                      </a:cubicBezTo>
                      <a:cubicBezTo>
                        <a:pt x="22202" y="52890"/>
                        <a:pt x="21674" y="53459"/>
                        <a:pt x="21674" y="53459"/>
                      </a:cubicBezTo>
                      <a:cubicBezTo>
                        <a:pt x="21145" y="53459"/>
                        <a:pt x="20616" y="52890"/>
                        <a:pt x="20616" y="52890"/>
                      </a:cubicBezTo>
                      <a:cubicBezTo>
                        <a:pt x="20616" y="52890"/>
                        <a:pt x="20088" y="52322"/>
                        <a:pt x="20088" y="52890"/>
                      </a:cubicBezTo>
                      <a:cubicBezTo>
                        <a:pt x="20088" y="52890"/>
                        <a:pt x="20088" y="53459"/>
                        <a:pt x="20088" y="54028"/>
                      </a:cubicBezTo>
                      <a:cubicBezTo>
                        <a:pt x="20616" y="54028"/>
                        <a:pt x="20616" y="54028"/>
                        <a:pt x="20616" y="54597"/>
                      </a:cubicBezTo>
                      <a:cubicBezTo>
                        <a:pt x="20088" y="54597"/>
                        <a:pt x="20088" y="55165"/>
                        <a:pt x="20088" y="55165"/>
                      </a:cubicBezTo>
                      <a:cubicBezTo>
                        <a:pt x="20088" y="55734"/>
                        <a:pt x="20616" y="56303"/>
                        <a:pt x="20616" y="56303"/>
                      </a:cubicBezTo>
                      <a:cubicBezTo>
                        <a:pt x="20616" y="56303"/>
                        <a:pt x="20616" y="56303"/>
                        <a:pt x="20616" y="56872"/>
                      </a:cubicBezTo>
                      <a:cubicBezTo>
                        <a:pt x="20616" y="56872"/>
                        <a:pt x="21145" y="57440"/>
                        <a:pt x="21145" y="57440"/>
                      </a:cubicBezTo>
                      <a:cubicBezTo>
                        <a:pt x="21145" y="58009"/>
                        <a:pt x="21145" y="58578"/>
                        <a:pt x="21145" y="58578"/>
                      </a:cubicBezTo>
                      <a:cubicBezTo>
                        <a:pt x="21674" y="59146"/>
                        <a:pt x="21674" y="59146"/>
                        <a:pt x="21674" y="59146"/>
                      </a:cubicBezTo>
                      <a:cubicBezTo>
                        <a:pt x="21145" y="60284"/>
                        <a:pt x="21145" y="60284"/>
                        <a:pt x="21145" y="60284"/>
                      </a:cubicBezTo>
                      <a:cubicBezTo>
                        <a:pt x="21145" y="60284"/>
                        <a:pt x="21674" y="60853"/>
                        <a:pt x="21674" y="60853"/>
                      </a:cubicBezTo>
                      <a:cubicBezTo>
                        <a:pt x="21674" y="61421"/>
                        <a:pt x="22731" y="61990"/>
                        <a:pt x="22731" y="62559"/>
                      </a:cubicBezTo>
                      <a:cubicBezTo>
                        <a:pt x="22731" y="62559"/>
                        <a:pt x="22731" y="63696"/>
                        <a:pt x="22202" y="63696"/>
                      </a:cubicBezTo>
                      <a:cubicBezTo>
                        <a:pt x="22202" y="63696"/>
                        <a:pt x="21674" y="64265"/>
                        <a:pt x="21674" y="63696"/>
                      </a:cubicBezTo>
                      <a:cubicBezTo>
                        <a:pt x="21145" y="63127"/>
                        <a:pt x="20616" y="61990"/>
                        <a:pt x="20616" y="61990"/>
                      </a:cubicBezTo>
                      <a:cubicBezTo>
                        <a:pt x="20616" y="61990"/>
                        <a:pt x="20616" y="61990"/>
                        <a:pt x="20616" y="61990"/>
                      </a:cubicBezTo>
                      <a:cubicBezTo>
                        <a:pt x="20616" y="62559"/>
                        <a:pt x="20088" y="63127"/>
                        <a:pt x="20088" y="63127"/>
                      </a:cubicBezTo>
                      <a:cubicBezTo>
                        <a:pt x="20088" y="63696"/>
                        <a:pt x="21145" y="64265"/>
                        <a:pt x="21145" y="64265"/>
                      </a:cubicBezTo>
                      <a:cubicBezTo>
                        <a:pt x="21145" y="64265"/>
                        <a:pt x="20616" y="63127"/>
                        <a:pt x="21145" y="64265"/>
                      </a:cubicBezTo>
                      <a:cubicBezTo>
                        <a:pt x="21674" y="65402"/>
                        <a:pt x="22202" y="65971"/>
                        <a:pt x="22202" y="65971"/>
                      </a:cubicBezTo>
                      <a:cubicBezTo>
                        <a:pt x="22202" y="65971"/>
                        <a:pt x="22731" y="66540"/>
                        <a:pt x="23259" y="66540"/>
                      </a:cubicBezTo>
                      <a:cubicBezTo>
                        <a:pt x="23259" y="67109"/>
                        <a:pt x="23259" y="67109"/>
                        <a:pt x="23788" y="67677"/>
                      </a:cubicBezTo>
                      <a:cubicBezTo>
                        <a:pt x="23788" y="67677"/>
                        <a:pt x="24317" y="68246"/>
                        <a:pt x="23788" y="68246"/>
                      </a:cubicBezTo>
                      <a:cubicBezTo>
                        <a:pt x="23259" y="68815"/>
                        <a:pt x="23788" y="68815"/>
                        <a:pt x="23259" y="68815"/>
                      </a:cubicBezTo>
                      <a:cubicBezTo>
                        <a:pt x="23259" y="68246"/>
                        <a:pt x="22731" y="68246"/>
                        <a:pt x="22731" y="67677"/>
                      </a:cubicBezTo>
                      <a:cubicBezTo>
                        <a:pt x="22731" y="67109"/>
                        <a:pt x="22202" y="66540"/>
                        <a:pt x="22202" y="65971"/>
                      </a:cubicBezTo>
                      <a:cubicBezTo>
                        <a:pt x="21674" y="65971"/>
                        <a:pt x="21145" y="65402"/>
                        <a:pt x="21145" y="65402"/>
                      </a:cubicBezTo>
                      <a:cubicBezTo>
                        <a:pt x="20616" y="65402"/>
                        <a:pt x="20616" y="64834"/>
                        <a:pt x="20616" y="64834"/>
                      </a:cubicBezTo>
                      <a:cubicBezTo>
                        <a:pt x="20616" y="64834"/>
                        <a:pt x="20088" y="64834"/>
                        <a:pt x="20088" y="64834"/>
                      </a:cubicBezTo>
                      <a:cubicBezTo>
                        <a:pt x="20088" y="64834"/>
                        <a:pt x="19030" y="64834"/>
                        <a:pt x="19030" y="64834"/>
                      </a:cubicBezTo>
                      <a:cubicBezTo>
                        <a:pt x="19030" y="64265"/>
                        <a:pt x="19030" y="64265"/>
                        <a:pt x="19559" y="63696"/>
                      </a:cubicBezTo>
                      <a:cubicBezTo>
                        <a:pt x="19559" y="63696"/>
                        <a:pt x="20088" y="63696"/>
                        <a:pt x="20088" y="63696"/>
                      </a:cubicBezTo>
                      <a:cubicBezTo>
                        <a:pt x="20088" y="63696"/>
                        <a:pt x="19559" y="63127"/>
                        <a:pt x="19559" y="63127"/>
                      </a:cubicBezTo>
                      <a:cubicBezTo>
                        <a:pt x="19559" y="63127"/>
                        <a:pt x="19559" y="62559"/>
                        <a:pt x="19559" y="62559"/>
                      </a:cubicBezTo>
                      <a:cubicBezTo>
                        <a:pt x="19030" y="62559"/>
                        <a:pt x="19030" y="63127"/>
                        <a:pt x="19030" y="62559"/>
                      </a:cubicBezTo>
                      <a:cubicBezTo>
                        <a:pt x="19030" y="61990"/>
                        <a:pt x="19030" y="61990"/>
                        <a:pt x="19030" y="61421"/>
                      </a:cubicBezTo>
                      <a:cubicBezTo>
                        <a:pt x="19030" y="61421"/>
                        <a:pt x="19030" y="60284"/>
                        <a:pt x="19030" y="60284"/>
                      </a:cubicBezTo>
                      <a:cubicBezTo>
                        <a:pt x="19559" y="60853"/>
                        <a:pt x="19559" y="60853"/>
                        <a:pt x="19559" y="60853"/>
                      </a:cubicBezTo>
                      <a:cubicBezTo>
                        <a:pt x="20088" y="59715"/>
                        <a:pt x="20088" y="59715"/>
                        <a:pt x="20088" y="59715"/>
                      </a:cubicBezTo>
                      <a:cubicBezTo>
                        <a:pt x="20088" y="59715"/>
                        <a:pt x="20088" y="59715"/>
                        <a:pt x="19559" y="59715"/>
                      </a:cubicBezTo>
                      <a:cubicBezTo>
                        <a:pt x="19030" y="59715"/>
                        <a:pt x="19030" y="58578"/>
                        <a:pt x="19030" y="58578"/>
                      </a:cubicBezTo>
                      <a:cubicBezTo>
                        <a:pt x="19030" y="58578"/>
                        <a:pt x="19030" y="58009"/>
                        <a:pt x="19030" y="58009"/>
                      </a:cubicBezTo>
                      <a:cubicBezTo>
                        <a:pt x="19030" y="58009"/>
                        <a:pt x="18502" y="58009"/>
                        <a:pt x="18502" y="57440"/>
                      </a:cubicBezTo>
                      <a:cubicBezTo>
                        <a:pt x="17973" y="56872"/>
                        <a:pt x="17973" y="56303"/>
                        <a:pt x="17973" y="56303"/>
                      </a:cubicBezTo>
                      <a:cubicBezTo>
                        <a:pt x="17973" y="56303"/>
                        <a:pt x="18502" y="56303"/>
                        <a:pt x="17973" y="55734"/>
                      </a:cubicBezTo>
                      <a:cubicBezTo>
                        <a:pt x="17973" y="55165"/>
                        <a:pt x="17973" y="55165"/>
                        <a:pt x="17444" y="55165"/>
                      </a:cubicBezTo>
                      <a:cubicBezTo>
                        <a:pt x="17444" y="54597"/>
                        <a:pt x="17444" y="54028"/>
                        <a:pt x="17973" y="54028"/>
                      </a:cubicBezTo>
                      <a:cubicBezTo>
                        <a:pt x="17973" y="54028"/>
                        <a:pt x="17973" y="54028"/>
                        <a:pt x="18502" y="54028"/>
                      </a:cubicBezTo>
                      <a:cubicBezTo>
                        <a:pt x="18502" y="54597"/>
                        <a:pt x="19030" y="54597"/>
                        <a:pt x="19030" y="54597"/>
                      </a:cubicBezTo>
                      <a:cubicBezTo>
                        <a:pt x="19030" y="54028"/>
                        <a:pt x="19559" y="53459"/>
                        <a:pt x="19030" y="53459"/>
                      </a:cubicBezTo>
                      <a:cubicBezTo>
                        <a:pt x="19030" y="52890"/>
                        <a:pt x="18502" y="52322"/>
                        <a:pt x="18502" y="52322"/>
                      </a:cubicBezTo>
                      <a:cubicBezTo>
                        <a:pt x="17973" y="51753"/>
                        <a:pt x="17973" y="51753"/>
                        <a:pt x="17973" y="51753"/>
                      </a:cubicBezTo>
                      <a:cubicBezTo>
                        <a:pt x="17973" y="51753"/>
                        <a:pt x="17973" y="51753"/>
                        <a:pt x="17973" y="51184"/>
                      </a:cubicBezTo>
                      <a:cubicBezTo>
                        <a:pt x="17973" y="51184"/>
                        <a:pt x="17973" y="50616"/>
                        <a:pt x="17973" y="50616"/>
                      </a:cubicBezTo>
                      <a:close/>
                      <a:moveTo>
                        <a:pt x="17444" y="50616"/>
                      </a:moveTo>
                      <a:cubicBezTo>
                        <a:pt x="17444" y="50616"/>
                        <a:pt x="17444" y="50616"/>
                        <a:pt x="17444" y="50616"/>
                      </a:cubicBezTo>
                      <a:cubicBezTo>
                        <a:pt x="17444" y="50616"/>
                        <a:pt x="16916" y="50047"/>
                        <a:pt x="16916" y="49478"/>
                      </a:cubicBezTo>
                      <a:cubicBezTo>
                        <a:pt x="16916" y="49478"/>
                        <a:pt x="16916" y="49478"/>
                        <a:pt x="16916" y="48909"/>
                      </a:cubicBezTo>
                      <a:cubicBezTo>
                        <a:pt x="16916" y="48341"/>
                        <a:pt x="16387" y="48341"/>
                        <a:pt x="16387" y="47772"/>
                      </a:cubicBezTo>
                      <a:cubicBezTo>
                        <a:pt x="16916" y="47772"/>
                        <a:pt x="16916" y="47203"/>
                        <a:pt x="16916" y="47203"/>
                      </a:cubicBezTo>
                      <a:cubicBezTo>
                        <a:pt x="17444" y="46635"/>
                        <a:pt x="17973" y="46635"/>
                        <a:pt x="17973" y="47203"/>
                      </a:cubicBezTo>
                      <a:cubicBezTo>
                        <a:pt x="17973" y="47203"/>
                        <a:pt x="17973" y="47772"/>
                        <a:pt x="17973" y="48341"/>
                      </a:cubicBezTo>
                      <a:cubicBezTo>
                        <a:pt x="17973" y="48341"/>
                        <a:pt x="17973" y="48909"/>
                        <a:pt x="17973" y="48909"/>
                      </a:cubicBezTo>
                      <a:cubicBezTo>
                        <a:pt x="17973" y="49478"/>
                        <a:pt x="18502" y="49478"/>
                        <a:pt x="18502" y="49478"/>
                      </a:cubicBezTo>
                      <a:cubicBezTo>
                        <a:pt x="18502" y="50047"/>
                        <a:pt x="18502" y="50616"/>
                        <a:pt x="18502" y="50616"/>
                      </a:cubicBezTo>
                      <a:lnTo>
                        <a:pt x="17444" y="50616"/>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8" name="Shape 2023"/>
                <p:cNvSpPr/>
                <p:nvPr/>
              </p:nvSpPr>
              <p:spPr>
                <a:xfrm>
                  <a:off x="5794467" y="3262800"/>
                  <a:ext cx="424380" cy="437886"/>
                </a:xfrm>
                <a:custGeom>
                  <a:avLst/>
                  <a:gdLst/>
                  <a:ahLst/>
                  <a:cxnLst/>
                  <a:rect l="0" t="0" r="0" b="0"/>
                  <a:pathLst>
                    <a:path w="120000" h="120000" extrusionOk="0">
                      <a:moveTo>
                        <a:pt x="7096" y="8484"/>
                      </a:moveTo>
                      <a:cubicBezTo>
                        <a:pt x="7096" y="8484"/>
                        <a:pt x="7096" y="8484"/>
                        <a:pt x="7096" y="8484"/>
                      </a:cubicBezTo>
                      <a:cubicBezTo>
                        <a:pt x="7096" y="8484"/>
                        <a:pt x="7096" y="8484"/>
                        <a:pt x="7096" y="8484"/>
                      </a:cubicBezTo>
                      <a:cubicBezTo>
                        <a:pt x="7741" y="8484"/>
                        <a:pt x="7741" y="8484"/>
                        <a:pt x="8387" y="8484"/>
                      </a:cubicBezTo>
                      <a:cubicBezTo>
                        <a:pt x="9677" y="8484"/>
                        <a:pt x="10322" y="8484"/>
                        <a:pt x="10322" y="8484"/>
                      </a:cubicBezTo>
                      <a:cubicBezTo>
                        <a:pt x="10967" y="6666"/>
                        <a:pt x="10967" y="6666"/>
                        <a:pt x="10967" y="6666"/>
                      </a:cubicBezTo>
                      <a:cubicBezTo>
                        <a:pt x="12258" y="6060"/>
                        <a:pt x="12258" y="6060"/>
                        <a:pt x="12258" y="6060"/>
                      </a:cubicBezTo>
                      <a:cubicBezTo>
                        <a:pt x="12258" y="6060"/>
                        <a:pt x="14193" y="3636"/>
                        <a:pt x="14838" y="3636"/>
                      </a:cubicBezTo>
                      <a:cubicBezTo>
                        <a:pt x="16129" y="3636"/>
                        <a:pt x="14838" y="2424"/>
                        <a:pt x="14838" y="2424"/>
                      </a:cubicBezTo>
                      <a:cubicBezTo>
                        <a:pt x="14838" y="2424"/>
                        <a:pt x="18064" y="1212"/>
                        <a:pt x="19354" y="1212"/>
                      </a:cubicBezTo>
                      <a:cubicBezTo>
                        <a:pt x="19354" y="1212"/>
                        <a:pt x="19354" y="1212"/>
                        <a:pt x="20000" y="1212"/>
                      </a:cubicBezTo>
                      <a:cubicBezTo>
                        <a:pt x="20645" y="1212"/>
                        <a:pt x="20645" y="1818"/>
                        <a:pt x="20645" y="1818"/>
                      </a:cubicBezTo>
                      <a:cubicBezTo>
                        <a:pt x="23225" y="606"/>
                        <a:pt x="23225" y="606"/>
                        <a:pt x="23225" y="606"/>
                      </a:cubicBezTo>
                      <a:cubicBezTo>
                        <a:pt x="23225" y="606"/>
                        <a:pt x="27096" y="0"/>
                        <a:pt x="27741" y="0"/>
                      </a:cubicBezTo>
                      <a:cubicBezTo>
                        <a:pt x="28387" y="0"/>
                        <a:pt x="29677" y="606"/>
                        <a:pt x="29677" y="606"/>
                      </a:cubicBezTo>
                      <a:cubicBezTo>
                        <a:pt x="30967" y="606"/>
                        <a:pt x="30967" y="606"/>
                        <a:pt x="30967" y="606"/>
                      </a:cubicBezTo>
                      <a:cubicBezTo>
                        <a:pt x="30967" y="606"/>
                        <a:pt x="31612" y="1212"/>
                        <a:pt x="32258" y="1212"/>
                      </a:cubicBezTo>
                      <a:cubicBezTo>
                        <a:pt x="33548" y="1818"/>
                        <a:pt x="34193" y="3636"/>
                        <a:pt x="34838" y="3636"/>
                      </a:cubicBezTo>
                      <a:cubicBezTo>
                        <a:pt x="36129" y="4242"/>
                        <a:pt x="37419" y="4242"/>
                        <a:pt x="38064" y="4242"/>
                      </a:cubicBezTo>
                      <a:cubicBezTo>
                        <a:pt x="38709" y="4848"/>
                        <a:pt x="40000" y="5454"/>
                        <a:pt x="40000" y="5454"/>
                      </a:cubicBezTo>
                      <a:cubicBezTo>
                        <a:pt x="40000" y="5454"/>
                        <a:pt x="43225" y="8484"/>
                        <a:pt x="43870" y="8484"/>
                      </a:cubicBezTo>
                      <a:cubicBezTo>
                        <a:pt x="44516" y="8484"/>
                        <a:pt x="44516" y="8484"/>
                        <a:pt x="45161" y="9696"/>
                      </a:cubicBezTo>
                      <a:cubicBezTo>
                        <a:pt x="45806" y="10303"/>
                        <a:pt x="47741" y="9696"/>
                        <a:pt x="47741" y="9696"/>
                      </a:cubicBezTo>
                      <a:cubicBezTo>
                        <a:pt x="47741" y="9696"/>
                        <a:pt x="48387" y="11515"/>
                        <a:pt x="47741" y="12121"/>
                      </a:cubicBezTo>
                      <a:cubicBezTo>
                        <a:pt x="47741" y="12727"/>
                        <a:pt x="47741" y="14545"/>
                        <a:pt x="47741" y="14545"/>
                      </a:cubicBezTo>
                      <a:cubicBezTo>
                        <a:pt x="47741" y="14545"/>
                        <a:pt x="47741" y="15151"/>
                        <a:pt x="47741" y="15757"/>
                      </a:cubicBezTo>
                      <a:cubicBezTo>
                        <a:pt x="48387" y="16969"/>
                        <a:pt x="49032" y="16969"/>
                        <a:pt x="49032" y="18181"/>
                      </a:cubicBezTo>
                      <a:cubicBezTo>
                        <a:pt x="49677" y="18787"/>
                        <a:pt x="49032" y="18787"/>
                        <a:pt x="49677" y="19393"/>
                      </a:cubicBezTo>
                      <a:cubicBezTo>
                        <a:pt x="50322" y="20000"/>
                        <a:pt x="50967" y="21212"/>
                        <a:pt x="51612" y="21212"/>
                      </a:cubicBezTo>
                      <a:cubicBezTo>
                        <a:pt x="52258" y="21212"/>
                        <a:pt x="52903" y="21212"/>
                        <a:pt x="54838" y="21818"/>
                      </a:cubicBezTo>
                      <a:cubicBezTo>
                        <a:pt x="56774" y="23030"/>
                        <a:pt x="57419" y="23030"/>
                        <a:pt x="58064" y="23636"/>
                      </a:cubicBezTo>
                      <a:cubicBezTo>
                        <a:pt x="59354" y="24242"/>
                        <a:pt x="58709" y="23636"/>
                        <a:pt x="60645" y="24242"/>
                      </a:cubicBezTo>
                      <a:cubicBezTo>
                        <a:pt x="63225" y="24848"/>
                        <a:pt x="62580" y="24242"/>
                        <a:pt x="63225" y="24848"/>
                      </a:cubicBezTo>
                      <a:cubicBezTo>
                        <a:pt x="63870" y="24848"/>
                        <a:pt x="63225" y="24242"/>
                        <a:pt x="64516" y="24848"/>
                      </a:cubicBezTo>
                      <a:cubicBezTo>
                        <a:pt x="66451" y="24848"/>
                        <a:pt x="67741" y="25454"/>
                        <a:pt x="67741" y="25454"/>
                      </a:cubicBezTo>
                      <a:cubicBezTo>
                        <a:pt x="67741" y="26666"/>
                        <a:pt x="67741" y="26666"/>
                        <a:pt x="67741" y="26666"/>
                      </a:cubicBezTo>
                      <a:cubicBezTo>
                        <a:pt x="66451" y="29090"/>
                        <a:pt x="66451" y="29090"/>
                        <a:pt x="66451" y="29090"/>
                      </a:cubicBezTo>
                      <a:cubicBezTo>
                        <a:pt x="66451" y="30909"/>
                        <a:pt x="66451" y="30909"/>
                        <a:pt x="66451" y="30909"/>
                      </a:cubicBezTo>
                      <a:cubicBezTo>
                        <a:pt x="66451" y="30909"/>
                        <a:pt x="65161" y="30909"/>
                        <a:pt x="66451" y="31515"/>
                      </a:cubicBezTo>
                      <a:cubicBezTo>
                        <a:pt x="67741" y="32121"/>
                        <a:pt x="70322" y="32727"/>
                        <a:pt x="70322" y="32727"/>
                      </a:cubicBezTo>
                      <a:cubicBezTo>
                        <a:pt x="72258" y="33939"/>
                        <a:pt x="72258" y="33939"/>
                        <a:pt x="72258" y="33939"/>
                      </a:cubicBezTo>
                      <a:cubicBezTo>
                        <a:pt x="72258" y="33939"/>
                        <a:pt x="70967" y="35757"/>
                        <a:pt x="70322" y="36363"/>
                      </a:cubicBezTo>
                      <a:cubicBezTo>
                        <a:pt x="69677" y="36363"/>
                        <a:pt x="67741" y="36363"/>
                        <a:pt x="67741" y="36363"/>
                      </a:cubicBezTo>
                      <a:cubicBezTo>
                        <a:pt x="67741" y="36363"/>
                        <a:pt x="67096" y="38181"/>
                        <a:pt x="68387" y="38181"/>
                      </a:cubicBezTo>
                      <a:cubicBezTo>
                        <a:pt x="69032" y="38787"/>
                        <a:pt x="70322" y="38787"/>
                        <a:pt x="70967" y="38787"/>
                      </a:cubicBezTo>
                      <a:cubicBezTo>
                        <a:pt x="71612" y="38787"/>
                        <a:pt x="72903" y="39393"/>
                        <a:pt x="72903" y="39393"/>
                      </a:cubicBezTo>
                      <a:cubicBezTo>
                        <a:pt x="72903" y="39393"/>
                        <a:pt x="73548" y="39393"/>
                        <a:pt x="74193" y="40000"/>
                      </a:cubicBezTo>
                      <a:cubicBezTo>
                        <a:pt x="74193" y="41212"/>
                        <a:pt x="74838" y="41818"/>
                        <a:pt x="75483" y="41818"/>
                      </a:cubicBezTo>
                      <a:cubicBezTo>
                        <a:pt x="76129" y="41818"/>
                        <a:pt x="77419" y="41818"/>
                        <a:pt x="78064" y="41818"/>
                      </a:cubicBezTo>
                      <a:cubicBezTo>
                        <a:pt x="78709" y="41818"/>
                        <a:pt x="78709" y="41212"/>
                        <a:pt x="79354" y="41212"/>
                      </a:cubicBezTo>
                      <a:cubicBezTo>
                        <a:pt x="80000" y="41818"/>
                        <a:pt x="83870" y="41212"/>
                        <a:pt x="83870" y="41212"/>
                      </a:cubicBezTo>
                      <a:cubicBezTo>
                        <a:pt x="83870" y="41212"/>
                        <a:pt x="83870" y="41212"/>
                        <a:pt x="84516" y="42424"/>
                      </a:cubicBezTo>
                      <a:cubicBezTo>
                        <a:pt x="85806" y="44242"/>
                        <a:pt x="87741" y="44848"/>
                        <a:pt x="87741" y="44848"/>
                      </a:cubicBezTo>
                      <a:cubicBezTo>
                        <a:pt x="87741" y="44848"/>
                        <a:pt x="88387" y="45454"/>
                        <a:pt x="88387" y="44848"/>
                      </a:cubicBezTo>
                      <a:cubicBezTo>
                        <a:pt x="88387" y="44242"/>
                        <a:pt x="89032" y="43636"/>
                        <a:pt x="89032" y="43636"/>
                      </a:cubicBezTo>
                      <a:cubicBezTo>
                        <a:pt x="89032" y="43636"/>
                        <a:pt x="90322" y="41818"/>
                        <a:pt x="90322" y="41212"/>
                      </a:cubicBezTo>
                      <a:cubicBezTo>
                        <a:pt x="90967" y="40606"/>
                        <a:pt x="91612" y="38787"/>
                        <a:pt x="92258" y="38787"/>
                      </a:cubicBezTo>
                      <a:cubicBezTo>
                        <a:pt x="92903" y="38181"/>
                        <a:pt x="94838" y="36969"/>
                        <a:pt x="94838" y="36969"/>
                      </a:cubicBezTo>
                      <a:cubicBezTo>
                        <a:pt x="94838" y="36969"/>
                        <a:pt x="94838" y="36363"/>
                        <a:pt x="96129" y="36969"/>
                      </a:cubicBezTo>
                      <a:cubicBezTo>
                        <a:pt x="96774" y="38181"/>
                        <a:pt x="98709" y="39393"/>
                        <a:pt x="98709" y="39393"/>
                      </a:cubicBezTo>
                      <a:cubicBezTo>
                        <a:pt x="101935" y="39393"/>
                        <a:pt x="101935" y="39393"/>
                        <a:pt x="101935" y="39393"/>
                      </a:cubicBezTo>
                      <a:cubicBezTo>
                        <a:pt x="101935" y="39393"/>
                        <a:pt x="103870" y="40000"/>
                        <a:pt x="103870" y="40606"/>
                      </a:cubicBezTo>
                      <a:cubicBezTo>
                        <a:pt x="103870" y="41212"/>
                        <a:pt x="103225" y="41212"/>
                        <a:pt x="101935" y="41818"/>
                      </a:cubicBezTo>
                      <a:cubicBezTo>
                        <a:pt x="101290" y="41818"/>
                        <a:pt x="99354" y="40000"/>
                        <a:pt x="99354" y="40606"/>
                      </a:cubicBezTo>
                      <a:cubicBezTo>
                        <a:pt x="98709" y="41212"/>
                        <a:pt x="98709" y="42424"/>
                        <a:pt x="98709" y="42424"/>
                      </a:cubicBezTo>
                      <a:cubicBezTo>
                        <a:pt x="96129" y="43636"/>
                        <a:pt x="96129" y="43636"/>
                        <a:pt x="96129" y="43636"/>
                      </a:cubicBezTo>
                      <a:cubicBezTo>
                        <a:pt x="96774" y="44848"/>
                        <a:pt x="96774" y="44848"/>
                        <a:pt x="96774" y="44848"/>
                      </a:cubicBezTo>
                      <a:cubicBezTo>
                        <a:pt x="96774" y="44848"/>
                        <a:pt x="100000" y="46060"/>
                        <a:pt x="100000" y="46666"/>
                      </a:cubicBezTo>
                      <a:cubicBezTo>
                        <a:pt x="100000" y="47272"/>
                        <a:pt x="100000" y="48484"/>
                        <a:pt x="100000" y="48484"/>
                      </a:cubicBezTo>
                      <a:cubicBezTo>
                        <a:pt x="101935" y="49090"/>
                        <a:pt x="101935" y="49090"/>
                        <a:pt x="101935" y="49090"/>
                      </a:cubicBezTo>
                      <a:cubicBezTo>
                        <a:pt x="103225" y="48484"/>
                        <a:pt x="103225" y="48484"/>
                        <a:pt x="103225" y="48484"/>
                      </a:cubicBezTo>
                      <a:cubicBezTo>
                        <a:pt x="103225" y="50909"/>
                        <a:pt x="103225" y="50909"/>
                        <a:pt x="103225" y="50909"/>
                      </a:cubicBezTo>
                      <a:cubicBezTo>
                        <a:pt x="103225" y="53333"/>
                        <a:pt x="103225" y="53333"/>
                        <a:pt x="103225" y="53333"/>
                      </a:cubicBezTo>
                      <a:cubicBezTo>
                        <a:pt x="103225" y="55151"/>
                        <a:pt x="103225" y="55151"/>
                        <a:pt x="103225" y="55151"/>
                      </a:cubicBezTo>
                      <a:cubicBezTo>
                        <a:pt x="103225" y="55151"/>
                        <a:pt x="103870" y="56969"/>
                        <a:pt x="103225" y="56969"/>
                      </a:cubicBezTo>
                      <a:cubicBezTo>
                        <a:pt x="102580" y="56969"/>
                        <a:pt x="100645" y="58181"/>
                        <a:pt x="100645" y="58181"/>
                      </a:cubicBezTo>
                      <a:cubicBezTo>
                        <a:pt x="99354" y="59999"/>
                        <a:pt x="99354" y="59999"/>
                        <a:pt x="99354" y="59999"/>
                      </a:cubicBezTo>
                      <a:cubicBezTo>
                        <a:pt x="99354" y="59999"/>
                        <a:pt x="99354" y="62424"/>
                        <a:pt x="99354" y="63030"/>
                      </a:cubicBezTo>
                      <a:cubicBezTo>
                        <a:pt x="100000" y="64242"/>
                        <a:pt x="99354" y="66060"/>
                        <a:pt x="99354" y="66060"/>
                      </a:cubicBezTo>
                      <a:cubicBezTo>
                        <a:pt x="99354" y="66060"/>
                        <a:pt x="99354" y="67272"/>
                        <a:pt x="100000" y="67878"/>
                      </a:cubicBezTo>
                      <a:cubicBezTo>
                        <a:pt x="100645" y="68484"/>
                        <a:pt x="101290" y="69696"/>
                        <a:pt x="101290" y="69696"/>
                      </a:cubicBezTo>
                      <a:cubicBezTo>
                        <a:pt x="101290" y="69696"/>
                        <a:pt x="101935" y="70303"/>
                        <a:pt x="102580" y="71515"/>
                      </a:cubicBezTo>
                      <a:cubicBezTo>
                        <a:pt x="103225" y="72727"/>
                        <a:pt x="105806" y="75757"/>
                        <a:pt x="105806" y="75757"/>
                      </a:cubicBezTo>
                      <a:cubicBezTo>
                        <a:pt x="105806" y="75757"/>
                        <a:pt x="107741" y="76363"/>
                        <a:pt x="108387" y="76363"/>
                      </a:cubicBezTo>
                      <a:cubicBezTo>
                        <a:pt x="108387" y="76363"/>
                        <a:pt x="110967" y="77575"/>
                        <a:pt x="110967" y="77575"/>
                      </a:cubicBezTo>
                      <a:cubicBezTo>
                        <a:pt x="110967" y="77575"/>
                        <a:pt x="112258" y="77575"/>
                        <a:pt x="112258" y="78181"/>
                      </a:cubicBezTo>
                      <a:cubicBezTo>
                        <a:pt x="112258" y="78181"/>
                        <a:pt x="114838" y="81818"/>
                        <a:pt x="114838" y="81818"/>
                      </a:cubicBezTo>
                      <a:cubicBezTo>
                        <a:pt x="117419" y="82424"/>
                        <a:pt x="117419" y="82424"/>
                        <a:pt x="117419" y="82424"/>
                      </a:cubicBezTo>
                      <a:cubicBezTo>
                        <a:pt x="120000" y="82424"/>
                        <a:pt x="120000" y="82424"/>
                        <a:pt x="120000" y="82424"/>
                      </a:cubicBezTo>
                      <a:cubicBezTo>
                        <a:pt x="120000" y="82424"/>
                        <a:pt x="119354" y="85454"/>
                        <a:pt x="118709" y="86060"/>
                      </a:cubicBezTo>
                      <a:cubicBezTo>
                        <a:pt x="118064" y="86666"/>
                        <a:pt x="116129" y="89090"/>
                        <a:pt x="116129" y="89090"/>
                      </a:cubicBezTo>
                      <a:cubicBezTo>
                        <a:pt x="116129" y="89090"/>
                        <a:pt x="114838" y="90303"/>
                        <a:pt x="114838" y="91515"/>
                      </a:cubicBezTo>
                      <a:cubicBezTo>
                        <a:pt x="115483" y="92121"/>
                        <a:pt x="115483" y="93939"/>
                        <a:pt x="115483" y="93939"/>
                      </a:cubicBezTo>
                      <a:cubicBezTo>
                        <a:pt x="115483" y="93939"/>
                        <a:pt x="114193" y="95151"/>
                        <a:pt x="113548" y="95151"/>
                      </a:cubicBezTo>
                      <a:cubicBezTo>
                        <a:pt x="112903" y="95151"/>
                        <a:pt x="111612" y="95151"/>
                        <a:pt x="110967" y="95757"/>
                      </a:cubicBezTo>
                      <a:cubicBezTo>
                        <a:pt x="110322" y="95757"/>
                        <a:pt x="109677" y="96363"/>
                        <a:pt x="109677" y="96363"/>
                      </a:cubicBezTo>
                      <a:cubicBezTo>
                        <a:pt x="109032" y="96969"/>
                        <a:pt x="107741" y="98181"/>
                        <a:pt x="107741" y="98181"/>
                      </a:cubicBezTo>
                      <a:cubicBezTo>
                        <a:pt x="109032" y="99999"/>
                        <a:pt x="109032" y="99999"/>
                        <a:pt x="109032" y="99999"/>
                      </a:cubicBezTo>
                      <a:cubicBezTo>
                        <a:pt x="109677" y="103030"/>
                        <a:pt x="109677" y="103030"/>
                        <a:pt x="109677" y="103030"/>
                      </a:cubicBezTo>
                      <a:cubicBezTo>
                        <a:pt x="109677" y="106060"/>
                        <a:pt x="109677" y="106060"/>
                        <a:pt x="109677" y="106060"/>
                      </a:cubicBezTo>
                      <a:cubicBezTo>
                        <a:pt x="109677" y="106060"/>
                        <a:pt x="111612" y="106666"/>
                        <a:pt x="111612" y="107272"/>
                      </a:cubicBezTo>
                      <a:cubicBezTo>
                        <a:pt x="112258" y="107272"/>
                        <a:pt x="112903" y="109090"/>
                        <a:pt x="112903" y="109090"/>
                      </a:cubicBezTo>
                      <a:cubicBezTo>
                        <a:pt x="112258" y="110303"/>
                        <a:pt x="112258" y="110303"/>
                        <a:pt x="112258" y="110303"/>
                      </a:cubicBezTo>
                      <a:cubicBezTo>
                        <a:pt x="111612" y="112121"/>
                        <a:pt x="111612" y="112121"/>
                        <a:pt x="111612" y="112121"/>
                      </a:cubicBezTo>
                      <a:cubicBezTo>
                        <a:pt x="111612" y="112121"/>
                        <a:pt x="110967" y="113333"/>
                        <a:pt x="110322" y="113939"/>
                      </a:cubicBezTo>
                      <a:cubicBezTo>
                        <a:pt x="109032" y="113939"/>
                        <a:pt x="107096" y="113939"/>
                        <a:pt x="107096" y="113939"/>
                      </a:cubicBezTo>
                      <a:cubicBezTo>
                        <a:pt x="107096" y="113939"/>
                        <a:pt x="107096" y="113333"/>
                        <a:pt x="105806" y="113939"/>
                      </a:cubicBezTo>
                      <a:cubicBezTo>
                        <a:pt x="104516" y="113939"/>
                        <a:pt x="103225" y="115151"/>
                        <a:pt x="103225" y="115151"/>
                      </a:cubicBezTo>
                      <a:cubicBezTo>
                        <a:pt x="103225" y="115151"/>
                        <a:pt x="103225" y="115151"/>
                        <a:pt x="102580" y="115757"/>
                      </a:cubicBezTo>
                      <a:cubicBezTo>
                        <a:pt x="101290" y="115757"/>
                        <a:pt x="100645" y="115757"/>
                        <a:pt x="100000" y="115757"/>
                      </a:cubicBezTo>
                      <a:cubicBezTo>
                        <a:pt x="99354" y="115757"/>
                        <a:pt x="98064" y="115151"/>
                        <a:pt x="98064" y="115151"/>
                      </a:cubicBezTo>
                      <a:cubicBezTo>
                        <a:pt x="96774" y="116969"/>
                        <a:pt x="96774" y="116969"/>
                        <a:pt x="96774" y="116969"/>
                      </a:cubicBezTo>
                      <a:cubicBezTo>
                        <a:pt x="96774" y="116969"/>
                        <a:pt x="95483" y="117575"/>
                        <a:pt x="94838" y="117575"/>
                      </a:cubicBezTo>
                      <a:cubicBezTo>
                        <a:pt x="94838" y="117575"/>
                        <a:pt x="92903" y="119999"/>
                        <a:pt x="92903" y="119999"/>
                      </a:cubicBezTo>
                      <a:cubicBezTo>
                        <a:pt x="92903" y="119999"/>
                        <a:pt x="92903" y="119999"/>
                        <a:pt x="92258" y="119999"/>
                      </a:cubicBezTo>
                      <a:cubicBezTo>
                        <a:pt x="90967" y="119999"/>
                        <a:pt x="89677" y="119393"/>
                        <a:pt x="89677" y="119393"/>
                      </a:cubicBezTo>
                      <a:cubicBezTo>
                        <a:pt x="87741" y="117575"/>
                        <a:pt x="87741" y="117575"/>
                        <a:pt x="87741" y="117575"/>
                      </a:cubicBezTo>
                      <a:cubicBezTo>
                        <a:pt x="87741" y="117575"/>
                        <a:pt x="88387" y="117575"/>
                        <a:pt x="89677" y="116363"/>
                      </a:cubicBezTo>
                      <a:cubicBezTo>
                        <a:pt x="90322" y="115757"/>
                        <a:pt x="90322" y="115757"/>
                        <a:pt x="90322" y="115151"/>
                      </a:cubicBezTo>
                      <a:cubicBezTo>
                        <a:pt x="89677" y="113939"/>
                        <a:pt x="89032" y="112727"/>
                        <a:pt x="89677" y="112727"/>
                      </a:cubicBezTo>
                      <a:cubicBezTo>
                        <a:pt x="90322" y="112121"/>
                        <a:pt x="90967" y="112727"/>
                        <a:pt x="91612" y="111515"/>
                      </a:cubicBezTo>
                      <a:cubicBezTo>
                        <a:pt x="91612" y="110909"/>
                        <a:pt x="91612" y="110303"/>
                        <a:pt x="91612" y="109090"/>
                      </a:cubicBezTo>
                      <a:cubicBezTo>
                        <a:pt x="91612" y="108484"/>
                        <a:pt x="91612" y="107272"/>
                        <a:pt x="92258" y="107272"/>
                      </a:cubicBezTo>
                      <a:cubicBezTo>
                        <a:pt x="92903" y="106666"/>
                        <a:pt x="92903" y="106060"/>
                        <a:pt x="92903" y="106060"/>
                      </a:cubicBezTo>
                      <a:cubicBezTo>
                        <a:pt x="89677" y="105454"/>
                        <a:pt x="89677" y="105454"/>
                        <a:pt x="89677" y="105454"/>
                      </a:cubicBezTo>
                      <a:cubicBezTo>
                        <a:pt x="87741" y="106060"/>
                        <a:pt x="87741" y="106060"/>
                        <a:pt x="87741" y="106060"/>
                      </a:cubicBezTo>
                      <a:cubicBezTo>
                        <a:pt x="87741" y="106060"/>
                        <a:pt x="87741" y="104848"/>
                        <a:pt x="86451" y="104848"/>
                      </a:cubicBezTo>
                      <a:cubicBezTo>
                        <a:pt x="85161" y="104242"/>
                        <a:pt x="82580" y="104242"/>
                        <a:pt x="82580" y="104242"/>
                      </a:cubicBezTo>
                      <a:cubicBezTo>
                        <a:pt x="81935" y="101818"/>
                        <a:pt x="81935" y="101818"/>
                        <a:pt x="81935" y="101818"/>
                      </a:cubicBezTo>
                      <a:cubicBezTo>
                        <a:pt x="76774" y="100606"/>
                        <a:pt x="76774" y="100606"/>
                        <a:pt x="76774" y="100606"/>
                      </a:cubicBezTo>
                      <a:cubicBezTo>
                        <a:pt x="76774" y="100606"/>
                        <a:pt x="76129" y="98181"/>
                        <a:pt x="75483" y="97575"/>
                      </a:cubicBezTo>
                      <a:cubicBezTo>
                        <a:pt x="74838" y="96969"/>
                        <a:pt x="74838" y="96969"/>
                        <a:pt x="74838" y="96969"/>
                      </a:cubicBezTo>
                      <a:cubicBezTo>
                        <a:pt x="71612" y="94545"/>
                        <a:pt x="71612" y="94545"/>
                        <a:pt x="71612" y="94545"/>
                      </a:cubicBezTo>
                      <a:cubicBezTo>
                        <a:pt x="69677" y="94545"/>
                        <a:pt x="69677" y="94545"/>
                        <a:pt x="69677" y="94545"/>
                      </a:cubicBezTo>
                      <a:cubicBezTo>
                        <a:pt x="69677" y="94545"/>
                        <a:pt x="69032" y="94545"/>
                        <a:pt x="67741" y="93939"/>
                      </a:cubicBezTo>
                      <a:cubicBezTo>
                        <a:pt x="65806" y="93333"/>
                        <a:pt x="65161" y="91515"/>
                        <a:pt x="65161" y="91515"/>
                      </a:cubicBezTo>
                      <a:cubicBezTo>
                        <a:pt x="65161" y="91515"/>
                        <a:pt x="65161" y="90303"/>
                        <a:pt x="63870" y="90909"/>
                      </a:cubicBezTo>
                      <a:cubicBezTo>
                        <a:pt x="62580" y="92121"/>
                        <a:pt x="61290" y="92121"/>
                        <a:pt x="60645" y="92727"/>
                      </a:cubicBezTo>
                      <a:cubicBezTo>
                        <a:pt x="60645" y="92727"/>
                        <a:pt x="60000" y="92727"/>
                        <a:pt x="59354" y="93333"/>
                      </a:cubicBezTo>
                      <a:cubicBezTo>
                        <a:pt x="59354" y="93939"/>
                        <a:pt x="58709" y="93939"/>
                        <a:pt x="60000" y="95151"/>
                      </a:cubicBezTo>
                      <a:cubicBezTo>
                        <a:pt x="60645" y="95757"/>
                        <a:pt x="61290" y="96363"/>
                        <a:pt x="61290" y="96363"/>
                      </a:cubicBezTo>
                      <a:cubicBezTo>
                        <a:pt x="60645" y="99393"/>
                        <a:pt x="60645" y="99393"/>
                        <a:pt x="60645" y="99393"/>
                      </a:cubicBezTo>
                      <a:cubicBezTo>
                        <a:pt x="56774" y="103030"/>
                        <a:pt x="56774" y="103030"/>
                        <a:pt x="56774" y="103030"/>
                      </a:cubicBezTo>
                      <a:cubicBezTo>
                        <a:pt x="57419" y="104848"/>
                        <a:pt x="57419" y="104848"/>
                        <a:pt x="57419" y="104848"/>
                      </a:cubicBezTo>
                      <a:cubicBezTo>
                        <a:pt x="57419" y="104848"/>
                        <a:pt x="58709" y="104848"/>
                        <a:pt x="56774" y="105454"/>
                      </a:cubicBezTo>
                      <a:cubicBezTo>
                        <a:pt x="55483" y="106060"/>
                        <a:pt x="55483" y="106666"/>
                        <a:pt x="54838" y="106666"/>
                      </a:cubicBezTo>
                      <a:cubicBezTo>
                        <a:pt x="54838" y="106060"/>
                        <a:pt x="54193" y="105454"/>
                        <a:pt x="52903" y="104848"/>
                      </a:cubicBezTo>
                      <a:cubicBezTo>
                        <a:pt x="52258" y="104242"/>
                        <a:pt x="52258" y="104242"/>
                        <a:pt x="52258" y="104242"/>
                      </a:cubicBezTo>
                      <a:cubicBezTo>
                        <a:pt x="52258" y="104242"/>
                        <a:pt x="52258" y="104242"/>
                        <a:pt x="51612" y="103636"/>
                      </a:cubicBezTo>
                      <a:cubicBezTo>
                        <a:pt x="51612" y="103636"/>
                        <a:pt x="51612" y="103636"/>
                        <a:pt x="51612" y="103636"/>
                      </a:cubicBezTo>
                      <a:cubicBezTo>
                        <a:pt x="51612" y="103636"/>
                        <a:pt x="51612" y="103030"/>
                        <a:pt x="50322" y="103030"/>
                      </a:cubicBezTo>
                      <a:cubicBezTo>
                        <a:pt x="49677" y="103030"/>
                        <a:pt x="48387" y="101818"/>
                        <a:pt x="48387" y="101818"/>
                      </a:cubicBezTo>
                      <a:cubicBezTo>
                        <a:pt x="46451" y="101818"/>
                        <a:pt x="46451" y="101818"/>
                        <a:pt x="46451" y="101818"/>
                      </a:cubicBezTo>
                      <a:cubicBezTo>
                        <a:pt x="46451" y="101818"/>
                        <a:pt x="44516" y="99999"/>
                        <a:pt x="44516" y="99999"/>
                      </a:cubicBezTo>
                      <a:cubicBezTo>
                        <a:pt x="43870" y="99999"/>
                        <a:pt x="41935" y="99393"/>
                        <a:pt x="41935" y="99393"/>
                      </a:cubicBezTo>
                      <a:cubicBezTo>
                        <a:pt x="41935" y="98181"/>
                        <a:pt x="41935" y="98181"/>
                        <a:pt x="41935" y="98181"/>
                      </a:cubicBezTo>
                      <a:cubicBezTo>
                        <a:pt x="41935" y="98181"/>
                        <a:pt x="41290" y="98181"/>
                        <a:pt x="41290" y="98181"/>
                      </a:cubicBezTo>
                      <a:cubicBezTo>
                        <a:pt x="40645" y="98181"/>
                        <a:pt x="40000" y="98787"/>
                        <a:pt x="40000" y="98787"/>
                      </a:cubicBezTo>
                      <a:cubicBezTo>
                        <a:pt x="38064" y="99393"/>
                        <a:pt x="38064" y="99393"/>
                        <a:pt x="38064" y="99393"/>
                      </a:cubicBezTo>
                      <a:cubicBezTo>
                        <a:pt x="38064" y="99393"/>
                        <a:pt x="36774" y="99393"/>
                        <a:pt x="36774" y="99393"/>
                      </a:cubicBezTo>
                      <a:cubicBezTo>
                        <a:pt x="36129" y="98787"/>
                        <a:pt x="35483" y="97575"/>
                        <a:pt x="35483" y="97575"/>
                      </a:cubicBezTo>
                      <a:cubicBezTo>
                        <a:pt x="35483" y="97575"/>
                        <a:pt x="35483" y="97575"/>
                        <a:pt x="34838" y="97575"/>
                      </a:cubicBezTo>
                      <a:cubicBezTo>
                        <a:pt x="34193" y="98181"/>
                        <a:pt x="35483" y="98787"/>
                        <a:pt x="34193" y="98181"/>
                      </a:cubicBezTo>
                      <a:cubicBezTo>
                        <a:pt x="32258" y="97575"/>
                        <a:pt x="32258" y="97575"/>
                        <a:pt x="32258" y="97575"/>
                      </a:cubicBezTo>
                      <a:cubicBezTo>
                        <a:pt x="30967" y="96363"/>
                        <a:pt x="30967" y="96363"/>
                        <a:pt x="30967" y="96363"/>
                      </a:cubicBezTo>
                      <a:cubicBezTo>
                        <a:pt x="30322" y="96363"/>
                        <a:pt x="30322" y="96363"/>
                        <a:pt x="30322" y="96363"/>
                      </a:cubicBezTo>
                      <a:cubicBezTo>
                        <a:pt x="29677" y="96363"/>
                        <a:pt x="29677" y="96363"/>
                        <a:pt x="29677" y="96363"/>
                      </a:cubicBezTo>
                      <a:cubicBezTo>
                        <a:pt x="29677" y="96363"/>
                        <a:pt x="29032" y="95151"/>
                        <a:pt x="29032" y="95151"/>
                      </a:cubicBezTo>
                      <a:cubicBezTo>
                        <a:pt x="29032" y="95151"/>
                        <a:pt x="29032" y="93939"/>
                        <a:pt x="29032" y="93939"/>
                      </a:cubicBezTo>
                      <a:cubicBezTo>
                        <a:pt x="28387" y="93939"/>
                        <a:pt x="26451" y="93333"/>
                        <a:pt x="26451" y="93333"/>
                      </a:cubicBezTo>
                      <a:cubicBezTo>
                        <a:pt x="25806" y="92121"/>
                        <a:pt x="25806" y="92121"/>
                        <a:pt x="25806" y="92121"/>
                      </a:cubicBezTo>
                      <a:cubicBezTo>
                        <a:pt x="25806" y="92121"/>
                        <a:pt x="25806" y="92121"/>
                        <a:pt x="25806" y="92121"/>
                      </a:cubicBezTo>
                      <a:cubicBezTo>
                        <a:pt x="25161" y="92121"/>
                        <a:pt x="23870" y="91515"/>
                        <a:pt x="23870" y="91515"/>
                      </a:cubicBezTo>
                      <a:cubicBezTo>
                        <a:pt x="23225" y="90909"/>
                        <a:pt x="23225" y="90909"/>
                        <a:pt x="23225" y="90909"/>
                      </a:cubicBezTo>
                      <a:cubicBezTo>
                        <a:pt x="21290" y="90909"/>
                        <a:pt x="21290" y="90909"/>
                        <a:pt x="21290" y="90909"/>
                      </a:cubicBezTo>
                      <a:cubicBezTo>
                        <a:pt x="20645" y="89696"/>
                        <a:pt x="20645" y="89696"/>
                        <a:pt x="20645" y="89696"/>
                      </a:cubicBezTo>
                      <a:cubicBezTo>
                        <a:pt x="20645" y="89696"/>
                        <a:pt x="20000" y="89090"/>
                        <a:pt x="20000" y="89090"/>
                      </a:cubicBezTo>
                      <a:cubicBezTo>
                        <a:pt x="20645" y="89090"/>
                        <a:pt x="20645" y="87878"/>
                        <a:pt x="20645" y="87878"/>
                      </a:cubicBezTo>
                      <a:cubicBezTo>
                        <a:pt x="20000" y="87878"/>
                        <a:pt x="20000" y="87878"/>
                        <a:pt x="20000" y="87878"/>
                      </a:cubicBezTo>
                      <a:cubicBezTo>
                        <a:pt x="20645" y="87272"/>
                        <a:pt x="21935" y="87272"/>
                        <a:pt x="21935" y="87272"/>
                      </a:cubicBezTo>
                      <a:cubicBezTo>
                        <a:pt x="23225" y="85454"/>
                        <a:pt x="23225" y="85454"/>
                        <a:pt x="23225" y="85454"/>
                      </a:cubicBezTo>
                      <a:cubicBezTo>
                        <a:pt x="23225" y="85454"/>
                        <a:pt x="23225" y="85454"/>
                        <a:pt x="23870" y="85454"/>
                      </a:cubicBezTo>
                      <a:cubicBezTo>
                        <a:pt x="25161" y="86060"/>
                        <a:pt x="25806" y="86060"/>
                        <a:pt x="26451" y="86060"/>
                      </a:cubicBezTo>
                      <a:cubicBezTo>
                        <a:pt x="27096" y="86060"/>
                        <a:pt x="27741" y="87272"/>
                        <a:pt x="27741" y="84848"/>
                      </a:cubicBezTo>
                      <a:cubicBezTo>
                        <a:pt x="27741" y="83030"/>
                        <a:pt x="27741" y="82424"/>
                        <a:pt x="27741" y="82424"/>
                      </a:cubicBezTo>
                      <a:cubicBezTo>
                        <a:pt x="24516" y="80000"/>
                        <a:pt x="24516" y="80000"/>
                        <a:pt x="24516" y="80000"/>
                      </a:cubicBezTo>
                      <a:cubicBezTo>
                        <a:pt x="24516" y="80000"/>
                        <a:pt x="24516" y="79393"/>
                        <a:pt x="23870" y="78181"/>
                      </a:cubicBezTo>
                      <a:cubicBezTo>
                        <a:pt x="23225" y="77575"/>
                        <a:pt x="22580" y="76969"/>
                        <a:pt x="22580" y="76969"/>
                      </a:cubicBezTo>
                      <a:cubicBezTo>
                        <a:pt x="21935" y="76969"/>
                        <a:pt x="20645" y="75757"/>
                        <a:pt x="20645" y="75757"/>
                      </a:cubicBezTo>
                      <a:cubicBezTo>
                        <a:pt x="20000" y="75151"/>
                        <a:pt x="19354" y="74545"/>
                        <a:pt x="19354" y="74545"/>
                      </a:cubicBezTo>
                      <a:cubicBezTo>
                        <a:pt x="19354" y="74545"/>
                        <a:pt x="19354" y="73333"/>
                        <a:pt x="19354" y="72727"/>
                      </a:cubicBezTo>
                      <a:cubicBezTo>
                        <a:pt x="20000" y="72727"/>
                        <a:pt x="20000" y="72727"/>
                        <a:pt x="20645" y="72727"/>
                      </a:cubicBezTo>
                      <a:cubicBezTo>
                        <a:pt x="21290" y="73333"/>
                        <a:pt x="21935" y="73333"/>
                        <a:pt x="22580" y="73333"/>
                      </a:cubicBezTo>
                      <a:cubicBezTo>
                        <a:pt x="23225" y="73333"/>
                        <a:pt x="23870" y="73333"/>
                        <a:pt x="24516" y="73333"/>
                      </a:cubicBezTo>
                      <a:cubicBezTo>
                        <a:pt x="24516" y="73333"/>
                        <a:pt x="26451" y="72727"/>
                        <a:pt x="26451" y="72727"/>
                      </a:cubicBezTo>
                      <a:cubicBezTo>
                        <a:pt x="27096" y="72727"/>
                        <a:pt x="27096" y="71515"/>
                        <a:pt x="27741" y="71515"/>
                      </a:cubicBezTo>
                      <a:cubicBezTo>
                        <a:pt x="27741" y="71515"/>
                        <a:pt x="28387" y="70909"/>
                        <a:pt x="27741" y="70303"/>
                      </a:cubicBezTo>
                      <a:cubicBezTo>
                        <a:pt x="27741" y="70303"/>
                        <a:pt x="26451" y="69696"/>
                        <a:pt x="26451" y="69696"/>
                      </a:cubicBezTo>
                      <a:cubicBezTo>
                        <a:pt x="25806" y="69696"/>
                        <a:pt x="25161" y="69090"/>
                        <a:pt x="25161" y="68484"/>
                      </a:cubicBezTo>
                      <a:cubicBezTo>
                        <a:pt x="24516" y="68484"/>
                        <a:pt x="23870" y="67878"/>
                        <a:pt x="23870" y="67272"/>
                      </a:cubicBezTo>
                      <a:cubicBezTo>
                        <a:pt x="23225" y="67272"/>
                        <a:pt x="23225" y="67878"/>
                        <a:pt x="22580" y="67878"/>
                      </a:cubicBezTo>
                      <a:cubicBezTo>
                        <a:pt x="21935" y="67272"/>
                        <a:pt x="21290" y="66666"/>
                        <a:pt x="20645" y="66060"/>
                      </a:cubicBezTo>
                      <a:cubicBezTo>
                        <a:pt x="20645" y="65454"/>
                        <a:pt x="20645" y="65454"/>
                        <a:pt x="20000" y="64848"/>
                      </a:cubicBezTo>
                      <a:cubicBezTo>
                        <a:pt x="19354" y="64848"/>
                        <a:pt x="18709" y="64242"/>
                        <a:pt x="18064" y="64242"/>
                      </a:cubicBezTo>
                      <a:cubicBezTo>
                        <a:pt x="17419" y="64242"/>
                        <a:pt x="17419" y="64848"/>
                        <a:pt x="16129" y="64242"/>
                      </a:cubicBezTo>
                      <a:cubicBezTo>
                        <a:pt x="14838" y="64242"/>
                        <a:pt x="13548" y="63636"/>
                        <a:pt x="13548" y="63030"/>
                      </a:cubicBezTo>
                      <a:cubicBezTo>
                        <a:pt x="14193" y="62424"/>
                        <a:pt x="13548" y="62424"/>
                        <a:pt x="14193" y="61818"/>
                      </a:cubicBezTo>
                      <a:cubicBezTo>
                        <a:pt x="14193" y="61212"/>
                        <a:pt x="14193" y="59999"/>
                        <a:pt x="14193" y="59393"/>
                      </a:cubicBezTo>
                      <a:cubicBezTo>
                        <a:pt x="14193" y="58787"/>
                        <a:pt x="13548" y="59393"/>
                        <a:pt x="13548" y="57575"/>
                      </a:cubicBezTo>
                      <a:cubicBezTo>
                        <a:pt x="12903" y="55757"/>
                        <a:pt x="14193" y="56363"/>
                        <a:pt x="14193" y="56363"/>
                      </a:cubicBezTo>
                      <a:cubicBezTo>
                        <a:pt x="14193" y="56363"/>
                        <a:pt x="14838" y="55151"/>
                        <a:pt x="14838" y="54545"/>
                      </a:cubicBezTo>
                      <a:cubicBezTo>
                        <a:pt x="14838" y="54545"/>
                        <a:pt x="15483" y="52727"/>
                        <a:pt x="15483" y="52727"/>
                      </a:cubicBezTo>
                      <a:cubicBezTo>
                        <a:pt x="17419" y="50303"/>
                        <a:pt x="17419" y="50303"/>
                        <a:pt x="17419" y="50303"/>
                      </a:cubicBezTo>
                      <a:cubicBezTo>
                        <a:pt x="17419" y="48484"/>
                        <a:pt x="17419" y="48484"/>
                        <a:pt x="17419" y="48484"/>
                      </a:cubicBezTo>
                      <a:cubicBezTo>
                        <a:pt x="17419" y="46060"/>
                        <a:pt x="17419" y="46060"/>
                        <a:pt x="17419" y="46060"/>
                      </a:cubicBezTo>
                      <a:cubicBezTo>
                        <a:pt x="17419" y="44242"/>
                        <a:pt x="17419" y="44242"/>
                        <a:pt x="17419" y="44242"/>
                      </a:cubicBezTo>
                      <a:cubicBezTo>
                        <a:pt x="15483" y="43636"/>
                        <a:pt x="15483" y="43636"/>
                        <a:pt x="15483" y="43636"/>
                      </a:cubicBezTo>
                      <a:cubicBezTo>
                        <a:pt x="11612" y="43030"/>
                        <a:pt x="11612" y="43030"/>
                        <a:pt x="11612" y="43030"/>
                      </a:cubicBezTo>
                      <a:cubicBezTo>
                        <a:pt x="11612" y="43030"/>
                        <a:pt x="11612" y="44242"/>
                        <a:pt x="10967" y="44242"/>
                      </a:cubicBezTo>
                      <a:cubicBezTo>
                        <a:pt x="10967" y="44242"/>
                        <a:pt x="10322" y="44848"/>
                        <a:pt x="9677" y="44848"/>
                      </a:cubicBezTo>
                      <a:cubicBezTo>
                        <a:pt x="9032" y="44242"/>
                        <a:pt x="9032" y="44242"/>
                        <a:pt x="9032" y="44242"/>
                      </a:cubicBezTo>
                      <a:cubicBezTo>
                        <a:pt x="10322" y="43030"/>
                        <a:pt x="10322" y="43030"/>
                        <a:pt x="10322" y="43030"/>
                      </a:cubicBezTo>
                      <a:cubicBezTo>
                        <a:pt x="10322" y="40606"/>
                        <a:pt x="10322" y="40606"/>
                        <a:pt x="10322" y="40606"/>
                      </a:cubicBezTo>
                      <a:cubicBezTo>
                        <a:pt x="10322" y="40606"/>
                        <a:pt x="9677" y="39393"/>
                        <a:pt x="9032" y="38181"/>
                      </a:cubicBezTo>
                      <a:cubicBezTo>
                        <a:pt x="8387" y="37575"/>
                        <a:pt x="7741" y="36969"/>
                        <a:pt x="7741" y="36969"/>
                      </a:cubicBezTo>
                      <a:cubicBezTo>
                        <a:pt x="9677" y="35757"/>
                        <a:pt x="9677" y="35757"/>
                        <a:pt x="9677" y="35757"/>
                      </a:cubicBezTo>
                      <a:cubicBezTo>
                        <a:pt x="10322" y="35151"/>
                        <a:pt x="10322" y="35151"/>
                        <a:pt x="10322" y="35151"/>
                      </a:cubicBezTo>
                      <a:cubicBezTo>
                        <a:pt x="10322" y="34545"/>
                        <a:pt x="10322" y="34545"/>
                        <a:pt x="10322" y="34545"/>
                      </a:cubicBezTo>
                      <a:cubicBezTo>
                        <a:pt x="10322" y="34545"/>
                        <a:pt x="11612" y="35757"/>
                        <a:pt x="12903" y="35757"/>
                      </a:cubicBezTo>
                      <a:cubicBezTo>
                        <a:pt x="13548" y="35757"/>
                        <a:pt x="12903" y="35757"/>
                        <a:pt x="14193" y="35151"/>
                      </a:cubicBezTo>
                      <a:cubicBezTo>
                        <a:pt x="15483" y="35151"/>
                        <a:pt x="17419" y="33333"/>
                        <a:pt x="17419" y="33333"/>
                      </a:cubicBezTo>
                      <a:cubicBezTo>
                        <a:pt x="17419" y="33333"/>
                        <a:pt x="16129" y="32121"/>
                        <a:pt x="15483" y="32121"/>
                      </a:cubicBezTo>
                      <a:cubicBezTo>
                        <a:pt x="14838" y="32727"/>
                        <a:pt x="15483" y="32727"/>
                        <a:pt x="13548" y="32727"/>
                      </a:cubicBezTo>
                      <a:cubicBezTo>
                        <a:pt x="11612" y="32121"/>
                        <a:pt x="10967" y="31515"/>
                        <a:pt x="10967" y="31515"/>
                      </a:cubicBezTo>
                      <a:cubicBezTo>
                        <a:pt x="10967" y="31515"/>
                        <a:pt x="10322" y="31515"/>
                        <a:pt x="9677" y="31515"/>
                      </a:cubicBezTo>
                      <a:cubicBezTo>
                        <a:pt x="9032" y="31515"/>
                        <a:pt x="9032" y="31515"/>
                        <a:pt x="8387" y="30909"/>
                      </a:cubicBezTo>
                      <a:cubicBezTo>
                        <a:pt x="7096" y="29696"/>
                        <a:pt x="5806" y="28484"/>
                        <a:pt x="5806" y="28484"/>
                      </a:cubicBezTo>
                      <a:cubicBezTo>
                        <a:pt x="5806" y="28484"/>
                        <a:pt x="4516" y="29090"/>
                        <a:pt x="4516" y="28484"/>
                      </a:cubicBezTo>
                      <a:cubicBezTo>
                        <a:pt x="4516" y="27878"/>
                        <a:pt x="5161" y="27272"/>
                        <a:pt x="5161" y="27272"/>
                      </a:cubicBezTo>
                      <a:cubicBezTo>
                        <a:pt x="4516" y="26060"/>
                        <a:pt x="4516" y="26060"/>
                        <a:pt x="4516" y="26060"/>
                      </a:cubicBezTo>
                      <a:cubicBezTo>
                        <a:pt x="4516" y="26060"/>
                        <a:pt x="5806" y="26060"/>
                        <a:pt x="6451" y="25454"/>
                      </a:cubicBezTo>
                      <a:cubicBezTo>
                        <a:pt x="7096" y="25454"/>
                        <a:pt x="7096" y="23636"/>
                        <a:pt x="6451" y="23636"/>
                      </a:cubicBezTo>
                      <a:cubicBezTo>
                        <a:pt x="5806" y="23636"/>
                        <a:pt x="5161" y="23030"/>
                        <a:pt x="4516" y="23636"/>
                      </a:cubicBezTo>
                      <a:cubicBezTo>
                        <a:pt x="3870" y="23636"/>
                        <a:pt x="3225" y="24242"/>
                        <a:pt x="3225" y="24242"/>
                      </a:cubicBezTo>
                      <a:cubicBezTo>
                        <a:pt x="2580" y="24242"/>
                        <a:pt x="1290" y="23636"/>
                        <a:pt x="1290" y="23030"/>
                      </a:cubicBezTo>
                      <a:cubicBezTo>
                        <a:pt x="1290" y="22424"/>
                        <a:pt x="645" y="22424"/>
                        <a:pt x="1935" y="21818"/>
                      </a:cubicBezTo>
                      <a:cubicBezTo>
                        <a:pt x="2580" y="21818"/>
                        <a:pt x="3225" y="20606"/>
                        <a:pt x="3225" y="20606"/>
                      </a:cubicBezTo>
                      <a:cubicBezTo>
                        <a:pt x="1935" y="18787"/>
                        <a:pt x="1935" y="18787"/>
                        <a:pt x="1935" y="18787"/>
                      </a:cubicBezTo>
                      <a:cubicBezTo>
                        <a:pt x="2580" y="15151"/>
                        <a:pt x="2580" y="15151"/>
                        <a:pt x="2580" y="15151"/>
                      </a:cubicBezTo>
                      <a:cubicBezTo>
                        <a:pt x="0" y="14545"/>
                        <a:pt x="0" y="14545"/>
                        <a:pt x="0" y="14545"/>
                      </a:cubicBezTo>
                      <a:cubicBezTo>
                        <a:pt x="0" y="13333"/>
                        <a:pt x="0" y="13333"/>
                        <a:pt x="0" y="13333"/>
                      </a:cubicBezTo>
                      <a:cubicBezTo>
                        <a:pt x="2580" y="12121"/>
                        <a:pt x="2580" y="12121"/>
                        <a:pt x="2580" y="12121"/>
                      </a:cubicBezTo>
                      <a:cubicBezTo>
                        <a:pt x="5161" y="8484"/>
                        <a:pt x="5161" y="8484"/>
                        <a:pt x="5161" y="8484"/>
                      </a:cubicBezTo>
                      <a:cubicBezTo>
                        <a:pt x="5806" y="9090"/>
                        <a:pt x="5806" y="9090"/>
                        <a:pt x="5806" y="9090"/>
                      </a:cubicBezTo>
                      <a:cubicBezTo>
                        <a:pt x="5806" y="9090"/>
                        <a:pt x="6451" y="9090"/>
                        <a:pt x="7096" y="848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59" name="Shape 2024"/>
                <p:cNvSpPr/>
                <p:nvPr/>
              </p:nvSpPr>
              <p:spPr>
                <a:xfrm>
                  <a:off x="4681844" y="3129624"/>
                  <a:ext cx="394695" cy="240785"/>
                </a:xfrm>
                <a:custGeom>
                  <a:avLst/>
                  <a:gdLst/>
                  <a:ahLst/>
                  <a:cxnLst/>
                  <a:rect l="0" t="0" r="0" b="0"/>
                  <a:pathLst>
                    <a:path w="120000" h="120000" extrusionOk="0">
                      <a:moveTo>
                        <a:pt x="21502" y="82568"/>
                      </a:moveTo>
                      <a:cubicBezTo>
                        <a:pt x="22890" y="83669"/>
                        <a:pt x="22890" y="83669"/>
                        <a:pt x="22890" y="83669"/>
                      </a:cubicBezTo>
                      <a:cubicBezTo>
                        <a:pt x="22890" y="85871"/>
                        <a:pt x="22890" y="85871"/>
                        <a:pt x="22890" y="85871"/>
                      </a:cubicBezTo>
                      <a:cubicBezTo>
                        <a:pt x="22890" y="85871"/>
                        <a:pt x="22890" y="84770"/>
                        <a:pt x="22196" y="86972"/>
                      </a:cubicBezTo>
                      <a:cubicBezTo>
                        <a:pt x="21502" y="88073"/>
                        <a:pt x="21502" y="88073"/>
                        <a:pt x="21502" y="88073"/>
                      </a:cubicBezTo>
                      <a:cubicBezTo>
                        <a:pt x="22196" y="88073"/>
                        <a:pt x="22890" y="89174"/>
                        <a:pt x="22890" y="89174"/>
                      </a:cubicBezTo>
                      <a:cubicBezTo>
                        <a:pt x="22890" y="89174"/>
                        <a:pt x="23583" y="89174"/>
                        <a:pt x="22890" y="90275"/>
                      </a:cubicBezTo>
                      <a:cubicBezTo>
                        <a:pt x="22890" y="92477"/>
                        <a:pt x="22890" y="93577"/>
                        <a:pt x="22890" y="93577"/>
                      </a:cubicBezTo>
                      <a:cubicBezTo>
                        <a:pt x="22890" y="93577"/>
                        <a:pt x="22890" y="94678"/>
                        <a:pt x="22890" y="95779"/>
                      </a:cubicBezTo>
                      <a:cubicBezTo>
                        <a:pt x="22196" y="95779"/>
                        <a:pt x="21502" y="99082"/>
                        <a:pt x="21502" y="99082"/>
                      </a:cubicBezTo>
                      <a:cubicBezTo>
                        <a:pt x="21502" y="99082"/>
                        <a:pt x="21502" y="99082"/>
                        <a:pt x="21502" y="100183"/>
                      </a:cubicBezTo>
                      <a:cubicBezTo>
                        <a:pt x="22196" y="100183"/>
                        <a:pt x="24277" y="100183"/>
                        <a:pt x="24277" y="100183"/>
                      </a:cubicBezTo>
                      <a:cubicBezTo>
                        <a:pt x="24277" y="100183"/>
                        <a:pt x="24277" y="102385"/>
                        <a:pt x="24277" y="103486"/>
                      </a:cubicBezTo>
                      <a:cubicBezTo>
                        <a:pt x="23583" y="103486"/>
                        <a:pt x="22890" y="105688"/>
                        <a:pt x="23583" y="105688"/>
                      </a:cubicBezTo>
                      <a:cubicBezTo>
                        <a:pt x="24277" y="105688"/>
                        <a:pt x="24971" y="106788"/>
                        <a:pt x="24971" y="106788"/>
                      </a:cubicBezTo>
                      <a:cubicBezTo>
                        <a:pt x="24971" y="106788"/>
                        <a:pt x="25664" y="107889"/>
                        <a:pt x="25664" y="107889"/>
                      </a:cubicBezTo>
                      <a:cubicBezTo>
                        <a:pt x="26358" y="107889"/>
                        <a:pt x="27052" y="108990"/>
                        <a:pt x="27052" y="108990"/>
                      </a:cubicBezTo>
                      <a:cubicBezTo>
                        <a:pt x="27052" y="108990"/>
                        <a:pt x="28439" y="111192"/>
                        <a:pt x="28439" y="111192"/>
                      </a:cubicBezTo>
                      <a:cubicBezTo>
                        <a:pt x="28439" y="112293"/>
                        <a:pt x="27745" y="113394"/>
                        <a:pt x="27745" y="113394"/>
                      </a:cubicBezTo>
                      <a:cubicBezTo>
                        <a:pt x="27745" y="113394"/>
                        <a:pt x="29132" y="115596"/>
                        <a:pt x="29132" y="115596"/>
                      </a:cubicBezTo>
                      <a:cubicBezTo>
                        <a:pt x="29132" y="115596"/>
                        <a:pt x="29132" y="116697"/>
                        <a:pt x="29826" y="116697"/>
                      </a:cubicBezTo>
                      <a:cubicBezTo>
                        <a:pt x="30520" y="116697"/>
                        <a:pt x="31213" y="115596"/>
                        <a:pt x="31213" y="115596"/>
                      </a:cubicBezTo>
                      <a:cubicBezTo>
                        <a:pt x="31213" y="115596"/>
                        <a:pt x="32601" y="114495"/>
                        <a:pt x="32601" y="114495"/>
                      </a:cubicBezTo>
                      <a:cubicBezTo>
                        <a:pt x="32601" y="114495"/>
                        <a:pt x="33294" y="113394"/>
                        <a:pt x="33988" y="113394"/>
                      </a:cubicBezTo>
                      <a:cubicBezTo>
                        <a:pt x="34682" y="113394"/>
                        <a:pt x="35375" y="114495"/>
                        <a:pt x="36069" y="114495"/>
                      </a:cubicBezTo>
                      <a:cubicBezTo>
                        <a:pt x="36763" y="114495"/>
                        <a:pt x="38843" y="114495"/>
                        <a:pt x="38843" y="114495"/>
                      </a:cubicBezTo>
                      <a:cubicBezTo>
                        <a:pt x="38843" y="112293"/>
                        <a:pt x="38843" y="112293"/>
                        <a:pt x="38843" y="112293"/>
                      </a:cubicBezTo>
                      <a:cubicBezTo>
                        <a:pt x="38843" y="112293"/>
                        <a:pt x="38843" y="111192"/>
                        <a:pt x="39537" y="111192"/>
                      </a:cubicBezTo>
                      <a:cubicBezTo>
                        <a:pt x="40231" y="111192"/>
                        <a:pt x="40924" y="111192"/>
                        <a:pt x="40924" y="111192"/>
                      </a:cubicBezTo>
                      <a:cubicBezTo>
                        <a:pt x="40924" y="111192"/>
                        <a:pt x="40231" y="110091"/>
                        <a:pt x="40924" y="110091"/>
                      </a:cubicBezTo>
                      <a:cubicBezTo>
                        <a:pt x="40924" y="110091"/>
                        <a:pt x="42312" y="110091"/>
                        <a:pt x="43005" y="111192"/>
                      </a:cubicBezTo>
                      <a:cubicBezTo>
                        <a:pt x="43005" y="111192"/>
                        <a:pt x="44393" y="110091"/>
                        <a:pt x="44393" y="111192"/>
                      </a:cubicBezTo>
                      <a:cubicBezTo>
                        <a:pt x="44393" y="111192"/>
                        <a:pt x="45086" y="112293"/>
                        <a:pt x="45086" y="112293"/>
                      </a:cubicBezTo>
                      <a:cubicBezTo>
                        <a:pt x="45086" y="112293"/>
                        <a:pt x="45780" y="114495"/>
                        <a:pt x="45780" y="113394"/>
                      </a:cubicBezTo>
                      <a:cubicBezTo>
                        <a:pt x="46473" y="113394"/>
                        <a:pt x="46473" y="113394"/>
                        <a:pt x="47167" y="113394"/>
                      </a:cubicBezTo>
                      <a:cubicBezTo>
                        <a:pt x="47167" y="114495"/>
                        <a:pt x="48554" y="114495"/>
                        <a:pt x="49248" y="114495"/>
                      </a:cubicBezTo>
                      <a:cubicBezTo>
                        <a:pt x="49248" y="113394"/>
                        <a:pt x="49248" y="113394"/>
                        <a:pt x="49248" y="113394"/>
                      </a:cubicBezTo>
                      <a:cubicBezTo>
                        <a:pt x="49248" y="112293"/>
                        <a:pt x="48554" y="111192"/>
                        <a:pt x="49942" y="111192"/>
                      </a:cubicBezTo>
                      <a:cubicBezTo>
                        <a:pt x="50635" y="111192"/>
                        <a:pt x="50635" y="110091"/>
                        <a:pt x="51329" y="110091"/>
                      </a:cubicBezTo>
                      <a:cubicBezTo>
                        <a:pt x="52023" y="110091"/>
                        <a:pt x="52716" y="110091"/>
                        <a:pt x="52716" y="110091"/>
                      </a:cubicBezTo>
                      <a:cubicBezTo>
                        <a:pt x="52716" y="110091"/>
                        <a:pt x="52716" y="110091"/>
                        <a:pt x="53410" y="108990"/>
                      </a:cubicBezTo>
                      <a:cubicBezTo>
                        <a:pt x="54104" y="107889"/>
                        <a:pt x="54104" y="106788"/>
                        <a:pt x="54104" y="106788"/>
                      </a:cubicBezTo>
                      <a:cubicBezTo>
                        <a:pt x="54104" y="105688"/>
                        <a:pt x="54104" y="104587"/>
                        <a:pt x="54104" y="104587"/>
                      </a:cubicBezTo>
                      <a:cubicBezTo>
                        <a:pt x="54797" y="103486"/>
                        <a:pt x="54797" y="103486"/>
                        <a:pt x="54797" y="103486"/>
                      </a:cubicBezTo>
                      <a:cubicBezTo>
                        <a:pt x="55491" y="102385"/>
                        <a:pt x="55491" y="102385"/>
                        <a:pt x="55491" y="102385"/>
                      </a:cubicBezTo>
                      <a:cubicBezTo>
                        <a:pt x="55491" y="102385"/>
                        <a:pt x="55491" y="102385"/>
                        <a:pt x="56184" y="100183"/>
                      </a:cubicBezTo>
                      <a:cubicBezTo>
                        <a:pt x="56184" y="99082"/>
                        <a:pt x="56184" y="99082"/>
                        <a:pt x="56184" y="99082"/>
                      </a:cubicBezTo>
                      <a:cubicBezTo>
                        <a:pt x="56878" y="96880"/>
                        <a:pt x="56878" y="96880"/>
                        <a:pt x="56878" y="96880"/>
                      </a:cubicBezTo>
                      <a:cubicBezTo>
                        <a:pt x="56184" y="93577"/>
                        <a:pt x="56184" y="93577"/>
                        <a:pt x="56184" y="93577"/>
                      </a:cubicBezTo>
                      <a:cubicBezTo>
                        <a:pt x="55491" y="92477"/>
                        <a:pt x="55491" y="92477"/>
                        <a:pt x="55491" y="92477"/>
                      </a:cubicBezTo>
                      <a:cubicBezTo>
                        <a:pt x="56184" y="91376"/>
                        <a:pt x="56184" y="91376"/>
                        <a:pt x="56184" y="91376"/>
                      </a:cubicBezTo>
                      <a:cubicBezTo>
                        <a:pt x="56184" y="91376"/>
                        <a:pt x="56878" y="90275"/>
                        <a:pt x="57572" y="90275"/>
                      </a:cubicBezTo>
                      <a:cubicBezTo>
                        <a:pt x="58265" y="90275"/>
                        <a:pt x="58265" y="90275"/>
                        <a:pt x="58265" y="89174"/>
                      </a:cubicBezTo>
                      <a:cubicBezTo>
                        <a:pt x="58959" y="89174"/>
                        <a:pt x="60346" y="86972"/>
                        <a:pt x="60346" y="86972"/>
                      </a:cubicBezTo>
                      <a:cubicBezTo>
                        <a:pt x="60346" y="86972"/>
                        <a:pt x="60346" y="86972"/>
                        <a:pt x="61040" y="86972"/>
                      </a:cubicBezTo>
                      <a:cubicBezTo>
                        <a:pt x="61040" y="85871"/>
                        <a:pt x="61040" y="84770"/>
                        <a:pt x="61040" y="84770"/>
                      </a:cubicBezTo>
                      <a:cubicBezTo>
                        <a:pt x="61040" y="84770"/>
                        <a:pt x="61040" y="83669"/>
                        <a:pt x="61734" y="83669"/>
                      </a:cubicBezTo>
                      <a:cubicBezTo>
                        <a:pt x="62427" y="82568"/>
                        <a:pt x="65202" y="81467"/>
                        <a:pt x="65202" y="81467"/>
                      </a:cubicBezTo>
                      <a:cubicBezTo>
                        <a:pt x="65202" y="81467"/>
                        <a:pt x="64508" y="83669"/>
                        <a:pt x="64508" y="84770"/>
                      </a:cubicBezTo>
                      <a:cubicBezTo>
                        <a:pt x="64508" y="85871"/>
                        <a:pt x="65202" y="88073"/>
                        <a:pt x="65202" y="88073"/>
                      </a:cubicBezTo>
                      <a:cubicBezTo>
                        <a:pt x="65202" y="88073"/>
                        <a:pt x="64508" y="90275"/>
                        <a:pt x="64508" y="90275"/>
                      </a:cubicBezTo>
                      <a:cubicBezTo>
                        <a:pt x="64508" y="91376"/>
                        <a:pt x="64508" y="92477"/>
                        <a:pt x="64508" y="92477"/>
                      </a:cubicBezTo>
                      <a:cubicBezTo>
                        <a:pt x="65202" y="93577"/>
                        <a:pt x="65202" y="93577"/>
                        <a:pt x="65202" y="93577"/>
                      </a:cubicBezTo>
                      <a:cubicBezTo>
                        <a:pt x="65202" y="93577"/>
                        <a:pt x="65202" y="94678"/>
                        <a:pt x="65202" y="94678"/>
                      </a:cubicBezTo>
                      <a:cubicBezTo>
                        <a:pt x="65895" y="94678"/>
                        <a:pt x="66589" y="96880"/>
                        <a:pt x="66589" y="96880"/>
                      </a:cubicBezTo>
                      <a:cubicBezTo>
                        <a:pt x="67283" y="96880"/>
                        <a:pt x="67283" y="96880"/>
                        <a:pt x="67283" y="96880"/>
                      </a:cubicBezTo>
                      <a:cubicBezTo>
                        <a:pt x="67283" y="96880"/>
                        <a:pt x="67976" y="97981"/>
                        <a:pt x="67976" y="99082"/>
                      </a:cubicBezTo>
                      <a:cubicBezTo>
                        <a:pt x="67976" y="99082"/>
                        <a:pt x="68670" y="100183"/>
                        <a:pt x="69364" y="101284"/>
                      </a:cubicBezTo>
                      <a:cubicBezTo>
                        <a:pt x="69364" y="101284"/>
                        <a:pt x="70057" y="101284"/>
                        <a:pt x="70057" y="101284"/>
                      </a:cubicBezTo>
                      <a:cubicBezTo>
                        <a:pt x="70751" y="101284"/>
                        <a:pt x="71445" y="101284"/>
                        <a:pt x="71445" y="101284"/>
                      </a:cubicBezTo>
                      <a:cubicBezTo>
                        <a:pt x="71445" y="102385"/>
                        <a:pt x="72832" y="102385"/>
                        <a:pt x="73526" y="102385"/>
                      </a:cubicBezTo>
                      <a:cubicBezTo>
                        <a:pt x="73526" y="103486"/>
                        <a:pt x="74913" y="102385"/>
                        <a:pt x="74913" y="102385"/>
                      </a:cubicBezTo>
                      <a:cubicBezTo>
                        <a:pt x="75606" y="103486"/>
                        <a:pt x="75606" y="103486"/>
                        <a:pt x="75606" y="103486"/>
                      </a:cubicBezTo>
                      <a:cubicBezTo>
                        <a:pt x="76300" y="103486"/>
                        <a:pt x="76300" y="103486"/>
                        <a:pt x="76300" y="103486"/>
                      </a:cubicBezTo>
                      <a:cubicBezTo>
                        <a:pt x="76300" y="103486"/>
                        <a:pt x="76994" y="103486"/>
                        <a:pt x="76994" y="104587"/>
                      </a:cubicBezTo>
                      <a:cubicBezTo>
                        <a:pt x="76300" y="105688"/>
                        <a:pt x="76300" y="105688"/>
                        <a:pt x="76300" y="105688"/>
                      </a:cubicBezTo>
                      <a:cubicBezTo>
                        <a:pt x="76300" y="105688"/>
                        <a:pt x="76300" y="105688"/>
                        <a:pt x="76300" y="105688"/>
                      </a:cubicBezTo>
                      <a:cubicBezTo>
                        <a:pt x="75606" y="106788"/>
                        <a:pt x="74913" y="108990"/>
                        <a:pt x="74913" y="108990"/>
                      </a:cubicBezTo>
                      <a:cubicBezTo>
                        <a:pt x="76994" y="111192"/>
                        <a:pt x="76994" y="111192"/>
                        <a:pt x="76994" y="111192"/>
                      </a:cubicBezTo>
                      <a:cubicBezTo>
                        <a:pt x="76994" y="111192"/>
                        <a:pt x="77687" y="111192"/>
                        <a:pt x="77687" y="112293"/>
                      </a:cubicBezTo>
                      <a:cubicBezTo>
                        <a:pt x="78381" y="113394"/>
                        <a:pt x="78381" y="114495"/>
                        <a:pt x="78381" y="114495"/>
                      </a:cubicBezTo>
                      <a:cubicBezTo>
                        <a:pt x="78381" y="114495"/>
                        <a:pt x="78381" y="114495"/>
                        <a:pt x="78381" y="114495"/>
                      </a:cubicBezTo>
                      <a:cubicBezTo>
                        <a:pt x="78381" y="115596"/>
                        <a:pt x="78381" y="117798"/>
                        <a:pt x="78381" y="117798"/>
                      </a:cubicBezTo>
                      <a:cubicBezTo>
                        <a:pt x="78381" y="117798"/>
                        <a:pt x="76994" y="118899"/>
                        <a:pt x="78381" y="118899"/>
                      </a:cubicBezTo>
                      <a:cubicBezTo>
                        <a:pt x="79768" y="118899"/>
                        <a:pt x="79768" y="118899"/>
                        <a:pt x="79768" y="118899"/>
                      </a:cubicBezTo>
                      <a:cubicBezTo>
                        <a:pt x="80462" y="118899"/>
                        <a:pt x="81156" y="120000"/>
                        <a:pt x="81156" y="120000"/>
                      </a:cubicBezTo>
                      <a:cubicBezTo>
                        <a:pt x="81849" y="118899"/>
                        <a:pt x="81849" y="118899"/>
                        <a:pt x="81849" y="118899"/>
                      </a:cubicBezTo>
                      <a:cubicBezTo>
                        <a:pt x="81849" y="118899"/>
                        <a:pt x="81156" y="116697"/>
                        <a:pt x="82543" y="115596"/>
                      </a:cubicBezTo>
                      <a:cubicBezTo>
                        <a:pt x="83236" y="114495"/>
                        <a:pt x="83236" y="114495"/>
                        <a:pt x="83236" y="114495"/>
                      </a:cubicBezTo>
                      <a:cubicBezTo>
                        <a:pt x="83236" y="114495"/>
                        <a:pt x="81156" y="113394"/>
                        <a:pt x="81156" y="112293"/>
                      </a:cubicBezTo>
                      <a:cubicBezTo>
                        <a:pt x="81156" y="112293"/>
                        <a:pt x="80462" y="112293"/>
                        <a:pt x="81156" y="111192"/>
                      </a:cubicBezTo>
                      <a:cubicBezTo>
                        <a:pt x="81156" y="110091"/>
                        <a:pt x="80462" y="110091"/>
                        <a:pt x="81156" y="108990"/>
                      </a:cubicBezTo>
                      <a:cubicBezTo>
                        <a:pt x="81156" y="108990"/>
                        <a:pt x="81849" y="108990"/>
                        <a:pt x="81849" y="107889"/>
                      </a:cubicBezTo>
                      <a:cubicBezTo>
                        <a:pt x="81849" y="107889"/>
                        <a:pt x="81156" y="105688"/>
                        <a:pt x="81156" y="105688"/>
                      </a:cubicBezTo>
                      <a:cubicBezTo>
                        <a:pt x="82543" y="104587"/>
                        <a:pt x="82543" y="104587"/>
                        <a:pt x="82543" y="104587"/>
                      </a:cubicBezTo>
                      <a:cubicBezTo>
                        <a:pt x="82543" y="104587"/>
                        <a:pt x="82543" y="103486"/>
                        <a:pt x="82543" y="103486"/>
                      </a:cubicBezTo>
                      <a:cubicBezTo>
                        <a:pt x="82543" y="102385"/>
                        <a:pt x="82543" y="100183"/>
                        <a:pt x="82543" y="100183"/>
                      </a:cubicBezTo>
                      <a:cubicBezTo>
                        <a:pt x="83236" y="100183"/>
                        <a:pt x="83930" y="97981"/>
                        <a:pt x="83930" y="97981"/>
                      </a:cubicBezTo>
                      <a:cubicBezTo>
                        <a:pt x="83930" y="97981"/>
                        <a:pt x="85317" y="97981"/>
                        <a:pt x="85317" y="97981"/>
                      </a:cubicBezTo>
                      <a:cubicBezTo>
                        <a:pt x="85317" y="96880"/>
                        <a:pt x="86011" y="95779"/>
                        <a:pt x="86011" y="95779"/>
                      </a:cubicBezTo>
                      <a:cubicBezTo>
                        <a:pt x="86011" y="95779"/>
                        <a:pt x="86011" y="95779"/>
                        <a:pt x="86705" y="94678"/>
                      </a:cubicBezTo>
                      <a:cubicBezTo>
                        <a:pt x="86705" y="93577"/>
                        <a:pt x="86705" y="92477"/>
                        <a:pt x="86705" y="92477"/>
                      </a:cubicBezTo>
                      <a:cubicBezTo>
                        <a:pt x="86705" y="91376"/>
                        <a:pt x="87398" y="90275"/>
                        <a:pt x="87398" y="90275"/>
                      </a:cubicBezTo>
                      <a:cubicBezTo>
                        <a:pt x="87398" y="89174"/>
                        <a:pt x="87398" y="89174"/>
                        <a:pt x="87398" y="89174"/>
                      </a:cubicBezTo>
                      <a:cubicBezTo>
                        <a:pt x="87398" y="89174"/>
                        <a:pt x="87398" y="88073"/>
                        <a:pt x="87398" y="88073"/>
                      </a:cubicBezTo>
                      <a:cubicBezTo>
                        <a:pt x="87398" y="86972"/>
                        <a:pt x="87398" y="85871"/>
                        <a:pt x="87398" y="85871"/>
                      </a:cubicBezTo>
                      <a:cubicBezTo>
                        <a:pt x="87398" y="83669"/>
                        <a:pt x="87398" y="83669"/>
                        <a:pt x="87398" y="83669"/>
                      </a:cubicBezTo>
                      <a:cubicBezTo>
                        <a:pt x="86705" y="81467"/>
                        <a:pt x="86705" y="81467"/>
                        <a:pt x="86705" y="81467"/>
                      </a:cubicBezTo>
                      <a:cubicBezTo>
                        <a:pt x="86705" y="80366"/>
                        <a:pt x="86705" y="80366"/>
                        <a:pt x="86705" y="80366"/>
                      </a:cubicBezTo>
                      <a:cubicBezTo>
                        <a:pt x="88092" y="78165"/>
                        <a:pt x="88092" y="78165"/>
                        <a:pt x="88092" y="78165"/>
                      </a:cubicBezTo>
                      <a:cubicBezTo>
                        <a:pt x="88092" y="78165"/>
                        <a:pt x="88786" y="77064"/>
                        <a:pt x="88786" y="78165"/>
                      </a:cubicBezTo>
                      <a:cubicBezTo>
                        <a:pt x="89479" y="78165"/>
                        <a:pt x="90173" y="79266"/>
                        <a:pt x="90173" y="79266"/>
                      </a:cubicBezTo>
                      <a:cubicBezTo>
                        <a:pt x="90867" y="79266"/>
                        <a:pt x="90867" y="79266"/>
                        <a:pt x="90867" y="79266"/>
                      </a:cubicBezTo>
                      <a:cubicBezTo>
                        <a:pt x="92254" y="78165"/>
                        <a:pt x="92254" y="78165"/>
                        <a:pt x="92254" y="78165"/>
                      </a:cubicBezTo>
                      <a:cubicBezTo>
                        <a:pt x="92254" y="78165"/>
                        <a:pt x="92947" y="78165"/>
                        <a:pt x="92947" y="79266"/>
                      </a:cubicBezTo>
                      <a:cubicBezTo>
                        <a:pt x="92254" y="79266"/>
                        <a:pt x="91560" y="80366"/>
                        <a:pt x="92254" y="81467"/>
                      </a:cubicBezTo>
                      <a:cubicBezTo>
                        <a:pt x="92254" y="81467"/>
                        <a:pt x="92947" y="82568"/>
                        <a:pt x="92947" y="83669"/>
                      </a:cubicBezTo>
                      <a:cubicBezTo>
                        <a:pt x="92947" y="84770"/>
                        <a:pt x="92947" y="84770"/>
                        <a:pt x="92947" y="86972"/>
                      </a:cubicBezTo>
                      <a:cubicBezTo>
                        <a:pt x="92947" y="88073"/>
                        <a:pt x="94335" y="88073"/>
                        <a:pt x="94335" y="89174"/>
                      </a:cubicBezTo>
                      <a:cubicBezTo>
                        <a:pt x="95028" y="89174"/>
                        <a:pt x="93641" y="90275"/>
                        <a:pt x="95722" y="90275"/>
                      </a:cubicBezTo>
                      <a:cubicBezTo>
                        <a:pt x="97109" y="90275"/>
                        <a:pt x="98497" y="91376"/>
                        <a:pt x="98497" y="90275"/>
                      </a:cubicBezTo>
                      <a:cubicBezTo>
                        <a:pt x="99190" y="90275"/>
                        <a:pt x="99190" y="90275"/>
                        <a:pt x="99190" y="89174"/>
                      </a:cubicBezTo>
                      <a:cubicBezTo>
                        <a:pt x="98497" y="88073"/>
                        <a:pt x="99190" y="86972"/>
                        <a:pt x="99190" y="86972"/>
                      </a:cubicBezTo>
                      <a:cubicBezTo>
                        <a:pt x="99190" y="86972"/>
                        <a:pt x="99884" y="86972"/>
                        <a:pt x="99884" y="86972"/>
                      </a:cubicBezTo>
                      <a:cubicBezTo>
                        <a:pt x="100578" y="86972"/>
                        <a:pt x="100578" y="88073"/>
                        <a:pt x="101271" y="86972"/>
                      </a:cubicBezTo>
                      <a:cubicBezTo>
                        <a:pt x="101271" y="86972"/>
                        <a:pt x="101965" y="85871"/>
                        <a:pt x="101965" y="85871"/>
                      </a:cubicBezTo>
                      <a:cubicBezTo>
                        <a:pt x="103352" y="85871"/>
                        <a:pt x="103352" y="85871"/>
                        <a:pt x="103352" y="85871"/>
                      </a:cubicBezTo>
                      <a:cubicBezTo>
                        <a:pt x="103352" y="85871"/>
                        <a:pt x="102658" y="84770"/>
                        <a:pt x="104046" y="84770"/>
                      </a:cubicBezTo>
                      <a:cubicBezTo>
                        <a:pt x="104739" y="84770"/>
                        <a:pt x="106127" y="84770"/>
                        <a:pt x="106127" y="84770"/>
                      </a:cubicBezTo>
                      <a:cubicBezTo>
                        <a:pt x="106127" y="84770"/>
                        <a:pt x="106127" y="85871"/>
                        <a:pt x="106127" y="86972"/>
                      </a:cubicBezTo>
                      <a:cubicBezTo>
                        <a:pt x="106820" y="88073"/>
                        <a:pt x="106820" y="88073"/>
                        <a:pt x="106820" y="88073"/>
                      </a:cubicBezTo>
                      <a:cubicBezTo>
                        <a:pt x="106820" y="88073"/>
                        <a:pt x="106127" y="88073"/>
                        <a:pt x="106820" y="90275"/>
                      </a:cubicBezTo>
                      <a:cubicBezTo>
                        <a:pt x="107514" y="91376"/>
                        <a:pt x="108208" y="91376"/>
                        <a:pt x="108208" y="92477"/>
                      </a:cubicBezTo>
                      <a:cubicBezTo>
                        <a:pt x="108901" y="92477"/>
                        <a:pt x="108208" y="94678"/>
                        <a:pt x="108208" y="94678"/>
                      </a:cubicBezTo>
                      <a:cubicBezTo>
                        <a:pt x="108208" y="94678"/>
                        <a:pt x="109595" y="94678"/>
                        <a:pt x="109595" y="94678"/>
                      </a:cubicBezTo>
                      <a:cubicBezTo>
                        <a:pt x="109595" y="93577"/>
                        <a:pt x="109595" y="93577"/>
                        <a:pt x="110289" y="93577"/>
                      </a:cubicBezTo>
                      <a:cubicBezTo>
                        <a:pt x="110289" y="93577"/>
                        <a:pt x="110289" y="93577"/>
                        <a:pt x="110289" y="93577"/>
                      </a:cubicBezTo>
                      <a:cubicBezTo>
                        <a:pt x="110289" y="93577"/>
                        <a:pt x="110982" y="92477"/>
                        <a:pt x="110982" y="91376"/>
                      </a:cubicBezTo>
                      <a:cubicBezTo>
                        <a:pt x="110982" y="91376"/>
                        <a:pt x="110982" y="88073"/>
                        <a:pt x="110289" y="88073"/>
                      </a:cubicBezTo>
                      <a:cubicBezTo>
                        <a:pt x="110289" y="88073"/>
                        <a:pt x="109595" y="88073"/>
                        <a:pt x="109595" y="86972"/>
                      </a:cubicBezTo>
                      <a:cubicBezTo>
                        <a:pt x="108901" y="85871"/>
                        <a:pt x="108901" y="85871"/>
                        <a:pt x="109595" y="85871"/>
                      </a:cubicBezTo>
                      <a:cubicBezTo>
                        <a:pt x="109595" y="85871"/>
                        <a:pt x="110289" y="84770"/>
                        <a:pt x="110289" y="84770"/>
                      </a:cubicBezTo>
                      <a:cubicBezTo>
                        <a:pt x="110289" y="84770"/>
                        <a:pt x="110982" y="83669"/>
                        <a:pt x="110289" y="83669"/>
                      </a:cubicBezTo>
                      <a:cubicBezTo>
                        <a:pt x="110289" y="82568"/>
                        <a:pt x="109595" y="81467"/>
                        <a:pt x="109595" y="81467"/>
                      </a:cubicBezTo>
                      <a:cubicBezTo>
                        <a:pt x="109595" y="81467"/>
                        <a:pt x="108901" y="82568"/>
                        <a:pt x="108208" y="81467"/>
                      </a:cubicBezTo>
                      <a:cubicBezTo>
                        <a:pt x="108208" y="81467"/>
                        <a:pt x="108208" y="81467"/>
                        <a:pt x="108208" y="80366"/>
                      </a:cubicBezTo>
                      <a:cubicBezTo>
                        <a:pt x="108208" y="80366"/>
                        <a:pt x="108208" y="78165"/>
                        <a:pt x="108208" y="78165"/>
                      </a:cubicBezTo>
                      <a:cubicBezTo>
                        <a:pt x="107514" y="78165"/>
                        <a:pt x="107514" y="78165"/>
                        <a:pt x="107514" y="78165"/>
                      </a:cubicBezTo>
                      <a:cubicBezTo>
                        <a:pt x="108208" y="75963"/>
                        <a:pt x="108208" y="75963"/>
                        <a:pt x="108208" y="75963"/>
                      </a:cubicBezTo>
                      <a:cubicBezTo>
                        <a:pt x="108208" y="74862"/>
                        <a:pt x="108208" y="74862"/>
                        <a:pt x="108208" y="74862"/>
                      </a:cubicBezTo>
                      <a:cubicBezTo>
                        <a:pt x="108208" y="74862"/>
                        <a:pt x="108208" y="73761"/>
                        <a:pt x="108901" y="73761"/>
                      </a:cubicBezTo>
                      <a:cubicBezTo>
                        <a:pt x="108901" y="72660"/>
                        <a:pt x="108901" y="72660"/>
                        <a:pt x="108901" y="71559"/>
                      </a:cubicBezTo>
                      <a:cubicBezTo>
                        <a:pt x="109595" y="71559"/>
                        <a:pt x="109595" y="70458"/>
                        <a:pt x="109595" y="70458"/>
                      </a:cubicBezTo>
                      <a:cubicBezTo>
                        <a:pt x="110289" y="70458"/>
                        <a:pt x="110982" y="70458"/>
                        <a:pt x="111676" y="70458"/>
                      </a:cubicBezTo>
                      <a:cubicBezTo>
                        <a:pt x="111676" y="70458"/>
                        <a:pt x="111676" y="69357"/>
                        <a:pt x="112369" y="69357"/>
                      </a:cubicBezTo>
                      <a:cubicBezTo>
                        <a:pt x="112369" y="69357"/>
                        <a:pt x="113063" y="70458"/>
                        <a:pt x="113063" y="70458"/>
                      </a:cubicBezTo>
                      <a:cubicBezTo>
                        <a:pt x="113063" y="70458"/>
                        <a:pt x="113063" y="70458"/>
                        <a:pt x="113063" y="71559"/>
                      </a:cubicBezTo>
                      <a:cubicBezTo>
                        <a:pt x="113063" y="71559"/>
                        <a:pt x="115144" y="73761"/>
                        <a:pt x="115144" y="73761"/>
                      </a:cubicBezTo>
                      <a:cubicBezTo>
                        <a:pt x="115144" y="73761"/>
                        <a:pt x="115144" y="73761"/>
                        <a:pt x="115838" y="73761"/>
                      </a:cubicBezTo>
                      <a:cubicBezTo>
                        <a:pt x="115838" y="73761"/>
                        <a:pt x="115144" y="73761"/>
                        <a:pt x="115838" y="73761"/>
                      </a:cubicBezTo>
                      <a:cubicBezTo>
                        <a:pt x="115838" y="74862"/>
                        <a:pt x="117919" y="73761"/>
                        <a:pt x="117919" y="73761"/>
                      </a:cubicBezTo>
                      <a:cubicBezTo>
                        <a:pt x="118612" y="73761"/>
                        <a:pt x="118612" y="73761"/>
                        <a:pt x="118612" y="73761"/>
                      </a:cubicBezTo>
                      <a:cubicBezTo>
                        <a:pt x="118612" y="73761"/>
                        <a:pt x="118612" y="73761"/>
                        <a:pt x="118612" y="72660"/>
                      </a:cubicBezTo>
                      <a:cubicBezTo>
                        <a:pt x="119306" y="72660"/>
                        <a:pt x="119306" y="71559"/>
                        <a:pt x="119306" y="70458"/>
                      </a:cubicBezTo>
                      <a:cubicBezTo>
                        <a:pt x="119306" y="70458"/>
                        <a:pt x="120000" y="70458"/>
                        <a:pt x="119306" y="69357"/>
                      </a:cubicBezTo>
                      <a:cubicBezTo>
                        <a:pt x="117919" y="68256"/>
                        <a:pt x="117225" y="68256"/>
                        <a:pt x="117225" y="68256"/>
                      </a:cubicBezTo>
                      <a:cubicBezTo>
                        <a:pt x="117225" y="68256"/>
                        <a:pt x="115838" y="66055"/>
                        <a:pt x="116531" y="66055"/>
                      </a:cubicBezTo>
                      <a:cubicBezTo>
                        <a:pt x="117225" y="64954"/>
                        <a:pt x="117919" y="63853"/>
                        <a:pt x="117919" y="63853"/>
                      </a:cubicBezTo>
                      <a:cubicBezTo>
                        <a:pt x="117225" y="61651"/>
                        <a:pt x="117225" y="61651"/>
                        <a:pt x="117225" y="61651"/>
                      </a:cubicBezTo>
                      <a:cubicBezTo>
                        <a:pt x="117919" y="60550"/>
                        <a:pt x="117919" y="60550"/>
                        <a:pt x="117919" y="60550"/>
                      </a:cubicBezTo>
                      <a:cubicBezTo>
                        <a:pt x="117225" y="58348"/>
                        <a:pt x="117225" y="58348"/>
                        <a:pt x="117225" y="58348"/>
                      </a:cubicBezTo>
                      <a:cubicBezTo>
                        <a:pt x="117225" y="58348"/>
                        <a:pt x="117919" y="57247"/>
                        <a:pt x="117919" y="57247"/>
                      </a:cubicBezTo>
                      <a:cubicBezTo>
                        <a:pt x="117919" y="56146"/>
                        <a:pt x="118612" y="52844"/>
                        <a:pt x="118612" y="52844"/>
                      </a:cubicBezTo>
                      <a:cubicBezTo>
                        <a:pt x="118612" y="52844"/>
                        <a:pt x="118612" y="51743"/>
                        <a:pt x="118612" y="50642"/>
                      </a:cubicBezTo>
                      <a:cubicBezTo>
                        <a:pt x="118612" y="50642"/>
                        <a:pt x="117919" y="49541"/>
                        <a:pt x="117919" y="49541"/>
                      </a:cubicBezTo>
                      <a:cubicBezTo>
                        <a:pt x="117225" y="48440"/>
                        <a:pt x="117225" y="48440"/>
                        <a:pt x="117225" y="48440"/>
                      </a:cubicBezTo>
                      <a:cubicBezTo>
                        <a:pt x="117225" y="48440"/>
                        <a:pt x="116531" y="46238"/>
                        <a:pt x="116531" y="46238"/>
                      </a:cubicBezTo>
                      <a:cubicBezTo>
                        <a:pt x="115838" y="47339"/>
                        <a:pt x="115144" y="47339"/>
                        <a:pt x="115144" y="47339"/>
                      </a:cubicBezTo>
                      <a:cubicBezTo>
                        <a:pt x="115144" y="47339"/>
                        <a:pt x="115144" y="49541"/>
                        <a:pt x="115144" y="49541"/>
                      </a:cubicBezTo>
                      <a:cubicBezTo>
                        <a:pt x="114450" y="50642"/>
                        <a:pt x="113757" y="50642"/>
                        <a:pt x="113757" y="50642"/>
                      </a:cubicBezTo>
                      <a:cubicBezTo>
                        <a:pt x="113757" y="50642"/>
                        <a:pt x="113757" y="50642"/>
                        <a:pt x="113757" y="50642"/>
                      </a:cubicBezTo>
                      <a:cubicBezTo>
                        <a:pt x="113063" y="50642"/>
                        <a:pt x="113063" y="50642"/>
                        <a:pt x="113063" y="50642"/>
                      </a:cubicBezTo>
                      <a:cubicBezTo>
                        <a:pt x="112369" y="52844"/>
                        <a:pt x="112369" y="52844"/>
                        <a:pt x="112369" y="52844"/>
                      </a:cubicBezTo>
                      <a:cubicBezTo>
                        <a:pt x="111676" y="53944"/>
                        <a:pt x="111676" y="53944"/>
                        <a:pt x="111676" y="53944"/>
                      </a:cubicBezTo>
                      <a:cubicBezTo>
                        <a:pt x="111676" y="53944"/>
                        <a:pt x="110289" y="55045"/>
                        <a:pt x="109595" y="55045"/>
                      </a:cubicBezTo>
                      <a:cubicBezTo>
                        <a:pt x="109595" y="55045"/>
                        <a:pt x="108208" y="55045"/>
                        <a:pt x="108208" y="55045"/>
                      </a:cubicBezTo>
                      <a:cubicBezTo>
                        <a:pt x="107514" y="53944"/>
                        <a:pt x="107514" y="53944"/>
                        <a:pt x="107514" y="53944"/>
                      </a:cubicBezTo>
                      <a:cubicBezTo>
                        <a:pt x="105433" y="52844"/>
                        <a:pt x="105433" y="52844"/>
                        <a:pt x="105433" y="52844"/>
                      </a:cubicBezTo>
                      <a:cubicBezTo>
                        <a:pt x="105433" y="52844"/>
                        <a:pt x="105433" y="52844"/>
                        <a:pt x="105433" y="52844"/>
                      </a:cubicBezTo>
                      <a:cubicBezTo>
                        <a:pt x="104046" y="51743"/>
                        <a:pt x="104046" y="51743"/>
                        <a:pt x="104046" y="51743"/>
                      </a:cubicBezTo>
                      <a:cubicBezTo>
                        <a:pt x="103352" y="50642"/>
                        <a:pt x="103352" y="50642"/>
                        <a:pt x="103352" y="50642"/>
                      </a:cubicBezTo>
                      <a:cubicBezTo>
                        <a:pt x="103352" y="48440"/>
                        <a:pt x="103352" y="48440"/>
                        <a:pt x="103352" y="48440"/>
                      </a:cubicBezTo>
                      <a:cubicBezTo>
                        <a:pt x="101965" y="46238"/>
                        <a:pt x="101965" y="46238"/>
                        <a:pt x="101965" y="46238"/>
                      </a:cubicBezTo>
                      <a:cubicBezTo>
                        <a:pt x="99190" y="45137"/>
                        <a:pt x="99190" y="45137"/>
                        <a:pt x="99190" y="45137"/>
                      </a:cubicBezTo>
                      <a:cubicBezTo>
                        <a:pt x="97109" y="44036"/>
                        <a:pt x="97109" y="44036"/>
                        <a:pt x="97109" y="44036"/>
                      </a:cubicBezTo>
                      <a:cubicBezTo>
                        <a:pt x="95722" y="44036"/>
                        <a:pt x="95722" y="44036"/>
                        <a:pt x="95722" y="44036"/>
                      </a:cubicBezTo>
                      <a:cubicBezTo>
                        <a:pt x="95722" y="44036"/>
                        <a:pt x="92947" y="44036"/>
                        <a:pt x="92947" y="44036"/>
                      </a:cubicBezTo>
                      <a:cubicBezTo>
                        <a:pt x="92947"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1560" y="44036"/>
                        <a:pt x="91560" y="44036"/>
                        <a:pt x="91560" y="44036"/>
                      </a:cubicBezTo>
                      <a:cubicBezTo>
                        <a:pt x="92254" y="41834"/>
                        <a:pt x="92254" y="41834"/>
                        <a:pt x="92254" y="41834"/>
                      </a:cubicBezTo>
                      <a:cubicBezTo>
                        <a:pt x="92947" y="41834"/>
                        <a:pt x="92947" y="41834"/>
                        <a:pt x="92947" y="41834"/>
                      </a:cubicBezTo>
                      <a:cubicBezTo>
                        <a:pt x="92947" y="40733"/>
                        <a:pt x="92947" y="40733"/>
                        <a:pt x="92947" y="40733"/>
                      </a:cubicBezTo>
                      <a:cubicBezTo>
                        <a:pt x="92947" y="40733"/>
                        <a:pt x="92254" y="39633"/>
                        <a:pt x="92254" y="39633"/>
                      </a:cubicBezTo>
                      <a:cubicBezTo>
                        <a:pt x="92254" y="39633"/>
                        <a:pt x="92254" y="38532"/>
                        <a:pt x="92254" y="38532"/>
                      </a:cubicBezTo>
                      <a:cubicBezTo>
                        <a:pt x="92254" y="38532"/>
                        <a:pt x="92254" y="38532"/>
                        <a:pt x="92254" y="38532"/>
                      </a:cubicBezTo>
                      <a:cubicBezTo>
                        <a:pt x="92254" y="38532"/>
                        <a:pt x="92254" y="37431"/>
                        <a:pt x="92254" y="37431"/>
                      </a:cubicBezTo>
                      <a:cubicBezTo>
                        <a:pt x="92254" y="37431"/>
                        <a:pt x="92254" y="37431"/>
                        <a:pt x="92254" y="37431"/>
                      </a:cubicBezTo>
                      <a:cubicBezTo>
                        <a:pt x="92254" y="36330"/>
                        <a:pt x="92254" y="36330"/>
                        <a:pt x="92254" y="36330"/>
                      </a:cubicBezTo>
                      <a:cubicBezTo>
                        <a:pt x="92947" y="33027"/>
                        <a:pt x="92947" y="33027"/>
                        <a:pt x="92947" y="33027"/>
                      </a:cubicBezTo>
                      <a:cubicBezTo>
                        <a:pt x="94335" y="30825"/>
                        <a:pt x="94335" y="30825"/>
                        <a:pt x="94335" y="30825"/>
                      </a:cubicBezTo>
                      <a:cubicBezTo>
                        <a:pt x="94335" y="30825"/>
                        <a:pt x="94335" y="28623"/>
                        <a:pt x="95028" y="28623"/>
                      </a:cubicBezTo>
                      <a:cubicBezTo>
                        <a:pt x="95028" y="27522"/>
                        <a:pt x="95028" y="26422"/>
                        <a:pt x="95028" y="26422"/>
                      </a:cubicBezTo>
                      <a:cubicBezTo>
                        <a:pt x="96416" y="25321"/>
                        <a:pt x="96416" y="25321"/>
                        <a:pt x="96416" y="25321"/>
                      </a:cubicBezTo>
                      <a:cubicBezTo>
                        <a:pt x="96416" y="25321"/>
                        <a:pt x="97109" y="24220"/>
                        <a:pt x="97109" y="24220"/>
                      </a:cubicBezTo>
                      <a:cubicBezTo>
                        <a:pt x="97109" y="23119"/>
                        <a:pt x="96416" y="22018"/>
                        <a:pt x="96416" y="22018"/>
                      </a:cubicBezTo>
                      <a:cubicBezTo>
                        <a:pt x="96416" y="20917"/>
                        <a:pt x="97109" y="19816"/>
                        <a:pt x="97109" y="19816"/>
                      </a:cubicBezTo>
                      <a:cubicBezTo>
                        <a:pt x="96416" y="19816"/>
                        <a:pt x="96416" y="18715"/>
                        <a:pt x="95722" y="18715"/>
                      </a:cubicBezTo>
                      <a:cubicBezTo>
                        <a:pt x="95722" y="18715"/>
                        <a:pt x="95028" y="18715"/>
                        <a:pt x="95028" y="17614"/>
                      </a:cubicBezTo>
                      <a:cubicBezTo>
                        <a:pt x="95028" y="17614"/>
                        <a:pt x="94335" y="16513"/>
                        <a:pt x="94335" y="16513"/>
                      </a:cubicBezTo>
                      <a:cubicBezTo>
                        <a:pt x="94335" y="16513"/>
                        <a:pt x="94335" y="14311"/>
                        <a:pt x="93641" y="14311"/>
                      </a:cubicBezTo>
                      <a:cubicBezTo>
                        <a:pt x="93641" y="14311"/>
                        <a:pt x="92947" y="14311"/>
                        <a:pt x="92254" y="13211"/>
                      </a:cubicBezTo>
                      <a:cubicBezTo>
                        <a:pt x="91560" y="13211"/>
                        <a:pt x="90867" y="12110"/>
                        <a:pt x="90867" y="12110"/>
                      </a:cubicBezTo>
                      <a:cubicBezTo>
                        <a:pt x="90173" y="12110"/>
                        <a:pt x="88786" y="9908"/>
                        <a:pt x="88786" y="9908"/>
                      </a:cubicBezTo>
                      <a:cubicBezTo>
                        <a:pt x="88786" y="9908"/>
                        <a:pt x="88786" y="9908"/>
                        <a:pt x="88092" y="9908"/>
                      </a:cubicBezTo>
                      <a:cubicBezTo>
                        <a:pt x="88092" y="9908"/>
                        <a:pt x="87398" y="8807"/>
                        <a:pt x="87398" y="8807"/>
                      </a:cubicBezTo>
                      <a:cubicBezTo>
                        <a:pt x="86705" y="8807"/>
                        <a:pt x="86705" y="8807"/>
                        <a:pt x="86705" y="8807"/>
                      </a:cubicBezTo>
                      <a:cubicBezTo>
                        <a:pt x="86705" y="8807"/>
                        <a:pt x="86705" y="8807"/>
                        <a:pt x="86705" y="8807"/>
                      </a:cubicBezTo>
                      <a:cubicBezTo>
                        <a:pt x="86011" y="8807"/>
                        <a:pt x="86011" y="8807"/>
                        <a:pt x="85317" y="7706"/>
                      </a:cubicBezTo>
                      <a:cubicBezTo>
                        <a:pt x="83930" y="7706"/>
                        <a:pt x="84624" y="7706"/>
                        <a:pt x="83236" y="7706"/>
                      </a:cubicBezTo>
                      <a:cubicBezTo>
                        <a:pt x="82543" y="7706"/>
                        <a:pt x="81849" y="7706"/>
                        <a:pt x="81849" y="7706"/>
                      </a:cubicBezTo>
                      <a:cubicBezTo>
                        <a:pt x="81849" y="7706"/>
                        <a:pt x="81156" y="6605"/>
                        <a:pt x="79768" y="6605"/>
                      </a:cubicBezTo>
                      <a:cubicBezTo>
                        <a:pt x="79075" y="7706"/>
                        <a:pt x="77687" y="8807"/>
                        <a:pt x="76994" y="8807"/>
                      </a:cubicBezTo>
                      <a:cubicBezTo>
                        <a:pt x="76994" y="8807"/>
                        <a:pt x="76300" y="7706"/>
                        <a:pt x="76300" y="7706"/>
                      </a:cubicBezTo>
                      <a:cubicBezTo>
                        <a:pt x="76300" y="7706"/>
                        <a:pt x="76300" y="6605"/>
                        <a:pt x="76300" y="6605"/>
                      </a:cubicBezTo>
                      <a:cubicBezTo>
                        <a:pt x="76300" y="6605"/>
                        <a:pt x="75606" y="5504"/>
                        <a:pt x="74913" y="4403"/>
                      </a:cubicBezTo>
                      <a:cubicBezTo>
                        <a:pt x="74913" y="4403"/>
                        <a:pt x="74219" y="4403"/>
                        <a:pt x="74219" y="4403"/>
                      </a:cubicBezTo>
                      <a:cubicBezTo>
                        <a:pt x="74219" y="4403"/>
                        <a:pt x="74219" y="4403"/>
                        <a:pt x="74219" y="5504"/>
                      </a:cubicBezTo>
                      <a:cubicBezTo>
                        <a:pt x="74219" y="6605"/>
                        <a:pt x="75606" y="6605"/>
                        <a:pt x="74219" y="6605"/>
                      </a:cubicBezTo>
                      <a:cubicBezTo>
                        <a:pt x="73526" y="5504"/>
                        <a:pt x="72832" y="5504"/>
                        <a:pt x="72832" y="5504"/>
                      </a:cubicBezTo>
                      <a:cubicBezTo>
                        <a:pt x="70751" y="6605"/>
                        <a:pt x="70751" y="6605"/>
                        <a:pt x="70751" y="6605"/>
                      </a:cubicBezTo>
                      <a:cubicBezTo>
                        <a:pt x="71445" y="5504"/>
                        <a:pt x="71445" y="5504"/>
                        <a:pt x="71445" y="5504"/>
                      </a:cubicBezTo>
                      <a:cubicBezTo>
                        <a:pt x="71445" y="5504"/>
                        <a:pt x="72138" y="5504"/>
                        <a:pt x="72138" y="5504"/>
                      </a:cubicBezTo>
                      <a:cubicBezTo>
                        <a:pt x="72138" y="4403"/>
                        <a:pt x="72138" y="4403"/>
                        <a:pt x="72138" y="4403"/>
                      </a:cubicBezTo>
                      <a:cubicBezTo>
                        <a:pt x="72138" y="4403"/>
                        <a:pt x="72138" y="3302"/>
                        <a:pt x="72138" y="3302"/>
                      </a:cubicBezTo>
                      <a:cubicBezTo>
                        <a:pt x="72832" y="3302"/>
                        <a:pt x="73526" y="2201"/>
                        <a:pt x="72832" y="2201"/>
                      </a:cubicBezTo>
                      <a:cubicBezTo>
                        <a:pt x="72138" y="2201"/>
                        <a:pt x="71445" y="2201"/>
                        <a:pt x="71445" y="2201"/>
                      </a:cubicBezTo>
                      <a:cubicBezTo>
                        <a:pt x="71445" y="1100"/>
                        <a:pt x="71445" y="1100"/>
                        <a:pt x="71445" y="1100"/>
                      </a:cubicBezTo>
                      <a:cubicBezTo>
                        <a:pt x="71445" y="1100"/>
                        <a:pt x="70751" y="0"/>
                        <a:pt x="70751" y="0"/>
                      </a:cubicBezTo>
                      <a:cubicBezTo>
                        <a:pt x="70751" y="1100"/>
                        <a:pt x="70751" y="2201"/>
                        <a:pt x="70751" y="2201"/>
                      </a:cubicBezTo>
                      <a:cubicBezTo>
                        <a:pt x="70057" y="2201"/>
                        <a:pt x="70057" y="2201"/>
                        <a:pt x="70057" y="1100"/>
                      </a:cubicBezTo>
                      <a:cubicBezTo>
                        <a:pt x="70057" y="0"/>
                        <a:pt x="70057" y="0"/>
                        <a:pt x="70057" y="0"/>
                      </a:cubicBezTo>
                      <a:cubicBezTo>
                        <a:pt x="69364" y="0"/>
                        <a:pt x="68670" y="0"/>
                        <a:pt x="68670" y="0"/>
                      </a:cubicBezTo>
                      <a:cubicBezTo>
                        <a:pt x="68670" y="0"/>
                        <a:pt x="69364" y="1100"/>
                        <a:pt x="67976" y="1100"/>
                      </a:cubicBezTo>
                      <a:cubicBezTo>
                        <a:pt x="67283" y="1100"/>
                        <a:pt x="66589" y="2201"/>
                        <a:pt x="65895" y="2201"/>
                      </a:cubicBezTo>
                      <a:cubicBezTo>
                        <a:pt x="65202" y="3302"/>
                        <a:pt x="65202" y="4403"/>
                        <a:pt x="65202" y="4403"/>
                      </a:cubicBezTo>
                      <a:cubicBezTo>
                        <a:pt x="65202" y="5504"/>
                        <a:pt x="63815" y="5504"/>
                        <a:pt x="63815" y="6605"/>
                      </a:cubicBezTo>
                      <a:cubicBezTo>
                        <a:pt x="64508" y="6605"/>
                        <a:pt x="63815" y="6605"/>
                        <a:pt x="65202" y="7706"/>
                      </a:cubicBezTo>
                      <a:cubicBezTo>
                        <a:pt x="65895" y="7706"/>
                        <a:pt x="65895" y="7706"/>
                        <a:pt x="66589" y="7706"/>
                      </a:cubicBezTo>
                      <a:cubicBezTo>
                        <a:pt x="67283" y="8807"/>
                        <a:pt x="67976" y="7706"/>
                        <a:pt x="67976" y="7706"/>
                      </a:cubicBezTo>
                      <a:cubicBezTo>
                        <a:pt x="67976" y="7706"/>
                        <a:pt x="67976" y="7706"/>
                        <a:pt x="68670" y="8807"/>
                      </a:cubicBezTo>
                      <a:cubicBezTo>
                        <a:pt x="68670" y="8807"/>
                        <a:pt x="69364" y="7706"/>
                        <a:pt x="69364" y="8807"/>
                      </a:cubicBezTo>
                      <a:cubicBezTo>
                        <a:pt x="69364" y="9908"/>
                        <a:pt x="70057" y="11009"/>
                        <a:pt x="69364" y="11009"/>
                      </a:cubicBezTo>
                      <a:cubicBezTo>
                        <a:pt x="68670" y="11009"/>
                        <a:pt x="67976" y="12110"/>
                        <a:pt x="67976" y="11009"/>
                      </a:cubicBezTo>
                      <a:cubicBezTo>
                        <a:pt x="67976" y="11009"/>
                        <a:pt x="67976" y="9908"/>
                        <a:pt x="67283" y="9908"/>
                      </a:cubicBezTo>
                      <a:cubicBezTo>
                        <a:pt x="67283" y="9908"/>
                        <a:pt x="66589" y="9908"/>
                        <a:pt x="66589" y="9908"/>
                      </a:cubicBezTo>
                      <a:cubicBezTo>
                        <a:pt x="65895" y="12110"/>
                        <a:pt x="65895" y="12110"/>
                        <a:pt x="65895" y="12110"/>
                      </a:cubicBezTo>
                      <a:cubicBezTo>
                        <a:pt x="65895" y="12110"/>
                        <a:pt x="65895" y="13211"/>
                        <a:pt x="65202" y="13211"/>
                      </a:cubicBezTo>
                      <a:cubicBezTo>
                        <a:pt x="64508" y="13211"/>
                        <a:pt x="65202" y="13211"/>
                        <a:pt x="63815" y="13211"/>
                      </a:cubicBezTo>
                      <a:cubicBezTo>
                        <a:pt x="62427" y="13211"/>
                        <a:pt x="62427" y="12110"/>
                        <a:pt x="61734" y="12110"/>
                      </a:cubicBezTo>
                      <a:cubicBezTo>
                        <a:pt x="61734" y="12110"/>
                        <a:pt x="61734" y="12110"/>
                        <a:pt x="61040" y="12110"/>
                      </a:cubicBezTo>
                      <a:cubicBezTo>
                        <a:pt x="61040" y="12110"/>
                        <a:pt x="59653" y="9908"/>
                        <a:pt x="58959" y="12110"/>
                      </a:cubicBezTo>
                      <a:cubicBezTo>
                        <a:pt x="58265" y="13211"/>
                        <a:pt x="57572" y="14311"/>
                        <a:pt x="57572" y="14311"/>
                      </a:cubicBezTo>
                      <a:cubicBezTo>
                        <a:pt x="55491" y="14311"/>
                        <a:pt x="55491" y="14311"/>
                        <a:pt x="55491" y="14311"/>
                      </a:cubicBezTo>
                      <a:cubicBezTo>
                        <a:pt x="55491" y="14311"/>
                        <a:pt x="54797" y="14311"/>
                        <a:pt x="54104" y="14311"/>
                      </a:cubicBezTo>
                      <a:cubicBezTo>
                        <a:pt x="53410" y="14311"/>
                        <a:pt x="52716" y="14311"/>
                        <a:pt x="52716" y="14311"/>
                      </a:cubicBezTo>
                      <a:cubicBezTo>
                        <a:pt x="52023" y="15412"/>
                        <a:pt x="51329" y="12110"/>
                        <a:pt x="51329" y="12110"/>
                      </a:cubicBezTo>
                      <a:cubicBezTo>
                        <a:pt x="51329" y="12110"/>
                        <a:pt x="52023" y="9908"/>
                        <a:pt x="49942" y="12110"/>
                      </a:cubicBezTo>
                      <a:cubicBezTo>
                        <a:pt x="47861" y="14311"/>
                        <a:pt x="47167" y="14311"/>
                        <a:pt x="47167" y="14311"/>
                      </a:cubicBezTo>
                      <a:cubicBezTo>
                        <a:pt x="46473" y="14311"/>
                        <a:pt x="45780" y="15412"/>
                        <a:pt x="45780" y="15412"/>
                      </a:cubicBezTo>
                      <a:cubicBezTo>
                        <a:pt x="45086" y="14311"/>
                        <a:pt x="45086" y="14311"/>
                        <a:pt x="45086" y="14311"/>
                      </a:cubicBezTo>
                      <a:cubicBezTo>
                        <a:pt x="45086" y="14311"/>
                        <a:pt x="45086" y="14311"/>
                        <a:pt x="45086" y="14311"/>
                      </a:cubicBezTo>
                      <a:cubicBezTo>
                        <a:pt x="45086" y="14311"/>
                        <a:pt x="45086" y="14311"/>
                        <a:pt x="45086" y="14311"/>
                      </a:cubicBezTo>
                      <a:cubicBezTo>
                        <a:pt x="45780" y="14311"/>
                        <a:pt x="45780" y="13211"/>
                        <a:pt x="45780" y="13211"/>
                      </a:cubicBezTo>
                      <a:cubicBezTo>
                        <a:pt x="45086" y="12110"/>
                        <a:pt x="45086" y="12110"/>
                        <a:pt x="45086" y="12110"/>
                      </a:cubicBezTo>
                      <a:cubicBezTo>
                        <a:pt x="43005" y="13211"/>
                        <a:pt x="43005" y="13211"/>
                        <a:pt x="43005" y="13211"/>
                      </a:cubicBezTo>
                      <a:cubicBezTo>
                        <a:pt x="43005" y="13211"/>
                        <a:pt x="43699" y="13211"/>
                        <a:pt x="43005" y="13211"/>
                      </a:cubicBezTo>
                      <a:cubicBezTo>
                        <a:pt x="43005" y="13211"/>
                        <a:pt x="41618" y="13211"/>
                        <a:pt x="41618" y="13211"/>
                      </a:cubicBezTo>
                      <a:cubicBezTo>
                        <a:pt x="41618" y="15412"/>
                        <a:pt x="41618" y="15412"/>
                        <a:pt x="41618" y="15412"/>
                      </a:cubicBezTo>
                      <a:cubicBezTo>
                        <a:pt x="41618" y="15412"/>
                        <a:pt x="40924" y="15412"/>
                        <a:pt x="40924" y="15412"/>
                      </a:cubicBezTo>
                      <a:cubicBezTo>
                        <a:pt x="40924" y="15412"/>
                        <a:pt x="40924" y="16513"/>
                        <a:pt x="40924" y="16513"/>
                      </a:cubicBezTo>
                      <a:cubicBezTo>
                        <a:pt x="40924" y="16513"/>
                        <a:pt x="40924" y="17614"/>
                        <a:pt x="40924" y="17614"/>
                      </a:cubicBezTo>
                      <a:cubicBezTo>
                        <a:pt x="40924" y="17614"/>
                        <a:pt x="40231" y="17614"/>
                        <a:pt x="40231" y="17614"/>
                      </a:cubicBezTo>
                      <a:cubicBezTo>
                        <a:pt x="40231" y="17614"/>
                        <a:pt x="39537" y="17614"/>
                        <a:pt x="39537" y="17614"/>
                      </a:cubicBezTo>
                      <a:cubicBezTo>
                        <a:pt x="39537" y="17614"/>
                        <a:pt x="38843" y="19816"/>
                        <a:pt x="38843" y="19816"/>
                      </a:cubicBezTo>
                      <a:cubicBezTo>
                        <a:pt x="38843" y="19816"/>
                        <a:pt x="38843" y="20917"/>
                        <a:pt x="38843" y="20917"/>
                      </a:cubicBezTo>
                      <a:cubicBezTo>
                        <a:pt x="38843" y="20917"/>
                        <a:pt x="38843" y="20917"/>
                        <a:pt x="38843" y="22018"/>
                      </a:cubicBezTo>
                      <a:cubicBezTo>
                        <a:pt x="38150" y="22018"/>
                        <a:pt x="37456" y="22018"/>
                        <a:pt x="37456" y="22018"/>
                      </a:cubicBezTo>
                      <a:cubicBezTo>
                        <a:pt x="37456" y="22018"/>
                        <a:pt x="36763" y="22018"/>
                        <a:pt x="36069" y="22018"/>
                      </a:cubicBezTo>
                      <a:cubicBezTo>
                        <a:pt x="36069" y="22018"/>
                        <a:pt x="35375" y="22018"/>
                        <a:pt x="35375" y="22018"/>
                      </a:cubicBezTo>
                      <a:cubicBezTo>
                        <a:pt x="34682" y="22018"/>
                        <a:pt x="34682" y="23119"/>
                        <a:pt x="34682" y="23119"/>
                      </a:cubicBezTo>
                      <a:cubicBezTo>
                        <a:pt x="34682" y="23119"/>
                        <a:pt x="33294" y="22018"/>
                        <a:pt x="33294" y="22018"/>
                      </a:cubicBezTo>
                      <a:cubicBezTo>
                        <a:pt x="32601" y="22018"/>
                        <a:pt x="32601" y="20917"/>
                        <a:pt x="32601" y="19816"/>
                      </a:cubicBezTo>
                      <a:cubicBezTo>
                        <a:pt x="32601" y="19816"/>
                        <a:pt x="31907" y="17614"/>
                        <a:pt x="31907" y="17614"/>
                      </a:cubicBezTo>
                      <a:cubicBezTo>
                        <a:pt x="31213" y="18715"/>
                        <a:pt x="31213" y="18715"/>
                        <a:pt x="31213" y="18715"/>
                      </a:cubicBezTo>
                      <a:cubicBezTo>
                        <a:pt x="29132" y="18715"/>
                        <a:pt x="29132" y="18715"/>
                        <a:pt x="29132" y="18715"/>
                      </a:cubicBezTo>
                      <a:cubicBezTo>
                        <a:pt x="27745" y="17614"/>
                        <a:pt x="27745" y="17614"/>
                        <a:pt x="27745" y="17614"/>
                      </a:cubicBezTo>
                      <a:cubicBezTo>
                        <a:pt x="27745" y="19816"/>
                        <a:pt x="27745" y="19816"/>
                        <a:pt x="27745" y="19816"/>
                      </a:cubicBezTo>
                      <a:cubicBezTo>
                        <a:pt x="27745" y="19816"/>
                        <a:pt x="28439" y="20917"/>
                        <a:pt x="28439" y="20917"/>
                      </a:cubicBezTo>
                      <a:cubicBezTo>
                        <a:pt x="28439" y="20917"/>
                        <a:pt x="27745" y="20917"/>
                        <a:pt x="27745" y="20917"/>
                      </a:cubicBezTo>
                      <a:cubicBezTo>
                        <a:pt x="27052" y="22018"/>
                        <a:pt x="27052" y="22018"/>
                        <a:pt x="27052" y="22018"/>
                      </a:cubicBezTo>
                      <a:cubicBezTo>
                        <a:pt x="26358" y="22018"/>
                        <a:pt x="26358" y="22018"/>
                        <a:pt x="26358" y="22018"/>
                      </a:cubicBezTo>
                      <a:cubicBezTo>
                        <a:pt x="26358" y="22018"/>
                        <a:pt x="25664" y="24220"/>
                        <a:pt x="25664" y="24220"/>
                      </a:cubicBezTo>
                      <a:cubicBezTo>
                        <a:pt x="25664" y="25321"/>
                        <a:pt x="24971" y="25321"/>
                        <a:pt x="24971" y="25321"/>
                      </a:cubicBezTo>
                      <a:cubicBezTo>
                        <a:pt x="24971" y="25321"/>
                        <a:pt x="24277" y="25321"/>
                        <a:pt x="24971" y="26422"/>
                      </a:cubicBezTo>
                      <a:cubicBezTo>
                        <a:pt x="25664" y="26422"/>
                        <a:pt x="26358" y="26422"/>
                        <a:pt x="26358" y="26422"/>
                      </a:cubicBezTo>
                      <a:cubicBezTo>
                        <a:pt x="27052" y="26422"/>
                        <a:pt x="27745" y="26422"/>
                        <a:pt x="27745" y="26422"/>
                      </a:cubicBezTo>
                      <a:cubicBezTo>
                        <a:pt x="27745" y="26422"/>
                        <a:pt x="29132" y="25321"/>
                        <a:pt x="29132" y="25321"/>
                      </a:cubicBezTo>
                      <a:cubicBezTo>
                        <a:pt x="29132" y="26422"/>
                        <a:pt x="29132" y="26422"/>
                        <a:pt x="29132" y="26422"/>
                      </a:cubicBezTo>
                      <a:cubicBezTo>
                        <a:pt x="29132" y="28623"/>
                        <a:pt x="29132" y="28623"/>
                        <a:pt x="29132" y="28623"/>
                      </a:cubicBezTo>
                      <a:cubicBezTo>
                        <a:pt x="28439" y="28623"/>
                        <a:pt x="28439" y="28623"/>
                        <a:pt x="28439" y="28623"/>
                      </a:cubicBezTo>
                      <a:cubicBezTo>
                        <a:pt x="28439" y="28623"/>
                        <a:pt x="28439" y="29724"/>
                        <a:pt x="28439" y="29724"/>
                      </a:cubicBezTo>
                      <a:cubicBezTo>
                        <a:pt x="27745" y="30825"/>
                        <a:pt x="27052" y="30825"/>
                        <a:pt x="27052" y="30825"/>
                      </a:cubicBezTo>
                      <a:cubicBezTo>
                        <a:pt x="26358" y="31926"/>
                        <a:pt x="26358" y="31926"/>
                        <a:pt x="26358" y="33027"/>
                      </a:cubicBezTo>
                      <a:cubicBezTo>
                        <a:pt x="26358" y="34128"/>
                        <a:pt x="25664" y="36330"/>
                        <a:pt x="25664" y="36330"/>
                      </a:cubicBezTo>
                      <a:cubicBezTo>
                        <a:pt x="24277" y="37431"/>
                        <a:pt x="24277" y="37431"/>
                        <a:pt x="24277" y="37431"/>
                      </a:cubicBezTo>
                      <a:cubicBezTo>
                        <a:pt x="22890" y="39633"/>
                        <a:pt x="22890" y="39633"/>
                        <a:pt x="22890" y="39633"/>
                      </a:cubicBezTo>
                      <a:cubicBezTo>
                        <a:pt x="22196" y="39633"/>
                        <a:pt x="22196" y="39633"/>
                        <a:pt x="22196" y="39633"/>
                      </a:cubicBezTo>
                      <a:cubicBezTo>
                        <a:pt x="21502" y="40733"/>
                        <a:pt x="21502" y="40733"/>
                        <a:pt x="21502" y="40733"/>
                      </a:cubicBezTo>
                      <a:cubicBezTo>
                        <a:pt x="21502" y="41834"/>
                        <a:pt x="21502" y="41834"/>
                        <a:pt x="21502" y="41834"/>
                      </a:cubicBezTo>
                      <a:cubicBezTo>
                        <a:pt x="20115" y="42935"/>
                        <a:pt x="20115" y="42935"/>
                        <a:pt x="20115" y="42935"/>
                      </a:cubicBezTo>
                      <a:cubicBezTo>
                        <a:pt x="20115" y="45137"/>
                        <a:pt x="20115" y="45137"/>
                        <a:pt x="20115" y="45137"/>
                      </a:cubicBezTo>
                      <a:cubicBezTo>
                        <a:pt x="19421" y="46238"/>
                        <a:pt x="19421" y="46238"/>
                        <a:pt x="19421" y="46238"/>
                      </a:cubicBezTo>
                      <a:cubicBezTo>
                        <a:pt x="18728" y="46238"/>
                        <a:pt x="18728" y="46238"/>
                        <a:pt x="18728" y="46238"/>
                      </a:cubicBezTo>
                      <a:cubicBezTo>
                        <a:pt x="18034" y="48440"/>
                        <a:pt x="18034" y="48440"/>
                        <a:pt x="18034" y="48440"/>
                      </a:cubicBezTo>
                      <a:cubicBezTo>
                        <a:pt x="18034" y="48440"/>
                        <a:pt x="17341" y="49541"/>
                        <a:pt x="17341" y="49541"/>
                      </a:cubicBezTo>
                      <a:cubicBezTo>
                        <a:pt x="16647" y="49541"/>
                        <a:pt x="15953" y="50642"/>
                        <a:pt x="15953" y="50642"/>
                      </a:cubicBezTo>
                      <a:cubicBezTo>
                        <a:pt x="14566" y="50642"/>
                        <a:pt x="14566" y="50642"/>
                        <a:pt x="14566" y="50642"/>
                      </a:cubicBezTo>
                      <a:cubicBezTo>
                        <a:pt x="14566" y="50642"/>
                        <a:pt x="13872" y="50642"/>
                        <a:pt x="13179" y="51743"/>
                      </a:cubicBezTo>
                      <a:cubicBezTo>
                        <a:pt x="13179" y="52844"/>
                        <a:pt x="13179" y="52844"/>
                        <a:pt x="13179" y="52844"/>
                      </a:cubicBezTo>
                      <a:cubicBezTo>
                        <a:pt x="13179" y="53944"/>
                        <a:pt x="13872" y="55045"/>
                        <a:pt x="13872" y="55045"/>
                      </a:cubicBezTo>
                      <a:cubicBezTo>
                        <a:pt x="13872" y="57247"/>
                        <a:pt x="13872" y="57247"/>
                        <a:pt x="13872" y="57247"/>
                      </a:cubicBezTo>
                      <a:cubicBezTo>
                        <a:pt x="13872" y="57247"/>
                        <a:pt x="13179" y="57247"/>
                        <a:pt x="13179" y="58348"/>
                      </a:cubicBezTo>
                      <a:cubicBezTo>
                        <a:pt x="13179" y="58348"/>
                        <a:pt x="13179" y="59449"/>
                        <a:pt x="13179" y="59449"/>
                      </a:cubicBezTo>
                      <a:cubicBezTo>
                        <a:pt x="13179" y="59449"/>
                        <a:pt x="13179" y="60550"/>
                        <a:pt x="13179" y="60550"/>
                      </a:cubicBezTo>
                      <a:cubicBezTo>
                        <a:pt x="13179" y="60550"/>
                        <a:pt x="13179" y="61651"/>
                        <a:pt x="13179" y="61651"/>
                      </a:cubicBezTo>
                      <a:cubicBezTo>
                        <a:pt x="13179" y="61651"/>
                        <a:pt x="13179" y="62752"/>
                        <a:pt x="12485" y="63853"/>
                      </a:cubicBezTo>
                      <a:cubicBezTo>
                        <a:pt x="12485" y="63853"/>
                        <a:pt x="11791" y="64954"/>
                        <a:pt x="11791" y="64954"/>
                      </a:cubicBezTo>
                      <a:cubicBezTo>
                        <a:pt x="11791" y="64954"/>
                        <a:pt x="10404" y="64954"/>
                        <a:pt x="10404" y="64954"/>
                      </a:cubicBezTo>
                      <a:cubicBezTo>
                        <a:pt x="10404" y="66055"/>
                        <a:pt x="9017" y="66055"/>
                        <a:pt x="9017" y="66055"/>
                      </a:cubicBezTo>
                      <a:cubicBezTo>
                        <a:pt x="7630" y="68256"/>
                        <a:pt x="7630" y="68256"/>
                        <a:pt x="7630" y="68256"/>
                      </a:cubicBezTo>
                      <a:cubicBezTo>
                        <a:pt x="4855" y="72660"/>
                        <a:pt x="4855" y="72660"/>
                        <a:pt x="4855" y="72660"/>
                      </a:cubicBezTo>
                      <a:cubicBezTo>
                        <a:pt x="4855" y="72660"/>
                        <a:pt x="4855" y="73761"/>
                        <a:pt x="4855" y="73761"/>
                      </a:cubicBezTo>
                      <a:cubicBezTo>
                        <a:pt x="4855" y="73761"/>
                        <a:pt x="4855" y="75963"/>
                        <a:pt x="4855" y="75963"/>
                      </a:cubicBezTo>
                      <a:cubicBezTo>
                        <a:pt x="4855" y="77064"/>
                        <a:pt x="4161" y="78165"/>
                        <a:pt x="4161" y="78165"/>
                      </a:cubicBezTo>
                      <a:cubicBezTo>
                        <a:pt x="3468" y="79266"/>
                        <a:pt x="3468" y="79266"/>
                        <a:pt x="3468" y="79266"/>
                      </a:cubicBezTo>
                      <a:cubicBezTo>
                        <a:pt x="3468" y="81467"/>
                        <a:pt x="3468" y="81467"/>
                        <a:pt x="3468" y="81467"/>
                      </a:cubicBezTo>
                      <a:cubicBezTo>
                        <a:pt x="3468" y="82568"/>
                        <a:pt x="3468" y="82568"/>
                        <a:pt x="3468" y="82568"/>
                      </a:cubicBezTo>
                      <a:cubicBezTo>
                        <a:pt x="4161" y="83669"/>
                        <a:pt x="4161" y="83669"/>
                        <a:pt x="4161" y="83669"/>
                      </a:cubicBezTo>
                      <a:cubicBezTo>
                        <a:pt x="4855" y="84770"/>
                        <a:pt x="4855" y="84770"/>
                        <a:pt x="4855" y="84770"/>
                      </a:cubicBezTo>
                      <a:cubicBezTo>
                        <a:pt x="4855" y="88073"/>
                        <a:pt x="4855" y="88073"/>
                        <a:pt x="4855" y="88073"/>
                      </a:cubicBezTo>
                      <a:cubicBezTo>
                        <a:pt x="4161" y="90275"/>
                        <a:pt x="4161" y="90275"/>
                        <a:pt x="4161" y="90275"/>
                      </a:cubicBezTo>
                      <a:cubicBezTo>
                        <a:pt x="4161" y="92477"/>
                        <a:pt x="4161" y="92477"/>
                        <a:pt x="4161" y="92477"/>
                      </a:cubicBezTo>
                      <a:cubicBezTo>
                        <a:pt x="2774" y="92477"/>
                        <a:pt x="2774" y="92477"/>
                        <a:pt x="2774" y="92477"/>
                      </a:cubicBezTo>
                      <a:cubicBezTo>
                        <a:pt x="2774" y="92477"/>
                        <a:pt x="2080" y="93577"/>
                        <a:pt x="1387" y="93577"/>
                      </a:cubicBezTo>
                      <a:cubicBezTo>
                        <a:pt x="1387" y="93577"/>
                        <a:pt x="693" y="94678"/>
                        <a:pt x="693" y="94678"/>
                      </a:cubicBezTo>
                      <a:cubicBezTo>
                        <a:pt x="0" y="95779"/>
                        <a:pt x="0" y="95779"/>
                        <a:pt x="0" y="95779"/>
                      </a:cubicBezTo>
                      <a:cubicBezTo>
                        <a:pt x="693" y="96880"/>
                        <a:pt x="693" y="96880"/>
                        <a:pt x="693" y="96880"/>
                      </a:cubicBezTo>
                      <a:cubicBezTo>
                        <a:pt x="693" y="99082"/>
                        <a:pt x="693" y="99082"/>
                        <a:pt x="693" y="99082"/>
                      </a:cubicBezTo>
                      <a:cubicBezTo>
                        <a:pt x="1387" y="99082"/>
                        <a:pt x="1387" y="99082"/>
                        <a:pt x="1387" y="99082"/>
                      </a:cubicBezTo>
                      <a:cubicBezTo>
                        <a:pt x="2774" y="97981"/>
                        <a:pt x="2774" y="97981"/>
                        <a:pt x="2774" y="97981"/>
                      </a:cubicBezTo>
                      <a:cubicBezTo>
                        <a:pt x="4161" y="99082"/>
                        <a:pt x="4161" y="99082"/>
                        <a:pt x="4161" y="99082"/>
                      </a:cubicBezTo>
                      <a:cubicBezTo>
                        <a:pt x="6242" y="97981"/>
                        <a:pt x="6242" y="97981"/>
                        <a:pt x="6242" y="97981"/>
                      </a:cubicBezTo>
                      <a:cubicBezTo>
                        <a:pt x="6242" y="97981"/>
                        <a:pt x="6242" y="96880"/>
                        <a:pt x="6936" y="95779"/>
                      </a:cubicBezTo>
                      <a:cubicBezTo>
                        <a:pt x="7630" y="94678"/>
                        <a:pt x="8323" y="94678"/>
                        <a:pt x="8323" y="94678"/>
                      </a:cubicBezTo>
                      <a:cubicBezTo>
                        <a:pt x="9017" y="92477"/>
                        <a:pt x="9017" y="92477"/>
                        <a:pt x="9017" y="92477"/>
                      </a:cubicBezTo>
                      <a:cubicBezTo>
                        <a:pt x="8323" y="92477"/>
                        <a:pt x="8323" y="92477"/>
                        <a:pt x="8323" y="92477"/>
                      </a:cubicBezTo>
                      <a:cubicBezTo>
                        <a:pt x="8323" y="90275"/>
                        <a:pt x="8323" y="90275"/>
                        <a:pt x="8323" y="90275"/>
                      </a:cubicBezTo>
                      <a:cubicBezTo>
                        <a:pt x="6936" y="89174"/>
                        <a:pt x="6936" y="89174"/>
                        <a:pt x="6936" y="89174"/>
                      </a:cubicBezTo>
                      <a:cubicBezTo>
                        <a:pt x="6936" y="89174"/>
                        <a:pt x="6936" y="88073"/>
                        <a:pt x="6936" y="88073"/>
                      </a:cubicBezTo>
                      <a:cubicBezTo>
                        <a:pt x="7630" y="86972"/>
                        <a:pt x="8323" y="84770"/>
                        <a:pt x="8323" y="84770"/>
                      </a:cubicBezTo>
                      <a:cubicBezTo>
                        <a:pt x="10404" y="83669"/>
                        <a:pt x="10404" y="83669"/>
                        <a:pt x="10404" y="83669"/>
                      </a:cubicBezTo>
                      <a:cubicBezTo>
                        <a:pt x="12485" y="82568"/>
                        <a:pt x="12485" y="82568"/>
                        <a:pt x="12485" y="82568"/>
                      </a:cubicBezTo>
                      <a:cubicBezTo>
                        <a:pt x="13179" y="81467"/>
                        <a:pt x="13179" y="81467"/>
                        <a:pt x="13179" y="81467"/>
                      </a:cubicBezTo>
                      <a:cubicBezTo>
                        <a:pt x="14566" y="80366"/>
                        <a:pt x="14566" y="80366"/>
                        <a:pt x="14566" y="80366"/>
                      </a:cubicBezTo>
                      <a:cubicBezTo>
                        <a:pt x="14566" y="80366"/>
                        <a:pt x="16647" y="80366"/>
                        <a:pt x="16647" y="80366"/>
                      </a:cubicBezTo>
                      <a:cubicBezTo>
                        <a:pt x="16647" y="80366"/>
                        <a:pt x="19421" y="80366"/>
                        <a:pt x="19421" y="80366"/>
                      </a:cubicBezTo>
                      <a:lnTo>
                        <a:pt x="21502" y="82568"/>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60" name="Shape 2025"/>
                <p:cNvSpPr/>
                <p:nvPr/>
              </p:nvSpPr>
              <p:spPr>
                <a:xfrm>
                  <a:off x="5753789" y="1798916"/>
                  <a:ext cx="494744" cy="296185"/>
                </a:xfrm>
                <a:custGeom>
                  <a:avLst/>
                  <a:gdLst/>
                  <a:ahLst/>
                  <a:cxnLst/>
                  <a:rect l="0" t="0" r="0" b="0"/>
                  <a:pathLst>
                    <a:path w="120000" h="120000" extrusionOk="0">
                      <a:moveTo>
                        <a:pt x="10506" y="40298"/>
                      </a:moveTo>
                      <a:cubicBezTo>
                        <a:pt x="13271" y="35820"/>
                        <a:pt x="13271" y="35820"/>
                        <a:pt x="13271" y="35820"/>
                      </a:cubicBezTo>
                      <a:cubicBezTo>
                        <a:pt x="13271" y="35820"/>
                        <a:pt x="16589" y="31343"/>
                        <a:pt x="17142" y="31343"/>
                      </a:cubicBezTo>
                      <a:cubicBezTo>
                        <a:pt x="18248" y="30447"/>
                        <a:pt x="19907" y="28656"/>
                        <a:pt x="19907" y="29552"/>
                      </a:cubicBezTo>
                      <a:cubicBezTo>
                        <a:pt x="19907" y="30447"/>
                        <a:pt x="20460" y="36716"/>
                        <a:pt x="20460" y="36716"/>
                      </a:cubicBezTo>
                      <a:cubicBezTo>
                        <a:pt x="23225" y="38507"/>
                        <a:pt x="23225" y="38507"/>
                        <a:pt x="23225" y="38507"/>
                      </a:cubicBezTo>
                      <a:cubicBezTo>
                        <a:pt x="25437" y="41194"/>
                        <a:pt x="25437" y="41194"/>
                        <a:pt x="25437" y="41194"/>
                      </a:cubicBezTo>
                      <a:cubicBezTo>
                        <a:pt x="29861" y="44776"/>
                        <a:pt x="29861" y="44776"/>
                        <a:pt x="29861" y="44776"/>
                      </a:cubicBezTo>
                      <a:cubicBezTo>
                        <a:pt x="30414" y="47462"/>
                        <a:pt x="30414" y="47462"/>
                        <a:pt x="30414" y="47462"/>
                      </a:cubicBezTo>
                      <a:cubicBezTo>
                        <a:pt x="30414" y="47462"/>
                        <a:pt x="29861" y="49253"/>
                        <a:pt x="30967" y="51940"/>
                      </a:cubicBezTo>
                      <a:cubicBezTo>
                        <a:pt x="32626" y="54626"/>
                        <a:pt x="33179" y="54626"/>
                        <a:pt x="33732" y="57313"/>
                      </a:cubicBezTo>
                      <a:cubicBezTo>
                        <a:pt x="34285" y="59104"/>
                        <a:pt x="36497" y="60895"/>
                        <a:pt x="36497" y="60895"/>
                      </a:cubicBezTo>
                      <a:cubicBezTo>
                        <a:pt x="39262" y="61791"/>
                        <a:pt x="39262" y="61791"/>
                        <a:pt x="39262" y="61791"/>
                      </a:cubicBezTo>
                      <a:cubicBezTo>
                        <a:pt x="39262" y="61791"/>
                        <a:pt x="42027" y="63582"/>
                        <a:pt x="42580" y="62686"/>
                      </a:cubicBezTo>
                      <a:cubicBezTo>
                        <a:pt x="43133" y="61791"/>
                        <a:pt x="45898" y="58208"/>
                        <a:pt x="45898" y="57313"/>
                      </a:cubicBezTo>
                      <a:cubicBezTo>
                        <a:pt x="46451" y="56417"/>
                        <a:pt x="48110" y="52835"/>
                        <a:pt x="48663" y="51940"/>
                      </a:cubicBezTo>
                      <a:cubicBezTo>
                        <a:pt x="49216" y="51044"/>
                        <a:pt x="50875" y="44776"/>
                        <a:pt x="50875" y="43880"/>
                      </a:cubicBezTo>
                      <a:cubicBezTo>
                        <a:pt x="50875" y="42089"/>
                        <a:pt x="48663" y="34925"/>
                        <a:pt x="48110" y="33134"/>
                      </a:cubicBezTo>
                      <a:cubicBezTo>
                        <a:pt x="48110" y="31343"/>
                        <a:pt x="47557" y="25970"/>
                        <a:pt x="47557" y="25970"/>
                      </a:cubicBezTo>
                      <a:cubicBezTo>
                        <a:pt x="45345" y="18805"/>
                        <a:pt x="45345" y="18805"/>
                        <a:pt x="45345" y="18805"/>
                      </a:cubicBezTo>
                      <a:cubicBezTo>
                        <a:pt x="45345" y="18805"/>
                        <a:pt x="45345" y="14328"/>
                        <a:pt x="45898" y="14328"/>
                      </a:cubicBezTo>
                      <a:cubicBezTo>
                        <a:pt x="46451" y="13432"/>
                        <a:pt x="49216" y="9850"/>
                        <a:pt x="49216" y="9850"/>
                      </a:cubicBezTo>
                      <a:cubicBezTo>
                        <a:pt x="51981" y="5373"/>
                        <a:pt x="51981" y="5373"/>
                        <a:pt x="51981" y="5373"/>
                      </a:cubicBezTo>
                      <a:cubicBezTo>
                        <a:pt x="54746" y="2686"/>
                        <a:pt x="54746" y="2686"/>
                        <a:pt x="54746" y="2686"/>
                      </a:cubicBezTo>
                      <a:cubicBezTo>
                        <a:pt x="56958" y="0"/>
                        <a:pt x="56958" y="0"/>
                        <a:pt x="56958" y="0"/>
                      </a:cubicBezTo>
                      <a:cubicBezTo>
                        <a:pt x="59723" y="1791"/>
                        <a:pt x="59723" y="1791"/>
                        <a:pt x="59723" y="1791"/>
                      </a:cubicBezTo>
                      <a:cubicBezTo>
                        <a:pt x="61935" y="1791"/>
                        <a:pt x="61935" y="1791"/>
                        <a:pt x="61935" y="1791"/>
                      </a:cubicBezTo>
                      <a:cubicBezTo>
                        <a:pt x="64147" y="3582"/>
                        <a:pt x="64147" y="3582"/>
                        <a:pt x="64147" y="3582"/>
                      </a:cubicBezTo>
                      <a:cubicBezTo>
                        <a:pt x="66912" y="3582"/>
                        <a:pt x="66912" y="3582"/>
                        <a:pt x="66912" y="3582"/>
                      </a:cubicBezTo>
                      <a:cubicBezTo>
                        <a:pt x="69124" y="4477"/>
                        <a:pt x="69124" y="4477"/>
                        <a:pt x="69124" y="4477"/>
                      </a:cubicBezTo>
                      <a:cubicBezTo>
                        <a:pt x="71889" y="6268"/>
                        <a:pt x="71889" y="6268"/>
                        <a:pt x="71889" y="6268"/>
                      </a:cubicBezTo>
                      <a:cubicBezTo>
                        <a:pt x="76866" y="11641"/>
                        <a:pt x="76866" y="11641"/>
                        <a:pt x="76866" y="11641"/>
                      </a:cubicBezTo>
                      <a:cubicBezTo>
                        <a:pt x="78525" y="15223"/>
                        <a:pt x="78525" y="15223"/>
                        <a:pt x="78525" y="15223"/>
                      </a:cubicBezTo>
                      <a:cubicBezTo>
                        <a:pt x="80184" y="16119"/>
                        <a:pt x="80184" y="16119"/>
                        <a:pt x="80184" y="16119"/>
                      </a:cubicBezTo>
                      <a:cubicBezTo>
                        <a:pt x="80184" y="16119"/>
                        <a:pt x="81290" y="17910"/>
                        <a:pt x="82396" y="17014"/>
                      </a:cubicBezTo>
                      <a:cubicBezTo>
                        <a:pt x="82949" y="17014"/>
                        <a:pt x="83502" y="16119"/>
                        <a:pt x="84055" y="15223"/>
                      </a:cubicBezTo>
                      <a:cubicBezTo>
                        <a:pt x="85161" y="14328"/>
                        <a:pt x="85714" y="12537"/>
                        <a:pt x="85714" y="12537"/>
                      </a:cubicBezTo>
                      <a:cubicBezTo>
                        <a:pt x="86820" y="12537"/>
                        <a:pt x="86820" y="12537"/>
                        <a:pt x="86820" y="12537"/>
                      </a:cubicBezTo>
                      <a:cubicBezTo>
                        <a:pt x="87926" y="9850"/>
                        <a:pt x="87926" y="9850"/>
                        <a:pt x="87926" y="9850"/>
                      </a:cubicBezTo>
                      <a:cubicBezTo>
                        <a:pt x="92350" y="11641"/>
                        <a:pt x="92350" y="11641"/>
                        <a:pt x="92350" y="11641"/>
                      </a:cubicBezTo>
                      <a:cubicBezTo>
                        <a:pt x="94562" y="11641"/>
                        <a:pt x="94562" y="11641"/>
                        <a:pt x="94562" y="11641"/>
                      </a:cubicBezTo>
                      <a:cubicBezTo>
                        <a:pt x="97880" y="9850"/>
                        <a:pt x="97880" y="9850"/>
                        <a:pt x="97880" y="9850"/>
                      </a:cubicBezTo>
                      <a:cubicBezTo>
                        <a:pt x="99539" y="12537"/>
                        <a:pt x="99539" y="12537"/>
                        <a:pt x="99539" y="12537"/>
                      </a:cubicBezTo>
                      <a:cubicBezTo>
                        <a:pt x="99539" y="15223"/>
                        <a:pt x="99539" y="15223"/>
                        <a:pt x="99539" y="15223"/>
                      </a:cubicBezTo>
                      <a:cubicBezTo>
                        <a:pt x="101751" y="16119"/>
                        <a:pt x="101751" y="16119"/>
                        <a:pt x="101751" y="16119"/>
                      </a:cubicBezTo>
                      <a:cubicBezTo>
                        <a:pt x="101751" y="16119"/>
                        <a:pt x="103410" y="17910"/>
                        <a:pt x="103963" y="17910"/>
                      </a:cubicBezTo>
                      <a:cubicBezTo>
                        <a:pt x="104516" y="17910"/>
                        <a:pt x="105622" y="18805"/>
                        <a:pt x="105622" y="18805"/>
                      </a:cubicBezTo>
                      <a:cubicBezTo>
                        <a:pt x="106175" y="27761"/>
                        <a:pt x="106175" y="27761"/>
                        <a:pt x="106175" y="27761"/>
                      </a:cubicBezTo>
                      <a:cubicBezTo>
                        <a:pt x="105069" y="30447"/>
                        <a:pt x="105069" y="30447"/>
                        <a:pt x="105069" y="30447"/>
                      </a:cubicBezTo>
                      <a:cubicBezTo>
                        <a:pt x="106175" y="37611"/>
                        <a:pt x="106175" y="37611"/>
                        <a:pt x="106175" y="37611"/>
                      </a:cubicBezTo>
                      <a:cubicBezTo>
                        <a:pt x="106175" y="41194"/>
                        <a:pt x="106175" y="41194"/>
                        <a:pt x="106175" y="41194"/>
                      </a:cubicBezTo>
                      <a:cubicBezTo>
                        <a:pt x="108387" y="38507"/>
                        <a:pt x="108387" y="38507"/>
                        <a:pt x="108387" y="38507"/>
                      </a:cubicBezTo>
                      <a:cubicBezTo>
                        <a:pt x="110599" y="41194"/>
                        <a:pt x="110599" y="41194"/>
                        <a:pt x="110599" y="41194"/>
                      </a:cubicBezTo>
                      <a:cubicBezTo>
                        <a:pt x="109493" y="43880"/>
                        <a:pt x="109493" y="43880"/>
                        <a:pt x="109493" y="43880"/>
                      </a:cubicBezTo>
                      <a:cubicBezTo>
                        <a:pt x="112258" y="47462"/>
                        <a:pt x="112258" y="47462"/>
                        <a:pt x="112258" y="47462"/>
                      </a:cubicBezTo>
                      <a:cubicBezTo>
                        <a:pt x="114470" y="49253"/>
                        <a:pt x="114470" y="49253"/>
                        <a:pt x="114470" y="49253"/>
                      </a:cubicBezTo>
                      <a:cubicBezTo>
                        <a:pt x="113917" y="51940"/>
                        <a:pt x="113917" y="51940"/>
                        <a:pt x="113917" y="51940"/>
                      </a:cubicBezTo>
                      <a:cubicBezTo>
                        <a:pt x="113917" y="51940"/>
                        <a:pt x="114470" y="52835"/>
                        <a:pt x="115023" y="52835"/>
                      </a:cubicBezTo>
                      <a:cubicBezTo>
                        <a:pt x="115576" y="53731"/>
                        <a:pt x="116682" y="54626"/>
                        <a:pt x="116682" y="54626"/>
                      </a:cubicBezTo>
                      <a:cubicBezTo>
                        <a:pt x="116682" y="54626"/>
                        <a:pt x="117235" y="57313"/>
                        <a:pt x="117235" y="59104"/>
                      </a:cubicBezTo>
                      <a:cubicBezTo>
                        <a:pt x="117788" y="60000"/>
                        <a:pt x="120000" y="62686"/>
                        <a:pt x="120000" y="62686"/>
                      </a:cubicBezTo>
                      <a:cubicBezTo>
                        <a:pt x="119447" y="67164"/>
                        <a:pt x="119447" y="67164"/>
                        <a:pt x="119447" y="67164"/>
                      </a:cubicBezTo>
                      <a:cubicBezTo>
                        <a:pt x="119447" y="67164"/>
                        <a:pt x="119447" y="68955"/>
                        <a:pt x="119447" y="69850"/>
                      </a:cubicBezTo>
                      <a:cubicBezTo>
                        <a:pt x="119447" y="70746"/>
                        <a:pt x="119447" y="71641"/>
                        <a:pt x="119447" y="72537"/>
                      </a:cubicBezTo>
                      <a:cubicBezTo>
                        <a:pt x="119447" y="71641"/>
                        <a:pt x="119447" y="71641"/>
                        <a:pt x="119447" y="71641"/>
                      </a:cubicBezTo>
                      <a:cubicBezTo>
                        <a:pt x="116682" y="74328"/>
                        <a:pt x="116682" y="74328"/>
                        <a:pt x="116682" y="74328"/>
                      </a:cubicBezTo>
                      <a:cubicBezTo>
                        <a:pt x="116129" y="80597"/>
                        <a:pt x="116129" y="80597"/>
                        <a:pt x="116129" y="80597"/>
                      </a:cubicBezTo>
                      <a:cubicBezTo>
                        <a:pt x="113364" y="85074"/>
                        <a:pt x="113364" y="85074"/>
                        <a:pt x="113364" y="85074"/>
                      </a:cubicBezTo>
                      <a:cubicBezTo>
                        <a:pt x="114470" y="89552"/>
                        <a:pt x="114470" y="89552"/>
                        <a:pt x="114470" y="89552"/>
                      </a:cubicBezTo>
                      <a:cubicBezTo>
                        <a:pt x="113364" y="92238"/>
                        <a:pt x="113364" y="92238"/>
                        <a:pt x="113364" y="92238"/>
                      </a:cubicBezTo>
                      <a:cubicBezTo>
                        <a:pt x="108940" y="92238"/>
                        <a:pt x="108940" y="92238"/>
                        <a:pt x="108940" y="92238"/>
                      </a:cubicBezTo>
                      <a:cubicBezTo>
                        <a:pt x="108940" y="92238"/>
                        <a:pt x="108387" y="92238"/>
                        <a:pt x="106175" y="92238"/>
                      </a:cubicBezTo>
                      <a:cubicBezTo>
                        <a:pt x="103963" y="92238"/>
                        <a:pt x="104516" y="92238"/>
                        <a:pt x="104516" y="92238"/>
                      </a:cubicBezTo>
                      <a:cubicBezTo>
                        <a:pt x="102857" y="94925"/>
                        <a:pt x="102857" y="94925"/>
                        <a:pt x="102857" y="94925"/>
                      </a:cubicBezTo>
                      <a:cubicBezTo>
                        <a:pt x="102304" y="100298"/>
                        <a:pt x="102304" y="100298"/>
                        <a:pt x="102304" y="100298"/>
                      </a:cubicBezTo>
                      <a:cubicBezTo>
                        <a:pt x="102304" y="100298"/>
                        <a:pt x="101198" y="100298"/>
                        <a:pt x="98986" y="101194"/>
                      </a:cubicBezTo>
                      <a:cubicBezTo>
                        <a:pt x="97880" y="102089"/>
                        <a:pt x="97880" y="102985"/>
                        <a:pt x="97880" y="102985"/>
                      </a:cubicBezTo>
                      <a:cubicBezTo>
                        <a:pt x="97880" y="102985"/>
                        <a:pt x="97880" y="102985"/>
                        <a:pt x="97880" y="102985"/>
                      </a:cubicBezTo>
                      <a:cubicBezTo>
                        <a:pt x="96221" y="102985"/>
                        <a:pt x="96221" y="102985"/>
                        <a:pt x="96221" y="102985"/>
                      </a:cubicBezTo>
                      <a:cubicBezTo>
                        <a:pt x="93456" y="102089"/>
                        <a:pt x="93456" y="102089"/>
                        <a:pt x="93456" y="102089"/>
                      </a:cubicBezTo>
                      <a:cubicBezTo>
                        <a:pt x="91244" y="102089"/>
                        <a:pt x="91244" y="102089"/>
                        <a:pt x="91244" y="102089"/>
                      </a:cubicBezTo>
                      <a:cubicBezTo>
                        <a:pt x="90138" y="98507"/>
                        <a:pt x="90138" y="98507"/>
                        <a:pt x="90138" y="98507"/>
                      </a:cubicBezTo>
                      <a:cubicBezTo>
                        <a:pt x="88479" y="97611"/>
                        <a:pt x="88479" y="97611"/>
                        <a:pt x="88479" y="97611"/>
                      </a:cubicBezTo>
                      <a:cubicBezTo>
                        <a:pt x="86820" y="94029"/>
                        <a:pt x="86820" y="94029"/>
                        <a:pt x="86820" y="94029"/>
                      </a:cubicBezTo>
                      <a:cubicBezTo>
                        <a:pt x="84608" y="93134"/>
                        <a:pt x="84608" y="93134"/>
                        <a:pt x="84608" y="93134"/>
                      </a:cubicBezTo>
                      <a:cubicBezTo>
                        <a:pt x="83502" y="90447"/>
                        <a:pt x="83502" y="90447"/>
                        <a:pt x="83502" y="90447"/>
                      </a:cubicBezTo>
                      <a:cubicBezTo>
                        <a:pt x="80737" y="90447"/>
                        <a:pt x="80737" y="90447"/>
                        <a:pt x="80737" y="90447"/>
                      </a:cubicBezTo>
                      <a:cubicBezTo>
                        <a:pt x="79078" y="88656"/>
                        <a:pt x="79078" y="88656"/>
                        <a:pt x="79078" y="88656"/>
                      </a:cubicBezTo>
                      <a:cubicBezTo>
                        <a:pt x="78525" y="86865"/>
                        <a:pt x="78525" y="86865"/>
                        <a:pt x="78525" y="86865"/>
                      </a:cubicBezTo>
                      <a:cubicBezTo>
                        <a:pt x="76866" y="86865"/>
                        <a:pt x="76866" y="86865"/>
                        <a:pt x="76866" y="86865"/>
                      </a:cubicBezTo>
                      <a:cubicBezTo>
                        <a:pt x="74654" y="87761"/>
                        <a:pt x="74654" y="87761"/>
                        <a:pt x="74654" y="87761"/>
                      </a:cubicBezTo>
                      <a:cubicBezTo>
                        <a:pt x="70783" y="89552"/>
                        <a:pt x="70783" y="89552"/>
                        <a:pt x="70783" y="89552"/>
                      </a:cubicBezTo>
                      <a:cubicBezTo>
                        <a:pt x="68571" y="86865"/>
                        <a:pt x="68571" y="86865"/>
                        <a:pt x="68571" y="86865"/>
                      </a:cubicBezTo>
                      <a:cubicBezTo>
                        <a:pt x="68018" y="85970"/>
                        <a:pt x="68018" y="85970"/>
                        <a:pt x="68018" y="85970"/>
                      </a:cubicBezTo>
                      <a:cubicBezTo>
                        <a:pt x="65806" y="83283"/>
                        <a:pt x="65806" y="83283"/>
                        <a:pt x="65806" y="83283"/>
                      </a:cubicBezTo>
                      <a:cubicBezTo>
                        <a:pt x="64700" y="77910"/>
                        <a:pt x="64700" y="77910"/>
                        <a:pt x="64700" y="77910"/>
                      </a:cubicBezTo>
                      <a:cubicBezTo>
                        <a:pt x="64700" y="77910"/>
                        <a:pt x="62488" y="80597"/>
                        <a:pt x="61935" y="80597"/>
                      </a:cubicBezTo>
                      <a:cubicBezTo>
                        <a:pt x="61935" y="80597"/>
                        <a:pt x="60276" y="85074"/>
                        <a:pt x="60276" y="85074"/>
                      </a:cubicBezTo>
                      <a:cubicBezTo>
                        <a:pt x="59723" y="88656"/>
                        <a:pt x="59723" y="88656"/>
                        <a:pt x="59723" y="88656"/>
                      </a:cubicBezTo>
                      <a:cubicBezTo>
                        <a:pt x="56405" y="86865"/>
                        <a:pt x="56405" y="86865"/>
                        <a:pt x="56405" y="86865"/>
                      </a:cubicBezTo>
                      <a:cubicBezTo>
                        <a:pt x="56405" y="86865"/>
                        <a:pt x="54746" y="90447"/>
                        <a:pt x="54746" y="91343"/>
                      </a:cubicBezTo>
                      <a:cubicBezTo>
                        <a:pt x="54193" y="91343"/>
                        <a:pt x="51981" y="89552"/>
                        <a:pt x="51981" y="89552"/>
                      </a:cubicBezTo>
                      <a:cubicBezTo>
                        <a:pt x="48663" y="89552"/>
                        <a:pt x="48663" y="89552"/>
                        <a:pt x="48663" y="89552"/>
                      </a:cubicBezTo>
                      <a:cubicBezTo>
                        <a:pt x="48663" y="89552"/>
                        <a:pt x="45345" y="89552"/>
                        <a:pt x="44792" y="88656"/>
                      </a:cubicBezTo>
                      <a:cubicBezTo>
                        <a:pt x="44239" y="88656"/>
                        <a:pt x="44239" y="89552"/>
                        <a:pt x="44239" y="89552"/>
                      </a:cubicBezTo>
                      <a:cubicBezTo>
                        <a:pt x="41474" y="90447"/>
                        <a:pt x="41474" y="90447"/>
                        <a:pt x="41474" y="90447"/>
                      </a:cubicBezTo>
                      <a:cubicBezTo>
                        <a:pt x="38156" y="91343"/>
                        <a:pt x="38156" y="91343"/>
                        <a:pt x="38156" y="91343"/>
                      </a:cubicBezTo>
                      <a:cubicBezTo>
                        <a:pt x="38156" y="91343"/>
                        <a:pt x="37603" y="94925"/>
                        <a:pt x="37050" y="95820"/>
                      </a:cubicBezTo>
                      <a:cubicBezTo>
                        <a:pt x="36497" y="95820"/>
                        <a:pt x="34838" y="93134"/>
                        <a:pt x="34285" y="92238"/>
                      </a:cubicBezTo>
                      <a:cubicBezTo>
                        <a:pt x="34285" y="91343"/>
                        <a:pt x="32626" y="90447"/>
                        <a:pt x="32626" y="90447"/>
                      </a:cubicBezTo>
                      <a:cubicBezTo>
                        <a:pt x="30414" y="93134"/>
                        <a:pt x="30414" y="93134"/>
                        <a:pt x="30414" y="93134"/>
                      </a:cubicBezTo>
                      <a:cubicBezTo>
                        <a:pt x="30414" y="93134"/>
                        <a:pt x="26543" y="94029"/>
                        <a:pt x="25990" y="94029"/>
                      </a:cubicBezTo>
                      <a:cubicBezTo>
                        <a:pt x="25437" y="94029"/>
                        <a:pt x="22672" y="95820"/>
                        <a:pt x="22672" y="95820"/>
                      </a:cubicBezTo>
                      <a:cubicBezTo>
                        <a:pt x="18801" y="94925"/>
                        <a:pt x="18801" y="94925"/>
                        <a:pt x="18801" y="94925"/>
                      </a:cubicBezTo>
                      <a:cubicBezTo>
                        <a:pt x="17142" y="97611"/>
                        <a:pt x="17142" y="97611"/>
                        <a:pt x="17142" y="97611"/>
                      </a:cubicBezTo>
                      <a:cubicBezTo>
                        <a:pt x="13824" y="101194"/>
                        <a:pt x="13824" y="101194"/>
                        <a:pt x="13824" y="101194"/>
                      </a:cubicBezTo>
                      <a:cubicBezTo>
                        <a:pt x="11612" y="101194"/>
                        <a:pt x="11612" y="101194"/>
                        <a:pt x="11612" y="101194"/>
                      </a:cubicBezTo>
                      <a:cubicBezTo>
                        <a:pt x="10506" y="105671"/>
                        <a:pt x="10506" y="105671"/>
                        <a:pt x="10506" y="105671"/>
                      </a:cubicBezTo>
                      <a:cubicBezTo>
                        <a:pt x="8294" y="107462"/>
                        <a:pt x="8294" y="107462"/>
                        <a:pt x="8294" y="107462"/>
                      </a:cubicBezTo>
                      <a:cubicBezTo>
                        <a:pt x="7741" y="109253"/>
                        <a:pt x="7741" y="109253"/>
                        <a:pt x="7741" y="109253"/>
                      </a:cubicBezTo>
                      <a:cubicBezTo>
                        <a:pt x="7188" y="114626"/>
                        <a:pt x="7188" y="114626"/>
                        <a:pt x="7188" y="114626"/>
                      </a:cubicBezTo>
                      <a:cubicBezTo>
                        <a:pt x="7188" y="114626"/>
                        <a:pt x="5529" y="115522"/>
                        <a:pt x="4423" y="115522"/>
                      </a:cubicBezTo>
                      <a:cubicBezTo>
                        <a:pt x="3870" y="116417"/>
                        <a:pt x="4976" y="117313"/>
                        <a:pt x="4976" y="117313"/>
                      </a:cubicBezTo>
                      <a:cubicBezTo>
                        <a:pt x="4423" y="120000"/>
                        <a:pt x="4423" y="120000"/>
                        <a:pt x="4423" y="120000"/>
                      </a:cubicBezTo>
                      <a:cubicBezTo>
                        <a:pt x="4423" y="120000"/>
                        <a:pt x="3870" y="119104"/>
                        <a:pt x="3870" y="119104"/>
                      </a:cubicBezTo>
                      <a:cubicBezTo>
                        <a:pt x="3870" y="119104"/>
                        <a:pt x="3317" y="116417"/>
                        <a:pt x="2764" y="114626"/>
                      </a:cubicBezTo>
                      <a:cubicBezTo>
                        <a:pt x="1658" y="112835"/>
                        <a:pt x="552" y="104776"/>
                        <a:pt x="552" y="104776"/>
                      </a:cubicBezTo>
                      <a:cubicBezTo>
                        <a:pt x="1658" y="101194"/>
                        <a:pt x="1658" y="101194"/>
                        <a:pt x="1658" y="101194"/>
                      </a:cubicBezTo>
                      <a:cubicBezTo>
                        <a:pt x="1658" y="101194"/>
                        <a:pt x="1658" y="97611"/>
                        <a:pt x="1658" y="96716"/>
                      </a:cubicBezTo>
                      <a:cubicBezTo>
                        <a:pt x="1105" y="94925"/>
                        <a:pt x="552" y="86865"/>
                        <a:pt x="552" y="86865"/>
                      </a:cubicBezTo>
                      <a:cubicBezTo>
                        <a:pt x="552" y="86865"/>
                        <a:pt x="0" y="83283"/>
                        <a:pt x="0" y="82388"/>
                      </a:cubicBezTo>
                      <a:cubicBezTo>
                        <a:pt x="0" y="81492"/>
                        <a:pt x="3870" y="74328"/>
                        <a:pt x="3870" y="74328"/>
                      </a:cubicBezTo>
                      <a:cubicBezTo>
                        <a:pt x="3870" y="73432"/>
                        <a:pt x="4423" y="66268"/>
                        <a:pt x="4423" y="66268"/>
                      </a:cubicBezTo>
                      <a:cubicBezTo>
                        <a:pt x="3317" y="60895"/>
                        <a:pt x="3317" y="60895"/>
                        <a:pt x="3317" y="60895"/>
                      </a:cubicBezTo>
                      <a:cubicBezTo>
                        <a:pt x="4423" y="53731"/>
                        <a:pt x="4423" y="53731"/>
                        <a:pt x="4423" y="53731"/>
                      </a:cubicBezTo>
                      <a:cubicBezTo>
                        <a:pt x="5529" y="45671"/>
                        <a:pt x="5529" y="45671"/>
                        <a:pt x="5529" y="45671"/>
                      </a:cubicBezTo>
                      <a:cubicBezTo>
                        <a:pt x="5529" y="45671"/>
                        <a:pt x="6082" y="42089"/>
                        <a:pt x="6635" y="42089"/>
                      </a:cubicBezTo>
                      <a:cubicBezTo>
                        <a:pt x="7188" y="41194"/>
                        <a:pt x="10506" y="40298"/>
                        <a:pt x="10506" y="4029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61" name="Shape 2026"/>
                <p:cNvSpPr/>
                <p:nvPr/>
              </p:nvSpPr>
              <p:spPr>
                <a:xfrm>
                  <a:off x="5535001" y="3399175"/>
                  <a:ext cx="359513" cy="307905"/>
                </a:xfrm>
                <a:custGeom>
                  <a:avLst/>
                  <a:gdLst/>
                  <a:ahLst/>
                  <a:cxnLst/>
                  <a:rect l="0" t="0" r="0" b="0"/>
                  <a:pathLst>
                    <a:path w="120000" h="120000" extrusionOk="0">
                      <a:moveTo>
                        <a:pt x="110126" y="71654"/>
                      </a:moveTo>
                      <a:cubicBezTo>
                        <a:pt x="110886" y="71654"/>
                        <a:pt x="110886" y="71654"/>
                        <a:pt x="110886" y="71654"/>
                      </a:cubicBezTo>
                      <a:cubicBezTo>
                        <a:pt x="110886" y="71654"/>
                        <a:pt x="110886" y="71654"/>
                        <a:pt x="110886" y="71654"/>
                      </a:cubicBezTo>
                      <a:cubicBezTo>
                        <a:pt x="110126" y="71654"/>
                        <a:pt x="110126" y="71654"/>
                        <a:pt x="110126" y="71654"/>
                      </a:cubicBezTo>
                      <a:close/>
                      <a:moveTo>
                        <a:pt x="100253" y="7769"/>
                      </a:moveTo>
                      <a:cubicBezTo>
                        <a:pt x="100253" y="7769"/>
                        <a:pt x="100253" y="7769"/>
                        <a:pt x="100253" y="7769"/>
                      </a:cubicBezTo>
                      <a:cubicBezTo>
                        <a:pt x="104810" y="8633"/>
                        <a:pt x="104810" y="8633"/>
                        <a:pt x="104810" y="8633"/>
                      </a:cubicBezTo>
                      <a:cubicBezTo>
                        <a:pt x="107088" y="9496"/>
                        <a:pt x="107088" y="9496"/>
                        <a:pt x="107088" y="9496"/>
                      </a:cubicBezTo>
                      <a:cubicBezTo>
                        <a:pt x="107088" y="12086"/>
                        <a:pt x="107088" y="12086"/>
                        <a:pt x="107088" y="12086"/>
                      </a:cubicBezTo>
                      <a:cubicBezTo>
                        <a:pt x="107088" y="15539"/>
                        <a:pt x="107088" y="15539"/>
                        <a:pt x="107088" y="15539"/>
                      </a:cubicBezTo>
                      <a:cubicBezTo>
                        <a:pt x="107088" y="18129"/>
                        <a:pt x="107088" y="18129"/>
                        <a:pt x="107088" y="18129"/>
                      </a:cubicBezTo>
                      <a:cubicBezTo>
                        <a:pt x="104810" y="21582"/>
                        <a:pt x="104810" y="21582"/>
                        <a:pt x="104810" y="21582"/>
                      </a:cubicBezTo>
                      <a:cubicBezTo>
                        <a:pt x="104810" y="21582"/>
                        <a:pt x="104050" y="24172"/>
                        <a:pt x="104050" y="24172"/>
                      </a:cubicBezTo>
                      <a:cubicBezTo>
                        <a:pt x="104050" y="25035"/>
                        <a:pt x="103291" y="26762"/>
                        <a:pt x="103291" y="26762"/>
                      </a:cubicBezTo>
                      <a:cubicBezTo>
                        <a:pt x="103291" y="26762"/>
                        <a:pt x="101772" y="25899"/>
                        <a:pt x="102531" y="28489"/>
                      </a:cubicBezTo>
                      <a:cubicBezTo>
                        <a:pt x="102531" y="31079"/>
                        <a:pt x="103291" y="30215"/>
                        <a:pt x="103291" y="31079"/>
                      </a:cubicBezTo>
                      <a:cubicBezTo>
                        <a:pt x="103291" y="31942"/>
                        <a:pt x="103291" y="33669"/>
                        <a:pt x="103291" y="34532"/>
                      </a:cubicBezTo>
                      <a:cubicBezTo>
                        <a:pt x="102531" y="35395"/>
                        <a:pt x="103291" y="35395"/>
                        <a:pt x="102531" y="36258"/>
                      </a:cubicBezTo>
                      <a:cubicBezTo>
                        <a:pt x="102531" y="37122"/>
                        <a:pt x="104050" y="37985"/>
                        <a:pt x="105569" y="37985"/>
                      </a:cubicBezTo>
                      <a:cubicBezTo>
                        <a:pt x="107088" y="38848"/>
                        <a:pt x="107088" y="37985"/>
                        <a:pt x="107848" y="37985"/>
                      </a:cubicBezTo>
                      <a:cubicBezTo>
                        <a:pt x="108607" y="37985"/>
                        <a:pt x="109367" y="38848"/>
                        <a:pt x="110126" y="38848"/>
                      </a:cubicBezTo>
                      <a:cubicBezTo>
                        <a:pt x="110886" y="39712"/>
                        <a:pt x="110886" y="39712"/>
                        <a:pt x="110886" y="40575"/>
                      </a:cubicBezTo>
                      <a:cubicBezTo>
                        <a:pt x="111645" y="41438"/>
                        <a:pt x="112405" y="42302"/>
                        <a:pt x="113164" y="43165"/>
                      </a:cubicBezTo>
                      <a:cubicBezTo>
                        <a:pt x="113924" y="43165"/>
                        <a:pt x="113924" y="42302"/>
                        <a:pt x="114683" y="42302"/>
                      </a:cubicBezTo>
                      <a:cubicBezTo>
                        <a:pt x="114683" y="43165"/>
                        <a:pt x="115443" y="44028"/>
                        <a:pt x="116202" y="44028"/>
                      </a:cubicBezTo>
                      <a:cubicBezTo>
                        <a:pt x="116202" y="44892"/>
                        <a:pt x="116962" y="45755"/>
                        <a:pt x="117721" y="45755"/>
                      </a:cubicBezTo>
                      <a:cubicBezTo>
                        <a:pt x="117721" y="45755"/>
                        <a:pt x="119240" y="46618"/>
                        <a:pt x="119240" y="46618"/>
                      </a:cubicBezTo>
                      <a:cubicBezTo>
                        <a:pt x="120000" y="47482"/>
                        <a:pt x="119240" y="48345"/>
                        <a:pt x="119240" y="48345"/>
                      </a:cubicBezTo>
                      <a:cubicBezTo>
                        <a:pt x="118481" y="48345"/>
                        <a:pt x="118481" y="50071"/>
                        <a:pt x="117721" y="50071"/>
                      </a:cubicBezTo>
                      <a:cubicBezTo>
                        <a:pt x="117721" y="50071"/>
                        <a:pt x="115443" y="50935"/>
                        <a:pt x="115443" y="50935"/>
                      </a:cubicBezTo>
                      <a:cubicBezTo>
                        <a:pt x="114683" y="50935"/>
                        <a:pt x="113924" y="50935"/>
                        <a:pt x="113164" y="50935"/>
                      </a:cubicBezTo>
                      <a:cubicBezTo>
                        <a:pt x="112405" y="50935"/>
                        <a:pt x="111645" y="50935"/>
                        <a:pt x="110886" y="50071"/>
                      </a:cubicBezTo>
                      <a:cubicBezTo>
                        <a:pt x="110126" y="50071"/>
                        <a:pt x="110126" y="50071"/>
                        <a:pt x="109367" y="50071"/>
                      </a:cubicBezTo>
                      <a:cubicBezTo>
                        <a:pt x="109367" y="50935"/>
                        <a:pt x="109367" y="52661"/>
                        <a:pt x="109367" y="52661"/>
                      </a:cubicBezTo>
                      <a:cubicBezTo>
                        <a:pt x="109367" y="52661"/>
                        <a:pt x="110126" y="53525"/>
                        <a:pt x="110886" y="54388"/>
                      </a:cubicBezTo>
                      <a:cubicBezTo>
                        <a:pt x="110886" y="54388"/>
                        <a:pt x="112405" y="56115"/>
                        <a:pt x="113164" y="56115"/>
                      </a:cubicBezTo>
                      <a:cubicBezTo>
                        <a:pt x="113164" y="56115"/>
                        <a:pt x="113924" y="56978"/>
                        <a:pt x="114683" y="57841"/>
                      </a:cubicBezTo>
                      <a:cubicBezTo>
                        <a:pt x="115443" y="59568"/>
                        <a:pt x="115443" y="60431"/>
                        <a:pt x="115443" y="60431"/>
                      </a:cubicBezTo>
                      <a:cubicBezTo>
                        <a:pt x="119240" y="63884"/>
                        <a:pt x="119240" y="63884"/>
                        <a:pt x="119240" y="63884"/>
                      </a:cubicBezTo>
                      <a:cubicBezTo>
                        <a:pt x="119240" y="63884"/>
                        <a:pt x="119240" y="64748"/>
                        <a:pt x="119240" y="67338"/>
                      </a:cubicBezTo>
                      <a:cubicBezTo>
                        <a:pt x="119240" y="70791"/>
                        <a:pt x="118481" y="69064"/>
                        <a:pt x="117721" y="69064"/>
                      </a:cubicBezTo>
                      <a:cubicBezTo>
                        <a:pt x="116962" y="69064"/>
                        <a:pt x="116202" y="69064"/>
                        <a:pt x="114683" y="68201"/>
                      </a:cubicBezTo>
                      <a:cubicBezTo>
                        <a:pt x="113924" y="68201"/>
                        <a:pt x="113924" y="68201"/>
                        <a:pt x="113924" y="68201"/>
                      </a:cubicBezTo>
                      <a:cubicBezTo>
                        <a:pt x="112405" y="70791"/>
                        <a:pt x="112405" y="70791"/>
                        <a:pt x="112405" y="70791"/>
                      </a:cubicBezTo>
                      <a:cubicBezTo>
                        <a:pt x="112405" y="70791"/>
                        <a:pt x="110886" y="70791"/>
                        <a:pt x="110126" y="71654"/>
                      </a:cubicBezTo>
                      <a:cubicBezTo>
                        <a:pt x="109367" y="71654"/>
                        <a:pt x="109367" y="71654"/>
                        <a:pt x="109367" y="71654"/>
                      </a:cubicBezTo>
                      <a:cubicBezTo>
                        <a:pt x="109367" y="71654"/>
                        <a:pt x="107848" y="72517"/>
                        <a:pt x="107848" y="72517"/>
                      </a:cubicBezTo>
                      <a:cubicBezTo>
                        <a:pt x="107848" y="72517"/>
                        <a:pt x="107088" y="73381"/>
                        <a:pt x="107088" y="73381"/>
                      </a:cubicBezTo>
                      <a:cubicBezTo>
                        <a:pt x="106329" y="73381"/>
                        <a:pt x="106329" y="73381"/>
                        <a:pt x="106329" y="73381"/>
                      </a:cubicBezTo>
                      <a:cubicBezTo>
                        <a:pt x="105569" y="72517"/>
                        <a:pt x="105569" y="72517"/>
                        <a:pt x="105569" y="72517"/>
                      </a:cubicBezTo>
                      <a:cubicBezTo>
                        <a:pt x="104810" y="71654"/>
                        <a:pt x="104810" y="71654"/>
                        <a:pt x="104810" y="71654"/>
                      </a:cubicBezTo>
                      <a:cubicBezTo>
                        <a:pt x="103291" y="73381"/>
                        <a:pt x="103291" y="73381"/>
                        <a:pt x="103291" y="73381"/>
                      </a:cubicBezTo>
                      <a:cubicBezTo>
                        <a:pt x="102531" y="74244"/>
                        <a:pt x="102531" y="74244"/>
                        <a:pt x="102531" y="74244"/>
                      </a:cubicBezTo>
                      <a:cubicBezTo>
                        <a:pt x="102531" y="74244"/>
                        <a:pt x="102531" y="75107"/>
                        <a:pt x="102531" y="75107"/>
                      </a:cubicBezTo>
                      <a:cubicBezTo>
                        <a:pt x="102531" y="75107"/>
                        <a:pt x="104050" y="75107"/>
                        <a:pt x="104050" y="75107"/>
                      </a:cubicBezTo>
                      <a:cubicBezTo>
                        <a:pt x="104050" y="76834"/>
                        <a:pt x="104050" y="76834"/>
                        <a:pt x="104050" y="76834"/>
                      </a:cubicBezTo>
                      <a:cubicBezTo>
                        <a:pt x="104050" y="76834"/>
                        <a:pt x="104050" y="76834"/>
                        <a:pt x="104810" y="76834"/>
                      </a:cubicBezTo>
                      <a:cubicBezTo>
                        <a:pt x="104810" y="76834"/>
                        <a:pt x="105569" y="77697"/>
                        <a:pt x="105569" y="77697"/>
                      </a:cubicBezTo>
                      <a:cubicBezTo>
                        <a:pt x="106329" y="78561"/>
                        <a:pt x="106329" y="78561"/>
                        <a:pt x="106329" y="78561"/>
                      </a:cubicBezTo>
                      <a:cubicBezTo>
                        <a:pt x="106329" y="80287"/>
                        <a:pt x="106329" y="80287"/>
                        <a:pt x="106329" y="80287"/>
                      </a:cubicBezTo>
                      <a:cubicBezTo>
                        <a:pt x="107848" y="81151"/>
                        <a:pt x="107848" y="81151"/>
                        <a:pt x="107848" y="81151"/>
                      </a:cubicBezTo>
                      <a:cubicBezTo>
                        <a:pt x="107848" y="82877"/>
                        <a:pt x="107848" y="82877"/>
                        <a:pt x="107848" y="82877"/>
                      </a:cubicBezTo>
                      <a:cubicBezTo>
                        <a:pt x="107088" y="83741"/>
                        <a:pt x="107088" y="83741"/>
                        <a:pt x="107088" y="83741"/>
                      </a:cubicBezTo>
                      <a:cubicBezTo>
                        <a:pt x="106329" y="84604"/>
                        <a:pt x="106329" y="84604"/>
                        <a:pt x="106329" y="84604"/>
                      </a:cubicBezTo>
                      <a:cubicBezTo>
                        <a:pt x="104810" y="84604"/>
                        <a:pt x="104810" y="84604"/>
                        <a:pt x="104810" y="84604"/>
                      </a:cubicBezTo>
                      <a:cubicBezTo>
                        <a:pt x="104810" y="83741"/>
                        <a:pt x="104810" y="83741"/>
                        <a:pt x="104810" y="83741"/>
                      </a:cubicBezTo>
                      <a:cubicBezTo>
                        <a:pt x="104050" y="82014"/>
                        <a:pt x="104050" y="82014"/>
                        <a:pt x="104050" y="82014"/>
                      </a:cubicBezTo>
                      <a:cubicBezTo>
                        <a:pt x="103291" y="81151"/>
                        <a:pt x="103291" y="81151"/>
                        <a:pt x="103291" y="81151"/>
                      </a:cubicBezTo>
                      <a:cubicBezTo>
                        <a:pt x="101012" y="82014"/>
                        <a:pt x="101012" y="82014"/>
                        <a:pt x="101012" y="82014"/>
                      </a:cubicBezTo>
                      <a:cubicBezTo>
                        <a:pt x="101012" y="83741"/>
                        <a:pt x="101012" y="83741"/>
                        <a:pt x="101012" y="83741"/>
                      </a:cubicBezTo>
                      <a:cubicBezTo>
                        <a:pt x="97215" y="87194"/>
                        <a:pt x="97215" y="87194"/>
                        <a:pt x="97215" y="87194"/>
                      </a:cubicBezTo>
                      <a:cubicBezTo>
                        <a:pt x="97974" y="88920"/>
                        <a:pt x="97974" y="88920"/>
                        <a:pt x="97974" y="88920"/>
                      </a:cubicBezTo>
                      <a:cubicBezTo>
                        <a:pt x="96455" y="90647"/>
                        <a:pt x="96455" y="90647"/>
                        <a:pt x="96455" y="90647"/>
                      </a:cubicBezTo>
                      <a:cubicBezTo>
                        <a:pt x="96455" y="93237"/>
                        <a:pt x="96455" y="93237"/>
                        <a:pt x="96455" y="93237"/>
                      </a:cubicBezTo>
                      <a:cubicBezTo>
                        <a:pt x="97215" y="95827"/>
                        <a:pt x="97215" y="95827"/>
                        <a:pt x="97215" y="95827"/>
                      </a:cubicBezTo>
                      <a:cubicBezTo>
                        <a:pt x="97215" y="97553"/>
                        <a:pt x="97215" y="97553"/>
                        <a:pt x="97215" y="97553"/>
                      </a:cubicBezTo>
                      <a:cubicBezTo>
                        <a:pt x="94177" y="98417"/>
                        <a:pt x="94177" y="98417"/>
                        <a:pt x="94177" y="98417"/>
                      </a:cubicBezTo>
                      <a:cubicBezTo>
                        <a:pt x="91898" y="99280"/>
                        <a:pt x="91898" y="99280"/>
                        <a:pt x="91898" y="99280"/>
                      </a:cubicBezTo>
                      <a:cubicBezTo>
                        <a:pt x="91898" y="101870"/>
                        <a:pt x="91898" y="101870"/>
                        <a:pt x="91898" y="101870"/>
                      </a:cubicBezTo>
                      <a:cubicBezTo>
                        <a:pt x="91898" y="102733"/>
                        <a:pt x="91898" y="102733"/>
                        <a:pt x="91898" y="102733"/>
                      </a:cubicBezTo>
                      <a:cubicBezTo>
                        <a:pt x="94177" y="106187"/>
                        <a:pt x="94177" y="106187"/>
                        <a:pt x="94177" y="106187"/>
                      </a:cubicBezTo>
                      <a:cubicBezTo>
                        <a:pt x="93417" y="107050"/>
                        <a:pt x="93417" y="107050"/>
                        <a:pt x="93417" y="107050"/>
                      </a:cubicBezTo>
                      <a:cubicBezTo>
                        <a:pt x="92658" y="107913"/>
                        <a:pt x="92658" y="107913"/>
                        <a:pt x="92658" y="107913"/>
                      </a:cubicBezTo>
                      <a:cubicBezTo>
                        <a:pt x="94936" y="111366"/>
                        <a:pt x="94936" y="111366"/>
                        <a:pt x="94936" y="111366"/>
                      </a:cubicBezTo>
                      <a:cubicBezTo>
                        <a:pt x="95696" y="112230"/>
                        <a:pt x="95696" y="112230"/>
                        <a:pt x="95696" y="112230"/>
                      </a:cubicBezTo>
                      <a:cubicBezTo>
                        <a:pt x="97215" y="112230"/>
                        <a:pt x="97215" y="112230"/>
                        <a:pt x="97215" y="112230"/>
                      </a:cubicBezTo>
                      <a:cubicBezTo>
                        <a:pt x="97215" y="113956"/>
                        <a:pt x="97215" y="113956"/>
                        <a:pt x="97215" y="113956"/>
                      </a:cubicBezTo>
                      <a:cubicBezTo>
                        <a:pt x="97215" y="114820"/>
                        <a:pt x="97215" y="114820"/>
                        <a:pt x="97215" y="114820"/>
                      </a:cubicBezTo>
                      <a:cubicBezTo>
                        <a:pt x="97215" y="116546"/>
                        <a:pt x="97215" y="116546"/>
                        <a:pt x="97215" y="116546"/>
                      </a:cubicBezTo>
                      <a:cubicBezTo>
                        <a:pt x="95696" y="118273"/>
                        <a:pt x="95696" y="118273"/>
                        <a:pt x="95696" y="118273"/>
                      </a:cubicBezTo>
                      <a:cubicBezTo>
                        <a:pt x="96455" y="120000"/>
                        <a:pt x="96455" y="120000"/>
                        <a:pt x="96455" y="120000"/>
                      </a:cubicBezTo>
                      <a:cubicBezTo>
                        <a:pt x="94936" y="119136"/>
                        <a:pt x="94936" y="119136"/>
                        <a:pt x="94936" y="119136"/>
                      </a:cubicBezTo>
                      <a:cubicBezTo>
                        <a:pt x="94177" y="120000"/>
                        <a:pt x="94177" y="120000"/>
                        <a:pt x="94177" y="120000"/>
                      </a:cubicBezTo>
                      <a:cubicBezTo>
                        <a:pt x="94177" y="120000"/>
                        <a:pt x="94177" y="120000"/>
                        <a:pt x="94177" y="120000"/>
                      </a:cubicBezTo>
                      <a:cubicBezTo>
                        <a:pt x="91898" y="119136"/>
                        <a:pt x="91898" y="119136"/>
                        <a:pt x="91898" y="119136"/>
                      </a:cubicBezTo>
                      <a:cubicBezTo>
                        <a:pt x="91898" y="119136"/>
                        <a:pt x="90379" y="120000"/>
                        <a:pt x="89620" y="120000"/>
                      </a:cubicBezTo>
                      <a:cubicBezTo>
                        <a:pt x="89620" y="120000"/>
                        <a:pt x="88860" y="120000"/>
                        <a:pt x="88860" y="120000"/>
                      </a:cubicBezTo>
                      <a:cubicBezTo>
                        <a:pt x="88860" y="120000"/>
                        <a:pt x="87341"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8273"/>
                        <a:pt x="86582" y="118273"/>
                        <a:pt x="86582" y="118273"/>
                      </a:cubicBezTo>
                      <a:cubicBezTo>
                        <a:pt x="86582" y="118273"/>
                        <a:pt x="86582" y="118273"/>
                        <a:pt x="86582" y="118273"/>
                      </a:cubicBezTo>
                      <a:cubicBezTo>
                        <a:pt x="86582" y="118273"/>
                        <a:pt x="86582" y="118273"/>
                        <a:pt x="86582" y="118273"/>
                      </a:cubicBezTo>
                      <a:cubicBezTo>
                        <a:pt x="86582" y="118273"/>
                        <a:pt x="86582" y="118273"/>
                        <a:pt x="8658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0506" y="115683"/>
                        <a:pt x="80506" y="115683"/>
                        <a:pt x="80506" y="115683"/>
                      </a:cubicBezTo>
                      <a:cubicBezTo>
                        <a:pt x="76708" y="113093"/>
                        <a:pt x="76708" y="113093"/>
                        <a:pt x="76708" y="113093"/>
                      </a:cubicBezTo>
                      <a:cubicBezTo>
                        <a:pt x="75189" y="111366"/>
                        <a:pt x="75189" y="111366"/>
                        <a:pt x="75189" y="111366"/>
                      </a:cubicBezTo>
                      <a:cubicBezTo>
                        <a:pt x="74430" y="107913"/>
                        <a:pt x="74430" y="107913"/>
                        <a:pt x="74430" y="107913"/>
                      </a:cubicBezTo>
                      <a:cubicBezTo>
                        <a:pt x="70632" y="107050"/>
                        <a:pt x="70632" y="107050"/>
                        <a:pt x="70632" y="107050"/>
                      </a:cubicBezTo>
                      <a:cubicBezTo>
                        <a:pt x="70632" y="104460"/>
                        <a:pt x="66075" y="108776"/>
                        <a:pt x="67594" y="103597"/>
                      </a:cubicBezTo>
                      <a:cubicBezTo>
                        <a:pt x="67594" y="103597"/>
                        <a:pt x="67594" y="102733"/>
                        <a:pt x="67594" y="102733"/>
                      </a:cubicBezTo>
                      <a:cubicBezTo>
                        <a:pt x="67594" y="102733"/>
                        <a:pt x="67594" y="102733"/>
                        <a:pt x="67594" y="102733"/>
                      </a:cubicBezTo>
                      <a:cubicBezTo>
                        <a:pt x="67594" y="101870"/>
                        <a:pt x="66075" y="100143"/>
                        <a:pt x="66075" y="100143"/>
                      </a:cubicBezTo>
                      <a:cubicBezTo>
                        <a:pt x="61518" y="97553"/>
                        <a:pt x="60759" y="94964"/>
                        <a:pt x="58481" y="94100"/>
                      </a:cubicBezTo>
                      <a:cubicBezTo>
                        <a:pt x="57721" y="94100"/>
                        <a:pt x="57721" y="94100"/>
                        <a:pt x="57721" y="94100"/>
                      </a:cubicBezTo>
                      <a:cubicBezTo>
                        <a:pt x="54683" y="90647"/>
                        <a:pt x="54683" y="90647"/>
                        <a:pt x="54683" y="90647"/>
                      </a:cubicBezTo>
                      <a:cubicBezTo>
                        <a:pt x="53164" y="89784"/>
                        <a:pt x="53164" y="89784"/>
                        <a:pt x="53164" y="89784"/>
                      </a:cubicBezTo>
                      <a:cubicBezTo>
                        <a:pt x="51645" y="88057"/>
                        <a:pt x="51645" y="88057"/>
                        <a:pt x="51645" y="88057"/>
                      </a:cubicBezTo>
                      <a:cubicBezTo>
                        <a:pt x="51645" y="86330"/>
                        <a:pt x="51645" y="86330"/>
                        <a:pt x="51645" y="86330"/>
                      </a:cubicBezTo>
                      <a:cubicBezTo>
                        <a:pt x="50886" y="82877"/>
                        <a:pt x="50886" y="82877"/>
                        <a:pt x="50886" y="82877"/>
                      </a:cubicBezTo>
                      <a:cubicBezTo>
                        <a:pt x="50886" y="82877"/>
                        <a:pt x="50886" y="82877"/>
                        <a:pt x="50886" y="82877"/>
                      </a:cubicBezTo>
                      <a:cubicBezTo>
                        <a:pt x="50886" y="82877"/>
                        <a:pt x="47848" y="82014"/>
                        <a:pt x="46329" y="81151"/>
                      </a:cubicBezTo>
                      <a:cubicBezTo>
                        <a:pt x="44810" y="80287"/>
                        <a:pt x="44810" y="80287"/>
                        <a:pt x="44810" y="80287"/>
                      </a:cubicBezTo>
                      <a:cubicBezTo>
                        <a:pt x="43291" y="77697"/>
                        <a:pt x="43291" y="77697"/>
                        <a:pt x="43291" y="77697"/>
                      </a:cubicBezTo>
                      <a:cubicBezTo>
                        <a:pt x="42531" y="76834"/>
                        <a:pt x="42531" y="76834"/>
                        <a:pt x="42531" y="76834"/>
                      </a:cubicBezTo>
                      <a:cubicBezTo>
                        <a:pt x="40253" y="74244"/>
                        <a:pt x="40253" y="74244"/>
                        <a:pt x="40253" y="74244"/>
                      </a:cubicBezTo>
                      <a:cubicBezTo>
                        <a:pt x="39493" y="74244"/>
                        <a:pt x="39493" y="74244"/>
                        <a:pt x="39493" y="74244"/>
                      </a:cubicBezTo>
                      <a:cubicBezTo>
                        <a:pt x="35696" y="72517"/>
                        <a:pt x="35696" y="72517"/>
                        <a:pt x="35696" y="72517"/>
                      </a:cubicBezTo>
                      <a:cubicBezTo>
                        <a:pt x="34936" y="70791"/>
                        <a:pt x="34936" y="70791"/>
                        <a:pt x="34936" y="70791"/>
                      </a:cubicBezTo>
                      <a:cubicBezTo>
                        <a:pt x="33417" y="69928"/>
                        <a:pt x="33417" y="69928"/>
                        <a:pt x="33417" y="69928"/>
                      </a:cubicBezTo>
                      <a:cubicBezTo>
                        <a:pt x="32658" y="68201"/>
                        <a:pt x="32658" y="68201"/>
                        <a:pt x="32658" y="68201"/>
                      </a:cubicBezTo>
                      <a:cubicBezTo>
                        <a:pt x="30379" y="67338"/>
                        <a:pt x="30379" y="67338"/>
                        <a:pt x="30379" y="67338"/>
                      </a:cubicBezTo>
                      <a:cubicBezTo>
                        <a:pt x="29620" y="65611"/>
                        <a:pt x="29620" y="65611"/>
                        <a:pt x="29620" y="65611"/>
                      </a:cubicBezTo>
                      <a:cubicBezTo>
                        <a:pt x="28860" y="64748"/>
                        <a:pt x="28860" y="64748"/>
                        <a:pt x="28860" y="64748"/>
                      </a:cubicBezTo>
                      <a:cubicBezTo>
                        <a:pt x="26582" y="61294"/>
                        <a:pt x="26582" y="61294"/>
                        <a:pt x="26582" y="61294"/>
                      </a:cubicBezTo>
                      <a:cubicBezTo>
                        <a:pt x="24303" y="59568"/>
                        <a:pt x="24303" y="59568"/>
                        <a:pt x="24303" y="59568"/>
                      </a:cubicBezTo>
                      <a:cubicBezTo>
                        <a:pt x="23544" y="58705"/>
                        <a:pt x="23544" y="58705"/>
                        <a:pt x="23544" y="58705"/>
                      </a:cubicBezTo>
                      <a:cubicBezTo>
                        <a:pt x="22784" y="57841"/>
                        <a:pt x="22784" y="57841"/>
                        <a:pt x="22784" y="57841"/>
                      </a:cubicBezTo>
                      <a:cubicBezTo>
                        <a:pt x="21265" y="55251"/>
                        <a:pt x="21265" y="55251"/>
                        <a:pt x="21265" y="55251"/>
                      </a:cubicBezTo>
                      <a:cubicBezTo>
                        <a:pt x="18987" y="52661"/>
                        <a:pt x="18987" y="52661"/>
                        <a:pt x="18987" y="52661"/>
                      </a:cubicBezTo>
                      <a:cubicBezTo>
                        <a:pt x="17468" y="50935"/>
                        <a:pt x="17468" y="50935"/>
                        <a:pt x="17468" y="50935"/>
                      </a:cubicBezTo>
                      <a:cubicBezTo>
                        <a:pt x="15949" y="48345"/>
                        <a:pt x="15949" y="48345"/>
                        <a:pt x="15949" y="48345"/>
                      </a:cubicBezTo>
                      <a:cubicBezTo>
                        <a:pt x="17468" y="46618"/>
                        <a:pt x="17468" y="46618"/>
                        <a:pt x="17468" y="46618"/>
                      </a:cubicBezTo>
                      <a:cubicBezTo>
                        <a:pt x="16708" y="45755"/>
                        <a:pt x="15949" y="45755"/>
                        <a:pt x="15949" y="44892"/>
                      </a:cubicBezTo>
                      <a:cubicBezTo>
                        <a:pt x="15189" y="44892"/>
                        <a:pt x="13670" y="44028"/>
                        <a:pt x="14430" y="43165"/>
                      </a:cubicBezTo>
                      <a:cubicBezTo>
                        <a:pt x="14430" y="42302"/>
                        <a:pt x="13670" y="41438"/>
                        <a:pt x="13670" y="39712"/>
                      </a:cubicBezTo>
                      <a:cubicBezTo>
                        <a:pt x="13670" y="38848"/>
                        <a:pt x="13670" y="37985"/>
                        <a:pt x="12911" y="37985"/>
                      </a:cubicBezTo>
                      <a:cubicBezTo>
                        <a:pt x="12151" y="37122"/>
                        <a:pt x="12151" y="37122"/>
                        <a:pt x="12151" y="37122"/>
                      </a:cubicBezTo>
                      <a:cubicBezTo>
                        <a:pt x="11392" y="37122"/>
                        <a:pt x="10632" y="37122"/>
                        <a:pt x="10632" y="37122"/>
                      </a:cubicBezTo>
                      <a:cubicBezTo>
                        <a:pt x="9873" y="37122"/>
                        <a:pt x="9873" y="37122"/>
                        <a:pt x="9873" y="37122"/>
                      </a:cubicBezTo>
                      <a:cubicBezTo>
                        <a:pt x="9873" y="37122"/>
                        <a:pt x="10632" y="35395"/>
                        <a:pt x="10632" y="33669"/>
                      </a:cubicBezTo>
                      <a:cubicBezTo>
                        <a:pt x="7594" y="32805"/>
                        <a:pt x="7594" y="32805"/>
                        <a:pt x="7594" y="32805"/>
                      </a:cubicBezTo>
                      <a:cubicBezTo>
                        <a:pt x="7594" y="32805"/>
                        <a:pt x="7594" y="30215"/>
                        <a:pt x="6075" y="29352"/>
                      </a:cubicBezTo>
                      <a:cubicBezTo>
                        <a:pt x="4556" y="29352"/>
                        <a:pt x="4556" y="29352"/>
                        <a:pt x="4556" y="29352"/>
                      </a:cubicBezTo>
                      <a:cubicBezTo>
                        <a:pt x="3797" y="30215"/>
                        <a:pt x="3797" y="31079"/>
                        <a:pt x="3797" y="31079"/>
                      </a:cubicBezTo>
                      <a:cubicBezTo>
                        <a:pt x="759" y="27625"/>
                        <a:pt x="759" y="27625"/>
                        <a:pt x="759" y="27625"/>
                      </a:cubicBezTo>
                      <a:cubicBezTo>
                        <a:pt x="759" y="27625"/>
                        <a:pt x="759" y="26762"/>
                        <a:pt x="1518" y="25035"/>
                      </a:cubicBezTo>
                      <a:cubicBezTo>
                        <a:pt x="3037" y="23309"/>
                        <a:pt x="1518" y="22446"/>
                        <a:pt x="1518" y="22446"/>
                      </a:cubicBezTo>
                      <a:cubicBezTo>
                        <a:pt x="759" y="19856"/>
                        <a:pt x="759" y="19856"/>
                        <a:pt x="759" y="19856"/>
                      </a:cubicBezTo>
                      <a:cubicBezTo>
                        <a:pt x="1518" y="18129"/>
                        <a:pt x="1518" y="18129"/>
                        <a:pt x="1518" y="18129"/>
                      </a:cubicBezTo>
                      <a:cubicBezTo>
                        <a:pt x="759" y="17266"/>
                        <a:pt x="759" y="17266"/>
                        <a:pt x="759" y="17266"/>
                      </a:cubicBezTo>
                      <a:cubicBezTo>
                        <a:pt x="0" y="16402"/>
                        <a:pt x="0" y="16402"/>
                        <a:pt x="0" y="16402"/>
                      </a:cubicBezTo>
                      <a:cubicBezTo>
                        <a:pt x="0" y="16402"/>
                        <a:pt x="0" y="16402"/>
                        <a:pt x="0" y="16402"/>
                      </a:cubicBezTo>
                      <a:cubicBezTo>
                        <a:pt x="0" y="16402"/>
                        <a:pt x="0" y="16402"/>
                        <a:pt x="0" y="16402"/>
                      </a:cubicBezTo>
                      <a:cubicBezTo>
                        <a:pt x="1518" y="12949"/>
                        <a:pt x="1518" y="12949"/>
                        <a:pt x="1518" y="12949"/>
                      </a:cubicBezTo>
                      <a:cubicBezTo>
                        <a:pt x="1518" y="12949"/>
                        <a:pt x="759" y="11223"/>
                        <a:pt x="759" y="9496"/>
                      </a:cubicBezTo>
                      <a:cubicBezTo>
                        <a:pt x="759" y="9496"/>
                        <a:pt x="1518" y="8633"/>
                        <a:pt x="1518" y="8633"/>
                      </a:cubicBezTo>
                      <a:cubicBezTo>
                        <a:pt x="1518" y="8633"/>
                        <a:pt x="1518" y="8633"/>
                        <a:pt x="1518" y="8633"/>
                      </a:cubicBezTo>
                      <a:cubicBezTo>
                        <a:pt x="1518" y="7769"/>
                        <a:pt x="1518" y="7769"/>
                        <a:pt x="1518" y="7769"/>
                      </a:cubicBezTo>
                      <a:cubicBezTo>
                        <a:pt x="1518" y="7769"/>
                        <a:pt x="1518" y="7769"/>
                        <a:pt x="1518" y="7769"/>
                      </a:cubicBezTo>
                      <a:cubicBezTo>
                        <a:pt x="2278" y="7769"/>
                        <a:pt x="2278" y="7769"/>
                        <a:pt x="2278" y="7769"/>
                      </a:cubicBezTo>
                      <a:cubicBezTo>
                        <a:pt x="2278" y="7769"/>
                        <a:pt x="2278" y="7769"/>
                        <a:pt x="2278" y="7769"/>
                      </a:cubicBezTo>
                      <a:cubicBezTo>
                        <a:pt x="2278" y="6906"/>
                        <a:pt x="6075" y="6043"/>
                        <a:pt x="6075" y="6043"/>
                      </a:cubicBezTo>
                      <a:cubicBezTo>
                        <a:pt x="7594" y="5179"/>
                        <a:pt x="7594" y="5179"/>
                        <a:pt x="7594" y="5179"/>
                      </a:cubicBezTo>
                      <a:cubicBezTo>
                        <a:pt x="10632" y="9496"/>
                        <a:pt x="10632" y="9496"/>
                        <a:pt x="10632" y="9496"/>
                      </a:cubicBezTo>
                      <a:cubicBezTo>
                        <a:pt x="13670" y="12949"/>
                        <a:pt x="13670" y="12949"/>
                        <a:pt x="13670" y="12949"/>
                      </a:cubicBezTo>
                      <a:cubicBezTo>
                        <a:pt x="15949" y="14676"/>
                        <a:pt x="15949" y="14676"/>
                        <a:pt x="15949" y="14676"/>
                      </a:cubicBezTo>
                      <a:cubicBezTo>
                        <a:pt x="15949" y="14676"/>
                        <a:pt x="16708" y="13812"/>
                        <a:pt x="17468" y="13812"/>
                      </a:cubicBezTo>
                      <a:cubicBezTo>
                        <a:pt x="17468" y="12949"/>
                        <a:pt x="17468" y="11223"/>
                        <a:pt x="17468" y="11223"/>
                      </a:cubicBezTo>
                      <a:cubicBezTo>
                        <a:pt x="18987" y="9496"/>
                        <a:pt x="18987" y="9496"/>
                        <a:pt x="18987" y="9496"/>
                      </a:cubicBezTo>
                      <a:cubicBezTo>
                        <a:pt x="19746" y="7769"/>
                        <a:pt x="19746" y="7769"/>
                        <a:pt x="19746" y="7769"/>
                      </a:cubicBezTo>
                      <a:cubicBezTo>
                        <a:pt x="19746" y="6043"/>
                        <a:pt x="19746" y="6043"/>
                        <a:pt x="19746" y="6043"/>
                      </a:cubicBezTo>
                      <a:cubicBezTo>
                        <a:pt x="21265" y="5179"/>
                        <a:pt x="21265" y="5179"/>
                        <a:pt x="21265" y="5179"/>
                      </a:cubicBezTo>
                      <a:cubicBezTo>
                        <a:pt x="23544" y="4316"/>
                        <a:pt x="23544" y="4316"/>
                        <a:pt x="23544" y="4316"/>
                      </a:cubicBezTo>
                      <a:cubicBezTo>
                        <a:pt x="26582" y="3453"/>
                        <a:pt x="26582" y="3453"/>
                        <a:pt x="26582" y="3453"/>
                      </a:cubicBezTo>
                      <a:cubicBezTo>
                        <a:pt x="26582" y="3453"/>
                        <a:pt x="28860" y="4316"/>
                        <a:pt x="29620" y="4316"/>
                      </a:cubicBezTo>
                      <a:cubicBezTo>
                        <a:pt x="29620" y="4316"/>
                        <a:pt x="30379" y="4316"/>
                        <a:pt x="30379" y="4316"/>
                      </a:cubicBezTo>
                      <a:cubicBezTo>
                        <a:pt x="31898" y="1726"/>
                        <a:pt x="31898" y="1726"/>
                        <a:pt x="31898" y="1726"/>
                      </a:cubicBezTo>
                      <a:cubicBezTo>
                        <a:pt x="31898" y="1726"/>
                        <a:pt x="31898" y="1726"/>
                        <a:pt x="31898" y="1726"/>
                      </a:cubicBezTo>
                      <a:cubicBezTo>
                        <a:pt x="32658" y="0"/>
                        <a:pt x="32658" y="0"/>
                        <a:pt x="32658" y="0"/>
                      </a:cubicBezTo>
                      <a:cubicBezTo>
                        <a:pt x="36455" y="1726"/>
                        <a:pt x="36455" y="1726"/>
                        <a:pt x="36455" y="1726"/>
                      </a:cubicBezTo>
                      <a:cubicBezTo>
                        <a:pt x="37974" y="3453"/>
                        <a:pt x="37974" y="3453"/>
                        <a:pt x="37974" y="3453"/>
                      </a:cubicBezTo>
                      <a:cubicBezTo>
                        <a:pt x="41772" y="4316"/>
                        <a:pt x="41772" y="4316"/>
                        <a:pt x="41772" y="4316"/>
                      </a:cubicBezTo>
                      <a:cubicBezTo>
                        <a:pt x="41772" y="4316"/>
                        <a:pt x="41772" y="4316"/>
                        <a:pt x="41772" y="4316"/>
                      </a:cubicBezTo>
                      <a:cubicBezTo>
                        <a:pt x="43291" y="4316"/>
                        <a:pt x="43291" y="4316"/>
                        <a:pt x="43291" y="4316"/>
                      </a:cubicBezTo>
                      <a:cubicBezTo>
                        <a:pt x="43291" y="3453"/>
                        <a:pt x="43291" y="3453"/>
                        <a:pt x="43291" y="3453"/>
                      </a:cubicBezTo>
                      <a:cubicBezTo>
                        <a:pt x="46329" y="3453"/>
                        <a:pt x="46329" y="3453"/>
                        <a:pt x="46329" y="3453"/>
                      </a:cubicBezTo>
                      <a:cubicBezTo>
                        <a:pt x="50126" y="4316"/>
                        <a:pt x="50126" y="4316"/>
                        <a:pt x="50126" y="4316"/>
                      </a:cubicBezTo>
                      <a:cubicBezTo>
                        <a:pt x="52405" y="4316"/>
                        <a:pt x="52405" y="4316"/>
                        <a:pt x="52405" y="4316"/>
                      </a:cubicBezTo>
                      <a:cubicBezTo>
                        <a:pt x="56202" y="4316"/>
                        <a:pt x="56202" y="4316"/>
                        <a:pt x="56202" y="4316"/>
                      </a:cubicBezTo>
                      <a:cubicBezTo>
                        <a:pt x="58481" y="5179"/>
                        <a:pt x="58481" y="5179"/>
                        <a:pt x="58481" y="5179"/>
                      </a:cubicBezTo>
                      <a:cubicBezTo>
                        <a:pt x="60000" y="6043"/>
                        <a:pt x="60000" y="6043"/>
                        <a:pt x="60000" y="6043"/>
                      </a:cubicBezTo>
                      <a:cubicBezTo>
                        <a:pt x="60000" y="6043"/>
                        <a:pt x="60000" y="6043"/>
                        <a:pt x="60759" y="5179"/>
                      </a:cubicBezTo>
                      <a:cubicBezTo>
                        <a:pt x="60759" y="5179"/>
                        <a:pt x="63037" y="5179"/>
                        <a:pt x="63037" y="5179"/>
                      </a:cubicBezTo>
                      <a:cubicBezTo>
                        <a:pt x="63797" y="2589"/>
                        <a:pt x="63797" y="2589"/>
                        <a:pt x="63797" y="2589"/>
                      </a:cubicBezTo>
                      <a:cubicBezTo>
                        <a:pt x="64556" y="4316"/>
                        <a:pt x="64556" y="4316"/>
                        <a:pt x="64556" y="4316"/>
                      </a:cubicBezTo>
                      <a:cubicBezTo>
                        <a:pt x="65316" y="4316"/>
                        <a:pt x="66835" y="4316"/>
                        <a:pt x="66835" y="4316"/>
                      </a:cubicBezTo>
                      <a:cubicBezTo>
                        <a:pt x="67594" y="1726"/>
                        <a:pt x="67594" y="1726"/>
                        <a:pt x="67594" y="1726"/>
                      </a:cubicBezTo>
                      <a:cubicBezTo>
                        <a:pt x="68354" y="2589"/>
                        <a:pt x="68354" y="2589"/>
                        <a:pt x="68354" y="2589"/>
                      </a:cubicBezTo>
                      <a:cubicBezTo>
                        <a:pt x="69113" y="2589"/>
                        <a:pt x="69113" y="2589"/>
                        <a:pt x="69873" y="2589"/>
                      </a:cubicBezTo>
                      <a:cubicBezTo>
                        <a:pt x="70632" y="2589"/>
                        <a:pt x="71392" y="1726"/>
                        <a:pt x="71392" y="1726"/>
                      </a:cubicBezTo>
                      <a:cubicBezTo>
                        <a:pt x="71392" y="1726"/>
                        <a:pt x="72151" y="2589"/>
                        <a:pt x="72151" y="2589"/>
                      </a:cubicBezTo>
                      <a:cubicBezTo>
                        <a:pt x="72151" y="2589"/>
                        <a:pt x="72911" y="1726"/>
                        <a:pt x="73670" y="1726"/>
                      </a:cubicBezTo>
                      <a:cubicBezTo>
                        <a:pt x="73670" y="1726"/>
                        <a:pt x="73670" y="1726"/>
                        <a:pt x="73670" y="1726"/>
                      </a:cubicBezTo>
                      <a:cubicBezTo>
                        <a:pt x="73670" y="1726"/>
                        <a:pt x="73670" y="1726"/>
                        <a:pt x="7367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863"/>
                        <a:pt x="75189" y="863"/>
                        <a:pt x="75189" y="863"/>
                      </a:cubicBezTo>
                      <a:cubicBezTo>
                        <a:pt x="75189" y="863"/>
                        <a:pt x="75189" y="863"/>
                        <a:pt x="75189" y="863"/>
                      </a:cubicBezTo>
                      <a:cubicBezTo>
                        <a:pt x="75189" y="863"/>
                        <a:pt x="75189" y="863"/>
                        <a:pt x="75189" y="863"/>
                      </a:cubicBezTo>
                      <a:cubicBezTo>
                        <a:pt x="75189" y="863"/>
                        <a:pt x="75189" y="863"/>
                        <a:pt x="75189" y="863"/>
                      </a:cubicBezTo>
                      <a:cubicBezTo>
                        <a:pt x="75189" y="863"/>
                        <a:pt x="75189" y="863"/>
                        <a:pt x="7518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6708" y="2589"/>
                        <a:pt x="78227" y="3453"/>
                      </a:cubicBezTo>
                      <a:cubicBezTo>
                        <a:pt x="78227" y="3453"/>
                        <a:pt x="78227" y="3453"/>
                        <a:pt x="78227" y="3453"/>
                      </a:cubicBezTo>
                      <a:cubicBezTo>
                        <a:pt x="79746" y="3453"/>
                        <a:pt x="79746" y="3453"/>
                        <a:pt x="79746" y="3453"/>
                      </a:cubicBezTo>
                      <a:cubicBezTo>
                        <a:pt x="79746" y="3453"/>
                        <a:pt x="79746" y="3453"/>
                        <a:pt x="79746" y="3453"/>
                      </a:cubicBezTo>
                      <a:cubicBezTo>
                        <a:pt x="79746" y="3453"/>
                        <a:pt x="80506" y="2589"/>
                        <a:pt x="81265" y="2589"/>
                      </a:cubicBezTo>
                      <a:cubicBezTo>
                        <a:pt x="82784" y="2589"/>
                        <a:pt x="83544" y="2589"/>
                        <a:pt x="84303" y="2589"/>
                      </a:cubicBezTo>
                      <a:cubicBezTo>
                        <a:pt x="85822" y="2589"/>
                        <a:pt x="86582" y="4316"/>
                        <a:pt x="86582" y="4316"/>
                      </a:cubicBezTo>
                      <a:cubicBezTo>
                        <a:pt x="88860" y="6906"/>
                        <a:pt x="88860" y="6906"/>
                        <a:pt x="88860" y="6906"/>
                      </a:cubicBezTo>
                      <a:cubicBezTo>
                        <a:pt x="88860" y="6906"/>
                        <a:pt x="89620" y="8633"/>
                        <a:pt x="89620" y="9496"/>
                      </a:cubicBezTo>
                      <a:cubicBezTo>
                        <a:pt x="90379" y="10359"/>
                        <a:pt x="90379" y="11223"/>
                        <a:pt x="90379" y="11223"/>
                      </a:cubicBezTo>
                      <a:cubicBezTo>
                        <a:pt x="90379" y="11223"/>
                        <a:pt x="90379" y="11223"/>
                        <a:pt x="90379" y="11223"/>
                      </a:cubicBezTo>
                      <a:cubicBezTo>
                        <a:pt x="91139" y="11223"/>
                        <a:pt x="96455" y="13812"/>
                        <a:pt x="97215" y="13812"/>
                      </a:cubicBezTo>
                      <a:cubicBezTo>
                        <a:pt x="97215" y="13812"/>
                        <a:pt x="97974" y="13812"/>
                        <a:pt x="97974" y="13812"/>
                      </a:cubicBezTo>
                      <a:cubicBezTo>
                        <a:pt x="97974" y="12086"/>
                        <a:pt x="97215" y="11223"/>
                        <a:pt x="98734" y="10359"/>
                      </a:cubicBezTo>
                      <a:cubicBezTo>
                        <a:pt x="99493" y="10359"/>
                        <a:pt x="100253" y="12086"/>
                        <a:pt x="100253" y="10359"/>
                      </a:cubicBezTo>
                      <a:cubicBezTo>
                        <a:pt x="100253" y="8633"/>
                        <a:pt x="101012" y="9496"/>
                        <a:pt x="100253" y="776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62" name="Shape 2027"/>
                <p:cNvSpPr/>
                <p:nvPr/>
              </p:nvSpPr>
              <p:spPr>
                <a:xfrm>
                  <a:off x="4877542" y="1947009"/>
                  <a:ext cx="322132" cy="369699"/>
                </a:xfrm>
                <a:custGeom>
                  <a:avLst/>
                  <a:gdLst/>
                  <a:ahLst/>
                  <a:cxnLst/>
                  <a:rect l="0" t="0" r="0" b="0"/>
                  <a:pathLst>
                    <a:path w="120000" h="120000" extrusionOk="0">
                      <a:moveTo>
                        <a:pt x="32340" y="23712"/>
                      </a:moveTo>
                      <a:cubicBezTo>
                        <a:pt x="37446" y="21556"/>
                        <a:pt x="37446" y="21556"/>
                        <a:pt x="37446" y="21556"/>
                      </a:cubicBezTo>
                      <a:cubicBezTo>
                        <a:pt x="40000" y="17245"/>
                        <a:pt x="40000" y="17245"/>
                        <a:pt x="40000" y="17245"/>
                      </a:cubicBezTo>
                      <a:cubicBezTo>
                        <a:pt x="43404" y="12215"/>
                        <a:pt x="43404" y="12215"/>
                        <a:pt x="43404" y="12215"/>
                      </a:cubicBezTo>
                      <a:cubicBezTo>
                        <a:pt x="45106" y="10059"/>
                        <a:pt x="45106" y="10059"/>
                        <a:pt x="45106" y="10059"/>
                      </a:cubicBezTo>
                      <a:cubicBezTo>
                        <a:pt x="46808" y="6467"/>
                        <a:pt x="46808" y="6467"/>
                        <a:pt x="46808" y="6467"/>
                      </a:cubicBezTo>
                      <a:cubicBezTo>
                        <a:pt x="51914" y="5029"/>
                        <a:pt x="51914" y="5029"/>
                        <a:pt x="51914" y="5029"/>
                      </a:cubicBezTo>
                      <a:cubicBezTo>
                        <a:pt x="51914" y="5029"/>
                        <a:pt x="55319" y="4311"/>
                        <a:pt x="56170" y="4311"/>
                      </a:cubicBezTo>
                      <a:cubicBezTo>
                        <a:pt x="57021" y="3592"/>
                        <a:pt x="62127" y="0"/>
                        <a:pt x="62127" y="0"/>
                      </a:cubicBezTo>
                      <a:cubicBezTo>
                        <a:pt x="62978" y="0"/>
                        <a:pt x="62978" y="0"/>
                        <a:pt x="62978" y="0"/>
                      </a:cubicBezTo>
                      <a:cubicBezTo>
                        <a:pt x="60425" y="3592"/>
                        <a:pt x="60425" y="3592"/>
                        <a:pt x="60425" y="3592"/>
                      </a:cubicBezTo>
                      <a:cubicBezTo>
                        <a:pt x="60425" y="5748"/>
                        <a:pt x="60425" y="5748"/>
                        <a:pt x="60425" y="5748"/>
                      </a:cubicBezTo>
                      <a:cubicBezTo>
                        <a:pt x="60425" y="7185"/>
                        <a:pt x="60425" y="7185"/>
                        <a:pt x="60425" y="7185"/>
                      </a:cubicBezTo>
                      <a:cubicBezTo>
                        <a:pt x="61276" y="10059"/>
                        <a:pt x="61276" y="10059"/>
                        <a:pt x="61276" y="10059"/>
                      </a:cubicBezTo>
                      <a:cubicBezTo>
                        <a:pt x="62127" y="10778"/>
                        <a:pt x="62127" y="10778"/>
                        <a:pt x="62127" y="10778"/>
                      </a:cubicBezTo>
                      <a:cubicBezTo>
                        <a:pt x="62127" y="13652"/>
                        <a:pt x="62127" y="13652"/>
                        <a:pt x="62127" y="13652"/>
                      </a:cubicBezTo>
                      <a:cubicBezTo>
                        <a:pt x="62127" y="16526"/>
                        <a:pt x="62127" y="16526"/>
                        <a:pt x="62127" y="16526"/>
                      </a:cubicBezTo>
                      <a:cubicBezTo>
                        <a:pt x="62127" y="16526"/>
                        <a:pt x="64680" y="17964"/>
                        <a:pt x="63829" y="18682"/>
                      </a:cubicBezTo>
                      <a:cubicBezTo>
                        <a:pt x="62127" y="19401"/>
                        <a:pt x="60425" y="21556"/>
                        <a:pt x="60425" y="21556"/>
                      </a:cubicBezTo>
                      <a:cubicBezTo>
                        <a:pt x="59574" y="25868"/>
                        <a:pt x="59574" y="25868"/>
                        <a:pt x="59574" y="25868"/>
                      </a:cubicBezTo>
                      <a:cubicBezTo>
                        <a:pt x="56170" y="29461"/>
                        <a:pt x="56170" y="29461"/>
                        <a:pt x="56170" y="29461"/>
                      </a:cubicBezTo>
                      <a:cubicBezTo>
                        <a:pt x="57021" y="33772"/>
                        <a:pt x="57021" y="33772"/>
                        <a:pt x="57021" y="33772"/>
                      </a:cubicBezTo>
                      <a:cubicBezTo>
                        <a:pt x="57872" y="37365"/>
                        <a:pt x="57872" y="37365"/>
                        <a:pt x="57872" y="37365"/>
                      </a:cubicBezTo>
                      <a:cubicBezTo>
                        <a:pt x="57021" y="40239"/>
                        <a:pt x="57021" y="40239"/>
                        <a:pt x="57021" y="40239"/>
                      </a:cubicBezTo>
                      <a:cubicBezTo>
                        <a:pt x="59574" y="42395"/>
                        <a:pt x="59574" y="42395"/>
                        <a:pt x="59574" y="42395"/>
                      </a:cubicBezTo>
                      <a:cubicBezTo>
                        <a:pt x="58723" y="43832"/>
                        <a:pt x="58723" y="43832"/>
                        <a:pt x="58723" y="43832"/>
                      </a:cubicBezTo>
                      <a:cubicBezTo>
                        <a:pt x="59574" y="45988"/>
                        <a:pt x="59574" y="45988"/>
                        <a:pt x="59574" y="45988"/>
                      </a:cubicBezTo>
                      <a:cubicBezTo>
                        <a:pt x="62127" y="47425"/>
                        <a:pt x="62127" y="47425"/>
                        <a:pt x="62127" y="47425"/>
                      </a:cubicBezTo>
                      <a:cubicBezTo>
                        <a:pt x="62127" y="47425"/>
                        <a:pt x="63829" y="47425"/>
                        <a:pt x="64680" y="47425"/>
                      </a:cubicBezTo>
                      <a:cubicBezTo>
                        <a:pt x="65531" y="47425"/>
                        <a:pt x="68085" y="46706"/>
                        <a:pt x="68936" y="46706"/>
                      </a:cubicBezTo>
                      <a:cubicBezTo>
                        <a:pt x="69787" y="46706"/>
                        <a:pt x="71489" y="47425"/>
                        <a:pt x="71489" y="47425"/>
                      </a:cubicBezTo>
                      <a:cubicBezTo>
                        <a:pt x="74042" y="50299"/>
                        <a:pt x="74042" y="50299"/>
                        <a:pt x="74042" y="50299"/>
                      </a:cubicBezTo>
                      <a:cubicBezTo>
                        <a:pt x="74042" y="52455"/>
                        <a:pt x="74042" y="52455"/>
                        <a:pt x="74042" y="52455"/>
                      </a:cubicBezTo>
                      <a:cubicBezTo>
                        <a:pt x="74042" y="52455"/>
                        <a:pt x="73191" y="53892"/>
                        <a:pt x="73191" y="54610"/>
                      </a:cubicBezTo>
                      <a:cubicBezTo>
                        <a:pt x="72340" y="55329"/>
                        <a:pt x="71489" y="56766"/>
                        <a:pt x="71489" y="56766"/>
                      </a:cubicBezTo>
                      <a:cubicBezTo>
                        <a:pt x="69787" y="58203"/>
                        <a:pt x="69787" y="58203"/>
                        <a:pt x="69787" y="58203"/>
                      </a:cubicBezTo>
                      <a:cubicBezTo>
                        <a:pt x="68936" y="60359"/>
                        <a:pt x="68936" y="60359"/>
                        <a:pt x="68936" y="60359"/>
                      </a:cubicBezTo>
                      <a:cubicBezTo>
                        <a:pt x="68085" y="61796"/>
                        <a:pt x="68085" y="61796"/>
                        <a:pt x="68085" y="61796"/>
                      </a:cubicBezTo>
                      <a:cubicBezTo>
                        <a:pt x="68085" y="61796"/>
                        <a:pt x="68085" y="61796"/>
                        <a:pt x="68085" y="61796"/>
                      </a:cubicBezTo>
                      <a:cubicBezTo>
                        <a:pt x="66382" y="60359"/>
                        <a:pt x="66382" y="60359"/>
                        <a:pt x="66382" y="60359"/>
                      </a:cubicBezTo>
                      <a:cubicBezTo>
                        <a:pt x="66382" y="60359"/>
                        <a:pt x="66382" y="58203"/>
                        <a:pt x="65531" y="58922"/>
                      </a:cubicBezTo>
                      <a:cubicBezTo>
                        <a:pt x="64680" y="58922"/>
                        <a:pt x="63829" y="60359"/>
                        <a:pt x="63829" y="60359"/>
                      </a:cubicBezTo>
                      <a:cubicBezTo>
                        <a:pt x="64680" y="61796"/>
                        <a:pt x="64680" y="61796"/>
                        <a:pt x="64680" y="61796"/>
                      </a:cubicBezTo>
                      <a:cubicBezTo>
                        <a:pt x="64680" y="61796"/>
                        <a:pt x="65531" y="63952"/>
                        <a:pt x="64680" y="63952"/>
                      </a:cubicBezTo>
                      <a:cubicBezTo>
                        <a:pt x="63829" y="63952"/>
                        <a:pt x="62978" y="63952"/>
                        <a:pt x="62978" y="63952"/>
                      </a:cubicBezTo>
                      <a:cubicBezTo>
                        <a:pt x="62127" y="61077"/>
                        <a:pt x="62127" y="61077"/>
                        <a:pt x="62127" y="61077"/>
                      </a:cubicBezTo>
                      <a:cubicBezTo>
                        <a:pt x="59574" y="60359"/>
                        <a:pt x="59574" y="60359"/>
                        <a:pt x="59574" y="60359"/>
                      </a:cubicBezTo>
                      <a:cubicBezTo>
                        <a:pt x="61276" y="57485"/>
                        <a:pt x="61276" y="57485"/>
                        <a:pt x="61276" y="57485"/>
                      </a:cubicBezTo>
                      <a:cubicBezTo>
                        <a:pt x="59574" y="56766"/>
                        <a:pt x="59574" y="56766"/>
                        <a:pt x="59574" y="56766"/>
                      </a:cubicBezTo>
                      <a:cubicBezTo>
                        <a:pt x="59574" y="56766"/>
                        <a:pt x="58723" y="56766"/>
                        <a:pt x="57872" y="57485"/>
                      </a:cubicBezTo>
                      <a:cubicBezTo>
                        <a:pt x="57872" y="58203"/>
                        <a:pt x="57021" y="61077"/>
                        <a:pt x="57021" y="61077"/>
                      </a:cubicBezTo>
                      <a:cubicBezTo>
                        <a:pt x="56170" y="63952"/>
                        <a:pt x="56170" y="63952"/>
                        <a:pt x="56170" y="63952"/>
                      </a:cubicBezTo>
                      <a:cubicBezTo>
                        <a:pt x="56170" y="63952"/>
                        <a:pt x="57021" y="64670"/>
                        <a:pt x="57021" y="65389"/>
                      </a:cubicBezTo>
                      <a:cubicBezTo>
                        <a:pt x="57021" y="66107"/>
                        <a:pt x="56170" y="66826"/>
                        <a:pt x="56170" y="66826"/>
                      </a:cubicBezTo>
                      <a:cubicBezTo>
                        <a:pt x="56170" y="66826"/>
                        <a:pt x="56170" y="67544"/>
                        <a:pt x="56170" y="68263"/>
                      </a:cubicBezTo>
                      <a:cubicBezTo>
                        <a:pt x="56170" y="68263"/>
                        <a:pt x="57021" y="69700"/>
                        <a:pt x="57021" y="70419"/>
                      </a:cubicBezTo>
                      <a:cubicBezTo>
                        <a:pt x="57021" y="70419"/>
                        <a:pt x="57021" y="71137"/>
                        <a:pt x="56170" y="71137"/>
                      </a:cubicBezTo>
                      <a:cubicBezTo>
                        <a:pt x="56170" y="71856"/>
                        <a:pt x="56170" y="71856"/>
                        <a:pt x="56170" y="72574"/>
                      </a:cubicBezTo>
                      <a:cubicBezTo>
                        <a:pt x="55319" y="72574"/>
                        <a:pt x="54468" y="73293"/>
                        <a:pt x="54468" y="73293"/>
                      </a:cubicBezTo>
                      <a:cubicBezTo>
                        <a:pt x="54468" y="73293"/>
                        <a:pt x="52765" y="74011"/>
                        <a:pt x="52765" y="74011"/>
                      </a:cubicBezTo>
                      <a:cubicBezTo>
                        <a:pt x="52765" y="74011"/>
                        <a:pt x="51914" y="73293"/>
                        <a:pt x="51063" y="73293"/>
                      </a:cubicBezTo>
                      <a:cubicBezTo>
                        <a:pt x="50212" y="73293"/>
                        <a:pt x="50212" y="72574"/>
                        <a:pt x="49361" y="73293"/>
                      </a:cubicBezTo>
                      <a:cubicBezTo>
                        <a:pt x="48510" y="74011"/>
                        <a:pt x="48510" y="74011"/>
                        <a:pt x="48510" y="74011"/>
                      </a:cubicBezTo>
                      <a:cubicBezTo>
                        <a:pt x="49361" y="74730"/>
                        <a:pt x="49361" y="74730"/>
                        <a:pt x="49361" y="74730"/>
                      </a:cubicBezTo>
                      <a:cubicBezTo>
                        <a:pt x="51063" y="74730"/>
                        <a:pt x="51063" y="74730"/>
                        <a:pt x="51063" y="74730"/>
                      </a:cubicBezTo>
                      <a:cubicBezTo>
                        <a:pt x="51063" y="76167"/>
                        <a:pt x="51063" y="76167"/>
                        <a:pt x="51063" y="76167"/>
                      </a:cubicBezTo>
                      <a:cubicBezTo>
                        <a:pt x="51063" y="76167"/>
                        <a:pt x="51914" y="76167"/>
                        <a:pt x="51914" y="76886"/>
                      </a:cubicBezTo>
                      <a:cubicBezTo>
                        <a:pt x="51063" y="77604"/>
                        <a:pt x="50212" y="78323"/>
                        <a:pt x="50212" y="78323"/>
                      </a:cubicBezTo>
                      <a:cubicBezTo>
                        <a:pt x="48510" y="79760"/>
                        <a:pt x="48510" y="79760"/>
                        <a:pt x="48510" y="79760"/>
                      </a:cubicBezTo>
                      <a:cubicBezTo>
                        <a:pt x="46808" y="80479"/>
                        <a:pt x="46808" y="80479"/>
                        <a:pt x="46808" y="80479"/>
                      </a:cubicBezTo>
                      <a:cubicBezTo>
                        <a:pt x="46808" y="80479"/>
                        <a:pt x="45106" y="79760"/>
                        <a:pt x="45106" y="80479"/>
                      </a:cubicBezTo>
                      <a:cubicBezTo>
                        <a:pt x="44255" y="80479"/>
                        <a:pt x="43404" y="80479"/>
                        <a:pt x="43404" y="80479"/>
                      </a:cubicBezTo>
                      <a:cubicBezTo>
                        <a:pt x="43404" y="81197"/>
                        <a:pt x="45106" y="82634"/>
                        <a:pt x="45106" y="82634"/>
                      </a:cubicBezTo>
                      <a:cubicBezTo>
                        <a:pt x="41702" y="79760"/>
                        <a:pt x="41702" y="79760"/>
                        <a:pt x="41702" y="79760"/>
                      </a:cubicBezTo>
                      <a:cubicBezTo>
                        <a:pt x="40000" y="79760"/>
                        <a:pt x="40000" y="79760"/>
                        <a:pt x="40000" y="79760"/>
                      </a:cubicBezTo>
                      <a:cubicBezTo>
                        <a:pt x="42553" y="81197"/>
                        <a:pt x="42553" y="81197"/>
                        <a:pt x="42553" y="81197"/>
                      </a:cubicBezTo>
                      <a:cubicBezTo>
                        <a:pt x="43404" y="82634"/>
                        <a:pt x="43404" y="82634"/>
                        <a:pt x="43404" y="82634"/>
                      </a:cubicBezTo>
                      <a:cubicBezTo>
                        <a:pt x="45106" y="83353"/>
                        <a:pt x="45106" y="83353"/>
                        <a:pt x="45106" y="83353"/>
                      </a:cubicBezTo>
                      <a:cubicBezTo>
                        <a:pt x="44255" y="84071"/>
                        <a:pt x="44255" y="84071"/>
                        <a:pt x="44255" y="84071"/>
                      </a:cubicBezTo>
                      <a:cubicBezTo>
                        <a:pt x="43404" y="84790"/>
                        <a:pt x="43404" y="84790"/>
                        <a:pt x="43404" y="84790"/>
                      </a:cubicBezTo>
                      <a:cubicBezTo>
                        <a:pt x="41702" y="86227"/>
                        <a:pt x="41702" y="86227"/>
                        <a:pt x="41702" y="86227"/>
                      </a:cubicBezTo>
                      <a:cubicBezTo>
                        <a:pt x="41702" y="86227"/>
                        <a:pt x="40851" y="86946"/>
                        <a:pt x="40000" y="86946"/>
                      </a:cubicBezTo>
                      <a:cubicBezTo>
                        <a:pt x="40000" y="86946"/>
                        <a:pt x="37446" y="86946"/>
                        <a:pt x="37446" y="86946"/>
                      </a:cubicBezTo>
                      <a:cubicBezTo>
                        <a:pt x="38297" y="87664"/>
                        <a:pt x="38297" y="87664"/>
                        <a:pt x="38297" y="87664"/>
                      </a:cubicBezTo>
                      <a:cubicBezTo>
                        <a:pt x="40000" y="88383"/>
                        <a:pt x="40000" y="88383"/>
                        <a:pt x="40000" y="88383"/>
                      </a:cubicBezTo>
                      <a:cubicBezTo>
                        <a:pt x="40000" y="88383"/>
                        <a:pt x="40851" y="87664"/>
                        <a:pt x="40851" y="88383"/>
                      </a:cubicBezTo>
                      <a:cubicBezTo>
                        <a:pt x="40000" y="88383"/>
                        <a:pt x="40000" y="88383"/>
                        <a:pt x="40000" y="89101"/>
                      </a:cubicBezTo>
                      <a:cubicBezTo>
                        <a:pt x="40000" y="90538"/>
                        <a:pt x="40000" y="92694"/>
                        <a:pt x="40000" y="92694"/>
                      </a:cubicBezTo>
                      <a:cubicBezTo>
                        <a:pt x="41702" y="94850"/>
                        <a:pt x="41702" y="94850"/>
                        <a:pt x="41702" y="94850"/>
                      </a:cubicBezTo>
                      <a:cubicBezTo>
                        <a:pt x="42553" y="95568"/>
                        <a:pt x="42553" y="95568"/>
                        <a:pt x="42553" y="95568"/>
                      </a:cubicBezTo>
                      <a:cubicBezTo>
                        <a:pt x="42553" y="95568"/>
                        <a:pt x="42553" y="95568"/>
                        <a:pt x="42553" y="96287"/>
                      </a:cubicBezTo>
                      <a:cubicBezTo>
                        <a:pt x="42553" y="96287"/>
                        <a:pt x="42553" y="97005"/>
                        <a:pt x="42553" y="97005"/>
                      </a:cubicBezTo>
                      <a:cubicBezTo>
                        <a:pt x="42553" y="98443"/>
                        <a:pt x="42553" y="98443"/>
                        <a:pt x="42553" y="98443"/>
                      </a:cubicBezTo>
                      <a:cubicBezTo>
                        <a:pt x="42553" y="98443"/>
                        <a:pt x="41702" y="99161"/>
                        <a:pt x="40851" y="99161"/>
                      </a:cubicBezTo>
                      <a:cubicBezTo>
                        <a:pt x="40851" y="99161"/>
                        <a:pt x="37446" y="99880"/>
                        <a:pt x="37446" y="99880"/>
                      </a:cubicBezTo>
                      <a:cubicBezTo>
                        <a:pt x="36595" y="101317"/>
                        <a:pt x="36595" y="101317"/>
                        <a:pt x="36595" y="101317"/>
                      </a:cubicBezTo>
                      <a:cubicBezTo>
                        <a:pt x="38297" y="102035"/>
                        <a:pt x="38297" y="102035"/>
                        <a:pt x="38297" y="102035"/>
                      </a:cubicBezTo>
                      <a:cubicBezTo>
                        <a:pt x="38297" y="102035"/>
                        <a:pt x="38297" y="103473"/>
                        <a:pt x="38297" y="103473"/>
                      </a:cubicBezTo>
                      <a:cubicBezTo>
                        <a:pt x="38297" y="104191"/>
                        <a:pt x="37446" y="104910"/>
                        <a:pt x="37446" y="104910"/>
                      </a:cubicBezTo>
                      <a:cubicBezTo>
                        <a:pt x="39148" y="104910"/>
                        <a:pt x="39148" y="104910"/>
                        <a:pt x="39148" y="104910"/>
                      </a:cubicBezTo>
                      <a:cubicBezTo>
                        <a:pt x="41702" y="105628"/>
                        <a:pt x="41702" y="105628"/>
                        <a:pt x="41702" y="105628"/>
                      </a:cubicBezTo>
                      <a:cubicBezTo>
                        <a:pt x="45106" y="109221"/>
                        <a:pt x="45106" y="109221"/>
                        <a:pt x="45106" y="109221"/>
                      </a:cubicBezTo>
                      <a:cubicBezTo>
                        <a:pt x="44255" y="112095"/>
                        <a:pt x="44255" y="112095"/>
                        <a:pt x="44255" y="112095"/>
                      </a:cubicBezTo>
                      <a:cubicBezTo>
                        <a:pt x="42553" y="113532"/>
                        <a:pt x="42553" y="113532"/>
                        <a:pt x="42553" y="113532"/>
                      </a:cubicBezTo>
                      <a:cubicBezTo>
                        <a:pt x="40851" y="110658"/>
                        <a:pt x="40851" y="110658"/>
                        <a:pt x="40851" y="110658"/>
                      </a:cubicBezTo>
                      <a:cubicBezTo>
                        <a:pt x="40851" y="110658"/>
                        <a:pt x="40000" y="110658"/>
                        <a:pt x="40000" y="111377"/>
                      </a:cubicBezTo>
                      <a:cubicBezTo>
                        <a:pt x="39148" y="111377"/>
                        <a:pt x="36595" y="112814"/>
                        <a:pt x="36595" y="112814"/>
                      </a:cubicBezTo>
                      <a:cubicBezTo>
                        <a:pt x="36595" y="112814"/>
                        <a:pt x="34893" y="113532"/>
                        <a:pt x="34042" y="113532"/>
                      </a:cubicBezTo>
                      <a:cubicBezTo>
                        <a:pt x="34042" y="113532"/>
                        <a:pt x="33191" y="113532"/>
                        <a:pt x="33191" y="113532"/>
                      </a:cubicBezTo>
                      <a:cubicBezTo>
                        <a:pt x="30638" y="112814"/>
                        <a:pt x="30638" y="112814"/>
                        <a:pt x="30638" y="112814"/>
                      </a:cubicBezTo>
                      <a:cubicBezTo>
                        <a:pt x="27234" y="111377"/>
                        <a:pt x="27234" y="111377"/>
                        <a:pt x="27234" y="111377"/>
                      </a:cubicBezTo>
                      <a:cubicBezTo>
                        <a:pt x="27234" y="111377"/>
                        <a:pt x="25531" y="110658"/>
                        <a:pt x="24680" y="110658"/>
                      </a:cubicBezTo>
                      <a:cubicBezTo>
                        <a:pt x="23829" y="110658"/>
                        <a:pt x="19574" y="109221"/>
                        <a:pt x="19574" y="109221"/>
                      </a:cubicBezTo>
                      <a:cubicBezTo>
                        <a:pt x="17872" y="109940"/>
                        <a:pt x="17872" y="109940"/>
                        <a:pt x="17872" y="109940"/>
                      </a:cubicBezTo>
                      <a:cubicBezTo>
                        <a:pt x="15319" y="109940"/>
                        <a:pt x="15319" y="109940"/>
                        <a:pt x="15319" y="109940"/>
                      </a:cubicBezTo>
                      <a:cubicBezTo>
                        <a:pt x="13617" y="109221"/>
                        <a:pt x="13617" y="109221"/>
                        <a:pt x="13617" y="109221"/>
                      </a:cubicBezTo>
                      <a:cubicBezTo>
                        <a:pt x="11914" y="107065"/>
                        <a:pt x="11914" y="107065"/>
                        <a:pt x="11914" y="107065"/>
                      </a:cubicBezTo>
                      <a:cubicBezTo>
                        <a:pt x="11914" y="107065"/>
                        <a:pt x="11063" y="105628"/>
                        <a:pt x="11063" y="105628"/>
                      </a:cubicBezTo>
                      <a:cubicBezTo>
                        <a:pt x="11063" y="105628"/>
                        <a:pt x="13617" y="104191"/>
                        <a:pt x="13617" y="104191"/>
                      </a:cubicBezTo>
                      <a:cubicBezTo>
                        <a:pt x="14468" y="104191"/>
                        <a:pt x="14468" y="103473"/>
                        <a:pt x="14468" y="103473"/>
                      </a:cubicBezTo>
                      <a:cubicBezTo>
                        <a:pt x="14468" y="100598"/>
                        <a:pt x="14468" y="100598"/>
                        <a:pt x="14468" y="100598"/>
                      </a:cubicBezTo>
                      <a:cubicBezTo>
                        <a:pt x="14468" y="100598"/>
                        <a:pt x="14468" y="99161"/>
                        <a:pt x="14468" y="99161"/>
                      </a:cubicBezTo>
                      <a:cubicBezTo>
                        <a:pt x="14468" y="98443"/>
                        <a:pt x="15319" y="97724"/>
                        <a:pt x="15319" y="97724"/>
                      </a:cubicBezTo>
                      <a:cubicBezTo>
                        <a:pt x="15319" y="97724"/>
                        <a:pt x="15319" y="95568"/>
                        <a:pt x="14468" y="94850"/>
                      </a:cubicBezTo>
                      <a:cubicBezTo>
                        <a:pt x="14468" y="93413"/>
                        <a:pt x="14468" y="91976"/>
                        <a:pt x="14468" y="91976"/>
                      </a:cubicBezTo>
                      <a:cubicBezTo>
                        <a:pt x="12765" y="89820"/>
                        <a:pt x="12765" y="89820"/>
                        <a:pt x="12765" y="89820"/>
                      </a:cubicBezTo>
                      <a:cubicBezTo>
                        <a:pt x="12765" y="89820"/>
                        <a:pt x="11914" y="89820"/>
                        <a:pt x="10212" y="89101"/>
                      </a:cubicBezTo>
                      <a:cubicBezTo>
                        <a:pt x="8510" y="88383"/>
                        <a:pt x="5957" y="87664"/>
                        <a:pt x="5957" y="87664"/>
                      </a:cubicBezTo>
                      <a:cubicBezTo>
                        <a:pt x="5957" y="85508"/>
                        <a:pt x="5957" y="85508"/>
                        <a:pt x="5957" y="85508"/>
                      </a:cubicBezTo>
                      <a:cubicBezTo>
                        <a:pt x="5106" y="84790"/>
                        <a:pt x="5106" y="84790"/>
                        <a:pt x="5106" y="84790"/>
                      </a:cubicBezTo>
                      <a:cubicBezTo>
                        <a:pt x="5106" y="84790"/>
                        <a:pt x="3404" y="84790"/>
                        <a:pt x="3404" y="85508"/>
                      </a:cubicBezTo>
                      <a:cubicBezTo>
                        <a:pt x="3404" y="85508"/>
                        <a:pt x="3404" y="86227"/>
                        <a:pt x="3404" y="86227"/>
                      </a:cubicBezTo>
                      <a:cubicBezTo>
                        <a:pt x="1702" y="85508"/>
                        <a:pt x="1702" y="85508"/>
                        <a:pt x="1702" y="85508"/>
                      </a:cubicBezTo>
                      <a:cubicBezTo>
                        <a:pt x="1702" y="85508"/>
                        <a:pt x="0" y="83353"/>
                        <a:pt x="0" y="82634"/>
                      </a:cubicBezTo>
                      <a:cubicBezTo>
                        <a:pt x="851" y="82634"/>
                        <a:pt x="1702" y="81916"/>
                        <a:pt x="1702" y="81197"/>
                      </a:cubicBezTo>
                      <a:cubicBezTo>
                        <a:pt x="2553" y="80479"/>
                        <a:pt x="3404" y="79041"/>
                        <a:pt x="3404" y="78323"/>
                      </a:cubicBezTo>
                      <a:cubicBezTo>
                        <a:pt x="3404" y="78323"/>
                        <a:pt x="3404" y="75449"/>
                        <a:pt x="3404" y="75449"/>
                      </a:cubicBezTo>
                      <a:cubicBezTo>
                        <a:pt x="3404" y="75449"/>
                        <a:pt x="2553" y="74730"/>
                        <a:pt x="3404" y="74730"/>
                      </a:cubicBezTo>
                      <a:cubicBezTo>
                        <a:pt x="4255" y="74730"/>
                        <a:pt x="3404" y="74730"/>
                        <a:pt x="4255" y="74730"/>
                      </a:cubicBezTo>
                      <a:cubicBezTo>
                        <a:pt x="5106" y="74011"/>
                        <a:pt x="7659" y="72574"/>
                        <a:pt x="7659" y="72574"/>
                      </a:cubicBezTo>
                      <a:cubicBezTo>
                        <a:pt x="7659" y="71137"/>
                        <a:pt x="7659" y="71137"/>
                        <a:pt x="7659" y="71137"/>
                      </a:cubicBezTo>
                      <a:cubicBezTo>
                        <a:pt x="7659" y="71137"/>
                        <a:pt x="6808" y="69700"/>
                        <a:pt x="6808" y="68982"/>
                      </a:cubicBezTo>
                      <a:cubicBezTo>
                        <a:pt x="6808" y="68982"/>
                        <a:pt x="6808" y="68982"/>
                        <a:pt x="6808" y="68263"/>
                      </a:cubicBezTo>
                      <a:cubicBezTo>
                        <a:pt x="6808" y="66826"/>
                        <a:pt x="3404" y="63952"/>
                        <a:pt x="3404" y="63952"/>
                      </a:cubicBezTo>
                      <a:cubicBezTo>
                        <a:pt x="1702" y="63952"/>
                        <a:pt x="1702" y="63952"/>
                        <a:pt x="1702" y="63952"/>
                      </a:cubicBezTo>
                      <a:cubicBezTo>
                        <a:pt x="1702" y="63952"/>
                        <a:pt x="1702" y="63233"/>
                        <a:pt x="1702" y="62514"/>
                      </a:cubicBezTo>
                      <a:cubicBezTo>
                        <a:pt x="1702" y="62514"/>
                        <a:pt x="1702" y="60359"/>
                        <a:pt x="1702" y="60359"/>
                      </a:cubicBezTo>
                      <a:cubicBezTo>
                        <a:pt x="2553" y="57485"/>
                        <a:pt x="2553" y="57485"/>
                        <a:pt x="2553" y="57485"/>
                      </a:cubicBezTo>
                      <a:cubicBezTo>
                        <a:pt x="1702" y="52455"/>
                        <a:pt x="1702" y="52455"/>
                        <a:pt x="1702" y="52455"/>
                      </a:cubicBezTo>
                      <a:cubicBezTo>
                        <a:pt x="1702" y="48862"/>
                        <a:pt x="1702" y="48862"/>
                        <a:pt x="1702" y="48862"/>
                      </a:cubicBezTo>
                      <a:cubicBezTo>
                        <a:pt x="1702" y="48862"/>
                        <a:pt x="1702" y="45988"/>
                        <a:pt x="1702" y="45269"/>
                      </a:cubicBezTo>
                      <a:cubicBezTo>
                        <a:pt x="1702" y="45269"/>
                        <a:pt x="3404" y="42395"/>
                        <a:pt x="3404" y="42395"/>
                      </a:cubicBezTo>
                      <a:cubicBezTo>
                        <a:pt x="4255" y="40958"/>
                        <a:pt x="4255" y="40958"/>
                        <a:pt x="4255" y="40958"/>
                      </a:cubicBezTo>
                      <a:cubicBezTo>
                        <a:pt x="5106" y="43113"/>
                        <a:pt x="5106" y="43113"/>
                        <a:pt x="5106" y="43113"/>
                      </a:cubicBezTo>
                      <a:cubicBezTo>
                        <a:pt x="5106" y="43113"/>
                        <a:pt x="4255" y="43832"/>
                        <a:pt x="5106" y="44550"/>
                      </a:cubicBezTo>
                      <a:cubicBezTo>
                        <a:pt x="5957" y="44550"/>
                        <a:pt x="6808" y="44550"/>
                        <a:pt x="7659" y="44550"/>
                      </a:cubicBezTo>
                      <a:cubicBezTo>
                        <a:pt x="7659" y="44550"/>
                        <a:pt x="8510" y="45269"/>
                        <a:pt x="8510" y="45269"/>
                      </a:cubicBezTo>
                      <a:cubicBezTo>
                        <a:pt x="11063" y="46706"/>
                        <a:pt x="11063" y="46706"/>
                        <a:pt x="11063" y="46706"/>
                      </a:cubicBezTo>
                      <a:cubicBezTo>
                        <a:pt x="12765" y="48143"/>
                        <a:pt x="12765" y="48143"/>
                        <a:pt x="12765" y="48143"/>
                      </a:cubicBezTo>
                      <a:cubicBezTo>
                        <a:pt x="14468" y="48862"/>
                        <a:pt x="14468" y="48862"/>
                        <a:pt x="14468" y="48862"/>
                      </a:cubicBezTo>
                      <a:cubicBezTo>
                        <a:pt x="16170" y="48862"/>
                        <a:pt x="16170" y="48862"/>
                        <a:pt x="16170" y="48862"/>
                      </a:cubicBezTo>
                      <a:cubicBezTo>
                        <a:pt x="17021" y="48143"/>
                        <a:pt x="17021" y="48143"/>
                        <a:pt x="17021" y="48143"/>
                      </a:cubicBezTo>
                      <a:cubicBezTo>
                        <a:pt x="17021" y="48143"/>
                        <a:pt x="17021" y="47425"/>
                        <a:pt x="17021" y="47425"/>
                      </a:cubicBezTo>
                      <a:cubicBezTo>
                        <a:pt x="17021" y="47425"/>
                        <a:pt x="16170" y="45988"/>
                        <a:pt x="16170" y="45988"/>
                      </a:cubicBezTo>
                      <a:cubicBezTo>
                        <a:pt x="16170" y="45269"/>
                        <a:pt x="15319" y="44550"/>
                        <a:pt x="15319" y="44550"/>
                      </a:cubicBezTo>
                      <a:cubicBezTo>
                        <a:pt x="17872" y="43113"/>
                        <a:pt x="17872" y="43113"/>
                        <a:pt x="17872" y="43113"/>
                      </a:cubicBezTo>
                      <a:cubicBezTo>
                        <a:pt x="18723" y="41676"/>
                        <a:pt x="18723" y="41676"/>
                        <a:pt x="18723" y="41676"/>
                      </a:cubicBezTo>
                      <a:cubicBezTo>
                        <a:pt x="18723" y="41676"/>
                        <a:pt x="18723" y="40958"/>
                        <a:pt x="17872" y="40958"/>
                      </a:cubicBezTo>
                      <a:cubicBezTo>
                        <a:pt x="17021" y="40958"/>
                        <a:pt x="15319" y="40958"/>
                        <a:pt x="15319" y="40958"/>
                      </a:cubicBezTo>
                      <a:cubicBezTo>
                        <a:pt x="15319" y="40958"/>
                        <a:pt x="14468" y="40239"/>
                        <a:pt x="14468" y="40239"/>
                      </a:cubicBezTo>
                      <a:cubicBezTo>
                        <a:pt x="14468" y="40239"/>
                        <a:pt x="13617" y="38802"/>
                        <a:pt x="13617" y="38802"/>
                      </a:cubicBezTo>
                      <a:cubicBezTo>
                        <a:pt x="13617" y="38802"/>
                        <a:pt x="13617" y="37365"/>
                        <a:pt x="14468" y="37365"/>
                      </a:cubicBezTo>
                      <a:cubicBezTo>
                        <a:pt x="14468" y="36646"/>
                        <a:pt x="15319" y="34491"/>
                        <a:pt x="15319" y="34491"/>
                      </a:cubicBezTo>
                      <a:cubicBezTo>
                        <a:pt x="15319" y="34491"/>
                        <a:pt x="14468" y="33053"/>
                        <a:pt x="16170" y="33053"/>
                      </a:cubicBezTo>
                      <a:cubicBezTo>
                        <a:pt x="17872" y="33053"/>
                        <a:pt x="18723" y="33053"/>
                        <a:pt x="18723" y="33053"/>
                      </a:cubicBezTo>
                      <a:cubicBezTo>
                        <a:pt x="18723" y="33053"/>
                        <a:pt x="19574" y="31616"/>
                        <a:pt x="20425" y="31616"/>
                      </a:cubicBezTo>
                      <a:cubicBezTo>
                        <a:pt x="20425" y="31616"/>
                        <a:pt x="21276" y="30898"/>
                        <a:pt x="21276" y="31616"/>
                      </a:cubicBezTo>
                      <a:cubicBezTo>
                        <a:pt x="22127" y="31616"/>
                        <a:pt x="21276" y="33772"/>
                        <a:pt x="21276" y="33772"/>
                      </a:cubicBezTo>
                      <a:cubicBezTo>
                        <a:pt x="19574" y="35209"/>
                        <a:pt x="19574" y="35209"/>
                        <a:pt x="19574" y="35209"/>
                      </a:cubicBezTo>
                      <a:cubicBezTo>
                        <a:pt x="19574" y="35209"/>
                        <a:pt x="20425" y="35928"/>
                        <a:pt x="20425" y="36646"/>
                      </a:cubicBezTo>
                      <a:cubicBezTo>
                        <a:pt x="20425" y="37365"/>
                        <a:pt x="20425" y="38083"/>
                        <a:pt x="20425" y="38083"/>
                      </a:cubicBezTo>
                      <a:cubicBezTo>
                        <a:pt x="18723" y="40239"/>
                        <a:pt x="18723" y="40239"/>
                        <a:pt x="18723" y="40239"/>
                      </a:cubicBezTo>
                      <a:cubicBezTo>
                        <a:pt x="18723" y="40239"/>
                        <a:pt x="19574" y="40239"/>
                        <a:pt x="19574" y="40239"/>
                      </a:cubicBezTo>
                      <a:cubicBezTo>
                        <a:pt x="19574" y="40958"/>
                        <a:pt x="19574" y="41676"/>
                        <a:pt x="19574" y="41676"/>
                      </a:cubicBezTo>
                      <a:cubicBezTo>
                        <a:pt x="22127" y="40958"/>
                        <a:pt x="22127" y="40958"/>
                        <a:pt x="22127" y="40958"/>
                      </a:cubicBezTo>
                      <a:cubicBezTo>
                        <a:pt x="22127" y="40958"/>
                        <a:pt x="21276" y="40239"/>
                        <a:pt x="21276" y="40239"/>
                      </a:cubicBezTo>
                      <a:cubicBezTo>
                        <a:pt x="21276" y="40239"/>
                        <a:pt x="20425" y="39520"/>
                        <a:pt x="21276" y="38802"/>
                      </a:cubicBezTo>
                      <a:cubicBezTo>
                        <a:pt x="22127" y="38083"/>
                        <a:pt x="22127" y="37365"/>
                        <a:pt x="22978" y="37365"/>
                      </a:cubicBezTo>
                      <a:cubicBezTo>
                        <a:pt x="22978" y="36646"/>
                        <a:pt x="22978" y="36646"/>
                        <a:pt x="24680" y="36646"/>
                      </a:cubicBezTo>
                      <a:cubicBezTo>
                        <a:pt x="25531" y="36646"/>
                        <a:pt x="27234" y="38083"/>
                        <a:pt x="27234" y="38083"/>
                      </a:cubicBezTo>
                      <a:cubicBezTo>
                        <a:pt x="27234" y="38083"/>
                        <a:pt x="28085" y="38802"/>
                        <a:pt x="27234" y="38802"/>
                      </a:cubicBezTo>
                      <a:cubicBezTo>
                        <a:pt x="27234" y="39520"/>
                        <a:pt x="26382" y="40239"/>
                        <a:pt x="26382" y="40239"/>
                      </a:cubicBezTo>
                      <a:cubicBezTo>
                        <a:pt x="28085" y="42395"/>
                        <a:pt x="28085" y="42395"/>
                        <a:pt x="28085" y="42395"/>
                      </a:cubicBezTo>
                      <a:cubicBezTo>
                        <a:pt x="28085" y="42395"/>
                        <a:pt x="27234" y="42395"/>
                        <a:pt x="26382" y="43113"/>
                      </a:cubicBezTo>
                      <a:cubicBezTo>
                        <a:pt x="26382" y="43113"/>
                        <a:pt x="26382" y="43832"/>
                        <a:pt x="26382" y="43832"/>
                      </a:cubicBezTo>
                      <a:cubicBezTo>
                        <a:pt x="26382" y="44550"/>
                        <a:pt x="23829" y="45269"/>
                        <a:pt x="26382" y="45269"/>
                      </a:cubicBezTo>
                      <a:cubicBezTo>
                        <a:pt x="28085" y="45269"/>
                        <a:pt x="28085" y="45269"/>
                        <a:pt x="28085" y="44550"/>
                      </a:cubicBezTo>
                      <a:cubicBezTo>
                        <a:pt x="28085" y="44550"/>
                        <a:pt x="28085" y="43113"/>
                        <a:pt x="28085" y="43113"/>
                      </a:cubicBezTo>
                      <a:cubicBezTo>
                        <a:pt x="28085" y="43113"/>
                        <a:pt x="28936" y="43113"/>
                        <a:pt x="28936" y="43113"/>
                      </a:cubicBezTo>
                      <a:cubicBezTo>
                        <a:pt x="29787" y="43113"/>
                        <a:pt x="30638" y="43113"/>
                        <a:pt x="30638" y="43113"/>
                      </a:cubicBezTo>
                      <a:cubicBezTo>
                        <a:pt x="31489" y="43832"/>
                        <a:pt x="31489" y="43832"/>
                        <a:pt x="31489" y="43832"/>
                      </a:cubicBezTo>
                      <a:cubicBezTo>
                        <a:pt x="31489" y="43832"/>
                        <a:pt x="31489" y="44550"/>
                        <a:pt x="31489" y="45269"/>
                      </a:cubicBezTo>
                      <a:cubicBezTo>
                        <a:pt x="31489" y="45269"/>
                        <a:pt x="31489" y="45988"/>
                        <a:pt x="31489" y="45988"/>
                      </a:cubicBezTo>
                      <a:cubicBezTo>
                        <a:pt x="31489" y="45988"/>
                        <a:pt x="33191" y="47425"/>
                        <a:pt x="33191" y="46706"/>
                      </a:cubicBezTo>
                      <a:cubicBezTo>
                        <a:pt x="33191" y="45988"/>
                        <a:pt x="34042" y="46706"/>
                        <a:pt x="33191" y="45269"/>
                      </a:cubicBezTo>
                      <a:cubicBezTo>
                        <a:pt x="32340" y="44550"/>
                        <a:pt x="32340" y="43113"/>
                        <a:pt x="32340" y="43113"/>
                      </a:cubicBezTo>
                      <a:cubicBezTo>
                        <a:pt x="32340" y="43113"/>
                        <a:pt x="32340" y="43113"/>
                        <a:pt x="32340" y="42395"/>
                      </a:cubicBezTo>
                      <a:cubicBezTo>
                        <a:pt x="32340" y="42395"/>
                        <a:pt x="32340" y="41676"/>
                        <a:pt x="32340" y="41676"/>
                      </a:cubicBezTo>
                      <a:cubicBezTo>
                        <a:pt x="31489" y="40958"/>
                        <a:pt x="30638" y="40958"/>
                        <a:pt x="30638" y="40239"/>
                      </a:cubicBezTo>
                      <a:cubicBezTo>
                        <a:pt x="30638" y="40239"/>
                        <a:pt x="28085" y="38083"/>
                        <a:pt x="28085" y="38083"/>
                      </a:cubicBezTo>
                      <a:cubicBezTo>
                        <a:pt x="28085" y="38083"/>
                        <a:pt x="28085" y="37365"/>
                        <a:pt x="28085" y="36646"/>
                      </a:cubicBezTo>
                      <a:cubicBezTo>
                        <a:pt x="28085" y="35209"/>
                        <a:pt x="28085" y="34491"/>
                        <a:pt x="28085" y="33772"/>
                      </a:cubicBezTo>
                      <a:cubicBezTo>
                        <a:pt x="28085" y="33772"/>
                        <a:pt x="28936" y="32335"/>
                        <a:pt x="28936" y="32335"/>
                      </a:cubicBezTo>
                      <a:cubicBezTo>
                        <a:pt x="28936" y="32335"/>
                        <a:pt x="28936" y="30898"/>
                        <a:pt x="29787" y="30179"/>
                      </a:cubicBezTo>
                      <a:cubicBezTo>
                        <a:pt x="30638" y="30179"/>
                        <a:pt x="29787" y="29461"/>
                        <a:pt x="30638" y="29461"/>
                      </a:cubicBezTo>
                      <a:cubicBezTo>
                        <a:pt x="32340" y="28742"/>
                        <a:pt x="31489" y="28742"/>
                        <a:pt x="33191" y="28742"/>
                      </a:cubicBezTo>
                      <a:cubicBezTo>
                        <a:pt x="34042" y="28742"/>
                        <a:pt x="35744" y="29461"/>
                        <a:pt x="36595" y="29461"/>
                      </a:cubicBezTo>
                      <a:cubicBezTo>
                        <a:pt x="36595" y="29461"/>
                        <a:pt x="39148" y="30179"/>
                        <a:pt x="39148" y="30179"/>
                      </a:cubicBezTo>
                      <a:cubicBezTo>
                        <a:pt x="39148" y="30179"/>
                        <a:pt x="39148" y="29461"/>
                        <a:pt x="39148" y="29461"/>
                      </a:cubicBezTo>
                      <a:cubicBezTo>
                        <a:pt x="40000" y="29461"/>
                        <a:pt x="40000" y="28023"/>
                        <a:pt x="40000" y="28742"/>
                      </a:cubicBezTo>
                      <a:cubicBezTo>
                        <a:pt x="40851" y="28742"/>
                        <a:pt x="40851" y="29461"/>
                        <a:pt x="41702" y="28742"/>
                      </a:cubicBezTo>
                      <a:cubicBezTo>
                        <a:pt x="42553" y="28023"/>
                        <a:pt x="42553" y="27305"/>
                        <a:pt x="42553" y="27305"/>
                      </a:cubicBezTo>
                      <a:cubicBezTo>
                        <a:pt x="42553" y="27305"/>
                        <a:pt x="43404" y="27305"/>
                        <a:pt x="44255" y="26586"/>
                      </a:cubicBezTo>
                      <a:cubicBezTo>
                        <a:pt x="44255" y="26586"/>
                        <a:pt x="43404" y="25868"/>
                        <a:pt x="42553" y="25868"/>
                      </a:cubicBezTo>
                      <a:cubicBezTo>
                        <a:pt x="42553" y="25868"/>
                        <a:pt x="40851" y="25868"/>
                        <a:pt x="40000" y="26586"/>
                      </a:cubicBezTo>
                      <a:cubicBezTo>
                        <a:pt x="39148" y="26586"/>
                        <a:pt x="40000" y="26586"/>
                        <a:pt x="38297" y="26586"/>
                      </a:cubicBezTo>
                      <a:cubicBezTo>
                        <a:pt x="37446" y="27305"/>
                        <a:pt x="37446" y="27305"/>
                        <a:pt x="35744" y="27305"/>
                      </a:cubicBezTo>
                      <a:cubicBezTo>
                        <a:pt x="34042" y="27305"/>
                        <a:pt x="34042" y="27305"/>
                        <a:pt x="33191" y="28023"/>
                      </a:cubicBezTo>
                      <a:cubicBezTo>
                        <a:pt x="32340" y="28742"/>
                        <a:pt x="31489" y="28742"/>
                        <a:pt x="31489" y="28742"/>
                      </a:cubicBezTo>
                      <a:cubicBezTo>
                        <a:pt x="30638" y="28742"/>
                        <a:pt x="30638" y="28742"/>
                        <a:pt x="30638" y="28742"/>
                      </a:cubicBezTo>
                      <a:cubicBezTo>
                        <a:pt x="30638" y="28742"/>
                        <a:pt x="29787" y="28742"/>
                        <a:pt x="28936" y="28742"/>
                      </a:cubicBezTo>
                      <a:cubicBezTo>
                        <a:pt x="28936" y="28742"/>
                        <a:pt x="28085" y="28023"/>
                        <a:pt x="28085" y="28023"/>
                      </a:cubicBezTo>
                      <a:cubicBezTo>
                        <a:pt x="28085" y="28023"/>
                        <a:pt x="28085" y="28023"/>
                        <a:pt x="27234" y="28023"/>
                      </a:cubicBezTo>
                      <a:cubicBezTo>
                        <a:pt x="26382" y="28023"/>
                        <a:pt x="25531" y="28742"/>
                        <a:pt x="25531" y="28742"/>
                      </a:cubicBezTo>
                      <a:cubicBezTo>
                        <a:pt x="23829" y="28742"/>
                        <a:pt x="23829" y="28742"/>
                        <a:pt x="23829" y="28742"/>
                      </a:cubicBezTo>
                      <a:cubicBezTo>
                        <a:pt x="23829" y="28742"/>
                        <a:pt x="22978" y="28742"/>
                        <a:pt x="22127" y="28742"/>
                      </a:cubicBezTo>
                      <a:cubicBezTo>
                        <a:pt x="22127" y="29461"/>
                        <a:pt x="20425" y="29461"/>
                        <a:pt x="20425" y="29461"/>
                      </a:cubicBezTo>
                      <a:cubicBezTo>
                        <a:pt x="20425" y="29461"/>
                        <a:pt x="20425" y="29461"/>
                        <a:pt x="19574" y="29461"/>
                      </a:cubicBezTo>
                      <a:cubicBezTo>
                        <a:pt x="19574" y="30179"/>
                        <a:pt x="20425" y="30179"/>
                        <a:pt x="19574" y="30898"/>
                      </a:cubicBezTo>
                      <a:cubicBezTo>
                        <a:pt x="18723" y="30898"/>
                        <a:pt x="17021" y="30898"/>
                        <a:pt x="17021" y="30898"/>
                      </a:cubicBezTo>
                      <a:cubicBezTo>
                        <a:pt x="16170" y="31616"/>
                        <a:pt x="16170" y="31616"/>
                        <a:pt x="16170" y="31616"/>
                      </a:cubicBezTo>
                      <a:cubicBezTo>
                        <a:pt x="15319" y="33053"/>
                        <a:pt x="15319" y="33053"/>
                        <a:pt x="15319" y="33053"/>
                      </a:cubicBezTo>
                      <a:cubicBezTo>
                        <a:pt x="14468" y="33053"/>
                        <a:pt x="14468" y="33053"/>
                        <a:pt x="14468" y="33053"/>
                      </a:cubicBezTo>
                      <a:cubicBezTo>
                        <a:pt x="13617" y="35209"/>
                        <a:pt x="13617" y="35209"/>
                        <a:pt x="13617" y="35209"/>
                      </a:cubicBezTo>
                      <a:cubicBezTo>
                        <a:pt x="13617" y="35928"/>
                        <a:pt x="13617" y="35928"/>
                        <a:pt x="13617" y="35928"/>
                      </a:cubicBezTo>
                      <a:cubicBezTo>
                        <a:pt x="11914" y="37365"/>
                        <a:pt x="11914" y="37365"/>
                        <a:pt x="11914" y="37365"/>
                      </a:cubicBezTo>
                      <a:cubicBezTo>
                        <a:pt x="11063" y="38083"/>
                        <a:pt x="11063" y="38083"/>
                        <a:pt x="11063" y="38083"/>
                      </a:cubicBezTo>
                      <a:cubicBezTo>
                        <a:pt x="11063" y="38083"/>
                        <a:pt x="11063" y="38083"/>
                        <a:pt x="11914" y="38802"/>
                      </a:cubicBezTo>
                      <a:cubicBezTo>
                        <a:pt x="11914" y="38802"/>
                        <a:pt x="11914" y="39520"/>
                        <a:pt x="11914" y="39520"/>
                      </a:cubicBezTo>
                      <a:cubicBezTo>
                        <a:pt x="11063" y="40239"/>
                        <a:pt x="11063" y="40239"/>
                        <a:pt x="11063" y="40239"/>
                      </a:cubicBezTo>
                      <a:cubicBezTo>
                        <a:pt x="11914" y="41676"/>
                        <a:pt x="11914" y="41676"/>
                        <a:pt x="11914" y="41676"/>
                      </a:cubicBezTo>
                      <a:cubicBezTo>
                        <a:pt x="13617" y="40958"/>
                        <a:pt x="13617" y="40958"/>
                        <a:pt x="13617" y="40958"/>
                      </a:cubicBezTo>
                      <a:cubicBezTo>
                        <a:pt x="14468" y="42395"/>
                        <a:pt x="14468" y="42395"/>
                        <a:pt x="14468" y="42395"/>
                      </a:cubicBezTo>
                      <a:cubicBezTo>
                        <a:pt x="13617" y="43832"/>
                        <a:pt x="13617" y="43832"/>
                        <a:pt x="13617" y="43832"/>
                      </a:cubicBezTo>
                      <a:cubicBezTo>
                        <a:pt x="13617" y="43832"/>
                        <a:pt x="12765" y="44550"/>
                        <a:pt x="11914" y="44550"/>
                      </a:cubicBezTo>
                      <a:cubicBezTo>
                        <a:pt x="11914" y="44550"/>
                        <a:pt x="11063" y="43832"/>
                        <a:pt x="11063" y="43832"/>
                      </a:cubicBezTo>
                      <a:cubicBezTo>
                        <a:pt x="10212" y="42395"/>
                        <a:pt x="10212" y="42395"/>
                        <a:pt x="10212" y="42395"/>
                      </a:cubicBezTo>
                      <a:cubicBezTo>
                        <a:pt x="10212" y="41676"/>
                        <a:pt x="10212" y="41676"/>
                        <a:pt x="10212" y="41676"/>
                      </a:cubicBezTo>
                      <a:cubicBezTo>
                        <a:pt x="10212" y="40958"/>
                        <a:pt x="10212" y="40958"/>
                        <a:pt x="10212" y="40958"/>
                      </a:cubicBezTo>
                      <a:cubicBezTo>
                        <a:pt x="7659" y="41676"/>
                        <a:pt x="7659" y="41676"/>
                        <a:pt x="7659" y="41676"/>
                      </a:cubicBezTo>
                      <a:cubicBezTo>
                        <a:pt x="7659" y="40958"/>
                        <a:pt x="7659" y="40958"/>
                        <a:pt x="7659" y="40958"/>
                      </a:cubicBezTo>
                      <a:cubicBezTo>
                        <a:pt x="7659" y="40958"/>
                        <a:pt x="6808" y="40239"/>
                        <a:pt x="6808" y="40239"/>
                      </a:cubicBezTo>
                      <a:cubicBezTo>
                        <a:pt x="6808" y="39520"/>
                        <a:pt x="5957" y="38802"/>
                        <a:pt x="5957" y="38802"/>
                      </a:cubicBezTo>
                      <a:cubicBezTo>
                        <a:pt x="4255" y="36646"/>
                        <a:pt x="4255" y="36646"/>
                        <a:pt x="4255" y="36646"/>
                      </a:cubicBezTo>
                      <a:cubicBezTo>
                        <a:pt x="4255" y="36646"/>
                        <a:pt x="4255" y="36646"/>
                        <a:pt x="5106" y="36646"/>
                      </a:cubicBezTo>
                      <a:cubicBezTo>
                        <a:pt x="5106" y="35928"/>
                        <a:pt x="5106" y="35928"/>
                        <a:pt x="5957" y="35209"/>
                      </a:cubicBezTo>
                      <a:cubicBezTo>
                        <a:pt x="5957" y="34491"/>
                        <a:pt x="7659" y="33053"/>
                        <a:pt x="7659" y="33053"/>
                      </a:cubicBezTo>
                      <a:cubicBezTo>
                        <a:pt x="8510" y="30898"/>
                        <a:pt x="8510" y="30898"/>
                        <a:pt x="8510" y="30898"/>
                      </a:cubicBezTo>
                      <a:cubicBezTo>
                        <a:pt x="10212" y="29461"/>
                        <a:pt x="10212" y="29461"/>
                        <a:pt x="10212" y="29461"/>
                      </a:cubicBezTo>
                      <a:cubicBezTo>
                        <a:pt x="11063" y="28023"/>
                        <a:pt x="11063" y="28023"/>
                        <a:pt x="11063" y="28023"/>
                      </a:cubicBezTo>
                      <a:cubicBezTo>
                        <a:pt x="12765" y="25868"/>
                        <a:pt x="12765" y="25868"/>
                        <a:pt x="12765" y="25868"/>
                      </a:cubicBezTo>
                      <a:cubicBezTo>
                        <a:pt x="14468" y="24431"/>
                        <a:pt x="14468" y="24431"/>
                        <a:pt x="14468" y="24431"/>
                      </a:cubicBezTo>
                      <a:cubicBezTo>
                        <a:pt x="17021" y="24431"/>
                        <a:pt x="17021" y="24431"/>
                        <a:pt x="17021" y="24431"/>
                      </a:cubicBezTo>
                      <a:cubicBezTo>
                        <a:pt x="17021" y="24431"/>
                        <a:pt x="18723" y="25149"/>
                        <a:pt x="18723" y="25149"/>
                      </a:cubicBezTo>
                      <a:cubicBezTo>
                        <a:pt x="19574" y="24431"/>
                        <a:pt x="20425" y="23712"/>
                        <a:pt x="20425" y="23712"/>
                      </a:cubicBezTo>
                      <a:cubicBezTo>
                        <a:pt x="23829" y="22994"/>
                        <a:pt x="23829" y="22994"/>
                        <a:pt x="23829" y="22994"/>
                      </a:cubicBezTo>
                      <a:cubicBezTo>
                        <a:pt x="24680" y="22994"/>
                        <a:pt x="24680" y="22994"/>
                        <a:pt x="24680" y="22994"/>
                      </a:cubicBezTo>
                      <a:cubicBezTo>
                        <a:pt x="27234" y="23712"/>
                        <a:pt x="27234" y="23712"/>
                        <a:pt x="27234" y="23712"/>
                      </a:cubicBezTo>
                      <a:cubicBezTo>
                        <a:pt x="28936" y="23712"/>
                        <a:pt x="28936" y="23712"/>
                        <a:pt x="28936" y="23712"/>
                      </a:cubicBezTo>
                      <a:cubicBezTo>
                        <a:pt x="32340" y="23712"/>
                        <a:pt x="32340" y="23712"/>
                        <a:pt x="32340" y="23712"/>
                      </a:cubicBezTo>
                      <a:close/>
                      <a:moveTo>
                        <a:pt x="13617" y="99880"/>
                      </a:moveTo>
                      <a:cubicBezTo>
                        <a:pt x="13617" y="99880"/>
                        <a:pt x="13617" y="99880"/>
                        <a:pt x="13617" y="99880"/>
                      </a:cubicBezTo>
                      <a:cubicBezTo>
                        <a:pt x="13617" y="99880"/>
                        <a:pt x="11914" y="99161"/>
                        <a:pt x="11914" y="99161"/>
                      </a:cubicBezTo>
                      <a:cubicBezTo>
                        <a:pt x="11914" y="99880"/>
                        <a:pt x="11063" y="100598"/>
                        <a:pt x="11063" y="100598"/>
                      </a:cubicBezTo>
                      <a:cubicBezTo>
                        <a:pt x="10212" y="102754"/>
                        <a:pt x="10212" y="102754"/>
                        <a:pt x="10212" y="102754"/>
                      </a:cubicBezTo>
                      <a:cubicBezTo>
                        <a:pt x="9361" y="103473"/>
                        <a:pt x="9361" y="103473"/>
                        <a:pt x="9361" y="103473"/>
                      </a:cubicBezTo>
                      <a:cubicBezTo>
                        <a:pt x="9361" y="104910"/>
                        <a:pt x="9361" y="104910"/>
                        <a:pt x="9361" y="104910"/>
                      </a:cubicBezTo>
                      <a:cubicBezTo>
                        <a:pt x="6808" y="105628"/>
                        <a:pt x="6808" y="105628"/>
                        <a:pt x="6808" y="105628"/>
                      </a:cubicBezTo>
                      <a:cubicBezTo>
                        <a:pt x="6808" y="105628"/>
                        <a:pt x="6808" y="106347"/>
                        <a:pt x="7659" y="106347"/>
                      </a:cubicBezTo>
                      <a:cubicBezTo>
                        <a:pt x="8510" y="106347"/>
                        <a:pt x="9361" y="106347"/>
                        <a:pt x="9361" y="106347"/>
                      </a:cubicBezTo>
                      <a:cubicBezTo>
                        <a:pt x="9361" y="105628"/>
                        <a:pt x="10212" y="104910"/>
                        <a:pt x="10212" y="104910"/>
                      </a:cubicBezTo>
                      <a:cubicBezTo>
                        <a:pt x="10212" y="104910"/>
                        <a:pt x="11063" y="104191"/>
                        <a:pt x="11063" y="104191"/>
                      </a:cubicBezTo>
                      <a:cubicBezTo>
                        <a:pt x="11914" y="104191"/>
                        <a:pt x="13617" y="104191"/>
                        <a:pt x="13617" y="103473"/>
                      </a:cubicBezTo>
                      <a:cubicBezTo>
                        <a:pt x="13617" y="102754"/>
                        <a:pt x="13617" y="102035"/>
                        <a:pt x="13617" y="102035"/>
                      </a:cubicBezTo>
                      <a:cubicBezTo>
                        <a:pt x="13617" y="101317"/>
                        <a:pt x="13617" y="101317"/>
                        <a:pt x="13617" y="101317"/>
                      </a:cubicBezTo>
                      <a:cubicBezTo>
                        <a:pt x="13617" y="99880"/>
                        <a:pt x="13617" y="99880"/>
                        <a:pt x="13617" y="99880"/>
                      </a:cubicBezTo>
                      <a:close/>
                      <a:moveTo>
                        <a:pt x="57872" y="80479"/>
                      </a:moveTo>
                      <a:cubicBezTo>
                        <a:pt x="57872" y="80479"/>
                        <a:pt x="57872" y="80479"/>
                        <a:pt x="57872" y="80479"/>
                      </a:cubicBezTo>
                      <a:cubicBezTo>
                        <a:pt x="57872" y="80479"/>
                        <a:pt x="57872" y="80479"/>
                        <a:pt x="57872" y="80479"/>
                      </a:cubicBezTo>
                      <a:cubicBezTo>
                        <a:pt x="57872" y="80479"/>
                        <a:pt x="58723" y="79760"/>
                        <a:pt x="58723" y="79760"/>
                      </a:cubicBezTo>
                      <a:cubicBezTo>
                        <a:pt x="58723" y="79041"/>
                        <a:pt x="57872" y="78323"/>
                        <a:pt x="57872" y="78323"/>
                      </a:cubicBezTo>
                      <a:cubicBezTo>
                        <a:pt x="57872" y="77604"/>
                        <a:pt x="58723" y="77604"/>
                        <a:pt x="58723" y="77604"/>
                      </a:cubicBezTo>
                      <a:cubicBezTo>
                        <a:pt x="58723" y="77604"/>
                        <a:pt x="58723" y="76886"/>
                        <a:pt x="58723" y="76886"/>
                      </a:cubicBezTo>
                      <a:cubicBezTo>
                        <a:pt x="58723" y="76886"/>
                        <a:pt x="57872" y="76886"/>
                        <a:pt x="57872" y="76886"/>
                      </a:cubicBezTo>
                      <a:cubicBezTo>
                        <a:pt x="57021" y="76886"/>
                        <a:pt x="57021" y="77604"/>
                        <a:pt x="57021" y="77604"/>
                      </a:cubicBezTo>
                      <a:cubicBezTo>
                        <a:pt x="57021" y="77604"/>
                        <a:pt x="57021" y="78323"/>
                        <a:pt x="57021" y="78323"/>
                      </a:cubicBezTo>
                      <a:cubicBezTo>
                        <a:pt x="57021" y="78323"/>
                        <a:pt x="57021" y="79041"/>
                        <a:pt x="57021" y="79041"/>
                      </a:cubicBezTo>
                      <a:cubicBezTo>
                        <a:pt x="57021" y="79041"/>
                        <a:pt x="57872" y="80479"/>
                        <a:pt x="57872" y="80479"/>
                      </a:cubicBezTo>
                      <a:close/>
                      <a:moveTo>
                        <a:pt x="80851" y="99880"/>
                      </a:moveTo>
                      <a:cubicBezTo>
                        <a:pt x="80851" y="99880"/>
                        <a:pt x="80851" y="99880"/>
                        <a:pt x="80851" y="99880"/>
                      </a:cubicBezTo>
                      <a:cubicBezTo>
                        <a:pt x="81702" y="99161"/>
                        <a:pt x="81702" y="99161"/>
                        <a:pt x="81702" y="99161"/>
                      </a:cubicBezTo>
                      <a:cubicBezTo>
                        <a:pt x="82553" y="99880"/>
                        <a:pt x="82553" y="99880"/>
                        <a:pt x="82553" y="99880"/>
                      </a:cubicBezTo>
                      <a:cubicBezTo>
                        <a:pt x="82553" y="99880"/>
                        <a:pt x="81702" y="100598"/>
                        <a:pt x="81702" y="100598"/>
                      </a:cubicBezTo>
                      <a:cubicBezTo>
                        <a:pt x="81702" y="100598"/>
                        <a:pt x="80851" y="99880"/>
                        <a:pt x="80851" y="99880"/>
                      </a:cubicBezTo>
                      <a:cubicBezTo>
                        <a:pt x="80851" y="99880"/>
                        <a:pt x="80851" y="99880"/>
                        <a:pt x="80851" y="99880"/>
                      </a:cubicBezTo>
                      <a:close/>
                      <a:moveTo>
                        <a:pt x="90212" y="109221"/>
                      </a:moveTo>
                      <a:cubicBezTo>
                        <a:pt x="90212" y="109221"/>
                        <a:pt x="90212" y="109221"/>
                        <a:pt x="90212" y="109221"/>
                      </a:cubicBezTo>
                      <a:cubicBezTo>
                        <a:pt x="91063" y="109221"/>
                        <a:pt x="91063" y="109221"/>
                        <a:pt x="91063" y="109221"/>
                      </a:cubicBezTo>
                      <a:cubicBezTo>
                        <a:pt x="91063" y="109940"/>
                        <a:pt x="91063" y="109940"/>
                        <a:pt x="91063" y="109940"/>
                      </a:cubicBezTo>
                      <a:cubicBezTo>
                        <a:pt x="90212" y="110658"/>
                        <a:pt x="90212" y="110658"/>
                        <a:pt x="90212" y="110658"/>
                      </a:cubicBezTo>
                      <a:cubicBezTo>
                        <a:pt x="90212" y="109940"/>
                        <a:pt x="90212" y="109940"/>
                        <a:pt x="90212" y="109940"/>
                      </a:cubicBezTo>
                      <a:cubicBezTo>
                        <a:pt x="90212" y="109221"/>
                        <a:pt x="90212" y="109221"/>
                        <a:pt x="90212" y="109221"/>
                      </a:cubicBezTo>
                      <a:close/>
                      <a:moveTo>
                        <a:pt x="87659" y="107784"/>
                      </a:moveTo>
                      <a:cubicBezTo>
                        <a:pt x="87659" y="107784"/>
                        <a:pt x="87659" y="107784"/>
                        <a:pt x="87659" y="107784"/>
                      </a:cubicBezTo>
                      <a:cubicBezTo>
                        <a:pt x="86808" y="107065"/>
                        <a:pt x="86808" y="107065"/>
                        <a:pt x="86808" y="107065"/>
                      </a:cubicBezTo>
                      <a:cubicBezTo>
                        <a:pt x="88510" y="107065"/>
                        <a:pt x="88510" y="107065"/>
                        <a:pt x="88510" y="107065"/>
                      </a:cubicBezTo>
                      <a:cubicBezTo>
                        <a:pt x="88510" y="107065"/>
                        <a:pt x="88510" y="107065"/>
                        <a:pt x="89361" y="107065"/>
                      </a:cubicBezTo>
                      <a:cubicBezTo>
                        <a:pt x="89361" y="107065"/>
                        <a:pt x="90212" y="107784"/>
                        <a:pt x="90212" y="107784"/>
                      </a:cubicBezTo>
                      <a:cubicBezTo>
                        <a:pt x="90212" y="107784"/>
                        <a:pt x="90212" y="107784"/>
                        <a:pt x="90212" y="107784"/>
                      </a:cubicBezTo>
                      <a:cubicBezTo>
                        <a:pt x="89361" y="107784"/>
                        <a:pt x="89361" y="108502"/>
                        <a:pt x="89361" y="108502"/>
                      </a:cubicBezTo>
                      <a:cubicBezTo>
                        <a:pt x="88510" y="108502"/>
                        <a:pt x="87659" y="107784"/>
                        <a:pt x="87659" y="107784"/>
                      </a:cubicBezTo>
                      <a:close/>
                      <a:moveTo>
                        <a:pt x="91914" y="107784"/>
                      </a:moveTo>
                      <a:cubicBezTo>
                        <a:pt x="91914" y="107784"/>
                        <a:pt x="91914" y="107784"/>
                        <a:pt x="91914" y="107784"/>
                      </a:cubicBezTo>
                      <a:cubicBezTo>
                        <a:pt x="91063" y="106347"/>
                        <a:pt x="91063" y="106347"/>
                        <a:pt x="91063" y="106347"/>
                      </a:cubicBezTo>
                      <a:cubicBezTo>
                        <a:pt x="91914" y="105628"/>
                        <a:pt x="91914" y="105628"/>
                        <a:pt x="91914" y="105628"/>
                      </a:cubicBezTo>
                      <a:cubicBezTo>
                        <a:pt x="91914" y="105628"/>
                        <a:pt x="92765" y="106347"/>
                        <a:pt x="92765" y="106347"/>
                      </a:cubicBezTo>
                      <a:cubicBezTo>
                        <a:pt x="92765" y="106347"/>
                        <a:pt x="91914" y="107065"/>
                        <a:pt x="91914" y="107065"/>
                      </a:cubicBezTo>
                      <a:cubicBezTo>
                        <a:pt x="91914" y="107784"/>
                        <a:pt x="91914" y="107784"/>
                        <a:pt x="91914" y="107784"/>
                      </a:cubicBezTo>
                      <a:close/>
                      <a:moveTo>
                        <a:pt x="109787" y="103473"/>
                      </a:moveTo>
                      <a:cubicBezTo>
                        <a:pt x="109787" y="103473"/>
                        <a:pt x="109787" y="103473"/>
                        <a:pt x="109787" y="103473"/>
                      </a:cubicBezTo>
                      <a:cubicBezTo>
                        <a:pt x="108936" y="102754"/>
                        <a:pt x="108936" y="102754"/>
                        <a:pt x="108936" y="102754"/>
                      </a:cubicBezTo>
                      <a:cubicBezTo>
                        <a:pt x="108936" y="102754"/>
                        <a:pt x="109787" y="102035"/>
                        <a:pt x="109787" y="102035"/>
                      </a:cubicBezTo>
                      <a:cubicBezTo>
                        <a:pt x="110638" y="102035"/>
                        <a:pt x="111489" y="102035"/>
                        <a:pt x="111489" y="102035"/>
                      </a:cubicBezTo>
                      <a:cubicBezTo>
                        <a:pt x="109787" y="103473"/>
                        <a:pt x="109787" y="103473"/>
                        <a:pt x="109787" y="103473"/>
                      </a:cubicBezTo>
                      <a:close/>
                      <a:moveTo>
                        <a:pt x="108085" y="104191"/>
                      </a:moveTo>
                      <a:cubicBezTo>
                        <a:pt x="108085" y="104191"/>
                        <a:pt x="108085" y="104191"/>
                        <a:pt x="108085" y="104191"/>
                      </a:cubicBezTo>
                      <a:cubicBezTo>
                        <a:pt x="108085" y="102035"/>
                        <a:pt x="108085" y="102035"/>
                        <a:pt x="108085" y="102035"/>
                      </a:cubicBezTo>
                      <a:cubicBezTo>
                        <a:pt x="108936" y="101317"/>
                        <a:pt x="108936" y="101317"/>
                        <a:pt x="108936" y="101317"/>
                      </a:cubicBezTo>
                      <a:cubicBezTo>
                        <a:pt x="108085" y="100598"/>
                        <a:pt x="108085" y="100598"/>
                        <a:pt x="108085" y="100598"/>
                      </a:cubicBezTo>
                      <a:cubicBezTo>
                        <a:pt x="107234" y="100598"/>
                        <a:pt x="107234" y="100598"/>
                        <a:pt x="107234" y="100598"/>
                      </a:cubicBezTo>
                      <a:cubicBezTo>
                        <a:pt x="107234" y="100598"/>
                        <a:pt x="106382" y="99161"/>
                        <a:pt x="106382" y="99161"/>
                      </a:cubicBezTo>
                      <a:cubicBezTo>
                        <a:pt x="106382" y="99161"/>
                        <a:pt x="105531" y="99161"/>
                        <a:pt x="105531" y="99161"/>
                      </a:cubicBezTo>
                      <a:cubicBezTo>
                        <a:pt x="105531" y="99161"/>
                        <a:pt x="104680" y="99161"/>
                        <a:pt x="104680" y="99161"/>
                      </a:cubicBezTo>
                      <a:cubicBezTo>
                        <a:pt x="104680" y="99161"/>
                        <a:pt x="105531" y="98443"/>
                        <a:pt x="105531" y="98443"/>
                      </a:cubicBezTo>
                      <a:cubicBezTo>
                        <a:pt x="105531" y="98443"/>
                        <a:pt x="105531" y="98443"/>
                        <a:pt x="106382" y="98443"/>
                      </a:cubicBezTo>
                      <a:cubicBezTo>
                        <a:pt x="107234" y="97724"/>
                        <a:pt x="107234" y="97724"/>
                        <a:pt x="107234" y="97724"/>
                      </a:cubicBezTo>
                      <a:cubicBezTo>
                        <a:pt x="107234" y="97724"/>
                        <a:pt x="108936" y="95568"/>
                        <a:pt x="110638" y="95568"/>
                      </a:cubicBezTo>
                      <a:cubicBezTo>
                        <a:pt x="111489" y="95568"/>
                        <a:pt x="113191" y="95568"/>
                        <a:pt x="113191" y="95568"/>
                      </a:cubicBezTo>
                      <a:cubicBezTo>
                        <a:pt x="114893" y="94131"/>
                        <a:pt x="114893" y="94131"/>
                        <a:pt x="114893" y="94131"/>
                      </a:cubicBezTo>
                      <a:cubicBezTo>
                        <a:pt x="114893" y="94131"/>
                        <a:pt x="114893" y="93413"/>
                        <a:pt x="114893" y="93413"/>
                      </a:cubicBezTo>
                      <a:cubicBezTo>
                        <a:pt x="115744" y="93413"/>
                        <a:pt x="114893" y="91976"/>
                        <a:pt x="114893" y="91976"/>
                      </a:cubicBezTo>
                      <a:cubicBezTo>
                        <a:pt x="114893" y="90538"/>
                        <a:pt x="114893" y="90538"/>
                        <a:pt x="114893" y="90538"/>
                      </a:cubicBezTo>
                      <a:cubicBezTo>
                        <a:pt x="114893" y="90538"/>
                        <a:pt x="112340" y="89101"/>
                        <a:pt x="112340" y="89101"/>
                      </a:cubicBezTo>
                      <a:cubicBezTo>
                        <a:pt x="112340" y="89101"/>
                        <a:pt x="108936" y="87664"/>
                        <a:pt x="108936" y="87664"/>
                      </a:cubicBezTo>
                      <a:cubicBezTo>
                        <a:pt x="108936" y="87664"/>
                        <a:pt x="108936" y="86227"/>
                        <a:pt x="108085" y="86227"/>
                      </a:cubicBezTo>
                      <a:cubicBezTo>
                        <a:pt x="108085" y="86227"/>
                        <a:pt x="108936" y="84790"/>
                        <a:pt x="108936" y="84790"/>
                      </a:cubicBezTo>
                      <a:cubicBezTo>
                        <a:pt x="108936" y="84790"/>
                        <a:pt x="110638" y="82634"/>
                        <a:pt x="112340" y="81916"/>
                      </a:cubicBezTo>
                      <a:cubicBezTo>
                        <a:pt x="113191" y="81197"/>
                        <a:pt x="114042" y="81197"/>
                        <a:pt x="114042" y="81197"/>
                      </a:cubicBezTo>
                      <a:cubicBezTo>
                        <a:pt x="114893" y="81197"/>
                        <a:pt x="115744" y="81916"/>
                        <a:pt x="116595" y="82634"/>
                      </a:cubicBezTo>
                      <a:cubicBezTo>
                        <a:pt x="116595" y="82634"/>
                        <a:pt x="117446" y="82634"/>
                        <a:pt x="118297" y="82634"/>
                      </a:cubicBezTo>
                      <a:cubicBezTo>
                        <a:pt x="119148" y="82634"/>
                        <a:pt x="120000" y="82634"/>
                        <a:pt x="120000" y="82634"/>
                      </a:cubicBezTo>
                      <a:cubicBezTo>
                        <a:pt x="120000" y="82634"/>
                        <a:pt x="120000" y="81197"/>
                        <a:pt x="120000" y="80479"/>
                      </a:cubicBezTo>
                      <a:cubicBezTo>
                        <a:pt x="120000" y="79760"/>
                        <a:pt x="120000" y="80479"/>
                        <a:pt x="119148" y="79760"/>
                      </a:cubicBezTo>
                      <a:cubicBezTo>
                        <a:pt x="119148" y="79760"/>
                        <a:pt x="118297" y="79041"/>
                        <a:pt x="118297" y="79041"/>
                      </a:cubicBezTo>
                      <a:cubicBezTo>
                        <a:pt x="118297" y="79041"/>
                        <a:pt x="118297" y="78323"/>
                        <a:pt x="118297" y="78323"/>
                      </a:cubicBezTo>
                      <a:cubicBezTo>
                        <a:pt x="118297" y="78323"/>
                        <a:pt x="118297" y="77604"/>
                        <a:pt x="118297" y="76886"/>
                      </a:cubicBezTo>
                      <a:cubicBezTo>
                        <a:pt x="118297" y="76886"/>
                        <a:pt x="118297" y="74730"/>
                        <a:pt x="118297" y="74730"/>
                      </a:cubicBezTo>
                      <a:cubicBezTo>
                        <a:pt x="118297" y="74011"/>
                        <a:pt x="117446" y="72574"/>
                        <a:pt x="117446" y="72574"/>
                      </a:cubicBezTo>
                      <a:cubicBezTo>
                        <a:pt x="117446" y="71856"/>
                        <a:pt x="116595" y="71137"/>
                        <a:pt x="116595" y="71137"/>
                      </a:cubicBezTo>
                      <a:cubicBezTo>
                        <a:pt x="115744" y="69700"/>
                        <a:pt x="115744" y="69700"/>
                        <a:pt x="115744" y="69700"/>
                      </a:cubicBezTo>
                      <a:cubicBezTo>
                        <a:pt x="115744" y="69700"/>
                        <a:pt x="115744" y="69700"/>
                        <a:pt x="115744" y="68982"/>
                      </a:cubicBezTo>
                      <a:cubicBezTo>
                        <a:pt x="115744" y="67544"/>
                        <a:pt x="116595" y="66107"/>
                        <a:pt x="116595" y="66107"/>
                      </a:cubicBezTo>
                      <a:cubicBezTo>
                        <a:pt x="117446" y="65389"/>
                        <a:pt x="117446" y="63952"/>
                        <a:pt x="117446" y="63952"/>
                      </a:cubicBezTo>
                      <a:cubicBezTo>
                        <a:pt x="116595" y="63233"/>
                        <a:pt x="116595" y="63233"/>
                        <a:pt x="116595" y="63233"/>
                      </a:cubicBezTo>
                      <a:cubicBezTo>
                        <a:pt x="116595" y="63233"/>
                        <a:pt x="113191" y="62514"/>
                        <a:pt x="113191" y="62514"/>
                      </a:cubicBezTo>
                      <a:cubicBezTo>
                        <a:pt x="113191" y="62514"/>
                        <a:pt x="112340" y="61796"/>
                        <a:pt x="112340" y="61796"/>
                      </a:cubicBezTo>
                      <a:cubicBezTo>
                        <a:pt x="112340" y="61077"/>
                        <a:pt x="111489" y="61077"/>
                        <a:pt x="111489" y="61077"/>
                      </a:cubicBezTo>
                      <a:cubicBezTo>
                        <a:pt x="111489" y="61077"/>
                        <a:pt x="108085" y="61796"/>
                        <a:pt x="108085" y="61796"/>
                      </a:cubicBezTo>
                      <a:cubicBezTo>
                        <a:pt x="108085" y="61796"/>
                        <a:pt x="106382" y="62514"/>
                        <a:pt x="105531" y="63233"/>
                      </a:cubicBezTo>
                      <a:cubicBezTo>
                        <a:pt x="103829" y="63233"/>
                        <a:pt x="103829" y="63233"/>
                        <a:pt x="102978" y="63952"/>
                      </a:cubicBezTo>
                      <a:cubicBezTo>
                        <a:pt x="101276" y="64670"/>
                        <a:pt x="101276" y="65389"/>
                        <a:pt x="100425" y="66107"/>
                      </a:cubicBezTo>
                      <a:cubicBezTo>
                        <a:pt x="99574" y="66107"/>
                        <a:pt x="98723" y="67544"/>
                        <a:pt x="98723" y="67544"/>
                      </a:cubicBezTo>
                      <a:cubicBezTo>
                        <a:pt x="97872" y="68263"/>
                        <a:pt x="97872" y="68263"/>
                        <a:pt x="98723" y="68982"/>
                      </a:cubicBezTo>
                      <a:cubicBezTo>
                        <a:pt x="98723" y="69700"/>
                        <a:pt x="99574" y="68982"/>
                        <a:pt x="99574" y="68982"/>
                      </a:cubicBezTo>
                      <a:cubicBezTo>
                        <a:pt x="99574" y="68982"/>
                        <a:pt x="100425" y="68982"/>
                        <a:pt x="101276" y="68982"/>
                      </a:cubicBezTo>
                      <a:cubicBezTo>
                        <a:pt x="102127" y="68982"/>
                        <a:pt x="102127" y="69700"/>
                        <a:pt x="101276" y="69700"/>
                      </a:cubicBezTo>
                      <a:cubicBezTo>
                        <a:pt x="101276" y="69700"/>
                        <a:pt x="101276" y="70419"/>
                        <a:pt x="101276" y="70419"/>
                      </a:cubicBezTo>
                      <a:cubicBezTo>
                        <a:pt x="101276" y="70419"/>
                        <a:pt x="101276" y="70419"/>
                        <a:pt x="100425" y="71137"/>
                      </a:cubicBezTo>
                      <a:cubicBezTo>
                        <a:pt x="100425" y="71137"/>
                        <a:pt x="100425" y="71856"/>
                        <a:pt x="100425" y="72574"/>
                      </a:cubicBezTo>
                      <a:cubicBezTo>
                        <a:pt x="100425" y="73293"/>
                        <a:pt x="99574" y="73293"/>
                        <a:pt x="99574" y="73293"/>
                      </a:cubicBezTo>
                      <a:cubicBezTo>
                        <a:pt x="98723" y="74011"/>
                        <a:pt x="98723" y="74011"/>
                        <a:pt x="97872" y="74730"/>
                      </a:cubicBezTo>
                      <a:cubicBezTo>
                        <a:pt x="97021" y="74730"/>
                        <a:pt x="97021" y="75449"/>
                        <a:pt x="97021" y="75449"/>
                      </a:cubicBezTo>
                      <a:cubicBezTo>
                        <a:pt x="97021" y="76167"/>
                        <a:pt x="97021" y="76167"/>
                        <a:pt x="97872" y="76886"/>
                      </a:cubicBezTo>
                      <a:cubicBezTo>
                        <a:pt x="97872" y="77604"/>
                        <a:pt x="97872" y="77604"/>
                        <a:pt x="97872" y="77604"/>
                      </a:cubicBezTo>
                      <a:cubicBezTo>
                        <a:pt x="97872" y="78323"/>
                        <a:pt x="97021" y="79041"/>
                        <a:pt x="97021" y="78323"/>
                      </a:cubicBezTo>
                      <a:cubicBezTo>
                        <a:pt x="97021" y="78323"/>
                        <a:pt x="97021" y="77604"/>
                        <a:pt x="97021" y="77604"/>
                      </a:cubicBezTo>
                      <a:cubicBezTo>
                        <a:pt x="94468" y="77604"/>
                        <a:pt x="94468" y="77604"/>
                        <a:pt x="94468" y="77604"/>
                      </a:cubicBezTo>
                      <a:cubicBezTo>
                        <a:pt x="94468" y="77604"/>
                        <a:pt x="94468" y="77604"/>
                        <a:pt x="93617" y="77604"/>
                      </a:cubicBezTo>
                      <a:cubicBezTo>
                        <a:pt x="93617" y="77604"/>
                        <a:pt x="95319" y="76167"/>
                        <a:pt x="95319" y="76167"/>
                      </a:cubicBezTo>
                      <a:cubicBezTo>
                        <a:pt x="96170" y="75449"/>
                        <a:pt x="96170" y="75449"/>
                        <a:pt x="96170" y="75449"/>
                      </a:cubicBezTo>
                      <a:cubicBezTo>
                        <a:pt x="96170" y="74730"/>
                        <a:pt x="96170" y="74730"/>
                        <a:pt x="96170" y="74730"/>
                      </a:cubicBezTo>
                      <a:cubicBezTo>
                        <a:pt x="93617" y="74730"/>
                        <a:pt x="93617" y="74730"/>
                        <a:pt x="93617" y="74730"/>
                      </a:cubicBezTo>
                      <a:cubicBezTo>
                        <a:pt x="92765" y="74730"/>
                        <a:pt x="92765" y="74730"/>
                        <a:pt x="92765" y="74730"/>
                      </a:cubicBezTo>
                      <a:cubicBezTo>
                        <a:pt x="93617" y="74011"/>
                        <a:pt x="93617" y="74011"/>
                        <a:pt x="93617" y="74011"/>
                      </a:cubicBezTo>
                      <a:cubicBezTo>
                        <a:pt x="93617" y="72574"/>
                        <a:pt x="93617" y="72574"/>
                        <a:pt x="93617" y="72574"/>
                      </a:cubicBezTo>
                      <a:cubicBezTo>
                        <a:pt x="94468" y="71137"/>
                        <a:pt x="94468" y="71137"/>
                        <a:pt x="94468" y="71137"/>
                      </a:cubicBezTo>
                      <a:cubicBezTo>
                        <a:pt x="94468" y="71137"/>
                        <a:pt x="94468" y="69700"/>
                        <a:pt x="95319" y="69700"/>
                      </a:cubicBezTo>
                      <a:cubicBezTo>
                        <a:pt x="95319" y="69700"/>
                        <a:pt x="96170" y="68982"/>
                        <a:pt x="96170" y="68263"/>
                      </a:cubicBezTo>
                      <a:cubicBezTo>
                        <a:pt x="97021" y="68263"/>
                        <a:pt x="96170" y="67544"/>
                        <a:pt x="96170" y="67544"/>
                      </a:cubicBezTo>
                      <a:cubicBezTo>
                        <a:pt x="94468" y="67544"/>
                        <a:pt x="94468" y="67544"/>
                        <a:pt x="94468" y="67544"/>
                      </a:cubicBezTo>
                      <a:cubicBezTo>
                        <a:pt x="92765" y="68263"/>
                        <a:pt x="92765" y="68263"/>
                        <a:pt x="92765" y="68263"/>
                      </a:cubicBezTo>
                      <a:cubicBezTo>
                        <a:pt x="92765" y="68263"/>
                        <a:pt x="90212" y="68982"/>
                        <a:pt x="89361" y="68982"/>
                      </a:cubicBezTo>
                      <a:cubicBezTo>
                        <a:pt x="88510" y="68982"/>
                        <a:pt x="89361" y="68982"/>
                        <a:pt x="88510" y="68982"/>
                      </a:cubicBezTo>
                      <a:cubicBezTo>
                        <a:pt x="88510" y="68263"/>
                        <a:pt x="87659" y="68263"/>
                        <a:pt x="87659" y="68263"/>
                      </a:cubicBezTo>
                      <a:cubicBezTo>
                        <a:pt x="87659" y="68263"/>
                        <a:pt x="85957" y="68263"/>
                        <a:pt x="85957" y="68263"/>
                      </a:cubicBezTo>
                      <a:cubicBezTo>
                        <a:pt x="85106" y="68263"/>
                        <a:pt x="85106" y="68982"/>
                        <a:pt x="85106" y="68982"/>
                      </a:cubicBezTo>
                      <a:cubicBezTo>
                        <a:pt x="85106" y="68982"/>
                        <a:pt x="87659" y="69700"/>
                        <a:pt x="88510" y="70419"/>
                      </a:cubicBezTo>
                      <a:cubicBezTo>
                        <a:pt x="88510" y="70419"/>
                        <a:pt x="89361" y="70419"/>
                        <a:pt x="89361" y="70419"/>
                      </a:cubicBezTo>
                      <a:cubicBezTo>
                        <a:pt x="89361" y="71137"/>
                        <a:pt x="89361" y="71137"/>
                        <a:pt x="89361" y="71137"/>
                      </a:cubicBezTo>
                      <a:cubicBezTo>
                        <a:pt x="89361" y="71137"/>
                        <a:pt x="88510" y="72574"/>
                        <a:pt x="87659" y="72574"/>
                      </a:cubicBezTo>
                      <a:cubicBezTo>
                        <a:pt x="87659" y="73293"/>
                        <a:pt x="86808" y="73293"/>
                        <a:pt x="86808" y="73293"/>
                      </a:cubicBezTo>
                      <a:cubicBezTo>
                        <a:pt x="85106" y="74011"/>
                        <a:pt x="85106" y="74011"/>
                        <a:pt x="85106" y="74011"/>
                      </a:cubicBezTo>
                      <a:cubicBezTo>
                        <a:pt x="85106" y="74011"/>
                        <a:pt x="85957" y="75449"/>
                        <a:pt x="85957" y="75449"/>
                      </a:cubicBezTo>
                      <a:cubicBezTo>
                        <a:pt x="85957" y="75449"/>
                        <a:pt x="85957" y="76886"/>
                        <a:pt x="85957" y="76886"/>
                      </a:cubicBezTo>
                      <a:cubicBezTo>
                        <a:pt x="84255" y="76167"/>
                        <a:pt x="84255" y="76167"/>
                        <a:pt x="84255" y="76167"/>
                      </a:cubicBezTo>
                      <a:cubicBezTo>
                        <a:pt x="81702" y="77604"/>
                        <a:pt x="81702" y="77604"/>
                        <a:pt x="81702" y="77604"/>
                      </a:cubicBezTo>
                      <a:cubicBezTo>
                        <a:pt x="81702" y="77604"/>
                        <a:pt x="80851" y="77604"/>
                        <a:pt x="80851" y="77604"/>
                      </a:cubicBezTo>
                      <a:cubicBezTo>
                        <a:pt x="80000" y="77604"/>
                        <a:pt x="80000" y="76886"/>
                        <a:pt x="80000" y="76886"/>
                      </a:cubicBezTo>
                      <a:cubicBezTo>
                        <a:pt x="79148" y="78323"/>
                        <a:pt x="79148" y="78323"/>
                        <a:pt x="79148" y="78323"/>
                      </a:cubicBezTo>
                      <a:cubicBezTo>
                        <a:pt x="79148" y="78323"/>
                        <a:pt x="75744" y="77604"/>
                        <a:pt x="74893" y="77604"/>
                      </a:cubicBezTo>
                      <a:cubicBezTo>
                        <a:pt x="74893" y="77604"/>
                        <a:pt x="74893" y="79041"/>
                        <a:pt x="74893" y="79041"/>
                      </a:cubicBezTo>
                      <a:cubicBezTo>
                        <a:pt x="76595" y="79760"/>
                        <a:pt x="76595" y="79760"/>
                        <a:pt x="76595" y="79760"/>
                      </a:cubicBezTo>
                      <a:cubicBezTo>
                        <a:pt x="74893" y="80479"/>
                        <a:pt x="74893" y="80479"/>
                        <a:pt x="74893" y="80479"/>
                      </a:cubicBezTo>
                      <a:cubicBezTo>
                        <a:pt x="78297" y="81916"/>
                        <a:pt x="78297" y="81916"/>
                        <a:pt x="78297" y="81916"/>
                      </a:cubicBezTo>
                      <a:cubicBezTo>
                        <a:pt x="79148" y="82634"/>
                        <a:pt x="79148" y="82634"/>
                        <a:pt x="79148" y="82634"/>
                      </a:cubicBezTo>
                      <a:cubicBezTo>
                        <a:pt x="80000" y="84790"/>
                        <a:pt x="80000" y="84790"/>
                        <a:pt x="80000" y="84790"/>
                      </a:cubicBezTo>
                      <a:cubicBezTo>
                        <a:pt x="79148" y="85508"/>
                        <a:pt x="79148" y="85508"/>
                        <a:pt x="79148" y="85508"/>
                      </a:cubicBezTo>
                      <a:cubicBezTo>
                        <a:pt x="80851" y="86946"/>
                        <a:pt x="80851" y="86946"/>
                        <a:pt x="80851" y="86946"/>
                      </a:cubicBezTo>
                      <a:cubicBezTo>
                        <a:pt x="80851" y="86946"/>
                        <a:pt x="80851" y="87664"/>
                        <a:pt x="81702" y="88383"/>
                      </a:cubicBezTo>
                      <a:cubicBezTo>
                        <a:pt x="81702" y="88383"/>
                        <a:pt x="81702" y="89820"/>
                        <a:pt x="81702" y="89820"/>
                      </a:cubicBezTo>
                      <a:cubicBezTo>
                        <a:pt x="81702" y="91257"/>
                        <a:pt x="81702" y="91257"/>
                        <a:pt x="81702" y="91257"/>
                      </a:cubicBezTo>
                      <a:cubicBezTo>
                        <a:pt x="81702" y="91976"/>
                        <a:pt x="81702" y="91976"/>
                        <a:pt x="81702" y="91976"/>
                      </a:cubicBezTo>
                      <a:cubicBezTo>
                        <a:pt x="81702" y="91976"/>
                        <a:pt x="80000" y="92694"/>
                        <a:pt x="80000" y="93413"/>
                      </a:cubicBezTo>
                      <a:cubicBezTo>
                        <a:pt x="80000" y="93413"/>
                        <a:pt x="80851" y="93413"/>
                        <a:pt x="80851" y="93413"/>
                      </a:cubicBezTo>
                      <a:cubicBezTo>
                        <a:pt x="82553" y="94850"/>
                        <a:pt x="82553" y="94850"/>
                        <a:pt x="82553" y="94850"/>
                      </a:cubicBezTo>
                      <a:cubicBezTo>
                        <a:pt x="83404" y="96287"/>
                        <a:pt x="83404" y="96287"/>
                        <a:pt x="83404" y="96287"/>
                      </a:cubicBezTo>
                      <a:cubicBezTo>
                        <a:pt x="83404" y="96287"/>
                        <a:pt x="82553" y="97005"/>
                        <a:pt x="82553" y="97724"/>
                      </a:cubicBezTo>
                      <a:cubicBezTo>
                        <a:pt x="82553" y="97724"/>
                        <a:pt x="84255" y="98443"/>
                        <a:pt x="84255" y="98443"/>
                      </a:cubicBezTo>
                      <a:cubicBezTo>
                        <a:pt x="87659" y="98443"/>
                        <a:pt x="87659" y="98443"/>
                        <a:pt x="87659" y="98443"/>
                      </a:cubicBezTo>
                      <a:cubicBezTo>
                        <a:pt x="89361" y="98443"/>
                        <a:pt x="89361" y="98443"/>
                        <a:pt x="89361" y="98443"/>
                      </a:cubicBezTo>
                      <a:cubicBezTo>
                        <a:pt x="89361" y="98443"/>
                        <a:pt x="91914" y="98443"/>
                        <a:pt x="92765" y="98443"/>
                      </a:cubicBezTo>
                      <a:cubicBezTo>
                        <a:pt x="92765" y="98443"/>
                        <a:pt x="95319" y="97724"/>
                        <a:pt x="95319" y="97724"/>
                      </a:cubicBezTo>
                      <a:cubicBezTo>
                        <a:pt x="95319" y="97724"/>
                        <a:pt x="97021" y="99161"/>
                        <a:pt x="97872" y="99161"/>
                      </a:cubicBezTo>
                      <a:cubicBezTo>
                        <a:pt x="98723" y="99880"/>
                        <a:pt x="97872" y="100598"/>
                        <a:pt x="97872" y="100598"/>
                      </a:cubicBezTo>
                      <a:cubicBezTo>
                        <a:pt x="97872" y="101317"/>
                        <a:pt x="97021" y="101317"/>
                        <a:pt x="97021" y="101317"/>
                      </a:cubicBezTo>
                      <a:cubicBezTo>
                        <a:pt x="97021" y="101317"/>
                        <a:pt x="97872" y="103473"/>
                        <a:pt x="97872" y="103473"/>
                      </a:cubicBezTo>
                      <a:cubicBezTo>
                        <a:pt x="98723" y="104191"/>
                        <a:pt x="98723" y="103473"/>
                        <a:pt x="98723" y="103473"/>
                      </a:cubicBezTo>
                      <a:cubicBezTo>
                        <a:pt x="98723" y="103473"/>
                        <a:pt x="99574" y="104191"/>
                        <a:pt x="100425" y="104910"/>
                      </a:cubicBezTo>
                      <a:cubicBezTo>
                        <a:pt x="100425" y="105628"/>
                        <a:pt x="101276" y="105628"/>
                        <a:pt x="101276" y="105628"/>
                      </a:cubicBezTo>
                      <a:cubicBezTo>
                        <a:pt x="102127" y="105628"/>
                        <a:pt x="102127" y="105628"/>
                        <a:pt x="102127" y="105628"/>
                      </a:cubicBezTo>
                      <a:cubicBezTo>
                        <a:pt x="102127" y="105628"/>
                        <a:pt x="102978" y="105628"/>
                        <a:pt x="102978" y="106347"/>
                      </a:cubicBezTo>
                      <a:cubicBezTo>
                        <a:pt x="103829" y="106347"/>
                        <a:pt x="104680" y="106347"/>
                        <a:pt x="105531" y="106347"/>
                      </a:cubicBezTo>
                      <a:cubicBezTo>
                        <a:pt x="105531" y="106347"/>
                        <a:pt x="106382" y="106347"/>
                        <a:pt x="106382" y="105628"/>
                      </a:cubicBezTo>
                      <a:cubicBezTo>
                        <a:pt x="106382" y="105628"/>
                        <a:pt x="107234" y="105628"/>
                        <a:pt x="108085" y="105628"/>
                      </a:cubicBezTo>
                      <a:cubicBezTo>
                        <a:pt x="108085" y="104910"/>
                        <a:pt x="108085" y="104191"/>
                        <a:pt x="108085" y="104191"/>
                      </a:cubicBezTo>
                      <a:cubicBezTo>
                        <a:pt x="108085" y="104191"/>
                        <a:pt x="108085" y="104191"/>
                        <a:pt x="108085" y="104191"/>
                      </a:cubicBezTo>
                      <a:close/>
                      <a:moveTo>
                        <a:pt x="108085" y="107784"/>
                      </a:moveTo>
                      <a:cubicBezTo>
                        <a:pt x="108085" y="107784"/>
                        <a:pt x="108085" y="107784"/>
                        <a:pt x="108085" y="107784"/>
                      </a:cubicBezTo>
                      <a:cubicBezTo>
                        <a:pt x="107234" y="108502"/>
                        <a:pt x="107234" y="108502"/>
                        <a:pt x="107234" y="108502"/>
                      </a:cubicBezTo>
                      <a:cubicBezTo>
                        <a:pt x="108085" y="108502"/>
                        <a:pt x="108085" y="108502"/>
                        <a:pt x="108085" y="108502"/>
                      </a:cubicBezTo>
                      <a:cubicBezTo>
                        <a:pt x="108085" y="108502"/>
                        <a:pt x="109787" y="109221"/>
                        <a:pt x="109787" y="109221"/>
                      </a:cubicBezTo>
                      <a:cubicBezTo>
                        <a:pt x="110638" y="109221"/>
                        <a:pt x="110638" y="109221"/>
                        <a:pt x="110638" y="109221"/>
                      </a:cubicBezTo>
                      <a:cubicBezTo>
                        <a:pt x="111489" y="108502"/>
                        <a:pt x="111489" y="108502"/>
                        <a:pt x="111489" y="108502"/>
                      </a:cubicBezTo>
                      <a:cubicBezTo>
                        <a:pt x="112340" y="107065"/>
                        <a:pt x="112340" y="107065"/>
                        <a:pt x="112340" y="107065"/>
                      </a:cubicBezTo>
                      <a:cubicBezTo>
                        <a:pt x="114893" y="106347"/>
                        <a:pt x="114893" y="106347"/>
                        <a:pt x="114893" y="106347"/>
                      </a:cubicBezTo>
                      <a:cubicBezTo>
                        <a:pt x="114893" y="106347"/>
                        <a:pt x="117446" y="106347"/>
                        <a:pt x="117446" y="106347"/>
                      </a:cubicBezTo>
                      <a:cubicBezTo>
                        <a:pt x="117446" y="106347"/>
                        <a:pt x="118297" y="105628"/>
                        <a:pt x="118297" y="105628"/>
                      </a:cubicBezTo>
                      <a:cubicBezTo>
                        <a:pt x="118297" y="104910"/>
                        <a:pt x="118297" y="104910"/>
                        <a:pt x="118297" y="104910"/>
                      </a:cubicBezTo>
                      <a:cubicBezTo>
                        <a:pt x="116595" y="103473"/>
                        <a:pt x="116595" y="103473"/>
                        <a:pt x="116595" y="103473"/>
                      </a:cubicBezTo>
                      <a:cubicBezTo>
                        <a:pt x="114893" y="103473"/>
                        <a:pt x="114893" y="103473"/>
                        <a:pt x="114893" y="103473"/>
                      </a:cubicBezTo>
                      <a:cubicBezTo>
                        <a:pt x="114893" y="103473"/>
                        <a:pt x="113191" y="103473"/>
                        <a:pt x="112340" y="103473"/>
                      </a:cubicBezTo>
                      <a:cubicBezTo>
                        <a:pt x="112340" y="103473"/>
                        <a:pt x="111489" y="103473"/>
                        <a:pt x="111489" y="103473"/>
                      </a:cubicBezTo>
                      <a:cubicBezTo>
                        <a:pt x="111489" y="103473"/>
                        <a:pt x="111489" y="104191"/>
                        <a:pt x="111489" y="104910"/>
                      </a:cubicBezTo>
                      <a:cubicBezTo>
                        <a:pt x="110638" y="105628"/>
                        <a:pt x="110638" y="105628"/>
                        <a:pt x="109787" y="105628"/>
                      </a:cubicBezTo>
                      <a:cubicBezTo>
                        <a:pt x="109787" y="105628"/>
                        <a:pt x="108936" y="105628"/>
                        <a:pt x="108936" y="105628"/>
                      </a:cubicBezTo>
                      <a:cubicBezTo>
                        <a:pt x="108085" y="107784"/>
                        <a:pt x="108085" y="107784"/>
                        <a:pt x="108085" y="107784"/>
                      </a:cubicBezTo>
                      <a:close/>
                      <a:moveTo>
                        <a:pt x="98723" y="116407"/>
                      </a:moveTo>
                      <a:cubicBezTo>
                        <a:pt x="98723" y="116407"/>
                        <a:pt x="98723" y="116407"/>
                        <a:pt x="98723" y="116407"/>
                      </a:cubicBezTo>
                      <a:cubicBezTo>
                        <a:pt x="99574" y="116407"/>
                        <a:pt x="99574" y="116407"/>
                        <a:pt x="99574" y="116407"/>
                      </a:cubicBezTo>
                      <a:cubicBezTo>
                        <a:pt x="100425" y="115688"/>
                        <a:pt x="100425" y="115688"/>
                        <a:pt x="100425" y="115688"/>
                      </a:cubicBezTo>
                      <a:cubicBezTo>
                        <a:pt x="99574" y="114251"/>
                        <a:pt x="99574" y="114251"/>
                        <a:pt x="99574" y="114251"/>
                      </a:cubicBezTo>
                      <a:cubicBezTo>
                        <a:pt x="98723" y="113532"/>
                        <a:pt x="98723" y="113532"/>
                        <a:pt x="98723" y="113532"/>
                      </a:cubicBezTo>
                      <a:cubicBezTo>
                        <a:pt x="97872" y="111377"/>
                        <a:pt x="97872" y="111377"/>
                        <a:pt x="97872" y="111377"/>
                      </a:cubicBezTo>
                      <a:cubicBezTo>
                        <a:pt x="96170" y="109940"/>
                        <a:pt x="96170" y="109940"/>
                        <a:pt x="96170" y="109940"/>
                      </a:cubicBezTo>
                      <a:cubicBezTo>
                        <a:pt x="95319" y="109221"/>
                        <a:pt x="95319" y="109221"/>
                        <a:pt x="95319" y="109221"/>
                      </a:cubicBezTo>
                      <a:cubicBezTo>
                        <a:pt x="94468" y="110658"/>
                        <a:pt x="94468" y="110658"/>
                        <a:pt x="94468" y="110658"/>
                      </a:cubicBezTo>
                      <a:cubicBezTo>
                        <a:pt x="93617" y="111377"/>
                        <a:pt x="93617" y="111377"/>
                        <a:pt x="93617" y="111377"/>
                      </a:cubicBezTo>
                      <a:cubicBezTo>
                        <a:pt x="92765" y="112095"/>
                        <a:pt x="92765" y="112095"/>
                        <a:pt x="92765" y="112095"/>
                      </a:cubicBezTo>
                      <a:cubicBezTo>
                        <a:pt x="92765" y="112095"/>
                        <a:pt x="90212" y="111377"/>
                        <a:pt x="89361" y="110658"/>
                      </a:cubicBezTo>
                      <a:cubicBezTo>
                        <a:pt x="87659" y="109940"/>
                        <a:pt x="87659" y="109940"/>
                        <a:pt x="87659" y="109940"/>
                      </a:cubicBezTo>
                      <a:cubicBezTo>
                        <a:pt x="87659" y="109940"/>
                        <a:pt x="86808" y="109940"/>
                        <a:pt x="85957" y="109221"/>
                      </a:cubicBezTo>
                      <a:cubicBezTo>
                        <a:pt x="85957" y="109221"/>
                        <a:pt x="85106" y="108502"/>
                        <a:pt x="85106" y="108502"/>
                      </a:cubicBezTo>
                      <a:cubicBezTo>
                        <a:pt x="85106" y="108502"/>
                        <a:pt x="85106" y="107784"/>
                        <a:pt x="84255" y="107784"/>
                      </a:cubicBezTo>
                      <a:cubicBezTo>
                        <a:pt x="84255" y="107065"/>
                        <a:pt x="83404" y="107784"/>
                        <a:pt x="82553" y="107784"/>
                      </a:cubicBezTo>
                      <a:cubicBezTo>
                        <a:pt x="80851" y="107784"/>
                        <a:pt x="80851" y="107784"/>
                        <a:pt x="80000" y="107784"/>
                      </a:cubicBezTo>
                      <a:cubicBezTo>
                        <a:pt x="80000" y="108502"/>
                        <a:pt x="79148" y="108502"/>
                        <a:pt x="79148" y="108502"/>
                      </a:cubicBezTo>
                      <a:cubicBezTo>
                        <a:pt x="78297" y="109221"/>
                        <a:pt x="79148" y="110658"/>
                        <a:pt x="79148" y="110658"/>
                      </a:cubicBezTo>
                      <a:cubicBezTo>
                        <a:pt x="79148" y="111377"/>
                        <a:pt x="79148" y="111377"/>
                        <a:pt x="79148" y="111377"/>
                      </a:cubicBezTo>
                      <a:cubicBezTo>
                        <a:pt x="80000" y="112814"/>
                        <a:pt x="80000" y="112814"/>
                        <a:pt x="80000" y="112814"/>
                      </a:cubicBezTo>
                      <a:cubicBezTo>
                        <a:pt x="78297" y="112814"/>
                        <a:pt x="78297" y="112814"/>
                        <a:pt x="78297" y="112814"/>
                      </a:cubicBezTo>
                      <a:cubicBezTo>
                        <a:pt x="77446" y="112814"/>
                        <a:pt x="77446" y="112814"/>
                        <a:pt x="77446" y="112814"/>
                      </a:cubicBezTo>
                      <a:cubicBezTo>
                        <a:pt x="78297" y="114251"/>
                        <a:pt x="78297" y="114251"/>
                        <a:pt x="78297" y="114251"/>
                      </a:cubicBezTo>
                      <a:cubicBezTo>
                        <a:pt x="78297" y="114251"/>
                        <a:pt x="78297" y="114970"/>
                        <a:pt x="79148" y="115688"/>
                      </a:cubicBezTo>
                      <a:cubicBezTo>
                        <a:pt x="79148" y="115688"/>
                        <a:pt x="80000" y="116407"/>
                        <a:pt x="80000" y="116407"/>
                      </a:cubicBezTo>
                      <a:cubicBezTo>
                        <a:pt x="80000" y="116407"/>
                        <a:pt x="84255" y="117125"/>
                        <a:pt x="84255" y="117125"/>
                      </a:cubicBezTo>
                      <a:cubicBezTo>
                        <a:pt x="85106" y="117125"/>
                        <a:pt x="85106" y="117125"/>
                        <a:pt x="85106" y="117125"/>
                      </a:cubicBezTo>
                      <a:cubicBezTo>
                        <a:pt x="85106" y="117125"/>
                        <a:pt x="86808" y="117844"/>
                        <a:pt x="88510" y="118562"/>
                      </a:cubicBezTo>
                      <a:cubicBezTo>
                        <a:pt x="89361" y="119281"/>
                        <a:pt x="90212" y="120000"/>
                        <a:pt x="90212" y="120000"/>
                      </a:cubicBezTo>
                      <a:cubicBezTo>
                        <a:pt x="90212" y="120000"/>
                        <a:pt x="91914" y="120000"/>
                        <a:pt x="91914" y="120000"/>
                      </a:cubicBezTo>
                      <a:cubicBezTo>
                        <a:pt x="92765" y="119281"/>
                        <a:pt x="92765" y="119281"/>
                        <a:pt x="92765" y="119281"/>
                      </a:cubicBezTo>
                      <a:cubicBezTo>
                        <a:pt x="95319" y="118562"/>
                        <a:pt x="95319" y="118562"/>
                        <a:pt x="95319" y="118562"/>
                      </a:cubicBezTo>
                      <a:cubicBezTo>
                        <a:pt x="97021" y="118562"/>
                        <a:pt x="97021" y="118562"/>
                        <a:pt x="97021" y="118562"/>
                      </a:cubicBezTo>
                      <a:cubicBezTo>
                        <a:pt x="99574" y="119281"/>
                        <a:pt x="99574" y="119281"/>
                        <a:pt x="99574" y="119281"/>
                      </a:cubicBezTo>
                      <a:cubicBezTo>
                        <a:pt x="100425" y="119281"/>
                        <a:pt x="100425" y="119281"/>
                        <a:pt x="100425" y="119281"/>
                      </a:cubicBezTo>
                      <a:cubicBezTo>
                        <a:pt x="100425" y="117844"/>
                        <a:pt x="100425" y="117844"/>
                        <a:pt x="100425" y="117844"/>
                      </a:cubicBezTo>
                      <a:cubicBezTo>
                        <a:pt x="100425" y="117125"/>
                        <a:pt x="100425" y="117125"/>
                        <a:pt x="100425" y="117125"/>
                      </a:cubicBezTo>
                      <a:cubicBezTo>
                        <a:pt x="98723" y="116407"/>
                        <a:pt x="98723" y="116407"/>
                        <a:pt x="98723" y="116407"/>
                      </a:cubicBezTo>
                      <a:close/>
                      <a:moveTo>
                        <a:pt x="65531" y="86946"/>
                      </a:moveTo>
                      <a:cubicBezTo>
                        <a:pt x="65531" y="86946"/>
                        <a:pt x="65531" y="86946"/>
                        <a:pt x="65531" y="86946"/>
                      </a:cubicBezTo>
                      <a:cubicBezTo>
                        <a:pt x="63829" y="86227"/>
                        <a:pt x="63829" y="86227"/>
                        <a:pt x="63829" y="86227"/>
                      </a:cubicBezTo>
                      <a:cubicBezTo>
                        <a:pt x="62127" y="84071"/>
                        <a:pt x="62127" y="84071"/>
                        <a:pt x="62127" y="84071"/>
                      </a:cubicBezTo>
                      <a:cubicBezTo>
                        <a:pt x="59574" y="83353"/>
                        <a:pt x="59574" y="83353"/>
                        <a:pt x="59574" y="83353"/>
                      </a:cubicBezTo>
                      <a:cubicBezTo>
                        <a:pt x="59574" y="83353"/>
                        <a:pt x="58723" y="81197"/>
                        <a:pt x="58723" y="81197"/>
                      </a:cubicBezTo>
                      <a:cubicBezTo>
                        <a:pt x="57872" y="80479"/>
                        <a:pt x="57872" y="81197"/>
                        <a:pt x="57872" y="81197"/>
                      </a:cubicBezTo>
                      <a:cubicBezTo>
                        <a:pt x="57872" y="81197"/>
                        <a:pt x="57872" y="82634"/>
                        <a:pt x="57021" y="83353"/>
                      </a:cubicBezTo>
                      <a:cubicBezTo>
                        <a:pt x="56170" y="83353"/>
                        <a:pt x="55319" y="83353"/>
                        <a:pt x="55319" y="83353"/>
                      </a:cubicBezTo>
                      <a:cubicBezTo>
                        <a:pt x="53617" y="84790"/>
                        <a:pt x="53617" y="84790"/>
                        <a:pt x="53617" y="84790"/>
                      </a:cubicBezTo>
                      <a:cubicBezTo>
                        <a:pt x="53617" y="84790"/>
                        <a:pt x="51063" y="85508"/>
                        <a:pt x="50212" y="85508"/>
                      </a:cubicBezTo>
                      <a:cubicBezTo>
                        <a:pt x="50212" y="85508"/>
                        <a:pt x="49361" y="86227"/>
                        <a:pt x="49361" y="86227"/>
                      </a:cubicBezTo>
                      <a:cubicBezTo>
                        <a:pt x="44255" y="85508"/>
                        <a:pt x="44255" y="85508"/>
                        <a:pt x="44255" y="85508"/>
                      </a:cubicBezTo>
                      <a:cubicBezTo>
                        <a:pt x="42553" y="86946"/>
                        <a:pt x="42553" y="86946"/>
                        <a:pt x="42553" y="86946"/>
                      </a:cubicBezTo>
                      <a:cubicBezTo>
                        <a:pt x="42553" y="87664"/>
                        <a:pt x="42553" y="87664"/>
                        <a:pt x="42553" y="87664"/>
                      </a:cubicBezTo>
                      <a:cubicBezTo>
                        <a:pt x="43404" y="89101"/>
                        <a:pt x="43404" y="89101"/>
                        <a:pt x="43404" y="89101"/>
                      </a:cubicBezTo>
                      <a:cubicBezTo>
                        <a:pt x="44255" y="89820"/>
                        <a:pt x="44255" y="89820"/>
                        <a:pt x="44255" y="89820"/>
                      </a:cubicBezTo>
                      <a:cubicBezTo>
                        <a:pt x="45106" y="89820"/>
                        <a:pt x="45106" y="89820"/>
                        <a:pt x="45106" y="89820"/>
                      </a:cubicBezTo>
                      <a:cubicBezTo>
                        <a:pt x="45106" y="91257"/>
                        <a:pt x="45106" y="91257"/>
                        <a:pt x="45106" y="91257"/>
                      </a:cubicBezTo>
                      <a:cubicBezTo>
                        <a:pt x="45957" y="92694"/>
                        <a:pt x="45957" y="92694"/>
                        <a:pt x="45957" y="92694"/>
                      </a:cubicBezTo>
                      <a:cubicBezTo>
                        <a:pt x="45957" y="92694"/>
                        <a:pt x="46808" y="93413"/>
                        <a:pt x="47659" y="94850"/>
                      </a:cubicBezTo>
                      <a:cubicBezTo>
                        <a:pt x="48510" y="96287"/>
                        <a:pt x="47659" y="97005"/>
                        <a:pt x="47659" y="97005"/>
                      </a:cubicBezTo>
                      <a:cubicBezTo>
                        <a:pt x="50212" y="99161"/>
                        <a:pt x="50212" y="99161"/>
                        <a:pt x="50212" y="99161"/>
                      </a:cubicBezTo>
                      <a:cubicBezTo>
                        <a:pt x="51914" y="99880"/>
                        <a:pt x="51914" y="99880"/>
                        <a:pt x="51914" y="99880"/>
                      </a:cubicBezTo>
                      <a:cubicBezTo>
                        <a:pt x="51914" y="99880"/>
                        <a:pt x="52765" y="100598"/>
                        <a:pt x="53617" y="100598"/>
                      </a:cubicBezTo>
                      <a:cubicBezTo>
                        <a:pt x="53617" y="100598"/>
                        <a:pt x="53617" y="101317"/>
                        <a:pt x="53617" y="101317"/>
                      </a:cubicBezTo>
                      <a:cubicBezTo>
                        <a:pt x="53617" y="102754"/>
                        <a:pt x="53617" y="102754"/>
                        <a:pt x="53617" y="102754"/>
                      </a:cubicBezTo>
                      <a:cubicBezTo>
                        <a:pt x="54468" y="104191"/>
                        <a:pt x="54468" y="104191"/>
                        <a:pt x="54468" y="104191"/>
                      </a:cubicBezTo>
                      <a:cubicBezTo>
                        <a:pt x="55319" y="103473"/>
                        <a:pt x="55319" y="103473"/>
                        <a:pt x="55319" y="103473"/>
                      </a:cubicBezTo>
                      <a:cubicBezTo>
                        <a:pt x="56170" y="102754"/>
                        <a:pt x="56170" y="102754"/>
                        <a:pt x="56170" y="102754"/>
                      </a:cubicBezTo>
                      <a:cubicBezTo>
                        <a:pt x="60425" y="104191"/>
                        <a:pt x="60425" y="104191"/>
                        <a:pt x="60425" y="104191"/>
                      </a:cubicBezTo>
                      <a:cubicBezTo>
                        <a:pt x="60425" y="104191"/>
                        <a:pt x="63829" y="105628"/>
                        <a:pt x="64680" y="105628"/>
                      </a:cubicBezTo>
                      <a:cubicBezTo>
                        <a:pt x="64680" y="105628"/>
                        <a:pt x="66382" y="104191"/>
                        <a:pt x="66382" y="104191"/>
                      </a:cubicBezTo>
                      <a:cubicBezTo>
                        <a:pt x="67234" y="103473"/>
                        <a:pt x="69787" y="103473"/>
                        <a:pt x="69787" y="103473"/>
                      </a:cubicBezTo>
                      <a:cubicBezTo>
                        <a:pt x="70638" y="103473"/>
                        <a:pt x="70638" y="102754"/>
                        <a:pt x="70638" y="102754"/>
                      </a:cubicBezTo>
                      <a:cubicBezTo>
                        <a:pt x="70638" y="102035"/>
                        <a:pt x="71489" y="101317"/>
                        <a:pt x="71489" y="100598"/>
                      </a:cubicBezTo>
                      <a:cubicBezTo>
                        <a:pt x="71489" y="99880"/>
                        <a:pt x="72340" y="99161"/>
                        <a:pt x="72340" y="99161"/>
                      </a:cubicBezTo>
                      <a:cubicBezTo>
                        <a:pt x="72340" y="97724"/>
                        <a:pt x="72340" y="97724"/>
                        <a:pt x="72340" y="97724"/>
                      </a:cubicBezTo>
                      <a:cubicBezTo>
                        <a:pt x="71489" y="95568"/>
                        <a:pt x="71489" y="95568"/>
                        <a:pt x="71489" y="95568"/>
                      </a:cubicBezTo>
                      <a:cubicBezTo>
                        <a:pt x="72340" y="92694"/>
                        <a:pt x="72340" y="92694"/>
                        <a:pt x="72340" y="92694"/>
                      </a:cubicBezTo>
                      <a:cubicBezTo>
                        <a:pt x="70638" y="91257"/>
                        <a:pt x="70638" y="91257"/>
                        <a:pt x="70638" y="91257"/>
                      </a:cubicBezTo>
                      <a:cubicBezTo>
                        <a:pt x="69787" y="90538"/>
                        <a:pt x="69787" y="90538"/>
                        <a:pt x="69787" y="90538"/>
                      </a:cubicBezTo>
                      <a:cubicBezTo>
                        <a:pt x="69787" y="89820"/>
                        <a:pt x="69787" y="89820"/>
                        <a:pt x="69787" y="89820"/>
                      </a:cubicBezTo>
                      <a:cubicBezTo>
                        <a:pt x="69787" y="89101"/>
                        <a:pt x="69787" y="89101"/>
                        <a:pt x="69787" y="89101"/>
                      </a:cubicBezTo>
                      <a:cubicBezTo>
                        <a:pt x="71489" y="88383"/>
                        <a:pt x="71489" y="88383"/>
                        <a:pt x="71489" y="88383"/>
                      </a:cubicBezTo>
                      <a:cubicBezTo>
                        <a:pt x="71489" y="86227"/>
                        <a:pt x="71489" y="86227"/>
                        <a:pt x="71489" y="86227"/>
                      </a:cubicBezTo>
                      <a:cubicBezTo>
                        <a:pt x="74042" y="84790"/>
                        <a:pt x="74042" y="84790"/>
                        <a:pt x="74042" y="84790"/>
                      </a:cubicBezTo>
                      <a:cubicBezTo>
                        <a:pt x="74893" y="82634"/>
                        <a:pt x="74893" y="82634"/>
                        <a:pt x="74893" y="82634"/>
                      </a:cubicBezTo>
                      <a:cubicBezTo>
                        <a:pt x="74893" y="82634"/>
                        <a:pt x="71489" y="81916"/>
                        <a:pt x="70638" y="81916"/>
                      </a:cubicBezTo>
                      <a:cubicBezTo>
                        <a:pt x="68936" y="81916"/>
                        <a:pt x="69787" y="81916"/>
                        <a:pt x="69787" y="81197"/>
                      </a:cubicBezTo>
                      <a:cubicBezTo>
                        <a:pt x="69787" y="81197"/>
                        <a:pt x="68936" y="80479"/>
                        <a:pt x="68936" y="80479"/>
                      </a:cubicBezTo>
                      <a:cubicBezTo>
                        <a:pt x="68936" y="80479"/>
                        <a:pt x="67234" y="81197"/>
                        <a:pt x="67234" y="81197"/>
                      </a:cubicBezTo>
                      <a:cubicBezTo>
                        <a:pt x="66382" y="81197"/>
                        <a:pt x="66382" y="79760"/>
                        <a:pt x="66382" y="79760"/>
                      </a:cubicBezTo>
                      <a:cubicBezTo>
                        <a:pt x="66382" y="79760"/>
                        <a:pt x="64680" y="80479"/>
                        <a:pt x="64680" y="80479"/>
                      </a:cubicBezTo>
                      <a:cubicBezTo>
                        <a:pt x="63829" y="80479"/>
                        <a:pt x="62127" y="80479"/>
                        <a:pt x="62127" y="80479"/>
                      </a:cubicBezTo>
                      <a:cubicBezTo>
                        <a:pt x="62127" y="80479"/>
                        <a:pt x="62127" y="81197"/>
                        <a:pt x="62127" y="81197"/>
                      </a:cubicBezTo>
                      <a:cubicBezTo>
                        <a:pt x="61276" y="81916"/>
                        <a:pt x="62127" y="82634"/>
                        <a:pt x="62978" y="82634"/>
                      </a:cubicBezTo>
                      <a:cubicBezTo>
                        <a:pt x="62978" y="83353"/>
                        <a:pt x="63829" y="84790"/>
                        <a:pt x="63829" y="84790"/>
                      </a:cubicBezTo>
                      <a:cubicBezTo>
                        <a:pt x="64680" y="86227"/>
                        <a:pt x="64680" y="86227"/>
                        <a:pt x="64680" y="86227"/>
                      </a:cubicBezTo>
                      <a:cubicBezTo>
                        <a:pt x="65531" y="86946"/>
                        <a:pt x="65531" y="86946"/>
                        <a:pt x="65531" y="86946"/>
                      </a:cubicBezTo>
                      <a:close/>
                      <a:moveTo>
                        <a:pt x="63829" y="76886"/>
                      </a:moveTo>
                      <a:cubicBezTo>
                        <a:pt x="63829" y="76886"/>
                        <a:pt x="63829" y="76886"/>
                        <a:pt x="63829" y="76886"/>
                      </a:cubicBezTo>
                      <a:cubicBezTo>
                        <a:pt x="65531" y="76886"/>
                        <a:pt x="65531" y="76886"/>
                        <a:pt x="65531" y="76886"/>
                      </a:cubicBezTo>
                      <a:cubicBezTo>
                        <a:pt x="66382" y="75449"/>
                        <a:pt x="66382" y="75449"/>
                        <a:pt x="66382" y="75449"/>
                      </a:cubicBezTo>
                      <a:cubicBezTo>
                        <a:pt x="66382" y="75449"/>
                        <a:pt x="67234" y="74730"/>
                        <a:pt x="67234" y="74011"/>
                      </a:cubicBezTo>
                      <a:cubicBezTo>
                        <a:pt x="67234" y="74011"/>
                        <a:pt x="67234" y="73293"/>
                        <a:pt x="67234" y="73293"/>
                      </a:cubicBezTo>
                      <a:cubicBezTo>
                        <a:pt x="67234" y="71856"/>
                        <a:pt x="67234" y="71856"/>
                        <a:pt x="67234" y="71856"/>
                      </a:cubicBezTo>
                      <a:cubicBezTo>
                        <a:pt x="66382" y="71137"/>
                        <a:pt x="66382" y="71137"/>
                        <a:pt x="66382" y="71137"/>
                      </a:cubicBezTo>
                      <a:cubicBezTo>
                        <a:pt x="65531" y="69700"/>
                        <a:pt x="65531" y="69700"/>
                        <a:pt x="65531" y="69700"/>
                      </a:cubicBezTo>
                      <a:cubicBezTo>
                        <a:pt x="64680" y="67544"/>
                        <a:pt x="64680" y="67544"/>
                        <a:pt x="64680" y="67544"/>
                      </a:cubicBezTo>
                      <a:cubicBezTo>
                        <a:pt x="62978" y="67544"/>
                        <a:pt x="62978" y="67544"/>
                        <a:pt x="62978" y="67544"/>
                      </a:cubicBezTo>
                      <a:cubicBezTo>
                        <a:pt x="62978" y="67544"/>
                        <a:pt x="62978" y="68982"/>
                        <a:pt x="62978" y="68982"/>
                      </a:cubicBezTo>
                      <a:cubicBezTo>
                        <a:pt x="62978" y="69700"/>
                        <a:pt x="63829" y="70419"/>
                        <a:pt x="63829" y="70419"/>
                      </a:cubicBezTo>
                      <a:cubicBezTo>
                        <a:pt x="64680" y="71137"/>
                        <a:pt x="64680" y="71137"/>
                        <a:pt x="64680" y="71137"/>
                      </a:cubicBezTo>
                      <a:cubicBezTo>
                        <a:pt x="64680" y="71856"/>
                        <a:pt x="64680" y="71856"/>
                        <a:pt x="64680" y="71856"/>
                      </a:cubicBezTo>
                      <a:cubicBezTo>
                        <a:pt x="63829" y="72574"/>
                        <a:pt x="63829" y="72574"/>
                        <a:pt x="63829" y="72574"/>
                      </a:cubicBezTo>
                      <a:cubicBezTo>
                        <a:pt x="62978" y="74011"/>
                        <a:pt x="62978" y="74011"/>
                        <a:pt x="62978" y="74011"/>
                      </a:cubicBezTo>
                      <a:cubicBezTo>
                        <a:pt x="63829" y="75449"/>
                        <a:pt x="63829" y="75449"/>
                        <a:pt x="63829" y="75449"/>
                      </a:cubicBezTo>
                      <a:cubicBezTo>
                        <a:pt x="63829" y="76886"/>
                        <a:pt x="63829" y="76886"/>
                        <a:pt x="63829" y="76886"/>
                      </a:cubicBezTo>
                      <a:close/>
                      <a:moveTo>
                        <a:pt x="68085" y="112814"/>
                      </a:moveTo>
                      <a:cubicBezTo>
                        <a:pt x="68085" y="112814"/>
                        <a:pt x="68085" y="112814"/>
                        <a:pt x="68085" y="112814"/>
                      </a:cubicBezTo>
                      <a:cubicBezTo>
                        <a:pt x="68936" y="114970"/>
                        <a:pt x="68936" y="114970"/>
                        <a:pt x="68936" y="114970"/>
                      </a:cubicBezTo>
                      <a:cubicBezTo>
                        <a:pt x="69787" y="116407"/>
                        <a:pt x="69787" y="116407"/>
                        <a:pt x="69787" y="116407"/>
                      </a:cubicBezTo>
                      <a:cubicBezTo>
                        <a:pt x="69787" y="116407"/>
                        <a:pt x="71489" y="117125"/>
                        <a:pt x="71489" y="116407"/>
                      </a:cubicBezTo>
                      <a:cubicBezTo>
                        <a:pt x="71489" y="115688"/>
                        <a:pt x="70638" y="114970"/>
                        <a:pt x="71489" y="114251"/>
                      </a:cubicBezTo>
                      <a:cubicBezTo>
                        <a:pt x="71489" y="113532"/>
                        <a:pt x="72340" y="112095"/>
                        <a:pt x="72340" y="111377"/>
                      </a:cubicBezTo>
                      <a:cubicBezTo>
                        <a:pt x="72340" y="110658"/>
                        <a:pt x="73191" y="109940"/>
                        <a:pt x="73191" y="109221"/>
                      </a:cubicBezTo>
                      <a:cubicBezTo>
                        <a:pt x="74042" y="108502"/>
                        <a:pt x="74893" y="107065"/>
                        <a:pt x="74893" y="106347"/>
                      </a:cubicBezTo>
                      <a:cubicBezTo>
                        <a:pt x="74893" y="106347"/>
                        <a:pt x="75744" y="104910"/>
                        <a:pt x="75744" y="104191"/>
                      </a:cubicBezTo>
                      <a:cubicBezTo>
                        <a:pt x="75744" y="104191"/>
                        <a:pt x="75744" y="102035"/>
                        <a:pt x="75744" y="102035"/>
                      </a:cubicBezTo>
                      <a:cubicBezTo>
                        <a:pt x="75744" y="102035"/>
                        <a:pt x="74893" y="99880"/>
                        <a:pt x="74893" y="99880"/>
                      </a:cubicBezTo>
                      <a:cubicBezTo>
                        <a:pt x="74042" y="101317"/>
                        <a:pt x="74042" y="101317"/>
                        <a:pt x="74042" y="101317"/>
                      </a:cubicBezTo>
                      <a:cubicBezTo>
                        <a:pt x="74042" y="102754"/>
                        <a:pt x="74042" y="102754"/>
                        <a:pt x="74042" y="102754"/>
                      </a:cubicBezTo>
                      <a:cubicBezTo>
                        <a:pt x="72340" y="105628"/>
                        <a:pt x="72340" y="105628"/>
                        <a:pt x="72340" y="105628"/>
                      </a:cubicBezTo>
                      <a:cubicBezTo>
                        <a:pt x="71489" y="107065"/>
                        <a:pt x="71489" y="107065"/>
                        <a:pt x="71489" y="107065"/>
                      </a:cubicBezTo>
                      <a:cubicBezTo>
                        <a:pt x="69787" y="108502"/>
                        <a:pt x="69787" y="108502"/>
                        <a:pt x="69787" y="108502"/>
                      </a:cubicBezTo>
                      <a:cubicBezTo>
                        <a:pt x="69787" y="109221"/>
                        <a:pt x="69787" y="109221"/>
                        <a:pt x="69787" y="109221"/>
                      </a:cubicBezTo>
                      <a:cubicBezTo>
                        <a:pt x="69787" y="110658"/>
                        <a:pt x="69787" y="110658"/>
                        <a:pt x="69787" y="110658"/>
                      </a:cubicBezTo>
                      <a:cubicBezTo>
                        <a:pt x="68936" y="111377"/>
                        <a:pt x="68936" y="111377"/>
                        <a:pt x="68936" y="111377"/>
                      </a:cubicBezTo>
                      <a:cubicBezTo>
                        <a:pt x="68936" y="112095"/>
                        <a:pt x="68936" y="112095"/>
                        <a:pt x="68936" y="112095"/>
                      </a:cubicBezTo>
                      <a:cubicBezTo>
                        <a:pt x="68085" y="112814"/>
                        <a:pt x="68085" y="112814"/>
                        <a:pt x="68085" y="112814"/>
                      </a:cubicBezTo>
                      <a:close/>
                      <a:moveTo>
                        <a:pt x="63829" y="106347"/>
                      </a:moveTo>
                      <a:cubicBezTo>
                        <a:pt x="63829" y="106347"/>
                        <a:pt x="63829" y="106347"/>
                        <a:pt x="63829" y="106347"/>
                      </a:cubicBezTo>
                      <a:cubicBezTo>
                        <a:pt x="64680" y="107065"/>
                        <a:pt x="64680" y="107065"/>
                        <a:pt x="64680" y="107065"/>
                      </a:cubicBezTo>
                      <a:cubicBezTo>
                        <a:pt x="64680" y="107065"/>
                        <a:pt x="65531" y="109221"/>
                        <a:pt x="66382" y="109221"/>
                      </a:cubicBezTo>
                      <a:cubicBezTo>
                        <a:pt x="66382" y="109221"/>
                        <a:pt x="68936" y="107065"/>
                        <a:pt x="68936" y="107065"/>
                      </a:cubicBezTo>
                      <a:cubicBezTo>
                        <a:pt x="68936" y="105628"/>
                        <a:pt x="68936" y="105628"/>
                        <a:pt x="68936" y="105628"/>
                      </a:cubicBezTo>
                      <a:cubicBezTo>
                        <a:pt x="69787" y="104191"/>
                        <a:pt x="69787" y="104191"/>
                        <a:pt x="69787" y="104191"/>
                      </a:cubicBezTo>
                      <a:cubicBezTo>
                        <a:pt x="67234" y="104910"/>
                        <a:pt x="67234" y="104910"/>
                        <a:pt x="67234" y="104910"/>
                      </a:cubicBezTo>
                      <a:cubicBezTo>
                        <a:pt x="65531" y="106347"/>
                        <a:pt x="65531" y="106347"/>
                        <a:pt x="65531" y="106347"/>
                      </a:cubicBezTo>
                      <a:cubicBezTo>
                        <a:pt x="63829" y="106347"/>
                        <a:pt x="63829" y="106347"/>
                        <a:pt x="63829" y="106347"/>
                      </a:cubicBezTo>
                      <a:close/>
                      <a:moveTo>
                        <a:pt x="56170" y="107784"/>
                      </a:moveTo>
                      <a:cubicBezTo>
                        <a:pt x="56170" y="107784"/>
                        <a:pt x="56170" y="107784"/>
                        <a:pt x="56170" y="107784"/>
                      </a:cubicBezTo>
                      <a:cubicBezTo>
                        <a:pt x="56170" y="107784"/>
                        <a:pt x="57021" y="109940"/>
                        <a:pt x="57021" y="109940"/>
                      </a:cubicBezTo>
                      <a:cubicBezTo>
                        <a:pt x="57872" y="109940"/>
                        <a:pt x="58723" y="110658"/>
                        <a:pt x="58723" y="110658"/>
                      </a:cubicBezTo>
                      <a:cubicBezTo>
                        <a:pt x="60425" y="112095"/>
                        <a:pt x="60425" y="112095"/>
                        <a:pt x="60425" y="112095"/>
                      </a:cubicBezTo>
                      <a:cubicBezTo>
                        <a:pt x="60425" y="112095"/>
                        <a:pt x="60425" y="112814"/>
                        <a:pt x="61276" y="112814"/>
                      </a:cubicBezTo>
                      <a:cubicBezTo>
                        <a:pt x="61276" y="112814"/>
                        <a:pt x="62978" y="112095"/>
                        <a:pt x="62978" y="112095"/>
                      </a:cubicBezTo>
                      <a:cubicBezTo>
                        <a:pt x="63829" y="110658"/>
                        <a:pt x="63829" y="110658"/>
                        <a:pt x="63829" y="110658"/>
                      </a:cubicBezTo>
                      <a:cubicBezTo>
                        <a:pt x="63829" y="110658"/>
                        <a:pt x="62127" y="110658"/>
                        <a:pt x="62127" y="110658"/>
                      </a:cubicBezTo>
                      <a:cubicBezTo>
                        <a:pt x="61276" y="110658"/>
                        <a:pt x="60425" y="109221"/>
                        <a:pt x="60425" y="109221"/>
                      </a:cubicBezTo>
                      <a:cubicBezTo>
                        <a:pt x="60425" y="109221"/>
                        <a:pt x="59574" y="109221"/>
                        <a:pt x="59574" y="109221"/>
                      </a:cubicBezTo>
                      <a:cubicBezTo>
                        <a:pt x="58723" y="109221"/>
                        <a:pt x="57021" y="107784"/>
                        <a:pt x="57021" y="107784"/>
                      </a:cubicBezTo>
                      <a:cubicBezTo>
                        <a:pt x="56170" y="107784"/>
                        <a:pt x="56170" y="107784"/>
                        <a:pt x="56170" y="107784"/>
                      </a:cubicBezTo>
                      <a:close/>
                      <a:moveTo>
                        <a:pt x="42553" y="105628"/>
                      </a:moveTo>
                      <a:cubicBezTo>
                        <a:pt x="42553" y="105628"/>
                        <a:pt x="42553" y="105628"/>
                        <a:pt x="42553" y="105628"/>
                      </a:cubicBezTo>
                      <a:cubicBezTo>
                        <a:pt x="44255" y="106347"/>
                        <a:pt x="44255" y="106347"/>
                        <a:pt x="44255" y="106347"/>
                      </a:cubicBezTo>
                      <a:cubicBezTo>
                        <a:pt x="45106" y="107065"/>
                        <a:pt x="45106" y="107065"/>
                        <a:pt x="45106" y="107065"/>
                      </a:cubicBezTo>
                      <a:cubicBezTo>
                        <a:pt x="46808" y="107784"/>
                        <a:pt x="46808" y="107784"/>
                        <a:pt x="46808" y="107784"/>
                      </a:cubicBezTo>
                      <a:cubicBezTo>
                        <a:pt x="45106" y="109221"/>
                        <a:pt x="45106" y="109221"/>
                        <a:pt x="45106" y="109221"/>
                      </a:cubicBezTo>
                      <a:cubicBezTo>
                        <a:pt x="45106" y="109221"/>
                        <a:pt x="45957" y="110658"/>
                        <a:pt x="46808" y="109940"/>
                      </a:cubicBezTo>
                      <a:cubicBezTo>
                        <a:pt x="47659" y="109940"/>
                        <a:pt x="47659" y="109940"/>
                        <a:pt x="47659" y="109940"/>
                      </a:cubicBezTo>
                      <a:cubicBezTo>
                        <a:pt x="47659" y="109940"/>
                        <a:pt x="49361" y="110658"/>
                        <a:pt x="49361" y="110658"/>
                      </a:cubicBezTo>
                      <a:cubicBezTo>
                        <a:pt x="50212" y="111377"/>
                        <a:pt x="51063" y="111377"/>
                        <a:pt x="51914" y="111377"/>
                      </a:cubicBezTo>
                      <a:cubicBezTo>
                        <a:pt x="52765" y="111377"/>
                        <a:pt x="52765" y="110658"/>
                        <a:pt x="52765" y="110658"/>
                      </a:cubicBezTo>
                      <a:cubicBezTo>
                        <a:pt x="52765" y="109940"/>
                        <a:pt x="52765" y="109221"/>
                        <a:pt x="52765" y="109221"/>
                      </a:cubicBezTo>
                      <a:cubicBezTo>
                        <a:pt x="51914" y="107784"/>
                        <a:pt x="51914" y="107784"/>
                        <a:pt x="51914" y="107784"/>
                      </a:cubicBezTo>
                      <a:cubicBezTo>
                        <a:pt x="51063" y="106347"/>
                        <a:pt x="51063" y="106347"/>
                        <a:pt x="51063" y="106347"/>
                      </a:cubicBezTo>
                      <a:cubicBezTo>
                        <a:pt x="47659" y="105628"/>
                        <a:pt x="47659" y="105628"/>
                        <a:pt x="47659" y="105628"/>
                      </a:cubicBezTo>
                      <a:cubicBezTo>
                        <a:pt x="45957" y="104191"/>
                        <a:pt x="45957" y="104191"/>
                        <a:pt x="45957" y="104191"/>
                      </a:cubicBezTo>
                      <a:cubicBezTo>
                        <a:pt x="43404" y="103473"/>
                        <a:pt x="43404" y="103473"/>
                        <a:pt x="43404" y="103473"/>
                      </a:cubicBezTo>
                      <a:cubicBezTo>
                        <a:pt x="42553" y="103473"/>
                        <a:pt x="42553" y="103473"/>
                        <a:pt x="42553" y="103473"/>
                      </a:cubicBezTo>
                      <a:cubicBezTo>
                        <a:pt x="42553" y="105628"/>
                        <a:pt x="42553" y="105628"/>
                        <a:pt x="42553" y="105628"/>
                      </a:cubicBezTo>
                      <a:close/>
                      <a:moveTo>
                        <a:pt x="70638" y="17964"/>
                      </a:moveTo>
                      <a:cubicBezTo>
                        <a:pt x="70638" y="17964"/>
                        <a:pt x="70638" y="17964"/>
                        <a:pt x="70638" y="17964"/>
                      </a:cubicBezTo>
                      <a:cubicBezTo>
                        <a:pt x="70638" y="18682"/>
                        <a:pt x="70638" y="18682"/>
                        <a:pt x="70638" y="18682"/>
                      </a:cubicBezTo>
                      <a:cubicBezTo>
                        <a:pt x="70638" y="18682"/>
                        <a:pt x="71489" y="18682"/>
                        <a:pt x="71489" y="18682"/>
                      </a:cubicBezTo>
                      <a:cubicBezTo>
                        <a:pt x="71489" y="18682"/>
                        <a:pt x="72340" y="18682"/>
                        <a:pt x="72340" y="18682"/>
                      </a:cubicBezTo>
                      <a:cubicBezTo>
                        <a:pt x="72340" y="18682"/>
                        <a:pt x="74042" y="19401"/>
                        <a:pt x="74042" y="19401"/>
                      </a:cubicBezTo>
                      <a:cubicBezTo>
                        <a:pt x="74042" y="20119"/>
                        <a:pt x="74893" y="19401"/>
                        <a:pt x="74893" y="19401"/>
                      </a:cubicBezTo>
                      <a:cubicBezTo>
                        <a:pt x="75744" y="19401"/>
                        <a:pt x="75744" y="18682"/>
                        <a:pt x="75744" y="17964"/>
                      </a:cubicBezTo>
                      <a:cubicBezTo>
                        <a:pt x="75744" y="17964"/>
                        <a:pt x="76595" y="17245"/>
                        <a:pt x="76595" y="17245"/>
                      </a:cubicBezTo>
                      <a:cubicBezTo>
                        <a:pt x="76595" y="17245"/>
                        <a:pt x="79148" y="15808"/>
                        <a:pt x="79148" y="15808"/>
                      </a:cubicBezTo>
                      <a:cubicBezTo>
                        <a:pt x="79148" y="15089"/>
                        <a:pt x="77446" y="15089"/>
                        <a:pt x="77446" y="15089"/>
                      </a:cubicBezTo>
                      <a:cubicBezTo>
                        <a:pt x="77446" y="15089"/>
                        <a:pt x="74893" y="15808"/>
                        <a:pt x="74893" y="15808"/>
                      </a:cubicBezTo>
                      <a:cubicBezTo>
                        <a:pt x="74893" y="15808"/>
                        <a:pt x="72340" y="16526"/>
                        <a:pt x="72340" y="16526"/>
                      </a:cubicBezTo>
                      <a:lnTo>
                        <a:pt x="70638" y="1796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63" name="Shape 2028"/>
                <p:cNvSpPr/>
                <p:nvPr/>
              </p:nvSpPr>
              <p:spPr>
                <a:xfrm>
                  <a:off x="4518028" y="2422185"/>
                  <a:ext cx="310038" cy="351588"/>
                </a:xfrm>
                <a:custGeom>
                  <a:avLst/>
                  <a:gdLst/>
                  <a:ahLst/>
                  <a:cxnLst/>
                  <a:rect l="0" t="0" r="0" b="0"/>
                  <a:pathLst>
                    <a:path w="120000" h="120000" extrusionOk="0">
                      <a:moveTo>
                        <a:pt x="63529" y="26415"/>
                      </a:moveTo>
                      <a:cubicBezTo>
                        <a:pt x="62647" y="24905"/>
                        <a:pt x="62647" y="24905"/>
                        <a:pt x="62647" y="24905"/>
                      </a:cubicBezTo>
                      <a:cubicBezTo>
                        <a:pt x="60882" y="24905"/>
                        <a:pt x="60882" y="24905"/>
                        <a:pt x="60882" y="24905"/>
                      </a:cubicBezTo>
                      <a:cubicBezTo>
                        <a:pt x="58235" y="26415"/>
                        <a:pt x="58235" y="26415"/>
                        <a:pt x="58235" y="26415"/>
                      </a:cubicBezTo>
                      <a:cubicBezTo>
                        <a:pt x="58235" y="24905"/>
                        <a:pt x="58235" y="24905"/>
                        <a:pt x="58235" y="24905"/>
                      </a:cubicBezTo>
                      <a:cubicBezTo>
                        <a:pt x="61764" y="23396"/>
                        <a:pt x="61764" y="23396"/>
                        <a:pt x="61764" y="23396"/>
                      </a:cubicBezTo>
                      <a:cubicBezTo>
                        <a:pt x="63529" y="22641"/>
                        <a:pt x="63529" y="22641"/>
                        <a:pt x="63529" y="22641"/>
                      </a:cubicBezTo>
                      <a:cubicBezTo>
                        <a:pt x="64411" y="21132"/>
                        <a:pt x="64411" y="21132"/>
                        <a:pt x="64411" y="21132"/>
                      </a:cubicBezTo>
                      <a:cubicBezTo>
                        <a:pt x="66176" y="18867"/>
                        <a:pt x="66176" y="18867"/>
                        <a:pt x="66176" y="18867"/>
                      </a:cubicBezTo>
                      <a:cubicBezTo>
                        <a:pt x="66176" y="18867"/>
                        <a:pt x="67941" y="17358"/>
                        <a:pt x="68823" y="16603"/>
                      </a:cubicBezTo>
                      <a:cubicBezTo>
                        <a:pt x="69705" y="16603"/>
                        <a:pt x="73235" y="15094"/>
                        <a:pt x="73235" y="15094"/>
                      </a:cubicBezTo>
                      <a:cubicBezTo>
                        <a:pt x="73235" y="15094"/>
                        <a:pt x="76764" y="13584"/>
                        <a:pt x="77647" y="13584"/>
                      </a:cubicBezTo>
                      <a:cubicBezTo>
                        <a:pt x="78529" y="13584"/>
                        <a:pt x="84705" y="12830"/>
                        <a:pt x="84705" y="12830"/>
                      </a:cubicBezTo>
                      <a:cubicBezTo>
                        <a:pt x="90882" y="14339"/>
                        <a:pt x="90882" y="14339"/>
                        <a:pt x="90882" y="14339"/>
                      </a:cubicBezTo>
                      <a:cubicBezTo>
                        <a:pt x="90882" y="14339"/>
                        <a:pt x="92647" y="12830"/>
                        <a:pt x="94411" y="12830"/>
                      </a:cubicBezTo>
                      <a:cubicBezTo>
                        <a:pt x="94411" y="12830"/>
                        <a:pt x="96176" y="13584"/>
                        <a:pt x="97058" y="13584"/>
                      </a:cubicBezTo>
                      <a:cubicBezTo>
                        <a:pt x="97941" y="13584"/>
                        <a:pt x="99705" y="12830"/>
                        <a:pt x="99705" y="12830"/>
                      </a:cubicBezTo>
                      <a:cubicBezTo>
                        <a:pt x="103235" y="12830"/>
                        <a:pt x="103235" y="12830"/>
                        <a:pt x="103235" y="12830"/>
                      </a:cubicBezTo>
                      <a:cubicBezTo>
                        <a:pt x="105882" y="15849"/>
                        <a:pt x="105882" y="15849"/>
                        <a:pt x="105882" y="15849"/>
                      </a:cubicBezTo>
                      <a:cubicBezTo>
                        <a:pt x="106764" y="18867"/>
                        <a:pt x="106764" y="18867"/>
                        <a:pt x="106764" y="18867"/>
                      </a:cubicBezTo>
                      <a:cubicBezTo>
                        <a:pt x="111176" y="19622"/>
                        <a:pt x="111176" y="19622"/>
                        <a:pt x="111176" y="19622"/>
                      </a:cubicBezTo>
                      <a:cubicBezTo>
                        <a:pt x="111176" y="19622"/>
                        <a:pt x="110294" y="21132"/>
                        <a:pt x="110294" y="21886"/>
                      </a:cubicBezTo>
                      <a:cubicBezTo>
                        <a:pt x="111176" y="21886"/>
                        <a:pt x="113823" y="22641"/>
                        <a:pt x="113823" y="22641"/>
                      </a:cubicBezTo>
                      <a:cubicBezTo>
                        <a:pt x="113823" y="23396"/>
                        <a:pt x="113823" y="23396"/>
                        <a:pt x="113823" y="23396"/>
                      </a:cubicBezTo>
                      <a:cubicBezTo>
                        <a:pt x="113823" y="23396"/>
                        <a:pt x="113823" y="26415"/>
                        <a:pt x="113823" y="27169"/>
                      </a:cubicBezTo>
                      <a:cubicBezTo>
                        <a:pt x="113823" y="27924"/>
                        <a:pt x="113823" y="32452"/>
                        <a:pt x="113823" y="32452"/>
                      </a:cubicBezTo>
                      <a:cubicBezTo>
                        <a:pt x="113823" y="32452"/>
                        <a:pt x="111176" y="36981"/>
                        <a:pt x="110294" y="36981"/>
                      </a:cubicBezTo>
                      <a:cubicBezTo>
                        <a:pt x="109411" y="37735"/>
                        <a:pt x="110294" y="40754"/>
                        <a:pt x="110294" y="40754"/>
                      </a:cubicBezTo>
                      <a:cubicBezTo>
                        <a:pt x="109411" y="44528"/>
                        <a:pt x="109411" y="44528"/>
                        <a:pt x="109411" y="44528"/>
                      </a:cubicBezTo>
                      <a:cubicBezTo>
                        <a:pt x="109411" y="44528"/>
                        <a:pt x="109411" y="47547"/>
                        <a:pt x="108529" y="46792"/>
                      </a:cubicBezTo>
                      <a:cubicBezTo>
                        <a:pt x="107647" y="46792"/>
                        <a:pt x="103235" y="45283"/>
                        <a:pt x="103235" y="45283"/>
                      </a:cubicBezTo>
                      <a:cubicBezTo>
                        <a:pt x="99705" y="46037"/>
                        <a:pt x="99705" y="46037"/>
                        <a:pt x="99705" y="46037"/>
                      </a:cubicBezTo>
                      <a:cubicBezTo>
                        <a:pt x="99705" y="48301"/>
                        <a:pt x="99705" y="48301"/>
                        <a:pt x="99705" y="48301"/>
                      </a:cubicBezTo>
                      <a:cubicBezTo>
                        <a:pt x="101470" y="49056"/>
                        <a:pt x="101470" y="49056"/>
                        <a:pt x="101470" y="49056"/>
                      </a:cubicBezTo>
                      <a:cubicBezTo>
                        <a:pt x="98823" y="49056"/>
                        <a:pt x="98823" y="49056"/>
                        <a:pt x="98823" y="49056"/>
                      </a:cubicBezTo>
                      <a:cubicBezTo>
                        <a:pt x="98823" y="50566"/>
                        <a:pt x="98823" y="50566"/>
                        <a:pt x="98823" y="50566"/>
                      </a:cubicBezTo>
                      <a:cubicBezTo>
                        <a:pt x="98823" y="50566"/>
                        <a:pt x="99705" y="52075"/>
                        <a:pt x="100588" y="52830"/>
                      </a:cubicBezTo>
                      <a:cubicBezTo>
                        <a:pt x="100588" y="53584"/>
                        <a:pt x="103235" y="53584"/>
                        <a:pt x="103235" y="53584"/>
                      </a:cubicBezTo>
                      <a:cubicBezTo>
                        <a:pt x="105000" y="55094"/>
                        <a:pt x="105000" y="55094"/>
                        <a:pt x="105000" y="55094"/>
                      </a:cubicBezTo>
                      <a:cubicBezTo>
                        <a:pt x="107647" y="54339"/>
                        <a:pt x="107647" y="54339"/>
                        <a:pt x="107647" y="54339"/>
                      </a:cubicBezTo>
                      <a:cubicBezTo>
                        <a:pt x="109411" y="57358"/>
                        <a:pt x="109411" y="57358"/>
                        <a:pt x="109411" y="57358"/>
                      </a:cubicBezTo>
                      <a:cubicBezTo>
                        <a:pt x="108529" y="58867"/>
                        <a:pt x="108529" y="58867"/>
                        <a:pt x="108529" y="58867"/>
                      </a:cubicBezTo>
                      <a:cubicBezTo>
                        <a:pt x="108529" y="58867"/>
                        <a:pt x="108529" y="60377"/>
                        <a:pt x="108529" y="61132"/>
                      </a:cubicBezTo>
                      <a:cubicBezTo>
                        <a:pt x="108529" y="61886"/>
                        <a:pt x="109411" y="62641"/>
                        <a:pt x="108529" y="62641"/>
                      </a:cubicBezTo>
                      <a:cubicBezTo>
                        <a:pt x="108529" y="62641"/>
                        <a:pt x="106764" y="63396"/>
                        <a:pt x="106764" y="63396"/>
                      </a:cubicBezTo>
                      <a:cubicBezTo>
                        <a:pt x="105882" y="64905"/>
                        <a:pt x="105882" y="64905"/>
                        <a:pt x="105882" y="64905"/>
                      </a:cubicBezTo>
                      <a:cubicBezTo>
                        <a:pt x="105882" y="64905"/>
                        <a:pt x="104117" y="65660"/>
                        <a:pt x="103235" y="65660"/>
                      </a:cubicBezTo>
                      <a:cubicBezTo>
                        <a:pt x="102352" y="66415"/>
                        <a:pt x="102352" y="66415"/>
                        <a:pt x="102352" y="67169"/>
                      </a:cubicBezTo>
                      <a:cubicBezTo>
                        <a:pt x="102352" y="67169"/>
                        <a:pt x="98823" y="66415"/>
                        <a:pt x="98823" y="66415"/>
                      </a:cubicBezTo>
                      <a:cubicBezTo>
                        <a:pt x="98823" y="68679"/>
                        <a:pt x="98823" y="68679"/>
                        <a:pt x="98823" y="68679"/>
                      </a:cubicBezTo>
                      <a:cubicBezTo>
                        <a:pt x="97058" y="68679"/>
                        <a:pt x="97058" y="68679"/>
                        <a:pt x="97058" y="68679"/>
                      </a:cubicBezTo>
                      <a:cubicBezTo>
                        <a:pt x="98823" y="70943"/>
                        <a:pt x="98823" y="70943"/>
                        <a:pt x="98823" y="70943"/>
                      </a:cubicBezTo>
                      <a:cubicBezTo>
                        <a:pt x="101470" y="72452"/>
                        <a:pt x="101470" y="72452"/>
                        <a:pt x="101470" y="72452"/>
                      </a:cubicBezTo>
                      <a:cubicBezTo>
                        <a:pt x="100588" y="73207"/>
                        <a:pt x="100588" y="73207"/>
                        <a:pt x="100588" y="73207"/>
                      </a:cubicBezTo>
                      <a:cubicBezTo>
                        <a:pt x="98823" y="73962"/>
                        <a:pt x="98823" y="73962"/>
                        <a:pt x="98823" y="73962"/>
                      </a:cubicBezTo>
                      <a:cubicBezTo>
                        <a:pt x="97941" y="75471"/>
                        <a:pt x="97941" y="75471"/>
                        <a:pt x="97941" y="75471"/>
                      </a:cubicBezTo>
                      <a:cubicBezTo>
                        <a:pt x="95294" y="75471"/>
                        <a:pt x="95294" y="75471"/>
                        <a:pt x="95294" y="75471"/>
                      </a:cubicBezTo>
                      <a:cubicBezTo>
                        <a:pt x="92647" y="76226"/>
                        <a:pt x="92647" y="76226"/>
                        <a:pt x="92647" y="76226"/>
                      </a:cubicBezTo>
                      <a:cubicBezTo>
                        <a:pt x="91764" y="76226"/>
                        <a:pt x="91764" y="76226"/>
                        <a:pt x="91764" y="76226"/>
                      </a:cubicBezTo>
                      <a:cubicBezTo>
                        <a:pt x="89117" y="76226"/>
                        <a:pt x="89117" y="76226"/>
                        <a:pt x="89117" y="76226"/>
                      </a:cubicBezTo>
                      <a:cubicBezTo>
                        <a:pt x="88235" y="77735"/>
                        <a:pt x="88235" y="77735"/>
                        <a:pt x="88235" y="77735"/>
                      </a:cubicBezTo>
                      <a:cubicBezTo>
                        <a:pt x="87352" y="76226"/>
                        <a:pt x="87352" y="76226"/>
                        <a:pt x="87352" y="76226"/>
                      </a:cubicBezTo>
                      <a:cubicBezTo>
                        <a:pt x="84705" y="75471"/>
                        <a:pt x="84705" y="75471"/>
                        <a:pt x="84705" y="75471"/>
                      </a:cubicBezTo>
                      <a:cubicBezTo>
                        <a:pt x="82941" y="73962"/>
                        <a:pt x="82941" y="73962"/>
                        <a:pt x="82941" y="73962"/>
                      </a:cubicBezTo>
                      <a:cubicBezTo>
                        <a:pt x="80294" y="74716"/>
                        <a:pt x="80294" y="74716"/>
                        <a:pt x="80294" y="74716"/>
                      </a:cubicBezTo>
                      <a:cubicBezTo>
                        <a:pt x="82941" y="76226"/>
                        <a:pt x="82941" y="76226"/>
                        <a:pt x="82941" y="76226"/>
                      </a:cubicBezTo>
                      <a:cubicBezTo>
                        <a:pt x="81176" y="76226"/>
                        <a:pt x="81176" y="76226"/>
                        <a:pt x="81176" y="76226"/>
                      </a:cubicBezTo>
                      <a:cubicBezTo>
                        <a:pt x="76764" y="75471"/>
                        <a:pt x="76764" y="75471"/>
                        <a:pt x="76764" y="75471"/>
                      </a:cubicBezTo>
                      <a:cubicBezTo>
                        <a:pt x="76764" y="77735"/>
                        <a:pt x="76764" y="77735"/>
                        <a:pt x="76764" y="77735"/>
                      </a:cubicBezTo>
                      <a:cubicBezTo>
                        <a:pt x="76764" y="79245"/>
                        <a:pt x="76764" y="79245"/>
                        <a:pt x="76764" y="79245"/>
                      </a:cubicBezTo>
                      <a:cubicBezTo>
                        <a:pt x="76764" y="79245"/>
                        <a:pt x="75882" y="80000"/>
                        <a:pt x="76764" y="80000"/>
                      </a:cubicBezTo>
                      <a:cubicBezTo>
                        <a:pt x="77647" y="80000"/>
                        <a:pt x="79411" y="81509"/>
                        <a:pt x="79411" y="81509"/>
                      </a:cubicBezTo>
                      <a:cubicBezTo>
                        <a:pt x="79411" y="83018"/>
                        <a:pt x="79411" y="83018"/>
                        <a:pt x="79411" y="83018"/>
                      </a:cubicBezTo>
                      <a:cubicBezTo>
                        <a:pt x="80294" y="84528"/>
                        <a:pt x="80294" y="84528"/>
                        <a:pt x="80294" y="84528"/>
                      </a:cubicBezTo>
                      <a:cubicBezTo>
                        <a:pt x="80294" y="85283"/>
                        <a:pt x="80294" y="85283"/>
                        <a:pt x="80294" y="85283"/>
                      </a:cubicBezTo>
                      <a:cubicBezTo>
                        <a:pt x="82058" y="87547"/>
                        <a:pt x="82058" y="87547"/>
                        <a:pt x="82058" y="87547"/>
                      </a:cubicBezTo>
                      <a:cubicBezTo>
                        <a:pt x="82058" y="89811"/>
                        <a:pt x="82058" y="89811"/>
                        <a:pt x="82058" y="89811"/>
                      </a:cubicBezTo>
                      <a:cubicBezTo>
                        <a:pt x="83823" y="92075"/>
                        <a:pt x="83823" y="92075"/>
                        <a:pt x="83823" y="92075"/>
                      </a:cubicBezTo>
                      <a:cubicBezTo>
                        <a:pt x="82941" y="94339"/>
                        <a:pt x="82941" y="94339"/>
                        <a:pt x="82941" y="94339"/>
                      </a:cubicBezTo>
                      <a:cubicBezTo>
                        <a:pt x="82941" y="94339"/>
                        <a:pt x="83823" y="95849"/>
                        <a:pt x="82941" y="96603"/>
                      </a:cubicBezTo>
                      <a:cubicBezTo>
                        <a:pt x="82941" y="96603"/>
                        <a:pt x="81176" y="98113"/>
                        <a:pt x="81176" y="98113"/>
                      </a:cubicBezTo>
                      <a:cubicBezTo>
                        <a:pt x="80294" y="99622"/>
                        <a:pt x="80294" y="99622"/>
                        <a:pt x="80294" y="99622"/>
                      </a:cubicBezTo>
                      <a:cubicBezTo>
                        <a:pt x="78529" y="100377"/>
                        <a:pt x="78529" y="100377"/>
                        <a:pt x="78529" y="100377"/>
                      </a:cubicBezTo>
                      <a:cubicBezTo>
                        <a:pt x="78529" y="101886"/>
                        <a:pt x="78529" y="101886"/>
                        <a:pt x="78529" y="101886"/>
                      </a:cubicBezTo>
                      <a:cubicBezTo>
                        <a:pt x="78529" y="101886"/>
                        <a:pt x="78529" y="104150"/>
                        <a:pt x="79411" y="104150"/>
                      </a:cubicBezTo>
                      <a:cubicBezTo>
                        <a:pt x="79411" y="104150"/>
                        <a:pt x="81176" y="102641"/>
                        <a:pt x="81176" y="102641"/>
                      </a:cubicBezTo>
                      <a:cubicBezTo>
                        <a:pt x="81176" y="102641"/>
                        <a:pt x="82941" y="104150"/>
                        <a:pt x="82058" y="104905"/>
                      </a:cubicBezTo>
                      <a:cubicBezTo>
                        <a:pt x="82058" y="104905"/>
                        <a:pt x="78529" y="104905"/>
                        <a:pt x="78529" y="104905"/>
                      </a:cubicBezTo>
                      <a:cubicBezTo>
                        <a:pt x="76764" y="104905"/>
                        <a:pt x="76764" y="104905"/>
                        <a:pt x="76764" y="104905"/>
                      </a:cubicBezTo>
                      <a:cubicBezTo>
                        <a:pt x="76764" y="104905"/>
                        <a:pt x="75882" y="106415"/>
                        <a:pt x="75000" y="106415"/>
                      </a:cubicBezTo>
                      <a:cubicBezTo>
                        <a:pt x="75000" y="107169"/>
                        <a:pt x="75000" y="107924"/>
                        <a:pt x="75000" y="107924"/>
                      </a:cubicBezTo>
                      <a:cubicBezTo>
                        <a:pt x="73235" y="106415"/>
                        <a:pt x="73235" y="106415"/>
                        <a:pt x="73235" y="106415"/>
                      </a:cubicBezTo>
                      <a:cubicBezTo>
                        <a:pt x="72352" y="107169"/>
                        <a:pt x="72352" y="107169"/>
                        <a:pt x="72352" y="107169"/>
                      </a:cubicBezTo>
                      <a:cubicBezTo>
                        <a:pt x="73235" y="108679"/>
                        <a:pt x="73235" y="108679"/>
                        <a:pt x="73235" y="108679"/>
                      </a:cubicBezTo>
                      <a:cubicBezTo>
                        <a:pt x="73235" y="110188"/>
                        <a:pt x="73235" y="110188"/>
                        <a:pt x="73235" y="110188"/>
                      </a:cubicBezTo>
                      <a:cubicBezTo>
                        <a:pt x="73235" y="110188"/>
                        <a:pt x="75000" y="110188"/>
                        <a:pt x="75000" y="110188"/>
                      </a:cubicBezTo>
                      <a:cubicBezTo>
                        <a:pt x="75000" y="110188"/>
                        <a:pt x="76764" y="110943"/>
                        <a:pt x="76764" y="110943"/>
                      </a:cubicBezTo>
                      <a:cubicBezTo>
                        <a:pt x="76764" y="110943"/>
                        <a:pt x="75882" y="111698"/>
                        <a:pt x="76764" y="111698"/>
                      </a:cubicBezTo>
                      <a:cubicBezTo>
                        <a:pt x="76764" y="112452"/>
                        <a:pt x="76764" y="112452"/>
                        <a:pt x="77647" y="112452"/>
                      </a:cubicBezTo>
                      <a:cubicBezTo>
                        <a:pt x="78529" y="113207"/>
                        <a:pt x="78529" y="113207"/>
                        <a:pt x="78529" y="113207"/>
                      </a:cubicBezTo>
                      <a:cubicBezTo>
                        <a:pt x="78529" y="113207"/>
                        <a:pt x="78529" y="114716"/>
                        <a:pt x="78529" y="115471"/>
                      </a:cubicBezTo>
                      <a:cubicBezTo>
                        <a:pt x="77647" y="115471"/>
                        <a:pt x="77647" y="116226"/>
                        <a:pt x="77647" y="116226"/>
                      </a:cubicBezTo>
                      <a:cubicBezTo>
                        <a:pt x="76764" y="116226"/>
                        <a:pt x="76764" y="116226"/>
                        <a:pt x="76764" y="116226"/>
                      </a:cubicBezTo>
                      <a:cubicBezTo>
                        <a:pt x="75882" y="116981"/>
                        <a:pt x="75882" y="117735"/>
                        <a:pt x="75882" y="117735"/>
                      </a:cubicBezTo>
                      <a:cubicBezTo>
                        <a:pt x="75882" y="117735"/>
                        <a:pt x="75000" y="117735"/>
                        <a:pt x="75000" y="117735"/>
                      </a:cubicBezTo>
                      <a:cubicBezTo>
                        <a:pt x="75000" y="118490"/>
                        <a:pt x="75882" y="119245"/>
                        <a:pt x="75882" y="120000"/>
                      </a:cubicBezTo>
                      <a:cubicBezTo>
                        <a:pt x="75882" y="120000"/>
                        <a:pt x="75882" y="120000"/>
                        <a:pt x="75000" y="120000"/>
                      </a:cubicBezTo>
                      <a:cubicBezTo>
                        <a:pt x="75000" y="120000"/>
                        <a:pt x="75000" y="120000"/>
                        <a:pt x="75000" y="120000"/>
                      </a:cubicBezTo>
                      <a:cubicBezTo>
                        <a:pt x="75000" y="120000"/>
                        <a:pt x="73235" y="118490"/>
                        <a:pt x="73235" y="118490"/>
                      </a:cubicBezTo>
                      <a:cubicBezTo>
                        <a:pt x="72352" y="118490"/>
                        <a:pt x="71470" y="119245"/>
                        <a:pt x="69705" y="119245"/>
                      </a:cubicBezTo>
                      <a:cubicBezTo>
                        <a:pt x="68823" y="118490"/>
                        <a:pt x="68823" y="118490"/>
                        <a:pt x="68823" y="118490"/>
                      </a:cubicBezTo>
                      <a:cubicBezTo>
                        <a:pt x="65294" y="119245"/>
                        <a:pt x="65294" y="119245"/>
                        <a:pt x="65294" y="119245"/>
                      </a:cubicBezTo>
                      <a:cubicBezTo>
                        <a:pt x="65294" y="117735"/>
                        <a:pt x="65294" y="117735"/>
                        <a:pt x="65294" y="117735"/>
                      </a:cubicBezTo>
                      <a:cubicBezTo>
                        <a:pt x="64411" y="116226"/>
                        <a:pt x="64411" y="116226"/>
                        <a:pt x="64411" y="116226"/>
                      </a:cubicBezTo>
                      <a:cubicBezTo>
                        <a:pt x="64411" y="116226"/>
                        <a:pt x="64411" y="114716"/>
                        <a:pt x="64411" y="113962"/>
                      </a:cubicBezTo>
                      <a:cubicBezTo>
                        <a:pt x="64411" y="113962"/>
                        <a:pt x="65294" y="113207"/>
                        <a:pt x="65294" y="113207"/>
                      </a:cubicBezTo>
                      <a:cubicBezTo>
                        <a:pt x="66176" y="113207"/>
                        <a:pt x="67058" y="111698"/>
                        <a:pt x="67058" y="111698"/>
                      </a:cubicBezTo>
                      <a:cubicBezTo>
                        <a:pt x="67058" y="111698"/>
                        <a:pt x="67941" y="110188"/>
                        <a:pt x="68823" y="109433"/>
                      </a:cubicBezTo>
                      <a:cubicBezTo>
                        <a:pt x="68823" y="109433"/>
                        <a:pt x="69705" y="107169"/>
                        <a:pt x="69705" y="107169"/>
                      </a:cubicBezTo>
                      <a:cubicBezTo>
                        <a:pt x="69705" y="106415"/>
                        <a:pt x="70588" y="105660"/>
                        <a:pt x="70588" y="105660"/>
                      </a:cubicBezTo>
                      <a:cubicBezTo>
                        <a:pt x="70588" y="105660"/>
                        <a:pt x="72352" y="104150"/>
                        <a:pt x="72352" y="103396"/>
                      </a:cubicBezTo>
                      <a:cubicBezTo>
                        <a:pt x="72352" y="102641"/>
                        <a:pt x="71470" y="102641"/>
                        <a:pt x="70588" y="102641"/>
                      </a:cubicBezTo>
                      <a:cubicBezTo>
                        <a:pt x="70588" y="102641"/>
                        <a:pt x="67941" y="101886"/>
                        <a:pt x="67058" y="101132"/>
                      </a:cubicBezTo>
                      <a:cubicBezTo>
                        <a:pt x="66176" y="101132"/>
                        <a:pt x="64411" y="100377"/>
                        <a:pt x="62647" y="100377"/>
                      </a:cubicBezTo>
                      <a:cubicBezTo>
                        <a:pt x="60882" y="99622"/>
                        <a:pt x="61764" y="99622"/>
                        <a:pt x="62647" y="98113"/>
                      </a:cubicBezTo>
                      <a:cubicBezTo>
                        <a:pt x="62647" y="97358"/>
                        <a:pt x="60882" y="97358"/>
                        <a:pt x="60882" y="96603"/>
                      </a:cubicBezTo>
                      <a:cubicBezTo>
                        <a:pt x="60882" y="96603"/>
                        <a:pt x="60000" y="97358"/>
                        <a:pt x="59117" y="98113"/>
                      </a:cubicBezTo>
                      <a:cubicBezTo>
                        <a:pt x="58235" y="98113"/>
                        <a:pt x="57352" y="97358"/>
                        <a:pt x="56470" y="97358"/>
                      </a:cubicBezTo>
                      <a:cubicBezTo>
                        <a:pt x="56470" y="97358"/>
                        <a:pt x="53823" y="97358"/>
                        <a:pt x="53823" y="97358"/>
                      </a:cubicBezTo>
                      <a:cubicBezTo>
                        <a:pt x="53823" y="97358"/>
                        <a:pt x="53823" y="96603"/>
                        <a:pt x="53823" y="95849"/>
                      </a:cubicBezTo>
                      <a:cubicBezTo>
                        <a:pt x="53823" y="95094"/>
                        <a:pt x="52941" y="95094"/>
                        <a:pt x="52941" y="95094"/>
                      </a:cubicBezTo>
                      <a:cubicBezTo>
                        <a:pt x="52941" y="95094"/>
                        <a:pt x="51176" y="95094"/>
                        <a:pt x="51176" y="94339"/>
                      </a:cubicBezTo>
                      <a:cubicBezTo>
                        <a:pt x="50294" y="94339"/>
                        <a:pt x="51176" y="94339"/>
                        <a:pt x="51176" y="93584"/>
                      </a:cubicBezTo>
                      <a:cubicBezTo>
                        <a:pt x="51176" y="92830"/>
                        <a:pt x="51176" y="93584"/>
                        <a:pt x="50294" y="93584"/>
                      </a:cubicBezTo>
                      <a:cubicBezTo>
                        <a:pt x="49411" y="93584"/>
                        <a:pt x="49411" y="91320"/>
                        <a:pt x="49411" y="91320"/>
                      </a:cubicBezTo>
                      <a:cubicBezTo>
                        <a:pt x="49411" y="91320"/>
                        <a:pt x="48529" y="89811"/>
                        <a:pt x="48529" y="89056"/>
                      </a:cubicBezTo>
                      <a:cubicBezTo>
                        <a:pt x="47647" y="87547"/>
                        <a:pt x="47647" y="89056"/>
                        <a:pt x="47647" y="89056"/>
                      </a:cubicBezTo>
                      <a:cubicBezTo>
                        <a:pt x="45882" y="91320"/>
                        <a:pt x="45882" y="91320"/>
                        <a:pt x="45882" y="91320"/>
                      </a:cubicBezTo>
                      <a:cubicBezTo>
                        <a:pt x="45882" y="91320"/>
                        <a:pt x="45000" y="91320"/>
                        <a:pt x="42352" y="90566"/>
                      </a:cubicBezTo>
                      <a:cubicBezTo>
                        <a:pt x="40588" y="89811"/>
                        <a:pt x="41470" y="89811"/>
                        <a:pt x="41470" y="89811"/>
                      </a:cubicBezTo>
                      <a:cubicBezTo>
                        <a:pt x="43235" y="88301"/>
                        <a:pt x="43235" y="88301"/>
                        <a:pt x="43235" y="88301"/>
                      </a:cubicBezTo>
                      <a:cubicBezTo>
                        <a:pt x="43235" y="88301"/>
                        <a:pt x="41470" y="87547"/>
                        <a:pt x="40588" y="87547"/>
                      </a:cubicBezTo>
                      <a:cubicBezTo>
                        <a:pt x="39705" y="86792"/>
                        <a:pt x="39705" y="86792"/>
                        <a:pt x="38823" y="88301"/>
                      </a:cubicBezTo>
                      <a:cubicBezTo>
                        <a:pt x="37941" y="89056"/>
                        <a:pt x="37941" y="89056"/>
                        <a:pt x="37058" y="89811"/>
                      </a:cubicBezTo>
                      <a:cubicBezTo>
                        <a:pt x="36176" y="90566"/>
                        <a:pt x="36176" y="90566"/>
                        <a:pt x="34411" y="90566"/>
                      </a:cubicBezTo>
                      <a:cubicBezTo>
                        <a:pt x="33529" y="90566"/>
                        <a:pt x="33529" y="89811"/>
                        <a:pt x="32647" y="89811"/>
                      </a:cubicBezTo>
                      <a:cubicBezTo>
                        <a:pt x="32647" y="89056"/>
                        <a:pt x="32647" y="89056"/>
                        <a:pt x="31764" y="88301"/>
                      </a:cubicBezTo>
                      <a:cubicBezTo>
                        <a:pt x="31764" y="87547"/>
                        <a:pt x="30882" y="87547"/>
                        <a:pt x="30882" y="87547"/>
                      </a:cubicBezTo>
                      <a:cubicBezTo>
                        <a:pt x="30882" y="87547"/>
                        <a:pt x="29117" y="88301"/>
                        <a:pt x="29117" y="89056"/>
                      </a:cubicBezTo>
                      <a:cubicBezTo>
                        <a:pt x="28235" y="89056"/>
                        <a:pt x="29117" y="89811"/>
                        <a:pt x="29117" y="90566"/>
                      </a:cubicBezTo>
                      <a:cubicBezTo>
                        <a:pt x="30000" y="91320"/>
                        <a:pt x="29117" y="92075"/>
                        <a:pt x="29117" y="92075"/>
                      </a:cubicBezTo>
                      <a:cubicBezTo>
                        <a:pt x="29117" y="92075"/>
                        <a:pt x="27352" y="92075"/>
                        <a:pt x="26470" y="92075"/>
                      </a:cubicBezTo>
                      <a:cubicBezTo>
                        <a:pt x="25588" y="92075"/>
                        <a:pt x="24705" y="92075"/>
                        <a:pt x="23823" y="91320"/>
                      </a:cubicBezTo>
                      <a:cubicBezTo>
                        <a:pt x="22058" y="90566"/>
                        <a:pt x="22941" y="92075"/>
                        <a:pt x="22941" y="92830"/>
                      </a:cubicBezTo>
                      <a:cubicBezTo>
                        <a:pt x="22941" y="92830"/>
                        <a:pt x="21176" y="94339"/>
                        <a:pt x="21176" y="94339"/>
                      </a:cubicBezTo>
                      <a:cubicBezTo>
                        <a:pt x="21176" y="94339"/>
                        <a:pt x="21176" y="94339"/>
                        <a:pt x="21176" y="94339"/>
                      </a:cubicBezTo>
                      <a:cubicBezTo>
                        <a:pt x="19411" y="94339"/>
                        <a:pt x="17647" y="93584"/>
                        <a:pt x="17647" y="93584"/>
                      </a:cubicBezTo>
                      <a:cubicBezTo>
                        <a:pt x="16764" y="94339"/>
                        <a:pt x="16764" y="94339"/>
                        <a:pt x="16764" y="94339"/>
                      </a:cubicBezTo>
                      <a:cubicBezTo>
                        <a:pt x="14117" y="93584"/>
                        <a:pt x="14117" y="93584"/>
                        <a:pt x="14117" y="93584"/>
                      </a:cubicBezTo>
                      <a:cubicBezTo>
                        <a:pt x="13235" y="93584"/>
                        <a:pt x="13235" y="93584"/>
                        <a:pt x="13235" y="93584"/>
                      </a:cubicBezTo>
                      <a:cubicBezTo>
                        <a:pt x="12352" y="91320"/>
                        <a:pt x="12352" y="91320"/>
                        <a:pt x="12352" y="91320"/>
                      </a:cubicBezTo>
                      <a:cubicBezTo>
                        <a:pt x="11470" y="91320"/>
                        <a:pt x="11470" y="91320"/>
                        <a:pt x="11470" y="91320"/>
                      </a:cubicBezTo>
                      <a:cubicBezTo>
                        <a:pt x="7941" y="89811"/>
                        <a:pt x="7941" y="89811"/>
                        <a:pt x="7941" y="89811"/>
                      </a:cubicBezTo>
                      <a:cubicBezTo>
                        <a:pt x="7058" y="89056"/>
                        <a:pt x="7058" y="89056"/>
                        <a:pt x="7058" y="89056"/>
                      </a:cubicBezTo>
                      <a:cubicBezTo>
                        <a:pt x="5294" y="89811"/>
                        <a:pt x="5294" y="89811"/>
                        <a:pt x="5294" y="89811"/>
                      </a:cubicBezTo>
                      <a:cubicBezTo>
                        <a:pt x="4411" y="90566"/>
                        <a:pt x="4411" y="90566"/>
                        <a:pt x="4411" y="90566"/>
                      </a:cubicBezTo>
                      <a:cubicBezTo>
                        <a:pt x="4411" y="90566"/>
                        <a:pt x="2647" y="91320"/>
                        <a:pt x="1764" y="91320"/>
                      </a:cubicBezTo>
                      <a:cubicBezTo>
                        <a:pt x="1764" y="90566"/>
                        <a:pt x="0" y="87547"/>
                        <a:pt x="0" y="87547"/>
                      </a:cubicBezTo>
                      <a:cubicBezTo>
                        <a:pt x="882" y="85283"/>
                        <a:pt x="882" y="85283"/>
                        <a:pt x="882" y="85283"/>
                      </a:cubicBezTo>
                      <a:cubicBezTo>
                        <a:pt x="882" y="85283"/>
                        <a:pt x="3529" y="84528"/>
                        <a:pt x="3529" y="84528"/>
                      </a:cubicBezTo>
                      <a:cubicBezTo>
                        <a:pt x="3529" y="84528"/>
                        <a:pt x="5294" y="84528"/>
                        <a:pt x="5294" y="84528"/>
                      </a:cubicBezTo>
                      <a:cubicBezTo>
                        <a:pt x="5294" y="84528"/>
                        <a:pt x="6176" y="84528"/>
                        <a:pt x="6176" y="85283"/>
                      </a:cubicBezTo>
                      <a:cubicBezTo>
                        <a:pt x="7058" y="85283"/>
                        <a:pt x="8823" y="86792"/>
                        <a:pt x="9705" y="86792"/>
                      </a:cubicBezTo>
                      <a:cubicBezTo>
                        <a:pt x="9705" y="86792"/>
                        <a:pt x="11470" y="87547"/>
                        <a:pt x="11470" y="87547"/>
                      </a:cubicBezTo>
                      <a:cubicBezTo>
                        <a:pt x="12352" y="87547"/>
                        <a:pt x="14117" y="88301"/>
                        <a:pt x="14117" y="88301"/>
                      </a:cubicBezTo>
                      <a:cubicBezTo>
                        <a:pt x="14117" y="88301"/>
                        <a:pt x="15882" y="88301"/>
                        <a:pt x="15882" y="88301"/>
                      </a:cubicBezTo>
                      <a:cubicBezTo>
                        <a:pt x="15882" y="88301"/>
                        <a:pt x="17647" y="87547"/>
                        <a:pt x="17647" y="87547"/>
                      </a:cubicBezTo>
                      <a:cubicBezTo>
                        <a:pt x="17647" y="87547"/>
                        <a:pt x="17647" y="87547"/>
                        <a:pt x="17647" y="87547"/>
                      </a:cubicBezTo>
                      <a:cubicBezTo>
                        <a:pt x="18529" y="86792"/>
                        <a:pt x="18529" y="86037"/>
                        <a:pt x="18529" y="86037"/>
                      </a:cubicBezTo>
                      <a:cubicBezTo>
                        <a:pt x="18529" y="86037"/>
                        <a:pt x="19411" y="86037"/>
                        <a:pt x="19411" y="86037"/>
                      </a:cubicBezTo>
                      <a:cubicBezTo>
                        <a:pt x="19411" y="86792"/>
                        <a:pt x="20294" y="87547"/>
                        <a:pt x="20294" y="87547"/>
                      </a:cubicBezTo>
                      <a:cubicBezTo>
                        <a:pt x="20294" y="87547"/>
                        <a:pt x="21176" y="88301"/>
                        <a:pt x="21176" y="88301"/>
                      </a:cubicBezTo>
                      <a:cubicBezTo>
                        <a:pt x="22058" y="89056"/>
                        <a:pt x="22941" y="89056"/>
                        <a:pt x="22941" y="89056"/>
                      </a:cubicBezTo>
                      <a:cubicBezTo>
                        <a:pt x="22941" y="89056"/>
                        <a:pt x="23823" y="88301"/>
                        <a:pt x="23823" y="88301"/>
                      </a:cubicBezTo>
                      <a:cubicBezTo>
                        <a:pt x="23823" y="88301"/>
                        <a:pt x="24705" y="89056"/>
                        <a:pt x="24705" y="88301"/>
                      </a:cubicBezTo>
                      <a:cubicBezTo>
                        <a:pt x="24705" y="88301"/>
                        <a:pt x="25588" y="88301"/>
                        <a:pt x="25588" y="88301"/>
                      </a:cubicBezTo>
                      <a:cubicBezTo>
                        <a:pt x="25588" y="88301"/>
                        <a:pt x="26470" y="87547"/>
                        <a:pt x="25588" y="87547"/>
                      </a:cubicBezTo>
                      <a:cubicBezTo>
                        <a:pt x="25588" y="87547"/>
                        <a:pt x="25588" y="86792"/>
                        <a:pt x="25588" y="87547"/>
                      </a:cubicBezTo>
                      <a:cubicBezTo>
                        <a:pt x="24705" y="87547"/>
                        <a:pt x="24705" y="87547"/>
                        <a:pt x="23823" y="87547"/>
                      </a:cubicBezTo>
                      <a:cubicBezTo>
                        <a:pt x="22941" y="87547"/>
                        <a:pt x="21176" y="86792"/>
                        <a:pt x="21176" y="86792"/>
                      </a:cubicBezTo>
                      <a:cubicBezTo>
                        <a:pt x="21176" y="86037"/>
                        <a:pt x="20294" y="86037"/>
                        <a:pt x="20294" y="85283"/>
                      </a:cubicBezTo>
                      <a:cubicBezTo>
                        <a:pt x="19411" y="85283"/>
                        <a:pt x="19411" y="84528"/>
                        <a:pt x="18529" y="84528"/>
                      </a:cubicBezTo>
                      <a:cubicBezTo>
                        <a:pt x="17647" y="84528"/>
                        <a:pt x="17647" y="84528"/>
                        <a:pt x="17647" y="84528"/>
                      </a:cubicBezTo>
                      <a:cubicBezTo>
                        <a:pt x="17647" y="84528"/>
                        <a:pt x="16764" y="85283"/>
                        <a:pt x="16764" y="86037"/>
                      </a:cubicBezTo>
                      <a:cubicBezTo>
                        <a:pt x="16764" y="86037"/>
                        <a:pt x="17647" y="86792"/>
                        <a:pt x="15882" y="86037"/>
                      </a:cubicBezTo>
                      <a:cubicBezTo>
                        <a:pt x="14117" y="86037"/>
                        <a:pt x="12352" y="86037"/>
                        <a:pt x="12352" y="86037"/>
                      </a:cubicBezTo>
                      <a:cubicBezTo>
                        <a:pt x="9705" y="83773"/>
                        <a:pt x="9705" y="83773"/>
                        <a:pt x="9705" y="83773"/>
                      </a:cubicBezTo>
                      <a:cubicBezTo>
                        <a:pt x="9705" y="83773"/>
                        <a:pt x="8823" y="83773"/>
                        <a:pt x="7941" y="83773"/>
                      </a:cubicBezTo>
                      <a:cubicBezTo>
                        <a:pt x="7941" y="83773"/>
                        <a:pt x="6176" y="83018"/>
                        <a:pt x="6176" y="82264"/>
                      </a:cubicBezTo>
                      <a:cubicBezTo>
                        <a:pt x="6176" y="82264"/>
                        <a:pt x="5294" y="81509"/>
                        <a:pt x="5294" y="80754"/>
                      </a:cubicBezTo>
                      <a:cubicBezTo>
                        <a:pt x="5294" y="80754"/>
                        <a:pt x="4411" y="80754"/>
                        <a:pt x="4411" y="80000"/>
                      </a:cubicBezTo>
                      <a:cubicBezTo>
                        <a:pt x="4411" y="80000"/>
                        <a:pt x="3529" y="79245"/>
                        <a:pt x="3529" y="79245"/>
                      </a:cubicBezTo>
                      <a:cubicBezTo>
                        <a:pt x="3529" y="79245"/>
                        <a:pt x="3529" y="78490"/>
                        <a:pt x="4411" y="77735"/>
                      </a:cubicBezTo>
                      <a:cubicBezTo>
                        <a:pt x="6176" y="77735"/>
                        <a:pt x="6176" y="77735"/>
                        <a:pt x="7058" y="77735"/>
                      </a:cubicBezTo>
                      <a:cubicBezTo>
                        <a:pt x="7941" y="77735"/>
                        <a:pt x="7058" y="77735"/>
                        <a:pt x="8823" y="77735"/>
                      </a:cubicBezTo>
                      <a:cubicBezTo>
                        <a:pt x="10588" y="77735"/>
                        <a:pt x="9705" y="77735"/>
                        <a:pt x="10588" y="77735"/>
                      </a:cubicBezTo>
                      <a:cubicBezTo>
                        <a:pt x="11470" y="77735"/>
                        <a:pt x="13235" y="77735"/>
                        <a:pt x="13235" y="77735"/>
                      </a:cubicBezTo>
                      <a:cubicBezTo>
                        <a:pt x="13235" y="77735"/>
                        <a:pt x="11470" y="76981"/>
                        <a:pt x="14117" y="77735"/>
                      </a:cubicBezTo>
                      <a:cubicBezTo>
                        <a:pt x="14117" y="77735"/>
                        <a:pt x="17647" y="78490"/>
                        <a:pt x="16764" y="80000"/>
                      </a:cubicBezTo>
                      <a:cubicBezTo>
                        <a:pt x="16764" y="80000"/>
                        <a:pt x="15882" y="80754"/>
                        <a:pt x="15882" y="80754"/>
                      </a:cubicBezTo>
                      <a:cubicBezTo>
                        <a:pt x="15882" y="80754"/>
                        <a:pt x="17647" y="81509"/>
                        <a:pt x="17647" y="81509"/>
                      </a:cubicBezTo>
                      <a:cubicBezTo>
                        <a:pt x="17647" y="81509"/>
                        <a:pt x="18529" y="80754"/>
                        <a:pt x="18529" y="80754"/>
                      </a:cubicBezTo>
                      <a:cubicBezTo>
                        <a:pt x="19411" y="81509"/>
                        <a:pt x="19411" y="81509"/>
                        <a:pt x="19411" y="81509"/>
                      </a:cubicBezTo>
                      <a:cubicBezTo>
                        <a:pt x="21176" y="83018"/>
                        <a:pt x="21176" y="83018"/>
                        <a:pt x="21176" y="83018"/>
                      </a:cubicBezTo>
                      <a:cubicBezTo>
                        <a:pt x="21176" y="83018"/>
                        <a:pt x="22941" y="83018"/>
                        <a:pt x="22941" y="83018"/>
                      </a:cubicBezTo>
                      <a:cubicBezTo>
                        <a:pt x="22058" y="83773"/>
                        <a:pt x="21176" y="82264"/>
                        <a:pt x="22058" y="83773"/>
                      </a:cubicBezTo>
                      <a:cubicBezTo>
                        <a:pt x="22941" y="85283"/>
                        <a:pt x="23823" y="86037"/>
                        <a:pt x="23823" y="86037"/>
                      </a:cubicBezTo>
                      <a:cubicBezTo>
                        <a:pt x="24705" y="86037"/>
                        <a:pt x="24705" y="86037"/>
                        <a:pt x="24705" y="86037"/>
                      </a:cubicBezTo>
                      <a:cubicBezTo>
                        <a:pt x="24705" y="86037"/>
                        <a:pt x="24705" y="85283"/>
                        <a:pt x="25588" y="85283"/>
                      </a:cubicBezTo>
                      <a:cubicBezTo>
                        <a:pt x="25588" y="86037"/>
                        <a:pt x="27352" y="86037"/>
                        <a:pt x="28235" y="86037"/>
                      </a:cubicBezTo>
                      <a:cubicBezTo>
                        <a:pt x="28235" y="86037"/>
                        <a:pt x="28235" y="85283"/>
                        <a:pt x="27352" y="83773"/>
                      </a:cubicBezTo>
                      <a:cubicBezTo>
                        <a:pt x="26470" y="83018"/>
                        <a:pt x="25588" y="82264"/>
                        <a:pt x="25588" y="82264"/>
                      </a:cubicBezTo>
                      <a:cubicBezTo>
                        <a:pt x="24705" y="82264"/>
                        <a:pt x="25588" y="83018"/>
                        <a:pt x="23823" y="82264"/>
                      </a:cubicBezTo>
                      <a:cubicBezTo>
                        <a:pt x="22058" y="81509"/>
                        <a:pt x="22058" y="82264"/>
                        <a:pt x="21176" y="81509"/>
                      </a:cubicBezTo>
                      <a:cubicBezTo>
                        <a:pt x="20294" y="80000"/>
                        <a:pt x="19411" y="80000"/>
                        <a:pt x="19411" y="79245"/>
                      </a:cubicBezTo>
                      <a:cubicBezTo>
                        <a:pt x="19411" y="79245"/>
                        <a:pt x="20294" y="79245"/>
                        <a:pt x="21176" y="78490"/>
                      </a:cubicBezTo>
                      <a:cubicBezTo>
                        <a:pt x="22058" y="78490"/>
                        <a:pt x="20294" y="77735"/>
                        <a:pt x="22058" y="78490"/>
                      </a:cubicBezTo>
                      <a:cubicBezTo>
                        <a:pt x="24705" y="79245"/>
                        <a:pt x="24705" y="79245"/>
                        <a:pt x="25588" y="79245"/>
                      </a:cubicBezTo>
                      <a:cubicBezTo>
                        <a:pt x="25588" y="79245"/>
                        <a:pt x="27352" y="79245"/>
                        <a:pt x="25588" y="78490"/>
                      </a:cubicBezTo>
                      <a:cubicBezTo>
                        <a:pt x="23823" y="78490"/>
                        <a:pt x="22941" y="77735"/>
                        <a:pt x="22941" y="77735"/>
                      </a:cubicBezTo>
                      <a:cubicBezTo>
                        <a:pt x="21176" y="77735"/>
                        <a:pt x="21176" y="77735"/>
                        <a:pt x="21176" y="77735"/>
                      </a:cubicBezTo>
                      <a:cubicBezTo>
                        <a:pt x="21176" y="77735"/>
                        <a:pt x="21176" y="77735"/>
                        <a:pt x="20294" y="77735"/>
                      </a:cubicBezTo>
                      <a:cubicBezTo>
                        <a:pt x="19411" y="77735"/>
                        <a:pt x="19411" y="78490"/>
                        <a:pt x="19411" y="77735"/>
                      </a:cubicBezTo>
                      <a:cubicBezTo>
                        <a:pt x="18529" y="77735"/>
                        <a:pt x="17647" y="77735"/>
                        <a:pt x="17647" y="76981"/>
                      </a:cubicBezTo>
                      <a:cubicBezTo>
                        <a:pt x="16764" y="76981"/>
                        <a:pt x="15882" y="76226"/>
                        <a:pt x="15882" y="76226"/>
                      </a:cubicBezTo>
                      <a:cubicBezTo>
                        <a:pt x="15882" y="75471"/>
                        <a:pt x="15000" y="74716"/>
                        <a:pt x="15000" y="74716"/>
                      </a:cubicBezTo>
                      <a:cubicBezTo>
                        <a:pt x="15000" y="74716"/>
                        <a:pt x="15000" y="74716"/>
                        <a:pt x="15000" y="74716"/>
                      </a:cubicBezTo>
                      <a:cubicBezTo>
                        <a:pt x="14117" y="74716"/>
                        <a:pt x="13235" y="74716"/>
                        <a:pt x="12352" y="74716"/>
                      </a:cubicBezTo>
                      <a:cubicBezTo>
                        <a:pt x="12352" y="74716"/>
                        <a:pt x="11470" y="74716"/>
                        <a:pt x="11470" y="74716"/>
                      </a:cubicBezTo>
                      <a:cubicBezTo>
                        <a:pt x="11470" y="73962"/>
                        <a:pt x="11470" y="73962"/>
                        <a:pt x="11470" y="73207"/>
                      </a:cubicBezTo>
                      <a:cubicBezTo>
                        <a:pt x="11470" y="73207"/>
                        <a:pt x="11470" y="72452"/>
                        <a:pt x="12352" y="72452"/>
                      </a:cubicBezTo>
                      <a:cubicBezTo>
                        <a:pt x="13235" y="72452"/>
                        <a:pt x="14117" y="72452"/>
                        <a:pt x="15000" y="72452"/>
                      </a:cubicBezTo>
                      <a:cubicBezTo>
                        <a:pt x="15882" y="72452"/>
                        <a:pt x="16764" y="72452"/>
                        <a:pt x="17647" y="72452"/>
                      </a:cubicBezTo>
                      <a:cubicBezTo>
                        <a:pt x="17647" y="72452"/>
                        <a:pt x="18529" y="73207"/>
                        <a:pt x="18529" y="73207"/>
                      </a:cubicBezTo>
                      <a:cubicBezTo>
                        <a:pt x="19411" y="73962"/>
                        <a:pt x="20294" y="73962"/>
                        <a:pt x="20294" y="73962"/>
                      </a:cubicBezTo>
                      <a:cubicBezTo>
                        <a:pt x="20294" y="74716"/>
                        <a:pt x="20294" y="74716"/>
                        <a:pt x="21176" y="74716"/>
                      </a:cubicBezTo>
                      <a:cubicBezTo>
                        <a:pt x="21176" y="75471"/>
                        <a:pt x="22058" y="75471"/>
                        <a:pt x="22058" y="75471"/>
                      </a:cubicBezTo>
                      <a:cubicBezTo>
                        <a:pt x="22941" y="76981"/>
                        <a:pt x="22941" y="76981"/>
                        <a:pt x="22941" y="76981"/>
                      </a:cubicBezTo>
                      <a:cubicBezTo>
                        <a:pt x="22941" y="76981"/>
                        <a:pt x="22941" y="76981"/>
                        <a:pt x="22941" y="76981"/>
                      </a:cubicBezTo>
                      <a:cubicBezTo>
                        <a:pt x="24705" y="77735"/>
                        <a:pt x="24705" y="77735"/>
                        <a:pt x="24705" y="77735"/>
                      </a:cubicBezTo>
                      <a:cubicBezTo>
                        <a:pt x="24705" y="77735"/>
                        <a:pt x="27352" y="78490"/>
                        <a:pt x="27352" y="78490"/>
                      </a:cubicBezTo>
                      <a:cubicBezTo>
                        <a:pt x="27352" y="78490"/>
                        <a:pt x="27352" y="78490"/>
                        <a:pt x="28235" y="78490"/>
                      </a:cubicBezTo>
                      <a:cubicBezTo>
                        <a:pt x="29117" y="78490"/>
                        <a:pt x="29117" y="77735"/>
                        <a:pt x="29117" y="77735"/>
                      </a:cubicBezTo>
                      <a:cubicBezTo>
                        <a:pt x="29117" y="77735"/>
                        <a:pt x="30000" y="77735"/>
                        <a:pt x="30000" y="77735"/>
                      </a:cubicBezTo>
                      <a:cubicBezTo>
                        <a:pt x="30000" y="77735"/>
                        <a:pt x="32647" y="76226"/>
                        <a:pt x="32647" y="76226"/>
                      </a:cubicBezTo>
                      <a:cubicBezTo>
                        <a:pt x="32647" y="76981"/>
                        <a:pt x="33529" y="76981"/>
                        <a:pt x="34411" y="76981"/>
                      </a:cubicBezTo>
                      <a:cubicBezTo>
                        <a:pt x="34411" y="76981"/>
                        <a:pt x="37058" y="78490"/>
                        <a:pt x="37058" y="78490"/>
                      </a:cubicBezTo>
                      <a:cubicBezTo>
                        <a:pt x="37058" y="77735"/>
                        <a:pt x="37058" y="76981"/>
                        <a:pt x="37058" y="76981"/>
                      </a:cubicBezTo>
                      <a:cubicBezTo>
                        <a:pt x="37058" y="76981"/>
                        <a:pt x="37941" y="76226"/>
                        <a:pt x="37941" y="76226"/>
                      </a:cubicBezTo>
                      <a:cubicBezTo>
                        <a:pt x="41470" y="76226"/>
                        <a:pt x="41470" y="76226"/>
                        <a:pt x="41470" y="76226"/>
                      </a:cubicBezTo>
                      <a:cubicBezTo>
                        <a:pt x="41470" y="76226"/>
                        <a:pt x="42352" y="75471"/>
                        <a:pt x="42352" y="75471"/>
                      </a:cubicBezTo>
                      <a:cubicBezTo>
                        <a:pt x="41470" y="75471"/>
                        <a:pt x="40588" y="75471"/>
                        <a:pt x="40588" y="75471"/>
                      </a:cubicBezTo>
                      <a:cubicBezTo>
                        <a:pt x="38823" y="76226"/>
                        <a:pt x="38823" y="76226"/>
                        <a:pt x="38823" y="76226"/>
                      </a:cubicBezTo>
                      <a:cubicBezTo>
                        <a:pt x="37058" y="76226"/>
                        <a:pt x="37058" y="76226"/>
                        <a:pt x="37058" y="76226"/>
                      </a:cubicBezTo>
                      <a:cubicBezTo>
                        <a:pt x="37058" y="76226"/>
                        <a:pt x="36176" y="76981"/>
                        <a:pt x="36176" y="76981"/>
                      </a:cubicBezTo>
                      <a:cubicBezTo>
                        <a:pt x="35294" y="76981"/>
                        <a:pt x="34411" y="76226"/>
                        <a:pt x="34411" y="76226"/>
                      </a:cubicBezTo>
                      <a:cubicBezTo>
                        <a:pt x="33529" y="75471"/>
                        <a:pt x="31764" y="74716"/>
                        <a:pt x="31764" y="74716"/>
                      </a:cubicBezTo>
                      <a:cubicBezTo>
                        <a:pt x="30882" y="74716"/>
                        <a:pt x="31764" y="74716"/>
                        <a:pt x="30000" y="73962"/>
                      </a:cubicBezTo>
                      <a:cubicBezTo>
                        <a:pt x="28235" y="73207"/>
                        <a:pt x="27352" y="72452"/>
                        <a:pt x="27352" y="72452"/>
                      </a:cubicBezTo>
                      <a:cubicBezTo>
                        <a:pt x="26470" y="71698"/>
                        <a:pt x="26470" y="71698"/>
                        <a:pt x="26470" y="71698"/>
                      </a:cubicBezTo>
                      <a:cubicBezTo>
                        <a:pt x="26470" y="71698"/>
                        <a:pt x="26470" y="70943"/>
                        <a:pt x="25588" y="70943"/>
                      </a:cubicBezTo>
                      <a:cubicBezTo>
                        <a:pt x="24705" y="70188"/>
                        <a:pt x="22058" y="69433"/>
                        <a:pt x="22058" y="69433"/>
                      </a:cubicBezTo>
                      <a:cubicBezTo>
                        <a:pt x="22058" y="69433"/>
                        <a:pt x="22058" y="68679"/>
                        <a:pt x="22058" y="68679"/>
                      </a:cubicBezTo>
                      <a:cubicBezTo>
                        <a:pt x="22058" y="68679"/>
                        <a:pt x="22058" y="66415"/>
                        <a:pt x="22058" y="66415"/>
                      </a:cubicBezTo>
                      <a:cubicBezTo>
                        <a:pt x="22058" y="65660"/>
                        <a:pt x="21176" y="64150"/>
                        <a:pt x="21176" y="64150"/>
                      </a:cubicBezTo>
                      <a:cubicBezTo>
                        <a:pt x="21176" y="64150"/>
                        <a:pt x="22941" y="63396"/>
                        <a:pt x="22941" y="63396"/>
                      </a:cubicBezTo>
                      <a:cubicBezTo>
                        <a:pt x="23823" y="63396"/>
                        <a:pt x="24705" y="64150"/>
                        <a:pt x="24705" y="64150"/>
                      </a:cubicBezTo>
                      <a:cubicBezTo>
                        <a:pt x="25588" y="63396"/>
                        <a:pt x="25588" y="63396"/>
                        <a:pt x="25588" y="63396"/>
                      </a:cubicBezTo>
                      <a:cubicBezTo>
                        <a:pt x="32647" y="55094"/>
                        <a:pt x="32647" y="55094"/>
                        <a:pt x="32647" y="55094"/>
                      </a:cubicBezTo>
                      <a:cubicBezTo>
                        <a:pt x="38823" y="47547"/>
                        <a:pt x="38823" y="47547"/>
                        <a:pt x="38823" y="47547"/>
                      </a:cubicBezTo>
                      <a:cubicBezTo>
                        <a:pt x="41470" y="36226"/>
                        <a:pt x="41470" y="36226"/>
                        <a:pt x="41470" y="36226"/>
                      </a:cubicBezTo>
                      <a:cubicBezTo>
                        <a:pt x="43235" y="30943"/>
                        <a:pt x="43235" y="30943"/>
                        <a:pt x="43235" y="30943"/>
                      </a:cubicBezTo>
                      <a:cubicBezTo>
                        <a:pt x="45000" y="26415"/>
                        <a:pt x="45000" y="26415"/>
                        <a:pt x="45000" y="26415"/>
                      </a:cubicBezTo>
                      <a:cubicBezTo>
                        <a:pt x="45000" y="26415"/>
                        <a:pt x="45000" y="25660"/>
                        <a:pt x="45882" y="26415"/>
                      </a:cubicBezTo>
                      <a:cubicBezTo>
                        <a:pt x="45882" y="26415"/>
                        <a:pt x="46764" y="27924"/>
                        <a:pt x="46764" y="27924"/>
                      </a:cubicBezTo>
                      <a:cubicBezTo>
                        <a:pt x="47647" y="28679"/>
                        <a:pt x="47647" y="28679"/>
                        <a:pt x="47647" y="28679"/>
                      </a:cubicBezTo>
                      <a:cubicBezTo>
                        <a:pt x="48529" y="28679"/>
                        <a:pt x="48529" y="28679"/>
                        <a:pt x="48529" y="28679"/>
                      </a:cubicBezTo>
                      <a:cubicBezTo>
                        <a:pt x="48529" y="28679"/>
                        <a:pt x="50294" y="27924"/>
                        <a:pt x="51176" y="27924"/>
                      </a:cubicBezTo>
                      <a:cubicBezTo>
                        <a:pt x="51176" y="27924"/>
                        <a:pt x="54705" y="29433"/>
                        <a:pt x="54705" y="29433"/>
                      </a:cubicBezTo>
                      <a:cubicBezTo>
                        <a:pt x="54705" y="29433"/>
                        <a:pt x="54705" y="30943"/>
                        <a:pt x="54705" y="31698"/>
                      </a:cubicBezTo>
                      <a:cubicBezTo>
                        <a:pt x="54705" y="31698"/>
                        <a:pt x="56470" y="33207"/>
                        <a:pt x="55588" y="33962"/>
                      </a:cubicBezTo>
                      <a:cubicBezTo>
                        <a:pt x="55588" y="33962"/>
                        <a:pt x="54705" y="35471"/>
                        <a:pt x="54705" y="35471"/>
                      </a:cubicBezTo>
                      <a:cubicBezTo>
                        <a:pt x="54705" y="35471"/>
                        <a:pt x="55588" y="36226"/>
                        <a:pt x="55588" y="36226"/>
                      </a:cubicBezTo>
                      <a:cubicBezTo>
                        <a:pt x="56470" y="36226"/>
                        <a:pt x="56470" y="36226"/>
                        <a:pt x="57352" y="36226"/>
                      </a:cubicBezTo>
                      <a:cubicBezTo>
                        <a:pt x="58235" y="36226"/>
                        <a:pt x="59117" y="36981"/>
                        <a:pt x="59117" y="36981"/>
                      </a:cubicBezTo>
                      <a:cubicBezTo>
                        <a:pt x="59117" y="36981"/>
                        <a:pt x="59117" y="37735"/>
                        <a:pt x="59117" y="37735"/>
                      </a:cubicBezTo>
                      <a:cubicBezTo>
                        <a:pt x="59117" y="37735"/>
                        <a:pt x="59117" y="39245"/>
                        <a:pt x="59117" y="39245"/>
                      </a:cubicBezTo>
                      <a:cubicBezTo>
                        <a:pt x="59117" y="40000"/>
                        <a:pt x="57352" y="40000"/>
                        <a:pt x="57352" y="40000"/>
                      </a:cubicBezTo>
                      <a:cubicBezTo>
                        <a:pt x="57352" y="40000"/>
                        <a:pt x="57352" y="40754"/>
                        <a:pt x="57352" y="40754"/>
                      </a:cubicBezTo>
                      <a:cubicBezTo>
                        <a:pt x="56470" y="41509"/>
                        <a:pt x="55588" y="42264"/>
                        <a:pt x="54705" y="42264"/>
                      </a:cubicBezTo>
                      <a:cubicBezTo>
                        <a:pt x="54705" y="42264"/>
                        <a:pt x="52941" y="40754"/>
                        <a:pt x="52941" y="40754"/>
                      </a:cubicBezTo>
                      <a:cubicBezTo>
                        <a:pt x="52941" y="40754"/>
                        <a:pt x="52058" y="41509"/>
                        <a:pt x="52058" y="41509"/>
                      </a:cubicBezTo>
                      <a:cubicBezTo>
                        <a:pt x="52941" y="43018"/>
                        <a:pt x="52941" y="43018"/>
                        <a:pt x="52941" y="43018"/>
                      </a:cubicBezTo>
                      <a:cubicBezTo>
                        <a:pt x="53823" y="45283"/>
                        <a:pt x="53823" y="45283"/>
                        <a:pt x="53823" y="45283"/>
                      </a:cubicBezTo>
                      <a:cubicBezTo>
                        <a:pt x="52941" y="46037"/>
                        <a:pt x="52941" y="46037"/>
                        <a:pt x="52941" y="46037"/>
                      </a:cubicBezTo>
                      <a:cubicBezTo>
                        <a:pt x="53823" y="48301"/>
                        <a:pt x="53823" y="48301"/>
                        <a:pt x="53823" y="48301"/>
                      </a:cubicBezTo>
                      <a:cubicBezTo>
                        <a:pt x="53823" y="49811"/>
                        <a:pt x="53823" y="49811"/>
                        <a:pt x="53823" y="49811"/>
                      </a:cubicBezTo>
                      <a:cubicBezTo>
                        <a:pt x="52058" y="50566"/>
                        <a:pt x="52058" y="50566"/>
                        <a:pt x="52058" y="50566"/>
                      </a:cubicBezTo>
                      <a:cubicBezTo>
                        <a:pt x="52058" y="50566"/>
                        <a:pt x="51176" y="51320"/>
                        <a:pt x="50294" y="51320"/>
                      </a:cubicBezTo>
                      <a:cubicBezTo>
                        <a:pt x="50294" y="51320"/>
                        <a:pt x="49411" y="50566"/>
                        <a:pt x="49411" y="51320"/>
                      </a:cubicBezTo>
                      <a:cubicBezTo>
                        <a:pt x="50294" y="52075"/>
                        <a:pt x="50294" y="52830"/>
                        <a:pt x="51176" y="52830"/>
                      </a:cubicBezTo>
                      <a:cubicBezTo>
                        <a:pt x="52058" y="52830"/>
                        <a:pt x="53823" y="52830"/>
                        <a:pt x="53823" y="52830"/>
                      </a:cubicBezTo>
                      <a:cubicBezTo>
                        <a:pt x="55588" y="55094"/>
                        <a:pt x="55588" y="55094"/>
                        <a:pt x="55588" y="55094"/>
                      </a:cubicBezTo>
                      <a:cubicBezTo>
                        <a:pt x="55588" y="55094"/>
                        <a:pt x="56470" y="55094"/>
                        <a:pt x="57352" y="55094"/>
                      </a:cubicBezTo>
                      <a:cubicBezTo>
                        <a:pt x="57352" y="55094"/>
                        <a:pt x="59117" y="55849"/>
                        <a:pt x="59117" y="55849"/>
                      </a:cubicBezTo>
                      <a:cubicBezTo>
                        <a:pt x="59117" y="55849"/>
                        <a:pt x="59117" y="55849"/>
                        <a:pt x="60000" y="56603"/>
                      </a:cubicBezTo>
                      <a:cubicBezTo>
                        <a:pt x="60882" y="56603"/>
                        <a:pt x="62647" y="57358"/>
                        <a:pt x="62647" y="57358"/>
                      </a:cubicBezTo>
                      <a:cubicBezTo>
                        <a:pt x="62647" y="57358"/>
                        <a:pt x="62647" y="56603"/>
                        <a:pt x="61764" y="56603"/>
                      </a:cubicBezTo>
                      <a:cubicBezTo>
                        <a:pt x="61764" y="56603"/>
                        <a:pt x="60882" y="54339"/>
                        <a:pt x="59117" y="54339"/>
                      </a:cubicBezTo>
                      <a:cubicBezTo>
                        <a:pt x="58235" y="53584"/>
                        <a:pt x="57352" y="53584"/>
                        <a:pt x="56470" y="53584"/>
                      </a:cubicBezTo>
                      <a:cubicBezTo>
                        <a:pt x="55588" y="53584"/>
                        <a:pt x="53823" y="52830"/>
                        <a:pt x="53823" y="52830"/>
                      </a:cubicBezTo>
                      <a:cubicBezTo>
                        <a:pt x="53823" y="52075"/>
                        <a:pt x="52941" y="51320"/>
                        <a:pt x="53823" y="51320"/>
                      </a:cubicBezTo>
                      <a:cubicBezTo>
                        <a:pt x="53823" y="50566"/>
                        <a:pt x="53823" y="49811"/>
                        <a:pt x="55588" y="49811"/>
                      </a:cubicBezTo>
                      <a:cubicBezTo>
                        <a:pt x="56470" y="49811"/>
                        <a:pt x="57352" y="50566"/>
                        <a:pt x="58235" y="49811"/>
                      </a:cubicBezTo>
                      <a:cubicBezTo>
                        <a:pt x="59117" y="49811"/>
                        <a:pt x="60882" y="47547"/>
                        <a:pt x="60882" y="47547"/>
                      </a:cubicBezTo>
                      <a:cubicBezTo>
                        <a:pt x="62647" y="46037"/>
                        <a:pt x="62647" y="46037"/>
                        <a:pt x="62647" y="46037"/>
                      </a:cubicBezTo>
                      <a:cubicBezTo>
                        <a:pt x="65294" y="45283"/>
                        <a:pt x="65294" y="45283"/>
                        <a:pt x="65294" y="45283"/>
                      </a:cubicBezTo>
                      <a:cubicBezTo>
                        <a:pt x="65294" y="45283"/>
                        <a:pt x="68823" y="43773"/>
                        <a:pt x="68823" y="43773"/>
                      </a:cubicBezTo>
                      <a:cubicBezTo>
                        <a:pt x="68823" y="43773"/>
                        <a:pt x="69705" y="43773"/>
                        <a:pt x="70588" y="44528"/>
                      </a:cubicBezTo>
                      <a:cubicBezTo>
                        <a:pt x="71470" y="45283"/>
                        <a:pt x="71470" y="45283"/>
                        <a:pt x="71470" y="45283"/>
                      </a:cubicBezTo>
                      <a:cubicBezTo>
                        <a:pt x="72352" y="45283"/>
                        <a:pt x="74117" y="46037"/>
                        <a:pt x="74117" y="46037"/>
                      </a:cubicBezTo>
                      <a:cubicBezTo>
                        <a:pt x="74117" y="46037"/>
                        <a:pt x="74117" y="46037"/>
                        <a:pt x="75000" y="46792"/>
                      </a:cubicBezTo>
                      <a:cubicBezTo>
                        <a:pt x="75000" y="46792"/>
                        <a:pt x="75882" y="47547"/>
                        <a:pt x="75000" y="49056"/>
                      </a:cubicBezTo>
                      <a:cubicBezTo>
                        <a:pt x="75000" y="49811"/>
                        <a:pt x="75000" y="50566"/>
                        <a:pt x="75000" y="50566"/>
                      </a:cubicBezTo>
                      <a:cubicBezTo>
                        <a:pt x="75000" y="50566"/>
                        <a:pt x="75882" y="49811"/>
                        <a:pt x="75882" y="49056"/>
                      </a:cubicBezTo>
                      <a:cubicBezTo>
                        <a:pt x="75882" y="47547"/>
                        <a:pt x="75882" y="46792"/>
                        <a:pt x="75882" y="46037"/>
                      </a:cubicBezTo>
                      <a:cubicBezTo>
                        <a:pt x="75882" y="45283"/>
                        <a:pt x="75000" y="44528"/>
                        <a:pt x="75000" y="44528"/>
                      </a:cubicBezTo>
                      <a:cubicBezTo>
                        <a:pt x="75000" y="44528"/>
                        <a:pt x="73235" y="45283"/>
                        <a:pt x="71470" y="44528"/>
                      </a:cubicBezTo>
                      <a:cubicBezTo>
                        <a:pt x="70588" y="43773"/>
                        <a:pt x="70588" y="43018"/>
                        <a:pt x="69705" y="43018"/>
                      </a:cubicBezTo>
                      <a:cubicBezTo>
                        <a:pt x="69705" y="43018"/>
                        <a:pt x="68823" y="42264"/>
                        <a:pt x="67941" y="42264"/>
                      </a:cubicBezTo>
                      <a:cubicBezTo>
                        <a:pt x="67941" y="42264"/>
                        <a:pt x="67941" y="41509"/>
                        <a:pt x="67941" y="40754"/>
                      </a:cubicBezTo>
                      <a:cubicBezTo>
                        <a:pt x="67941" y="40000"/>
                        <a:pt x="67941" y="39245"/>
                        <a:pt x="67941" y="38490"/>
                      </a:cubicBezTo>
                      <a:cubicBezTo>
                        <a:pt x="67941" y="38490"/>
                        <a:pt x="67058" y="37735"/>
                        <a:pt x="67941" y="36981"/>
                      </a:cubicBezTo>
                      <a:cubicBezTo>
                        <a:pt x="68823" y="36226"/>
                        <a:pt x="68823" y="36226"/>
                        <a:pt x="69705" y="36226"/>
                      </a:cubicBezTo>
                      <a:cubicBezTo>
                        <a:pt x="69705" y="35471"/>
                        <a:pt x="71470" y="34716"/>
                        <a:pt x="70588" y="34716"/>
                      </a:cubicBezTo>
                      <a:cubicBezTo>
                        <a:pt x="70588" y="33962"/>
                        <a:pt x="69705" y="33962"/>
                        <a:pt x="68823" y="33962"/>
                      </a:cubicBezTo>
                      <a:cubicBezTo>
                        <a:pt x="67941" y="33962"/>
                        <a:pt x="68823" y="34716"/>
                        <a:pt x="67941" y="34716"/>
                      </a:cubicBezTo>
                      <a:cubicBezTo>
                        <a:pt x="66176" y="34716"/>
                        <a:pt x="66176" y="33962"/>
                        <a:pt x="65294" y="33207"/>
                      </a:cubicBezTo>
                      <a:cubicBezTo>
                        <a:pt x="65294" y="32452"/>
                        <a:pt x="65294" y="32452"/>
                        <a:pt x="64411" y="33207"/>
                      </a:cubicBezTo>
                      <a:cubicBezTo>
                        <a:pt x="63529" y="33207"/>
                        <a:pt x="62647" y="32452"/>
                        <a:pt x="62647" y="32452"/>
                      </a:cubicBezTo>
                      <a:cubicBezTo>
                        <a:pt x="62647" y="32452"/>
                        <a:pt x="61764" y="31698"/>
                        <a:pt x="62647" y="30943"/>
                      </a:cubicBezTo>
                      <a:cubicBezTo>
                        <a:pt x="62647" y="30943"/>
                        <a:pt x="63529" y="29433"/>
                        <a:pt x="63529" y="29433"/>
                      </a:cubicBezTo>
                      <a:cubicBezTo>
                        <a:pt x="63529" y="29433"/>
                        <a:pt x="63529" y="27169"/>
                        <a:pt x="63529" y="27169"/>
                      </a:cubicBezTo>
                      <a:cubicBezTo>
                        <a:pt x="63529" y="26415"/>
                        <a:pt x="63529" y="26415"/>
                        <a:pt x="63529" y="26415"/>
                      </a:cubicBezTo>
                      <a:close/>
                      <a:moveTo>
                        <a:pt x="112058" y="754"/>
                      </a:moveTo>
                      <a:cubicBezTo>
                        <a:pt x="112058" y="754"/>
                        <a:pt x="112058" y="754"/>
                        <a:pt x="112058" y="754"/>
                      </a:cubicBezTo>
                      <a:cubicBezTo>
                        <a:pt x="112058" y="754"/>
                        <a:pt x="112058" y="0"/>
                        <a:pt x="112941" y="0"/>
                      </a:cubicBezTo>
                      <a:cubicBezTo>
                        <a:pt x="113823" y="0"/>
                        <a:pt x="113823" y="0"/>
                        <a:pt x="114705" y="0"/>
                      </a:cubicBezTo>
                      <a:cubicBezTo>
                        <a:pt x="114705" y="0"/>
                        <a:pt x="116470" y="0"/>
                        <a:pt x="116470" y="0"/>
                      </a:cubicBezTo>
                      <a:cubicBezTo>
                        <a:pt x="116470" y="0"/>
                        <a:pt x="117352" y="0"/>
                        <a:pt x="118235" y="0"/>
                      </a:cubicBezTo>
                      <a:cubicBezTo>
                        <a:pt x="118235" y="0"/>
                        <a:pt x="119117" y="0"/>
                        <a:pt x="119117" y="0"/>
                      </a:cubicBezTo>
                      <a:cubicBezTo>
                        <a:pt x="120000" y="0"/>
                        <a:pt x="119117" y="754"/>
                        <a:pt x="119117" y="754"/>
                      </a:cubicBezTo>
                      <a:cubicBezTo>
                        <a:pt x="117352" y="754"/>
                        <a:pt x="117352" y="754"/>
                        <a:pt x="117352" y="754"/>
                      </a:cubicBezTo>
                      <a:cubicBezTo>
                        <a:pt x="117352" y="754"/>
                        <a:pt x="116470" y="754"/>
                        <a:pt x="115588" y="754"/>
                      </a:cubicBezTo>
                      <a:cubicBezTo>
                        <a:pt x="115588" y="1509"/>
                        <a:pt x="114705" y="1509"/>
                        <a:pt x="114705" y="1509"/>
                      </a:cubicBezTo>
                      <a:cubicBezTo>
                        <a:pt x="114705" y="1509"/>
                        <a:pt x="113823" y="1509"/>
                        <a:pt x="113823" y="1509"/>
                      </a:cubicBezTo>
                      <a:cubicBezTo>
                        <a:pt x="112941" y="1509"/>
                        <a:pt x="112941" y="754"/>
                        <a:pt x="112941" y="1509"/>
                      </a:cubicBezTo>
                      <a:cubicBezTo>
                        <a:pt x="112058" y="1509"/>
                        <a:pt x="112058" y="754"/>
                        <a:pt x="112058" y="754"/>
                      </a:cubicBezTo>
                      <a:close/>
                      <a:moveTo>
                        <a:pt x="104117" y="4528"/>
                      </a:moveTo>
                      <a:cubicBezTo>
                        <a:pt x="104117" y="4528"/>
                        <a:pt x="104117" y="4528"/>
                        <a:pt x="104117" y="4528"/>
                      </a:cubicBezTo>
                      <a:cubicBezTo>
                        <a:pt x="104117" y="4528"/>
                        <a:pt x="104117" y="3773"/>
                        <a:pt x="105000" y="3773"/>
                      </a:cubicBezTo>
                      <a:cubicBezTo>
                        <a:pt x="105000" y="3773"/>
                        <a:pt x="105000" y="3018"/>
                        <a:pt x="105882" y="3773"/>
                      </a:cubicBezTo>
                      <a:cubicBezTo>
                        <a:pt x="105882" y="3773"/>
                        <a:pt x="105882" y="5283"/>
                        <a:pt x="105882" y="5283"/>
                      </a:cubicBezTo>
                      <a:cubicBezTo>
                        <a:pt x="105000" y="5283"/>
                        <a:pt x="105000" y="5283"/>
                        <a:pt x="104117" y="5283"/>
                      </a:cubicBezTo>
                      <a:cubicBezTo>
                        <a:pt x="104117" y="5283"/>
                        <a:pt x="104117" y="4528"/>
                        <a:pt x="104117" y="4528"/>
                      </a:cubicBezTo>
                      <a:close/>
                      <a:moveTo>
                        <a:pt x="98823" y="6792"/>
                      </a:moveTo>
                      <a:cubicBezTo>
                        <a:pt x="98823" y="6792"/>
                        <a:pt x="98823" y="6792"/>
                        <a:pt x="98823" y="6792"/>
                      </a:cubicBezTo>
                      <a:cubicBezTo>
                        <a:pt x="98823" y="6792"/>
                        <a:pt x="97941" y="6037"/>
                        <a:pt x="97941" y="6037"/>
                      </a:cubicBezTo>
                      <a:cubicBezTo>
                        <a:pt x="97941" y="6037"/>
                        <a:pt x="97941" y="5283"/>
                        <a:pt x="98823" y="5283"/>
                      </a:cubicBezTo>
                      <a:cubicBezTo>
                        <a:pt x="98823" y="5283"/>
                        <a:pt x="99705" y="5283"/>
                        <a:pt x="99705" y="5283"/>
                      </a:cubicBezTo>
                      <a:cubicBezTo>
                        <a:pt x="100588" y="5283"/>
                        <a:pt x="100588" y="5283"/>
                        <a:pt x="100588" y="5283"/>
                      </a:cubicBezTo>
                      <a:cubicBezTo>
                        <a:pt x="100588" y="5283"/>
                        <a:pt x="101470" y="4528"/>
                        <a:pt x="101470" y="4528"/>
                      </a:cubicBezTo>
                      <a:cubicBezTo>
                        <a:pt x="101470" y="4528"/>
                        <a:pt x="102352" y="6037"/>
                        <a:pt x="102352" y="6037"/>
                      </a:cubicBezTo>
                      <a:cubicBezTo>
                        <a:pt x="102352" y="6037"/>
                        <a:pt x="102352" y="6037"/>
                        <a:pt x="101470" y="6037"/>
                      </a:cubicBezTo>
                      <a:cubicBezTo>
                        <a:pt x="101470" y="6037"/>
                        <a:pt x="100588" y="6792"/>
                        <a:pt x="100588" y="6792"/>
                      </a:cubicBezTo>
                      <a:cubicBezTo>
                        <a:pt x="99705" y="7547"/>
                        <a:pt x="99705" y="7547"/>
                        <a:pt x="99705" y="7547"/>
                      </a:cubicBezTo>
                      <a:cubicBezTo>
                        <a:pt x="98823" y="6792"/>
                        <a:pt x="98823" y="6792"/>
                        <a:pt x="98823" y="6792"/>
                      </a:cubicBezTo>
                      <a:close/>
                      <a:moveTo>
                        <a:pt x="95294" y="9056"/>
                      </a:moveTo>
                      <a:cubicBezTo>
                        <a:pt x="95294" y="9056"/>
                        <a:pt x="95294" y="9056"/>
                        <a:pt x="95294" y="9056"/>
                      </a:cubicBezTo>
                      <a:cubicBezTo>
                        <a:pt x="95294" y="8301"/>
                        <a:pt x="94411" y="8301"/>
                        <a:pt x="94411" y="8301"/>
                      </a:cubicBezTo>
                      <a:cubicBezTo>
                        <a:pt x="94411" y="8301"/>
                        <a:pt x="93529" y="7547"/>
                        <a:pt x="93529" y="7547"/>
                      </a:cubicBezTo>
                      <a:cubicBezTo>
                        <a:pt x="93529" y="7547"/>
                        <a:pt x="93529" y="6792"/>
                        <a:pt x="94411" y="6792"/>
                      </a:cubicBezTo>
                      <a:cubicBezTo>
                        <a:pt x="94411" y="6792"/>
                        <a:pt x="94411" y="6792"/>
                        <a:pt x="94411" y="7547"/>
                      </a:cubicBezTo>
                      <a:cubicBezTo>
                        <a:pt x="95294" y="7547"/>
                        <a:pt x="95294" y="8301"/>
                        <a:pt x="95294" y="8301"/>
                      </a:cubicBezTo>
                      <a:cubicBezTo>
                        <a:pt x="95294" y="9056"/>
                        <a:pt x="95294" y="9056"/>
                        <a:pt x="95294" y="9056"/>
                      </a:cubicBezTo>
                      <a:close/>
                      <a:moveTo>
                        <a:pt x="84705" y="9056"/>
                      </a:moveTo>
                      <a:cubicBezTo>
                        <a:pt x="84705" y="9056"/>
                        <a:pt x="84705" y="9056"/>
                        <a:pt x="84705" y="9056"/>
                      </a:cubicBezTo>
                      <a:cubicBezTo>
                        <a:pt x="84705" y="9056"/>
                        <a:pt x="84705" y="9056"/>
                        <a:pt x="85588" y="9056"/>
                      </a:cubicBezTo>
                      <a:cubicBezTo>
                        <a:pt x="86470" y="8301"/>
                        <a:pt x="86470" y="7547"/>
                        <a:pt x="87352" y="8301"/>
                      </a:cubicBezTo>
                      <a:cubicBezTo>
                        <a:pt x="88235" y="8301"/>
                        <a:pt x="90000" y="9056"/>
                        <a:pt x="90000" y="9056"/>
                      </a:cubicBezTo>
                      <a:cubicBezTo>
                        <a:pt x="90000" y="9056"/>
                        <a:pt x="90000" y="8301"/>
                        <a:pt x="90000" y="8301"/>
                      </a:cubicBezTo>
                      <a:cubicBezTo>
                        <a:pt x="90882" y="8301"/>
                        <a:pt x="90882" y="9056"/>
                        <a:pt x="90882" y="9056"/>
                      </a:cubicBezTo>
                      <a:cubicBezTo>
                        <a:pt x="90882" y="9056"/>
                        <a:pt x="90000" y="9056"/>
                        <a:pt x="90000" y="9056"/>
                      </a:cubicBezTo>
                      <a:cubicBezTo>
                        <a:pt x="89117" y="9811"/>
                        <a:pt x="89117" y="9811"/>
                        <a:pt x="88235" y="9811"/>
                      </a:cubicBezTo>
                      <a:cubicBezTo>
                        <a:pt x="87352" y="9811"/>
                        <a:pt x="87352" y="9056"/>
                        <a:pt x="86470" y="9811"/>
                      </a:cubicBezTo>
                      <a:cubicBezTo>
                        <a:pt x="86470" y="9811"/>
                        <a:pt x="86470" y="10566"/>
                        <a:pt x="85588" y="10566"/>
                      </a:cubicBezTo>
                      <a:cubicBezTo>
                        <a:pt x="85588" y="10566"/>
                        <a:pt x="84705" y="10566"/>
                        <a:pt x="84705" y="10566"/>
                      </a:cubicBezTo>
                      <a:cubicBezTo>
                        <a:pt x="84705" y="9811"/>
                        <a:pt x="84705" y="9056"/>
                        <a:pt x="84705" y="9056"/>
                      </a:cubicBezTo>
                      <a:close/>
                      <a:moveTo>
                        <a:pt x="82058" y="9811"/>
                      </a:moveTo>
                      <a:cubicBezTo>
                        <a:pt x="82058" y="9811"/>
                        <a:pt x="82058" y="9811"/>
                        <a:pt x="82058" y="9811"/>
                      </a:cubicBezTo>
                      <a:cubicBezTo>
                        <a:pt x="82058" y="9811"/>
                        <a:pt x="82058" y="9056"/>
                        <a:pt x="82941" y="9811"/>
                      </a:cubicBezTo>
                      <a:cubicBezTo>
                        <a:pt x="82941" y="9811"/>
                        <a:pt x="82941" y="9056"/>
                        <a:pt x="82941" y="9811"/>
                      </a:cubicBezTo>
                      <a:cubicBezTo>
                        <a:pt x="83823" y="10566"/>
                        <a:pt x="83823" y="11320"/>
                        <a:pt x="82941" y="11320"/>
                      </a:cubicBezTo>
                      <a:cubicBezTo>
                        <a:pt x="82058" y="10566"/>
                        <a:pt x="82058" y="9811"/>
                        <a:pt x="82058" y="9811"/>
                      </a:cubicBezTo>
                      <a:close/>
                      <a:moveTo>
                        <a:pt x="71470" y="9811"/>
                      </a:moveTo>
                      <a:cubicBezTo>
                        <a:pt x="71470" y="9811"/>
                        <a:pt x="71470" y="9811"/>
                        <a:pt x="71470" y="9811"/>
                      </a:cubicBezTo>
                      <a:cubicBezTo>
                        <a:pt x="71470" y="9811"/>
                        <a:pt x="71470" y="9056"/>
                        <a:pt x="72352" y="9056"/>
                      </a:cubicBezTo>
                      <a:cubicBezTo>
                        <a:pt x="72352" y="9056"/>
                        <a:pt x="72352" y="9056"/>
                        <a:pt x="73235" y="9056"/>
                      </a:cubicBezTo>
                      <a:cubicBezTo>
                        <a:pt x="73235" y="9811"/>
                        <a:pt x="74117" y="9811"/>
                        <a:pt x="74117" y="9811"/>
                      </a:cubicBezTo>
                      <a:cubicBezTo>
                        <a:pt x="75000" y="9811"/>
                        <a:pt x="75000" y="9811"/>
                        <a:pt x="75000" y="9811"/>
                      </a:cubicBezTo>
                      <a:cubicBezTo>
                        <a:pt x="75882" y="9811"/>
                        <a:pt x="75882" y="9056"/>
                        <a:pt x="76764" y="9811"/>
                      </a:cubicBezTo>
                      <a:cubicBezTo>
                        <a:pt x="77647" y="9811"/>
                        <a:pt x="77647" y="9811"/>
                        <a:pt x="78529" y="9811"/>
                      </a:cubicBezTo>
                      <a:cubicBezTo>
                        <a:pt x="78529" y="9811"/>
                        <a:pt x="80294" y="9811"/>
                        <a:pt x="80294" y="9811"/>
                      </a:cubicBezTo>
                      <a:cubicBezTo>
                        <a:pt x="80294" y="9811"/>
                        <a:pt x="80294" y="10566"/>
                        <a:pt x="80294" y="10566"/>
                      </a:cubicBezTo>
                      <a:cubicBezTo>
                        <a:pt x="79411" y="10566"/>
                        <a:pt x="79411" y="10566"/>
                        <a:pt x="78529" y="10566"/>
                      </a:cubicBezTo>
                      <a:cubicBezTo>
                        <a:pt x="78529" y="10566"/>
                        <a:pt x="79411" y="10566"/>
                        <a:pt x="77647" y="10566"/>
                      </a:cubicBezTo>
                      <a:cubicBezTo>
                        <a:pt x="76764" y="10566"/>
                        <a:pt x="76764" y="10566"/>
                        <a:pt x="75882" y="10566"/>
                      </a:cubicBezTo>
                      <a:cubicBezTo>
                        <a:pt x="75882" y="10566"/>
                        <a:pt x="75882" y="10566"/>
                        <a:pt x="75000" y="10566"/>
                      </a:cubicBezTo>
                      <a:cubicBezTo>
                        <a:pt x="75000" y="10566"/>
                        <a:pt x="75000" y="10566"/>
                        <a:pt x="75000" y="10566"/>
                      </a:cubicBezTo>
                      <a:cubicBezTo>
                        <a:pt x="74117" y="10566"/>
                        <a:pt x="76764" y="9811"/>
                        <a:pt x="74117" y="10566"/>
                      </a:cubicBezTo>
                      <a:cubicBezTo>
                        <a:pt x="71470" y="11320"/>
                        <a:pt x="71470" y="11320"/>
                        <a:pt x="71470" y="11320"/>
                      </a:cubicBezTo>
                      <a:cubicBezTo>
                        <a:pt x="71470" y="11320"/>
                        <a:pt x="71470" y="10566"/>
                        <a:pt x="71470" y="10566"/>
                      </a:cubicBezTo>
                      <a:cubicBezTo>
                        <a:pt x="71470" y="10566"/>
                        <a:pt x="71470" y="9811"/>
                        <a:pt x="71470" y="9811"/>
                      </a:cubicBezTo>
                      <a:close/>
                      <a:moveTo>
                        <a:pt x="60000" y="12075"/>
                      </a:moveTo>
                      <a:cubicBezTo>
                        <a:pt x="60000" y="12075"/>
                        <a:pt x="60000" y="12075"/>
                        <a:pt x="60000" y="12075"/>
                      </a:cubicBezTo>
                      <a:cubicBezTo>
                        <a:pt x="60882" y="12075"/>
                        <a:pt x="60882" y="12075"/>
                        <a:pt x="60882" y="12075"/>
                      </a:cubicBezTo>
                      <a:cubicBezTo>
                        <a:pt x="60882" y="12075"/>
                        <a:pt x="62647" y="12075"/>
                        <a:pt x="62647" y="11320"/>
                      </a:cubicBezTo>
                      <a:cubicBezTo>
                        <a:pt x="63529" y="11320"/>
                        <a:pt x="63529" y="11320"/>
                        <a:pt x="63529" y="11320"/>
                      </a:cubicBezTo>
                      <a:cubicBezTo>
                        <a:pt x="63529" y="11320"/>
                        <a:pt x="65294" y="10566"/>
                        <a:pt x="65294" y="10566"/>
                      </a:cubicBezTo>
                      <a:cubicBezTo>
                        <a:pt x="66176" y="10566"/>
                        <a:pt x="67058" y="9811"/>
                        <a:pt x="67058" y="9811"/>
                      </a:cubicBezTo>
                      <a:cubicBezTo>
                        <a:pt x="67058" y="9811"/>
                        <a:pt x="68823" y="10566"/>
                        <a:pt x="68823" y="10566"/>
                      </a:cubicBezTo>
                      <a:cubicBezTo>
                        <a:pt x="69705" y="10566"/>
                        <a:pt x="69705" y="9811"/>
                        <a:pt x="69705" y="9811"/>
                      </a:cubicBezTo>
                      <a:cubicBezTo>
                        <a:pt x="67941" y="9056"/>
                        <a:pt x="67941" y="9056"/>
                        <a:pt x="67941" y="9056"/>
                      </a:cubicBezTo>
                      <a:cubicBezTo>
                        <a:pt x="64411" y="9811"/>
                        <a:pt x="64411" y="9811"/>
                        <a:pt x="64411" y="9811"/>
                      </a:cubicBezTo>
                      <a:cubicBezTo>
                        <a:pt x="64411" y="9811"/>
                        <a:pt x="61764" y="10566"/>
                        <a:pt x="60882" y="10566"/>
                      </a:cubicBezTo>
                      <a:cubicBezTo>
                        <a:pt x="60000" y="9811"/>
                        <a:pt x="59117" y="10566"/>
                        <a:pt x="59117" y="10566"/>
                      </a:cubicBezTo>
                      <a:cubicBezTo>
                        <a:pt x="58235" y="11320"/>
                        <a:pt x="58235" y="11320"/>
                        <a:pt x="58235" y="11320"/>
                      </a:cubicBezTo>
                      <a:cubicBezTo>
                        <a:pt x="58235" y="11320"/>
                        <a:pt x="59117" y="12075"/>
                        <a:pt x="59117" y="12075"/>
                      </a:cubicBezTo>
                      <a:cubicBezTo>
                        <a:pt x="59117" y="12830"/>
                        <a:pt x="60000" y="12075"/>
                        <a:pt x="60000" y="12075"/>
                      </a:cubicBezTo>
                      <a:close/>
                      <a:moveTo>
                        <a:pt x="49411" y="16603"/>
                      </a:moveTo>
                      <a:cubicBezTo>
                        <a:pt x="49411" y="16603"/>
                        <a:pt x="49411" y="16603"/>
                        <a:pt x="49411" y="16603"/>
                      </a:cubicBezTo>
                      <a:cubicBezTo>
                        <a:pt x="49411" y="16603"/>
                        <a:pt x="49411" y="16603"/>
                        <a:pt x="49411" y="16603"/>
                      </a:cubicBezTo>
                      <a:cubicBezTo>
                        <a:pt x="50294" y="17358"/>
                        <a:pt x="50294" y="17358"/>
                        <a:pt x="50294" y="17358"/>
                      </a:cubicBezTo>
                      <a:cubicBezTo>
                        <a:pt x="50294" y="17358"/>
                        <a:pt x="51176" y="16603"/>
                        <a:pt x="51176" y="16603"/>
                      </a:cubicBezTo>
                      <a:cubicBezTo>
                        <a:pt x="51176" y="15849"/>
                        <a:pt x="52058" y="15849"/>
                        <a:pt x="52058" y="15849"/>
                      </a:cubicBezTo>
                      <a:cubicBezTo>
                        <a:pt x="52058" y="15849"/>
                        <a:pt x="52941" y="15094"/>
                        <a:pt x="53823" y="15094"/>
                      </a:cubicBezTo>
                      <a:cubicBezTo>
                        <a:pt x="53823" y="15094"/>
                        <a:pt x="55588" y="14339"/>
                        <a:pt x="55588" y="14339"/>
                      </a:cubicBezTo>
                      <a:cubicBezTo>
                        <a:pt x="55588" y="13584"/>
                        <a:pt x="55588" y="13584"/>
                        <a:pt x="55588" y="13584"/>
                      </a:cubicBezTo>
                      <a:cubicBezTo>
                        <a:pt x="55588" y="13584"/>
                        <a:pt x="52941" y="13584"/>
                        <a:pt x="52941" y="13584"/>
                      </a:cubicBezTo>
                      <a:cubicBezTo>
                        <a:pt x="52941" y="13584"/>
                        <a:pt x="51176" y="15094"/>
                        <a:pt x="51176" y="15094"/>
                      </a:cubicBezTo>
                      <a:cubicBezTo>
                        <a:pt x="51176" y="15094"/>
                        <a:pt x="49411" y="16603"/>
                        <a:pt x="49411" y="16603"/>
                      </a:cubicBezTo>
                      <a:close/>
                      <a:moveTo>
                        <a:pt x="48529" y="24150"/>
                      </a:moveTo>
                      <a:cubicBezTo>
                        <a:pt x="48529" y="24150"/>
                        <a:pt x="48529" y="24150"/>
                        <a:pt x="48529" y="24150"/>
                      </a:cubicBezTo>
                      <a:cubicBezTo>
                        <a:pt x="48529" y="24150"/>
                        <a:pt x="50294" y="22641"/>
                        <a:pt x="50294" y="21886"/>
                      </a:cubicBezTo>
                      <a:cubicBezTo>
                        <a:pt x="50294" y="21886"/>
                        <a:pt x="50294" y="20377"/>
                        <a:pt x="50294" y="20377"/>
                      </a:cubicBezTo>
                      <a:cubicBezTo>
                        <a:pt x="50294" y="18867"/>
                        <a:pt x="50294" y="18867"/>
                        <a:pt x="50294" y="18867"/>
                      </a:cubicBezTo>
                      <a:cubicBezTo>
                        <a:pt x="48529" y="17358"/>
                        <a:pt x="48529" y="17358"/>
                        <a:pt x="48529" y="17358"/>
                      </a:cubicBezTo>
                      <a:cubicBezTo>
                        <a:pt x="48529" y="17358"/>
                        <a:pt x="47647" y="18867"/>
                        <a:pt x="47647" y="18867"/>
                      </a:cubicBezTo>
                      <a:cubicBezTo>
                        <a:pt x="47647" y="19622"/>
                        <a:pt x="46764" y="19622"/>
                        <a:pt x="45882" y="20377"/>
                      </a:cubicBezTo>
                      <a:cubicBezTo>
                        <a:pt x="45000" y="21132"/>
                        <a:pt x="45000" y="21886"/>
                        <a:pt x="45000" y="22641"/>
                      </a:cubicBezTo>
                      <a:cubicBezTo>
                        <a:pt x="45000" y="22641"/>
                        <a:pt x="44117" y="23396"/>
                        <a:pt x="44117" y="24150"/>
                      </a:cubicBezTo>
                      <a:cubicBezTo>
                        <a:pt x="44117" y="24905"/>
                        <a:pt x="45000" y="24905"/>
                        <a:pt x="45882" y="24905"/>
                      </a:cubicBezTo>
                      <a:cubicBezTo>
                        <a:pt x="46764" y="24905"/>
                        <a:pt x="45882" y="24905"/>
                        <a:pt x="45882" y="24905"/>
                      </a:cubicBezTo>
                      <a:cubicBezTo>
                        <a:pt x="48529" y="24150"/>
                        <a:pt x="48529" y="24150"/>
                        <a:pt x="48529" y="24150"/>
                      </a:cubicBezTo>
                      <a:close/>
                      <a:moveTo>
                        <a:pt x="18529" y="70943"/>
                      </a:moveTo>
                      <a:cubicBezTo>
                        <a:pt x="18529" y="70943"/>
                        <a:pt x="18529" y="70943"/>
                        <a:pt x="18529" y="70943"/>
                      </a:cubicBezTo>
                      <a:cubicBezTo>
                        <a:pt x="18529" y="70943"/>
                        <a:pt x="18529" y="70943"/>
                        <a:pt x="19411" y="70943"/>
                      </a:cubicBezTo>
                      <a:cubicBezTo>
                        <a:pt x="19411" y="70943"/>
                        <a:pt x="19411" y="70188"/>
                        <a:pt x="19411" y="70188"/>
                      </a:cubicBezTo>
                      <a:cubicBezTo>
                        <a:pt x="20294" y="70188"/>
                        <a:pt x="20294" y="70943"/>
                        <a:pt x="20294" y="70943"/>
                      </a:cubicBezTo>
                      <a:cubicBezTo>
                        <a:pt x="21176" y="70943"/>
                        <a:pt x="21176" y="71698"/>
                        <a:pt x="21176" y="71698"/>
                      </a:cubicBezTo>
                      <a:cubicBezTo>
                        <a:pt x="22058" y="73207"/>
                        <a:pt x="22058" y="73207"/>
                        <a:pt x="22058" y="73207"/>
                      </a:cubicBezTo>
                      <a:cubicBezTo>
                        <a:pt x="22058" y="73207"/>
                        <a:pt x="22058" y="73962"/>
                        <a:pt x="22058" y="73962"/>
                      </a:cubicBezTo>
                      <a:cubicBezTo>
                        <a:pt x="22058" y="74716"/>
                        <a:pt x="22058" y="74716"/>
                        <a:pt x="22058" y="74716"/>
                      </a:cubicBezTo>
                      <a:cubicBezTo>
                        <a:pt x="22058" y="74716"/>
                        <a:pt x="22941" y="74716"/>
                        <a:pt x="23823" y="74716"/>
                      </a:cubicBezTo>
                      <a:cubicBezTo>
                        <a:pt x="23823" y="74716"/>
                        <a:pt x="23823" y="75471"/>
                        <a:pt x="24705" y="75471"/>
                      </a:cubicBezTo>
                      <a:cubicBezTo>
                        <a:pt x="25588" y="76226"/>
                        <a:pt x="25588" y="76226"/>
                        <a:pt x="25588" y="76226"/>
                      </a:cubicBezTo>
                      <a:cubicBezTo>
                        <a:pt x="26470" y="76981"/>
                        <a:pt x="26470" y="76981"/>
                        <a:pt x="27352" y="77735"/>
                      </a:cubicBezTo>
                      <a:cubicBezTo>
                        <a:pt x="28235" y="77735"/>
                        <a:pt x="28235" y="77735"/>
                        <a:pt x="29117" y="77735"/>
                      </a:cubicBezTo>
                      <a:cubicBezTo>
                        <a:pt x="29117" y="76981"/>
                        <a:pt x="29117" y="76981"/>
                        <a:pt x="30000" y="76981"/>
                      </a:cubicBezTo>
                      <a:cubicBezTo>
                        <a:pt x="30000" y="76981"/>
                        <a:pt x="30000" y="76981"/>
                        <a:pt x="30882" y="76981"/>
                      </a:cubicBezTo>
                      <a:cubicBezTo>
                        <a:pt x="30882" y="76226"/>
                        <a:pt x="30000" y="76226"/>
                        <a:pt x="30000" y="76226"/>
                      </a:cubicBezTo>
                      <a:cubicBezTo>
                        <a:pt x="30000" y="76226"/>
                        <a:pt x="29117" y="75471"/>
                        <a:pt x="28235" y="74716"/>
                      </a:cubicBezTo>
                      <a:cubicBezTo>
                        <a:pt x="28235" y="74716"/>
                        <a:pt x="28235" y="74716"/>
                        <a:pt x="28235" y="73962"/>
                      </a:cubicBezTo>
                      <a:cubicBezTo>
                        <a:pt x="28235" y="73962"/>
                        <a:pt x="28235" y="73962"/>
                        <a:pt x="27352" y="73207"/>
                      </a:cubicBezTo>
                      <a:cubicBezTo>
                        <a:pt x="26470" y="73207"/>
                        <a:pt x="26470" y="73207"/>
                        <a:pt x="26470" y="73207"/>
                      </a:cubicBezTo>
                      <a:cubicBezTo>
                        <a:pt x="25588" y="72452"/>
                        <a:pt x="25588" y="71698"/>
                        <a:pt x="25588" y="71698"/>
                      </a:cubicBezTo>
                      <a:cubicBezTo>
                        <a:pt x="25588" y="71698"/>
                        <a:pt x="23823" y="71698"/>
                        <a:pt x="23823" y="70943"/>
                      </a:cubicBezTo>
                      <a:cubicBezTo>
                        <a:pt x="23823" y="70943"/>
                        <a:pt x="22941" y="70943"/>
                        <a:pt x="22941" y="70943"/>
                      </a:cubicBezTo>
                      <a:cubicBezTo>
                        <a:pt x="22941" y="70943"/>
                        <a:pt x="21176" y="70188"/>
                        <a:pt x="21176" y="69433"/>
                      </a:cubicBezTo>
                      <a:cubicBezTo>
                        <a:pt x="21176" y="69433"/>
                        <a:pt x="21176" y="68679"/>
                        <a:pt x="21176" y="68679"/>
                      </a:cubicBezTo>
                      <a:cubicBezTo>
                        <a:pt x="21176" y="68679"/>
                        <a:pt x="20294" y="68679"/>
                        <a:pt x="19411" y="68679"/>
                      </a:cubicBezTo>
                      <a:cubicBezTo>
                        <a:pt x="18529" y="69433"/>
                        <a:pt x="17647" y="69433"/>
                        <a:pt x="17647" y="69433"/>
                      </a:cubicBezTo>
                      <a:cubicBezTo>
                        <a:pt x="16764" y="69433"/>
                        <a:pt x="16764" y="70188"/>
                        <a:pt x="16764" y="70188"/>
                      </a:cubicBezTo>
                      <a:cubicBezTo>
                        <a:pt x="16764" y="70188"/>
                        <a:pt x="16764" y="70943"/>
                        <a:pt x="17647" y="70943"/>
                      </a:cubicBezTo>
                      <a:cubicBezTo>
                        <a:pt x="17647" y="71698"/>
                        <a:pt x="18529" y="70943"/>
                        <a:pt x="18529" y="70943"/>
                      </a:cubicBezTo>
                      <a:close/>
                      <a:moveTo>
                        <a:pt x="62647" y="56603"/>
                      </a:moveTo>
                      <a:cubicBezTo>
                        <a:pt x="62647" y="56603"/>
                        <a:pt x="62647" y="56603"/>
                        <a:pt x="62647" y="56603"/>
                      </a:cubicBezTo>
                      <a:cubicBezTo>
                        <a:pt x="62647" y="57358"/>
                        <a:pt x="62647" y="57358"/>
                        <a:pt x="62647" y="57358"/>
                      </a:cubicBezTo>
                      <a:cubicBezTo>
                        <a:pt x="62647" y="57358"/>
                        <a:pt x="62647" y="57358"/>
                        <a:pt x="63529" y="57358"/>
                      </a:cubicBezTo>
                      <a:cubicBezTo>
                        <a:pt x="63529" y="56603"/>
                        <a:pt x="63529" y="57358"/>
                        <a:pt x="64411" y="57358"/>
                      </a:cubicBezTo>
                      <a:cubicBezTo>
                        <a:pt x="64411" y="57358"/>
                        <a:pt x="64411" y="57358"/>
                        <a:pt x="64411" y="57358"/>
                      </a:cubicBezTo>
                      <a:cubicBezTo>
                        <a:pt x="65294" y="57358"/>
                        <a:pt x="66176" y="55849"/>
                        <a:pt x="66176" y="55849"/>
                      </a:cubicBezTo>
                      <a:cubicBezTo>
                        <a:pt x="66176" y="55849"/>
                        <a:pt x="66176" y="55849"/>
                        <a:pt x="67058" y="55849"/>
                      </a:cubicBezTo>
                      <a:cubicBezTo>
                        <a:pt x="67058" y="55849"/>
                        <a:pt x="67941" y="55849"/>
                        <a:pt x="67941" y="55094"/>
                      </a:cubicBezTo>
                      <a:cubicBezTo>
                        <a:pt x="67941" y="55094"/>
                        <a:pt x="67941" y="55094"/>
                        <a:pt x="68823" y="55094"/>
                      </a:cubicBezTo>
                      <a:cubicBezTo>
                        <a:pt x="68823" y="54339"/>
                        <a:pt x="68823" y="54339"/>
                        <a:pt x="68823" y="54339"/>
                      </a:cubicBezTo>
                      <a:cubicBezTo>
                        <a:pt x="69705" y="53584"/>
                        <a:pt x="70588" y="53584"/>
                        <a:pt x="70588" y="53584"/>
                      </a:cubicBezTo>
                      <a:cubicBezTo>
                        <a:pt x="71470" y="52830"/>
                        <a:pt x="71470" y="52830"/>
                        <a:pt x="71470" y="52075"/>
                      </a:cubicBezTo>
                      <a:cubicBezTo>
                        <a:pt x="71470" y="52075"/>
                        <a:pt x="70588" y="52075"/>
                        <a:pt x="70588" y="52830"/>
                      </a:cubicBezTo>
                      <a:cubicBezTo>
                        <a:pt x="69705" y="52830"/>
                        <a:pt x="68823" y="52830"/>
                        <a:pt x="68823" y="52830"/>
                      </a:cubicBezTo>
                      <a:cubicBezTo>
                        <a:pt x="68823" y="53584"/>
                        <a:pt x="67941" y="53584"/>
                        <a:pt x="67941" y="53584"/>
                      </a:cubicBezTo>
                      <a:cubicBezTo>
                        <a:pt x="67058" y="53584"/>
                        <a:pt x="66176" y="54339"/>
                        <a:pt x="65294" y="54339"/>
                      </a:cubicBezTo>
                      <a:cubicBezTo>
                        <a:pt x="65294" y="54339"/>
                        <a:pt x="65294" y="55094"/>
                        <a:pt x="64411" y="55849"/>
                      </a:cubicBezTo>
                      <a:cubicBezTo>
                        <a:pt x="64411" y="55849"/>
                        <a:pt x="64411" y="55849"/>
                        <a:pt x="64411" y="56603"/>
                      </a:cubicBezTo>
                      <a:cubicBezTo>
                        <a:pt x="63529" y="56603"/>
                        <a:pt x="62647" y="56603"/>
                        <a:pt x="62647" y="5660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71" name="Shape 2030"/>
                <p:cNvSpPr/>
                <p:nvPr/>
              </p:nvSpPr>
              <p:spPr>
                <a:xfrm>
                  <a:off x="5550394" y="2957025"/>
                  <a:ext cx="547516" cy="376093"/>
                </a:xfrm>
                <a:custGeom>
                  <a:avLst/>
                  <a:gdLst/>
                  <a:ahLst/>
                  <a:cxnLst/>
                  <a:rect l="0" t="0" r="0" b="0"/>
                  <a:pathLst>
                    <a:path w="120000" h="120000" extrusionOk="0">
                      <a:moveTo>
                        <a:pt x="14000" y="43058"/>
                      </a:moveTo>
                      <a:cubicBezTo>
                        <a:pt x="14000" y="43058"/>
                        <a:pt x="14000" y="43058"/>
                        <a:pt x="14000" y="43058"/>
                      </a:cubicBezTo>
                      <a:cubicBezTo>
                        <a:pt x="14000" y="43058"/>
                        <a:pt x="14000" y="43058"/>
                        <a:pt x="14000" y="43058"/>
                      </a:cubicBezTo>
                      <a:cubicBezTo>
                        <a:pt x="14000" y="42352"/>
                        <a:pt x="14000" y="42352"/>
                        <a:pt x="14000" y="42352"/>
                      </a:cubicBezTo>
                      <a:cubicBezTo>
                        <a:pt x="14000" y="40941"/>
                        <a:pt x="14000" y="40941"/>
                        <a:pt x="14000" y="40941"/>
                      </a:cubicBezTo>
                      <a:cubicBezTo>
                        <a:pt x="15500" y="38117"/>
                        <a:pt x="15500" y="38117"/>
                        <a:pt x="15500" y="38117"/>
                      </a:cubicBezTo>
                      <a:cubicBezTo>
                        <a:pt x="15500" y="34588"/>
                        <a:pt x="15500" y="34588"/>
                        <a:pt x="15500" y="34588"/>
                      </a:cubicBezTo>
                      <a:cubicBezTo>
                        <a:pt x="19500" y="35294"/>
                        <a:pt x="19500" y="35294"/>
                        <a:pt x="19500" y="35294"/>
                      </a:cubicBezTo>
                      <a:cubicBezTo>
                        <a:pt x="22000" y="38823"/>
                        <a:pt x="22000" y="38823"/>
                        <a:pt x="22000" y="38823"/>
                      </a:cubicBezTo>
                      <a:cubicBezTo>
                        <a:pt x="25500" y="41647"/>
                        <a:pt x="25500" y="41647"/>
                        <a:pt x="25500" y="41647"/>
                      </a:cubicBezTo>
                      <a:cubicBezTo>
                        <a:pt x="27500" y="43058"/>
                        <a:pt x="27500" y="43058"/>
                        <a:pt x="27500" y="43058"/>
                      </a:cubicBezTo>
                      <a:cubicBezTo>
                        <a:pt x="32000" y="41647"/>
                        <a:pt x="32000" y="41647"/>
                        <a:pt x="32000" y="41647"/>
                      </a:cubicBezTo>
                      <a:cubicBezTo>
                        <a:pt x="40500" y="40941"/>
                        <a:pt x="40500" y="40941"/>
                        <a:pt x="40500" y="40941"/>
                      </a:cubicBezTo>
                      <a:cubicBezTo>
                        <a:pt x="40500" y="40941"/>
                        <a:pt x="45000" y="40235"/>
                        <a:pt x="45500" y="39529"/>
                      </a:cubicBezTo>
                      <a:cubicBezTo>
                        <a:pt x="46000" y="38823"/>
                        <a:pt x="49000" y="38117"/>
                        <a:pt x="48000" y="36705"/>
                      </a:cubicBezTo>
                      <a:cubicBezTo>
                        <a:pt x="47000" y="36000"/>
                        <a:pt x="45000" y="33882"/>
                        <a:pt x="45000" y="33882"/>
                      </a:cubicBezTo>
                      <a:cubicBezTo>
                        <a:pt x="45000" y="32470"/>
                        <a:pt x="45000" y="32470"/>
                        <a:pt x="45000" y="32470"/>
                      </a:cubicBezTo>
                      <a:cubicBezTo>
                        <a:pt x="47500" y="28941"/>
                        <a:pt x="47500" y="28941"/>
                        <a:pt x="47500" y="28941"/>
                      </a:cubicBezTo>
                      <a:cubicBezTo>
                        <a:pt x="52000" y="26823"/>
                        <a:pt x="52000" y="26823"/>
                        <a:pt x="52000" y="26823"/>
                      </a:cubicBezTo>
                      <a:cubicBezTo>
                        <a:pt x="55500" y="26117"/>
                        <a:pt x="55500" y="26117"/>
                        <a:pt x="55500" y="26117"/>
                      </a:cubicBezTo>
                      <a:cubicBezTo>
                        <a:pt x="57500" y="25411"/>
                        <a:pt x="57500" y="25411"/>
                        <a:pt x="57500" y="25411"/>
                      </a:cubicBezTo>
                      <a:cubicBezTo>
                        <a:pt x="58500" y="21176"/>
                        <a:pt x="58500" y="21176"/>
                        <a:pt x="58500" y="21176"/>
                      </a:cubicBezTo>
                      <a:cubicBezTo>
                        <a:pt x="61500" y="20470"/>
                        <a:pt x="61500" y="20470"/>
                        <a:pt x="61500" y="20470"/>
                      </a:cubicBezTo>
                      <a:cubicBezTo>
                        <a:pt x="63500" y="21176"/>
                        <a:pt x="63500" y="21176"/>
                        <a:pt x="63500" y="21176"/>
                      </a:cubicBezTo>
                      <a:cubicBezTo>
                        <a:pt x="66500" y="21176"/>
                        <a:pt x="66500" y="21176"/>
                        <a:pt x="66500" y="21176"/>
                      </a:cubicBezTo>
                      <a:cubicBezTo>
                        <a:pt x="68000" y="18352"/>
                        <a:pt x="68000" y="18352"/>
                        <a:pt x="68000" y="18352"/>
                      </a:cubicBezTo>
                      <a:cubicBezTo>
                        <a:pt x="69500" y="16941"/>
                        <a:pt x="69500" y="16941"/>
                        <a:pt x="69500" y="16941"/>
                      </a:cubicBezTo>
                      <a:cubicBezTo>
                        <a:pt x="71500" y="15529"/>
                        <a:pt x="71500" y="15529"/>
                        <a:pt x="71500" y="15529"/>
                      </a:cubicBezTo>
                      <a:cubicBezTo>
                        <a:pt x="73000" y="11294"/>
                        <a:pt x="73000" y="11294"/>
                        <a:pt x="73000" y="11294"/>
                      </a:cubicBezTo>
                      <a:cubicBezTo>
                        <a:pt x="74000" y="6352"/>
                        <a:pt x="74000" y="6352"/>
                        <a:pt x="74000" y="6352"/>
                      </a:cubicBezTo>
                      <a:cubicBezTo>
                        <a:pt x="74500" y="4235"/>
                        <a:pt x="74500" y="4235"/>
                        <a:pt x="74500" y="4235"/>
                      </a:cubicBezTo>
                      <a:cubicBezTo>
                        <a:pt x="81500" y="1411"/>
                        <a:pt x="81500" y="1411"/>
                        <a:pt x="81500" y="1411"/>
                      </a:cubicBezTo>
                      <a:cubicBezTo>
                        <a:pt x="84000" y="3529"/>
                        <a:pt x="84000" y="3529"/>
                        <a:pt x="84000" y="3529"/>
                      </a:cubicBezTo>
                      <a:cubicBezTo>
                        <a:pt x="87500" y="2823"/>
                        <a:pt x="87500" y="2823"/>
                        <a:pt x="87500" y="2823"/>
                      </a:cubicBezTo>
                      <a:cubicBezTo>
                        <a:pt x="90000" y="0"/>
                        <a:pt x="90000" y="0"/>
                        <a:pt x="90000" y="0"/>
                      </a:cubicBezTo>
                      <a:cubicBezTo>
                        <a:pt x="93000" y="705"/>
                        <a:pt x="93000" y="705"/>
                        <a:pt x="93000" y="705"/>
                      </a:cubicBezTo>
                      <a:cubicBezTo>
                        <a:pt x="97000" y="6352"/>
                        <a:pt x="97000" y="6352"/>
                        <a:pt x="97000" y="6352"/>
                      </a:cubicBezTo>
                      <a:cubicBezTo>
                        <a:pt x="101000" y="6352"/>
                        <a:pt x="101000" y="6352"/>
                        <a:pt x="101000" y="6352"/>
                      </a:cubicBezTo>
                      <a:cubicBezTo>
                        <a:pt x="103500" y="4235"/>
                        <a:pt x="103500" y="4235"/>
                        <a:pt x="103500" y="4235"/>
                      </a:cubicBezTo>
                      <a:cubicBezTo>
                        <a:pt x="106000" y="2823"/>
                        <a:pt x="106000" y="2823"/>
                        <a:pt x="106000" y="2823"/>
                      </a:cubicBezTo>
                      <a:cubicBezTo>
                        <a:pt x="107500" y="4941"/>
                        <a:pt x="107500" y="4941"/>
                        <a:pt x="107500" y="4941"/>
                      </a:cubicBezTo>
                      <a:cubicBezTo>
                        <a:pt x="109000" y="7764"/>
                        <a:pt x="109000" y="7764"/>
                        <a:pt x="109000" y="7764"/>
                      </a:cubicBezTo>
                      <a:cubicBezTo>
                        <a:pt x="111500" y="7058"/>
                        <a:pt x="111500" y="7058"/>
                        <a:pt x="111500" y="7058"/>
                      </a:cubicBezTo>
                      <a:cubicBezTo>
                        <a:pt x="113000" y="9882"/>
                        <a:pt x="113000" y="9882"/>
                        <a:pt x="113000" y="9882"/>
                      </a:cubicBezTo>
                      <a:cubicBezTo>
                        <a:pt x="114500" y="12000"/>
                        <a:pt x="114500" y="12000"/>
                        <a:pt x="114500" y="12000"/>
                      </a:cubicBezTo>
                      <a:cubicBezTo>
                        <a:pt x="117000" y="11294"/>
                        <a:pt x="117000" y="11294"/>
                        <a:pt x="117000" y="11294"/>
                      </a:cubicBezTo>
                      <a:cubicBezTo>
                        <a:pt x="119500" y="13411"/>
                        <a:pt x="119500" y="13411"/>
                        <a:pt x="119500" y="13411"/>
                      </a:cubicBezTo>
                      <a:cubicBezTo>
                        <a:pt x="119000" y="16235"/>
                        <a:pt x="119000" y="16235"/>
                        <a:pt x="119000" y="16235"/>
                      </a:cubicBezTo>
                      <a:cubicBezTo>
                        <a:pt x="120000" y="19764"/>
                        <a:pt x="120000" y="19764"/>
                        <a:pt x="120000" y="19764"/>
                      </a:cubicBezTo>
                      <a:cubicBezTo>
                        <a:pt x="118500" y="21882"/>
                        <a:pt x="118500" y="21882"/>
                        <a:pt x="118500" y="21882"/>
                      </a:cubicBezTo>
                      <a:cubicBezTo>
                        <a:pt x="118500" y="21882"/>
                        <a:pt x="118000" y="23294"/>
                        <a:pt x="117000" y="23294"/>
                      </a:cubicBezTo>
                      <a:cubicBezTo>
                        <a:pt x="116500" y="24000"/>
                        <a:pt x="115500" y="24705"/>
                        <a:pt x="115500" y="24705"/>
                      </a:cubicBezTo>
                      <a:cubicBezTo>
                        <a:pt x="114000" y="26823"/>
                        <a:pt x="114000" y="26823"/>
                        <a:pt x="114000" y="26823"/>
                      </a:cubicBezTo>
                      <a:cubicBezTo>
                        <a:pt x="112000" y="27529"/>
                        <a:pt x="112000" y="27529"/>
                        <a:pt x="112000" y="27529"/>
                      </a:cubicBezTo>
                      <a:cubicBezTo>
                        <a:pt x="110500" y="28235"/>
                        <a:pt x="110500" y="28235"/>
                        <a:pt x="110500" y="28235"/>
                      </a:cubicBezTo>
                      <a:cubicBezTo>
                        <a:pt x="109500" y="29647"/>
                        <a:pt x="109500" y="29647"/>
                        <a:pt x="109500" y="29647"/>
                      </a:cubicBezTo>
                      <a:cubicBezTo>
                        <a:pt x="108500" y="33882"/>
                        <a:pt x="108500" y="33882"/>
                        <a:pt x="108500" y="33882"/>
                      </a:cubicBezTo>
                      <a:cubicBezTo>
                        <a:pt x="107000" y="36000"/>
                        <a:pt x="107000" y="36000"/>
                        <a:pt x="107000" y="36000"/>
                      </a:cubicBezTo>
                      <a:cubicBezTo>
                        <a:pt x="106500" y="39529"/>
                        <a:pt x="106500" y="39529"/>
                        <a:pt x="106500" y="39529"/>
                      </a:cubicBezTo>
                      <a:cubicBezTo>
                        <a:pt x="106500" y="39529"/>
                        <a:pt x="107500" y="43058"/>
                        <a:pt x="106500" y="43764"/>
                      </a:cubicBezTo>
                      <a:cubicBezTo>
                        <a:pt x="106000" y="43764"/>
                        <a:pt x="105500" y="44470"/>
                        <a:pt x="105500" y="44470"/>
                      </a:cubicBezTo>
                      <a:cubicBezTo>
                        <a:pt x="105000" y="50117"/>
                        <a:pt x="105000" y="50117"/>
                        <a:pt x="105000" y="50117"/>
                      </a:cubicBezTo>
                      <a:cubicBezTo>
                        <a:pt x="103000" y="52941"/>
                        <a:pt x="103000" y="52941"/>
                        <a:pt x="103000" y="52941"/>
                      </a:cubicBezTo>
                      <a:cubicBezTo>
                        <a:pt x="102500" y="58588"/>
                        <a:pt x="102500" y="58588"/>
                        <a:pt x="102500" y="58588"/>
                      </a:cubicBezTo>
                      <a:cubicBezTo>
                        <a:pt x="102500" y="58588"/>
                        <a:pt x="103500" y="61411"/>
                        <a:pt x="102000" y="61411"/>
                      </a:cubicBezTo>
                      <a:cubicBezTo>
                        <a:pt x="101000" y="62117"/>
                        <a:pt x="100500" y="63529"/>
                        <a:pt x="100500" y="63529"/>
                      </a:cubicBezTo>
                      <a:cubicBezTo>
                        <a:pt x="100500" y="68470"/>
                        <a:pt x="100500" y="68470"/>
                        <a:pt x="100500" y="68470"/>
                      </a:cubicBezTo>
                      <a:cubicBezTo>
                        <a:pt x="99000" y="72000"/>
                        <a:pt x="99000" y="72000"/>
                        <a:pt x="99000" y="72000"/>
                      </a:cubicBezTo>
                      <a:cubicBezTo>
                        <a:pt x="99500" y="74823"/>
                        <a:pt x="99500" y="74823"/>
                        <a:pt x="99500" y="74823"/>
                      </a:cubicBezTo>
                      <a:cubicBezTo>
                        <a:pt x="98500" y="76941"/>
                        <a:pt x="98500" y="76941"/>
                        <a:pt x="98500" y="76941"/>
                      </a:cubicBezTo>
                      <a:cubicBezTo>
                        <a:pt x="99000" y="80470"/>
                        <a:pt x="99000" y="80470"/>
                        <a:pt x="99000" y="80470"/>
                      </a:cubicBezTo>
                      <a:cubicBezTo>
                        <a:pt x="98000" y="82588"/>
                        <a:pt x="98000" y="82588"/>
                        <a:pt x="98000" y="82588"/>
                      </a:cubicBezTo>
                      <a:cubicBezTo>
                        <a:pt x="97500" y="83294"/>
                        <a:pt x="97500" y="83294"/>
                        <a:pt x="97500" y="83294"/>
                      </a:cubicBezTo>
                      <a:cubicBezTo>
                        <a:pt x="97000" y="85411"/>
                        <a:pt x="97000" y="85411"/>
                        <a:pt x="97000" y="85411"/>
                      </a:cubicBezTo>
                      <a:cubicBezTo>
                        <a:pt x="96000" y="88941"/>
                        <a:pt x="96000" y="88941"/>
                        <a:pt x="96000" y="88941"/>
                      </a:cubicBezTo>
                      <a:cubicBezTo>
                        <a:pt x="92000" y="93882"/>
                        <a:pt x="92000" y="93882"/>
                        <a:pt x="92000" y="93882"/>
                      </a:cubicBezTo>
                      <a:cubicBezTo>
                        <a:pt x="90000" y="93176"/>
                        <a:pt x="90000" y="93176"/>
                        <a:pt x="90000" y="93176"/>
                      </a:cubicBezTo>
                      <a:cubicBezTo>
                        <a:pt x="88500" y="95294"/>
                        <a:pt x="88500" y="95294"/>
                        <a:pt x="88500" y="95294"/>
                      </a:cubicBezTo>
                      <a:cubicBezTo>
                        <a:pt x="88500" y="95294"/>
                        <a:pt x="89000" y="95294"/>
                        <a:pt x="88000" y="96705"/>
                      </a:cubicBezTo>
                      <a:cubicBezTo>
                        <a:pt x="87000" y="97411"/>
                        <a:pt x="85000" y="98117"/>
                        <a:pt x="85000" y="98117"/>
                      </a:cubicBezTo>
                      <a:cubicBezTo>
                        <a:pt x="84000" y="98117"/>
                        <a:pt x="84000" y="98117"/>
                        <a:pt x="84000" y="98117"/>
                      </a:cubicBezTo>
                      <a:cubicBezTo>
                        <a:pt x="80500" y="98117"/>
                        <a:pt x="80500" y="98117"/>
                        <a:pt x="80500" y="98117"/>
                      </a:cubicBezTo>
                      <a:cubicBezTo>
                        <a:pt x="80500" y="98117"/>
                        <a:pt x="80000" y="97411"/>
                        <a:pt x="79500" y="98117"/>
                      </a:cubicBezTo>
                      <a:cubicBezTo>
                        <a:pt x="79000" y="98117"/>
                        <a:pt x="76500" y="98117"/>
                        <a:pt x="76500" y="98117"/>
                      </a:cubicBezTo>
                      <a:cubicBezTo>
                        <a:pt x="76500" y="98117"/>
                        <a:pt x="75500" y="97411"/>
                        <a:pt x="75000" y="97411"/>
                      </a:cubicBezTo>
                      <a:cubicBezTo>
                        <a:pt x="74500" y="97411"/>
                        <a:pt x="71500" y="98117"/>
                        <a:pt x="71500" y="98117"/>
                      </a:cubicBezTo>
                      <a:cubicBezTo>
                        <a:pt x="69500" y="99529"/>
                        <a:pt x="69500" y="99529"/>
                        <a:pt x="69500" y="99529"/>
                      </a:cubicBezTo>
                      <a:cubicBezTo>
                        <a:pt x="69500" y="99529"/>
                        <a:pt x="69000" y="98117"/>
                        <a:pt x="68500" y="98823"/>
                      </a:cubicBezTo>
                      <a:cubicBezTo>
                        <a:pt x="67500" y="98823"/>
                        <a:pt x="65000" y="100235"/>
                        <a:pt x="65000" y="100235"/>
                      </a:cubicBezTo>
                      <a:cubicBezTo>
                        <a:pt x="65000" y="100235"/>
                        <a:pt x="66000" y="101647"/>
                        <a:pt x="65000" y="101647"/>
                      </a:cubicBezTo>
                      <a:cubicBezTo>
                        <a:pt x="64500" y="101647"/>
                        <a:pt x="63000" y="104470"/>
                        <a:pt x="63000" y="104470"/>
                      </a:cubicBezTo>
                      <a:cubicBezTo>
                        <a:pt x="62000" y="105176"/>
                        <a:pt x="62000" y="105176"/>
                        <a:pt x="62000" y="105176"/>
                      </a:cubicBezTo>
                      <a:cubicBezTo>
                        <a:pt x="61500" y="107294"/>
                        <a:pt x="61500" y="107294"/>
                        <a:pt x="61500" y="107294"/>
                      </a:cubicBezTo>
                      <a:cubicBezTo>
                        <a:pt x="61500" y="107294"/>
                        <a:pt x="61000" y="107294"/>
                        <a:pt x="60000" y="107294"/>
                      </a:cubicBezTo>
                      <a:cubicBezTo>
                        <a:pt x="59500" y="107294"/>
                        <a:pt x="58000" y="108000"/>
                        <a:pt x="58000" y="108000"/>
                      </a:cubicBezTo>
                      <a:cubicBezTo>
                        <a:pt x="57500" y="107294"/>
                        <a:pt x="57500" y="107294"/>
                        <a:pt x="57500" y="107294"/>
                      </a:cubicBezTo>
                      <a:cubicBezTo>
                        <a:pt x="55500" y="111529"/>
                        <a:pt x="55500" y="111529"/>
                        <a:pt x="55500" y="111529"/>
                      </a:cubicBezTo>
                      <a:cubicBezTo>
                        <a:pt x="53500" y="112941"/>
                        <a:pt x="53500" y="112941"/>
                        <a:pt x="53500" y="112941"/>
                      </a:cubicBezTo>
                      <a:cubicBezTo>
                        <a:pt x="52500" y="112235"/>
                        <a:pt x="52500" y="112235"/>
                        <a:pt x="52500" y="112235"/>
                      </a:cubicBezTo>
                      <a:cubicBezTo>
                        <a:pt x="51500" y="115764"/>
                        <a:pt x="51500" y="115764"/>
                        <a:pt x="51500" y="115764"/>
                      </a:cubicBezTo>
                      <a:cubicBezTo>
                        <a:pt x="51500" y="115764"/>
                        <a:pt x="50000" y="116470"/>
                        <a:pt x="50000" y="117176"/>
                      </a:cubicBezTo>
                      <a:cubicBezTo>
                        <a:pt x="49500" y="117882"/>
                        <a:pt x="47000" y="117882"/>
                        <a:pt x="47000" y="117882"/>
                      </a:cubicBezTo>
                      <a:cubicBezTo>
                        <a:pt x="45000" y="117882"/>
                        <a:pt x="45000" y="117882"/>
                        <a:pt x="45000" y="117882"/>
                      </a:cubicBezTo>
                      <a:cubicBezTo>
                        <a:pt x="41500" y="119294"/>
                        <a:pt x="41500" y="119294"/>
                        <a:pt x="41500" y="119294"/>
                      </a:cubicBezTo>
                      <a:cubicBezTo>
                        <a:pt x="41500" y="119294"/>
                        <a:pt x="40500" y="120000"/>
                        <a:pt x="40000" y="120000"/>
                      </a:cubicBezTo>
                      <a:cubicBezTo>
                        <a:pt x="39500" y="120000"/>
                        <a:pt x="37000" y="119294"/>
                        <a:pt x="37000" y="119294"/>
                      </a:cubicBezTo>
                      <a:cubicBezTo>
                        <a:pt x="35500" y="120000"/>
                        <a:pt x="35500" y="120000"/>
                        <a:pt x="35500" y="120000"/>
                      </a:cubicBezTo>
                      <a:cubicBezTo>
                        <a:pt x="32000" y="118588"/>
                        <a:pt x="32000" y="118588"/>
                        <a:pt x="32000" y="118588"/>
                      </a:cubicBezTo>
                      <a:cubicBezTo>
                        <a:pt x="31000" y="116470"/>
                        <a:pt x="31000" y="116470"/>
                        <a:pt x="31000" y="116470"/>
                      </a:cubicBezTo>
                      <a:cubicBezTo>
                        <a:pt x="28000" y="115764"/>
                        <a:pt x="28000" y="115764"/>
                        <a:pt x="28000" y="115764"/>
                      </a:cubicBezTo>
                      <a:cubicBezTo>
                        <a:pt x="27500" y="114352"/>
                        <a:pt x="27500" y="114352"/>
                        <a:pt x="27500" y="114352"/>
                      </a:cubicBezTo>
                      <a:cubicBezTo>
                        <a:pt x="25500" y="114352"/>
                        <a:pt x="25500" y="114352"/>
                        <a:pt x="25500" y="114352"/>
                      </a:cubicBezTo>
                      <a:cubicBezTo>
                        <a:pt x="23500" y="111529"/>
                        <a:pt x="23500" y="111529"/>
                        <a:pt x="23500" y="111529"/>
                      </a:cubicBezTo>
                      <a:cubicBezTo>
                        <a:pt x="21000" y="107294"/>
                        <a:pt x="21000" y="107294"/>
                        <a:pt x="21000" y="107294"/>
                      </a:cubicBezTo>
                      <a:cubicBezTo>
                        <a:pt x="16000" y="105176"/>
                        <a:pt x="16000" y="105176"/>
                        <a:pt x="16000" y="105176"/>
                      </a:cubicBezTo>
                      <a:cubicBezTo>
                        <a:pt x="14500" y="102352"/>
                        <a:pt x="14500" y="102352"/>
                        <a:pt x="14500" y="102352"/>
                      </a:cubicBezTo>
                      <a:cubicBezTo>
                        <a:pt x="13000" y="100941"/>
                        <a:pt x="13000" y="100941"/>
                        <a:pt x="13000" y="100941"/>
                      </a:cubicBezTo>
                      <a:cubicBezTo>
                        <a:pt x="11000" y="98823"/>
                        <a:pt x="11000" y="98823"/>
                        <a:pt x="11000" y="98823"/>
                      </a:cubicBezTo>
                      <a:cubicBezTo>
                        <a:pt x="9000" y="96705"/>
                        <a:pt x="9000" y="96705"/>
                        <a:pt x="9000" y="96705"/>
                      </a:cubicBezTo>
                      <a:cubicBezTo>
                        <a:pt x="8000" y="95294"/>
                        <a:pt x="8000" y="95294"/>
                        <a:pt x="8000" y="95294"/>
                      </a:cubicBezTo>
                      <a:cubicBezTo>
                        <a:pt x="5000" y="89647"/>
                        <a:pt x="5000" y="89647"/>
                        <a:pt x="5000" y="89647"/>
                      </a:cubicBezTo>
                      <a:cubicBezTo>
                        <a:pt x="5000" y="88235"/>
                        <a:pt x="5000" y="88235"/>
                        <a:pt x="5000" y="88235"/>
                      </a:cubicBezTo>
                      <a:cubicBezTo>
                        <a:pt x="3500" y="85411"/>
                        <a:pt x="3500" y="85411"/>
                        <a:pt x="3500" y="85411"/>
                      </a:cubicBezTo>
                      <a:cubicBezTo>
                        <a:pt x="3000" y="82588"/>
                        <a:pt x="3000" y="82588"/>
                        <a:pt x="3000" y="82588"/>
                      </a:cubicBezTo>
                      <a:cubicBezTo>
                        <a:pt x="2000" y="81176"/>
                        <a:pt x="2000" y="81176"/>
                        <a:pt x="2000" y="81176"/>
                      </a:cubicBezTo>
                      <a:cubicBezTo>
                        <a:pt x="0" y="82588"/>
                        <a:pt x="0" y="82588"/>
                        <a:pt x="0" y="82588"/>
                      </a:cubicBezTo>
                      <a:cubicBezTo>
                        <a:pt x="0" y="82588"/>
                        <a:pt x="0" y="82588"/>
                        <a:pt x="0" y="82588"/>
                      </a:cubicBezTo>
                      <a:cubicBezTo>
                        <a:pt x="0" y="81882"/>
                        <a:pt x="0" y="81882"/>
                        <a:pt x="0" y="81882"/>
                      </a:cubicBezTo>
                      <a:cubicBezTo>
                        <a:pt x="1500" y="76941"/>
                        <a:pt x="1500" y="76941"/>
                        <a:pt x="1500" y="76941"/>
                      </a:cubicBezTo>
                      <a:cubicBezTo>
                        <a:pt x="3000" y="76235"/>
                        <a:pt x="3000" y="76235"/>
                        <a:pt x="3000" y="76235"/>
                      </a:cubicBezTo>
                      <a:cubicBezTo>
                        <a:pt x="4500" y="72705"/>
                        <a:pt x="4500" y="72705"/>
                        <a:pt x="4500" y="72705"/>
                      </a:cubicBezTo>
                      <a:cubicBezTo>
                        <a:pt x="4000" y="68470"/>
                        <a:pt x="4000" y="68470"/>
                        <a:pt x="4000" y="68470"/>
                      </a:cubicBezTo>
                      <a:cubicBezTo>
                        <a:pt x="4000" y="67058"/>
                        <a:pt x="4000" y="67058"/>
                        <a:pt x="4000" y="67058"/>
                      </a:cubicBezTo>
                      <a:cubicBezTo>
                        <a:pt x="2500" y="62823"/>
                        <a:pt x="2500" y="62823"/>
                        <a:pt x="2500" y="62823"/>
                      </a:cubicBezTo>
                      <a:cubicBezTo>
                        <a:pt x="2500" y="62823"/>
                        <a:pt x="3000" y="62117"/>
                        <a:pt x="3500" y="62117"/>
                      </a:cubicBezTo>
                      <a:cubicBezTo>
                        <a:pt x="4000" y="62117"/>
                        <a:pt x="5500" y="60705"/>
                        <a:pt x="5500" y="60705"/>
                      </a:cubicBezTo>
                      <a:cubicBezTo>
                        <a:pt x="8500" y="57882"/>
                        <a:pt x="8500" y="57882"/>
                        <a:pt x="8500" y="57882"/>
                      </a:cubicBezTo>
                      <a:cubicBezTo>
                        <a:pt x="6000" y="52235"/>
                        <a:pt x="6000" y="52235"/>
                        <a:pt x="6000" y="52235"/>
                      </a:cubicBezTo>
                      <a:cubicBezTo>
                        <a:pt x="5000" y="52235"/>
                        <a:pt x="5000" y="52235"/>
                        <a:pt x="5000" y="52235"/>
                      </a:cubicBezTo>
                      <a:cubicBezTo>
                        <a:pt x="2000" y="50823"/>
                        <a:pt x="2000" y="50823"/>
                        <a:pt x="2000" y="50823"/>
                      </a:cubicBezTo>
                      <a:cubicBezTo>
                        <a:pt x="4000" y="48705"/>
                        <a:pt x="4000" y="48705"/>
                        <a:pt x="4000" y="48705"/>
                      </a:cubicBezTo>
                      <a:cubicBezTo>
                        <a:pt x="5000" y="47294"/>
                        <a:pt x="5000" y="47294"/>
                        <a:pt x="5000" y="47294"/>
                      </a:cubicBezTo>
                      <a:cubicBezTo>
                        <a:pt x="9000" y="49411"/>
                        <a:pt x="9000" y="49411"/>
                        <a:pt x="9000" y="49411"/>
                      </a:cubicBezTo>
                      <a:cubicBezTo>
                        <a:pt x="9000" y="49411"/>
                        <a:pt x="10500" y="50117"/>
                        <a:pt x="10000" y="49411"/>
                      </a:cubicBezTo>
                      <a:cubicBezTo>
                        <a:pt x="10000" y="47294"/>
                        <a:pt x="10500" y="48705"/>
                        <a:pt x="10500" y="48705"/>
                      </a:cubicBezTo>
                      <a:cubicBezTo>
                        <a:pt x="11000" y="50117"/>
                        <a:pt x="12500" y="48705"/>
                        <a:pt x="13500" y="48705"/>
                      </a:cubicBezTo>
                      <a:cubicBezTo>
                        <a:pt x="15000" y="48000"/>
                        <a:pt x="14000" y="46588"/>
                        <a:pt x="13500" y="45176"/>
                      </a:cubicBezTo>
                      <a:cubicBezTo>
                        <a:pt x="13500" y="44470"/>
                        <a:pt x="13500" y="43764"/>
                        <a:pt x="14000" y="4305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72" name="Shape 2031"/>
                <p:cNvSpPr/>
                <p:nvPr/>
              </p:nvSpPr>
              <p:spPr>
                <a:xfrm>
                  <a:off x="5991266" y="1973644"/>
                  <a:ext cx="656360" cy="596634"/>
                </a:xfrm>
                <a:custGeom>
                  <a:avLst/>
                  <a:gdLst/>
                  <a:ahLst/>
                  <a:cxnLst/>
                  <a:rect l="0" t="0" r="0" b="0"/>
                  <a:pathLst>
                    <a:path w="120000" h="120000" extrusionOk="0">
                      <a:moveTo>
                        <a:pt x="33750" y="29333"/>
                      </a:moveTo>
                      <a:cubicBezTo>
                        <a:pt x="33333" y="27111"/>
                        <a:pt x="33333" y="27111"/>
                        <a:pt x="33333" y="27111"/>
                      </a:cubicBezTo>
                      <a:cubicBezTo>
                        <a:pt x="35000" y="26222"/>
                        <a:pt x="35000" y="26222"/>
                        <a:pt x="35000" y="26222"/>
                      </a:cubicBezTo>
                      <a:cubicBezTo>
                        <a:pt x="34583" y="24444"/>
                        <a:pt x="34583" y="24444"/>
                        <a:pt x="34583" y="24444"/>
                      </a:cubicBezTo>
                      <a:cubicBezTo>
                        <a:pt x="31666" y="24888"/>
                        <a:pt x="31666" y="24888"/>
                        <a:pt x="31666" y="24888"/>
                      </a:cubicBezTo>
                      <a:cubicBezTo>
                        <a:pt x="30416" y="24444"/>
                        <a:pt x="30416" y="24444"/>
                        <a:pt x="30416" y="24444"/>
                      </a:cubicBezTo>
                      <a:cubicBezTo>
                        <a:pt x="30416" y="22222"/>
                        <a:pt x="30416" y="22222"/>
                        <a:pt x="30416" y="22222"/>
                      </a:cubicBezTo>
                      <a:cubicBezTo>
                        <a:pt x="31250" y="20000"/>
                        <a:pt x="31250" y="20000"/>
                        <a:pt x="31250" y="20000"/>
                      </a:cubicBezTo>
                      <a:cubicBezTo>
                        <a:pt x="30833" y="16000"/>
                        <a:pt x="30833" y="16000"/>
                        <a:pt x="30833" y="16000"/>
                      </a:cubicBezTo>
                      <a:cubicBezTo>
                        <a:pt x="30833" y="16000"/>
                        <a:pt x="30000" y="16000"/>
                        <a:pt x="31250" y="15111"/>
                      </a:cubicBezTo>
                      <a:cubicBezTo>
                        <a:pt x="32916" y="14666"/>
                        <a:pt x="33750" y="14666"/>
                        <a:pt x="33750" y="14666"/>
                      </a:cubicBezTo>
                      <a:cubicBezTo>
                        <a:pt x="34166" y="12000"/>
                        <a:pt x="34166" y="12000"/>
                        <a:pt x="34166" y="12000"/>
                      </a:cubicBezTo>
                      <a:cubicBezTo>
                        <a:pt x="35416" y="10666"/>
                        <a:pt x="35416" y="10666"/>
                        <a:pt x="35416" y="10666"/>
                      </a:cubicBezTo>
                      <a:cubicBezTo>
                        <a:pt x="35416" y="10666"/>
                        <a:pt x="35000" y="10666"/>
                        <a:pt x="36666" y="10666"/>
                      </a:cubicBezTo>
                      <a:cubicBezTo>
                        <a:pt x="38333" y="10666"/>
                        <a:pt x="38750" y="10666"/>
                        <a:pt x="38750" y="10666"/>
                      </a:cubicBezTo>
                      <a:cubicBezTo>
                        <a:pt x="42083" y="10666"/>
                        <a:pt x="42083" y="10666"/>
                        <a:pt x="42083" y="10666"/>
                      </a:cubicBezTo>
                      <a:cubicBezTo>
                        <a:pt x="42916" y="9333"/>
                        <a:pt x="42916" y="9333"/>
                        <a:pt x="42916" y="9333"/>
                      </a:cubicBezTo>
                      <a:cubicBezTo>
                        <a:pt x="42083" y="7111"/>
                        <a:pt x="42083" y="7111"/>
                        <a:pt x="42083" y="7111"/>
                      </a:cubicBezTo>
                      <a:cubicBezTo>
                        <a:pt x="44166" y="4888"/>
                        <a:pt x="44166" y="4888"/>
                        <a:pt x="44166" y="4888"/>
                      </a:cubicBezTo>
                      <a:cubicBezTo>
                        <a:pt x="44583" y="1777"/>
                        <a:pt x="44583" y="1777"/>
                        <a:pt x="44583" y="1777"/>
                      </a:cubicBezTo>
                      <a:cubicBezTo>
                        <a:pt x="46666" y="444"/>
                        <a:pt x="46666" y="444"/>
                        <a:pt x="46666" y="444"/>
                      </a:cubicBezTo>
                      <a:cubicBezTo>
                        <a:pt x="46666" y="444"/>
                        <a:pt x="47916" y="1777"/>
                        <a:pt x="48333" y="1777"/>
                      </a:cubicBezTo>
                      <a:cubicBezTo>
                        <a:pt x="48750" y="1777"/>
                        <a:pt x="49166" y="2222"/>
                        <a:pt x="49583" y="1777"/>
                      </a:cubicBezTo>
                      <a:cubicBezTo>
                        <a:pt x="50000" y="1777"/>
                        <a:pt x="50416" y="888"/>
                        <a:pt x="50416" y="888"/>
                      </a:cubicBezTo>
                      <a:cubicBezTo>
                        <a:pt x="52500" y="0"/>
                        <a:pt x="52500" y="0"/>
                        <a:pt x="52500" y="0"/>
                      </a:cubicBezTo>
                      <a:cubicBezTo>
                        <a:pt x="53750" y="444"/>
                        <a:pt x="53750" y="444"/>
                        <a:pt x="53750" y="444"/>
                      </a:cubicBezTo>
                      <a:cubicBezTo>
                        <a:pt x="54583" y="2222"/>
                        <a:pt x="54583" y="2222"/>
                        <a:pt x="54583" y="2222"/>
                      </a:cubicBezTo>
                      <a:cubicBezTo>
                        <a:pt x="56666" y="2222"/>
                        <a:pt x="56666" y="2222"/>
                        <a:pt x="56666" y="2222"/>
                      </a:cubicBezTo>
                      <a:cubicBezTo>
                        <a:pt x="57083" y="1333"/>
                        <a:pt x="57083" y="1333"/>
                        <a:pt x="57083" y="1333"/>
                      </a:cubicBezTo>
                      <a:cubicBezTo>
                        <a:pt x="60000" y="444"/>
                        <a:pt x="60000" y="444"/>
                        <a:pt x="60000" y="444"/>
                      </a:cubicBezTo>
                      <a:cubicBezTo>
                        <a:pt x="63333" y="444"/>
                        <a:pt x="63333" y="444"/>
                        <a:pt x="63333" y="444"/>
                      </a:cubicBezTo>
                      <a:cubicBezTo>
                        <a:pt x="63750" y="3111"/>
                        <a:pt x="63750" y="3111"/>
                        <a:pt x="63750" y="3111"/>
                      </a:cubicBezTo>
                      <a:cubicBezTo>
                        <a:pt x="63750" y="4444"/>
                        <a:pt x="63750" y="4444"/>
                        <a:pt x="63750" y="4444"/>
                      </a:cubicBezTo>
                      <a:cubicBezTo>
                        <a:pt x="63750" y="4444"/>
                        <a:pt x="64583" y="5777"/>
                        <a:pt x="65416" y="5333"/>
                      </a:cubicBezTo>
                      <a:cubicBezTo>
                        <a:pt x="65833" y="5333"/>
                        <a:pt x="67500" y="4888"/>
                        <a:pt x="67916" y="4000"/>
                      </a:cubicBezTo>
                      <a:cubicBezTo>
                        <a:pt x="67916" y="3111"/>
                        <a:pt x="68333" y="2222"/>
                        <a:pt x="69166" y="1777"/>
                      </a:cubicBezTo>
                      <a:cubicBezTo>
                        <a:pt x="70000" y="1777"/>
                        <a:pt x="69583" y="1333"/>
                        <a:pt x="70833" y="888"/>
                      </a:cubicBezTo>
                      <a:cubicBezTo>
                        <a:pt x="72500" y="444"/>
                        <a:pt x="73750" y="0"/>
                        <a:pt x="73750" y="0"/>
                      </a:cubicBezTo>
                      <a:cubicBezTo>
                        <a:pt x="77500" y="888"/>
                        <a:pt x="77500" y="888"/>
                        <a:pt x="77500" y="888"/>
                      </a:cubicBezTo>
                      <a:cubicBezTo>
                        <a:pt x="78750" y="2222"/>
                        <a:pt x="78750" y="2222"/>
                        <a:pt x="78750" y="2222"/>
                      </a:cubicBezTo>
                      <a:cubicBezTo>
                        <a:pt x="80000" y="3111"/>
                        <a:pt x="80000" y="3111"/>
                        <a:pt x="80000" y="3111"/>
                      </a:cubicBezTo>
                      <a:cubicBezTo>
                        <a:pt x="81250" y="2666"/>
                        <a:pt x="81250" y="2666"/>
                        <a:pt x="81250" y="2666"/>
                      </a:cubicBezTo>
                      <a:cubicBezTo>
                        <a:pt x="81666" y="3555"/>
                        <a:pt x="81666" y="3555"/>
                        <a:pt x="81666" y="3555"/>
                      </a:cubicBezTo>
                      <a:cubicBezTo>
                        <a:pt x="83333" y="2666"/>
                        <a:pt x="83333" y="2666"/>
                        <a:pt x="83333" y="2666"/>
                      </a:cubicBezTo>
                      <a:cubicBezTo>
                        <a:pt x="84166" y="4444"/>
                        <a:pt x="84166" y="4444"/>
                        <a:pt x="84166" y="4444"/>
                      </a:cubicBezTo>
                      <a:cubicBezTo>
                        <a:pt x="84166" y="8000"/>
                        <a:pt x="84166" y="8000"/>
                        <a:pt x="84166" y="8000"/>
                      </a:cubicBezTo>
                      <a:cubicBezTo>
                        <a:pt x="84166" y="9333"/>
                        <a:pt x="84166" y="9333"/>
                        <a:pt x="84166" y="9333"/>
                      </a:cubicBezTo>
                      <a:cubicBezTo>
                        <a:pt x="84166" y="10666"/>
                        <a:pt x="84166" y="10666"/>
                        <a:pt x="84166" y="10666"/>
                      </a:cubicBezTo>
                      <a:cubicBezTo>
                        <a:pt x="86666" y="12444"/>
                        <a:pt x="86666" y="12444"/>
                        <a:pt x="86666" y="12444"/>
                      </a:cubicBezTo>
                      <a:cubicBezTo>
                        <a:pt x="87916" y="13777"/>
                        <a:pt x="87916" y="13777"/>
                        <a:pt x="87916" y="13777"/>
                      </a:cubicBezTo>
                      <a:cubicBezTo>
                        <a:pt x="87500" y="16000"/>
                        <a:pt x="87500" y="16000"/>
                        <a:pt x="87500" y="16000"/>
                      </a:cubicBezTo>
                      <a:cubicBezTo>
                        <a:pt x="87500" y="17333"/>
                        <a:pt x="87500" y="17333"/>
                        <a:pt x="87500" y="17333"/>
                      </a:cubicBezTo>
                      <a:cubicBezTo>
                        <a:pt x="86250" y="20888"/>
                        <a:pt x="86250" y="20888"/>
                        <a:pt x="86250" y="20888"/>
                      </a:cubicBezTo>
                      <a:cubicBezTo>
                        <a:pt x="89166" y="21777"/>
                        <a:pt x="89166" y="21777"/>
                        <a:pt x="89166" y="21777"/>
                      </a:cubicBezTo>
                      <a:cubicBezTo>
                        <a:pt x="90833" y="23555"/>
                        <a:pt x="90833" y="23555"/>
                        <a:pt x="90833" y="23555"/>
                      </a:cubicBezTo>
                      <a:cubicBezTo>
                        <a:pt x="92500" y="23555"/>
                        <a:pt x="92500" y="23555"/>
                        <a:pt x="92500" y="23555"/>
                      </a:cubicBezTo>
                      <a:cubicBezTo>
                        <a:pt x="92500" y="25777"/>
                        <a:pt x="92500" y="25777"/>
                        <a:pt x="92500" y="25777"/>
                      </a:cubicBezTo>
                      <a:cubicBezTo>
                        <a:pt x="92500" y="25777"/>
                        <a:pt x="91666" y="27111"/>
                        <a:pt x="92916" y="27111"/>
                      </a:cubicBezTo>
                      <a:cubicBezTo>
                        <a:pt x="94166" y="27555"/>
                        <a:pt x="94583" y="27555"/>
                        <a:pt x="94583" y="27555"/>
                      </a:cubicBezTo>
                      <a:cubicBezTo>
                        <a:pt x="95000" y="28888"/>
                        <a:pt x="95000" y="28888"/>
                        <a:pt x="95000" y="28888"/>
                      </a:cubicBezTo>
                      <a:cubicBezTo>
                        <a:pt x="97083" y="32000"/>
                        <a:pt x="97083" y="32000"/>
                        <a:pt x="97083" y="32000"/>
                      </a:cubicBezTo>
                      <a:cubicBezTo>
                        <a:pt x="101666" y="32888"/>
                        <a:pt x="101666" y="32888"/>
                        <a:pt x="101666" y="32888"/>
                      </a:cubicBezTo>
                      <a:cubicBezTo>
                        <a:pt x="103750" y="33777"/>
                        <a:pt x="103750" y="33777"/>
                        <a:pt x="103750" y="33777"/>
                      </a:cubicBezTo>
                      <a:cubicBezTo>
                        <a:pt x="104583" y="35555"/>
                        <a:pt x="104583" y="35555"/>
                        <a:pt x="104583" y="35555"/>
                      </a:cubicBezTo>
                      <a:cubicBezTo>
                        <a:pt x="105000" y="39555"/>
                        <a:pt x="105000" y="39555"/>
                        <a:pt x="105000" y="39555"/>
                      </a:cubicBezTo>
                      <a:cubicBezTo>
                        <a:pt x="107083" y="39555"/>
                        <a:pt x="107083" y="39555"/>
                        <a:pt x="107083" y="39555"/>
                      </a:cubicBezTo>
                      <a:cubicBezTo>
                        <a:pt x="108333" y="38222"/>
                        <a:pt x="108333" y="38222"/>
                        <a:pt x="108333" y="38222"/>
                      </a:cubicBezTo>
                      <a:cubicBezTo>
                        <a:pt x="109583" y="37777"/>
                        <a:pt x="109583" y="37777"/>
                        <a:pt x="109583" y="37777"/>
                      </a:cubicBezTo>
                      <a:cubicBezTo>
                        <a:pt x="111250" y="38222"/>
                        <a:pt x="111250" y="38222"/>
                        <a:pt x="111250" y="38222"/>
                      </a:cubicBezTo>
                      <a:cubicBezTo>
                        <a:pt x="113333" y="38666"/>
                        <a:pt x="113333" y="38666"/>
                        <a:pt x="113333" y="38666"/>
                      </a:cubicBezTo>
                      <a:cubicBezTo>
                        <a:pt x="115416" y="38666"/>
                        <a:pt x="115416" y="38666"/>
                        <a:pt x="115416" y="38666"/>
                      </a:cubicBezTo>
                      <a:cubicBezTo>
                        <a:pt x="114583" y="40888"/>
                        <a:pt x="114583" y="40888"/>
                        <a:pt x="114583" y="40888"/>
                      </a:cubicBezTo>
                      <a:cubicBezTo>
                        <a:pt x="116250" y="42222"/>
                        <a:pt x="116250" y="42222"/>
                        <a:pt x="116250" y="42222"/>
                      </a:cubicBezTo>
                      <a:cubicBezTo>
                        <a:pt x="117916" y="42666"/>
                        <a:pt x="117916" y="42666"/>
                        <a:pt x="117916" y="42666"/>
                      </a:cubicBezTo>
                      <a:cubicBezTo>
                        <a:pt x="120000" y="43555"/>
                        <a:pt x="120000" y="43555"/>
                        <a:pt x="120000" y="43555"/>
                      </a:cubicBezTo>
                      <a:cubicBezTo>
                        <a:pt x="120000" y="46222"/>
                        <a:pt x="120000" y="46222"/>
                        <a:pt x="120000" y="46222"/>
                      </a:cubicBezTo>
                      <a:cubicBezTo>
                        <a:pt x="119166" y="47555"/>
                        <a:pt x="119166" y="47555"/>
                        <a:pt x="119166" y="47555"/>
                      </a:cubicBezTo>
                      <a:cubicBezTo>
                        <a:pt x="117500" y="48000"/>
                        <a:pt x="117500" y="48000"/>
                        <a:pt x="117500" y="48000"/>
                      </a:cubicBezTo>
                      <a:cubicBezTo>
                        <a:pt x="117500" y="48000"/>
                        <a:pt x="118333" y="50222"/>
                        <a:pt x="117500" y="50666"/>
                      </a:cubicBezTo>
                      <a:cubicBezTo>
                        <a:pt x="117083" y="51111"/>
                        <a:pt x="114166" y="53777"/>
                        <a:pt x="114166" y="53777"/>
                      </a:cubicBezTo>
                      <a:cubicBezTo>
                        <a:pt x="111250" y="54666"/>
                        <a:pt x="111250" y="54666"/>
                        <a:pt x="111250" y="54666"/>
                      </a:cubicBezTo>
                      <a:cubicBezTo>
                        <a:pt x="108750" y="53777"/>
                        <a:pt x="108750" y="53777"/>
                        <a:pt x="108750" y="53777"/>
                      </a:cubicBezTo>
                      <a:cubicBezTo>
                        <a:pt x="108750" y="53777"/>
                        <a:pt x="108333" y="53333"/>
                        <a:pt x="106666" y="53777"/>
                      </a:cubicBezTo>
                      <a:cubicBezTo>
                        <a:pt x="105000" y="54666"/>
                        <a:pt x="105000" y="55111"/>
                        <a:pt x="105000" y="55111"/>
                      </a:cubicBezTo>
                      <a:cubicBezTo>
                        <a:pt x="104166" y="58222"/>
                        <a:pt x="104166" y="58222"/>
                        <a:pt x="104166" y="58222"/>
                      </a:cubicBezTo>
                      <a:cubicBezTo>
                        <a:pt x="104166" y="59555"/>
                        <a:pt x="104166" y="59555"/>
                        <a:pt x="104166" y="59555"/>
                      </a:cubicBezTo>
                      <a:cubicBezTo>
                        <a:pt x="105833" y="60888"/>
                        <a:pt x="105833" y="60888"/>
                        <a:pt x="105833" y="60888"/>
                      </a:cubicBezTo>
                      <a:cubicBezTo>
                        <a:pt x="107916" y="61333"/>
                        <a:pt x="107916" y="61333"/>
                        <a:pt x="107916" y="61333"/>
                      </a:cubicBezTo>
                      <a:cubicBezTo>
                        <a:pt x="109166" y="63111"/>
                        <a:pt x="109166" y="63111"/>
                        <a:pt x="109166" y="63111"/>
                      </a:cubicBezTo>
                      <a:cubicBezTo>
                        <a:pt x="110000" y="64444"/>
                        <a:pt x="110000" y="64444"/>
                        <a:pt x="110000" y="64444"/>
                      </a:cubicBezTo>
                      <a:cubicBezTo>
                        <a:pt x="109166" y="66222"/>
                        <a:pt x="109166" y="66222"/>
                        <a:pt x="109166" y="66222"/>
                      </a:cubicBezTo>
                      <a:cubicBezTo>
                        <a:pt x="110000" y="67111"/>
                        <a:pt x="110000" y="67111"/>
                        <a:pt x="110000" y="67111"/>
                      </a:cubicBezTo>
                      <a:cubicBezTo>
                        <a:pt x="111666" y="68000"/>
                        <a:pt x="111666" y="68000"/>
                        <a:pt x="111666" y="68000"/>
                      </a:cubicBezTo>
                      <a:cubicBezTo>
                        <a:pt x="110833" y="68888"/>
                        <a:pt x="110833" y="68888"/>
                        <a:pt x="110833" y="68888"/>
                      </a:cubicBezTo>
                      <a:cubicBezTo>
                        <a:pt x="112083" y="71555"/>
                        <a:pt x="112083" y="71555"/>
                        <a:pt x="112083" y="71555"/>
                      </a:cubicBezTo>
                      <a:cubicBezTo>
                        <a:pt x="112916" y="72888"/>
                        <a:pt x="112916" y="72888"/>
                        <a:pt x="112916" y="72888"/>
                      </a:cubicBezTo>
                      <a:cubicBezTo>
                        <a:pt x="112083" y="73777"/>
                        <a:pt x="112083" y="73777"/>
                        <a:pt x="112083" y="73777"/>
                      </a:cubicBezTo>
                      <a:cubicBezTo>
                        <a:pt x="113333" y="74222"/>
                        <a:pt x="113333" y="74222"/>
                        <a:pt x="113333" y="74222"/>
                      </a:cubicBezTo>
                      <a:cubicBezTo>
                        <a:pt x="115000" y="74222"/>
                        <a:pt x="115000" y="74222"/>
                        <a:pt x="115000" y="74222"/>
                      </a:cubicBezTo>
                      <a:cubicBezTo>
                        <a:pt x="115000" y="75555"/>
                        <a:pt x="115000" y="75555"/>
                        <a:pt x="115000" y="75555"/>
                      </a:cubicBezTo>
                      <a:cubicBezTo>
                        <a:pt x="117916" y="77333"/>
                        <a:pt x="117916" y="77333"/>
                        <a:pt x="117916" y="77333"/>
                      </a:cubicBezTo>
                      <a:cubicBezTo>
                        <a:pt x="117083" y="77333"/>
                        <a:pt x="117083" y="77333"/>
                        <a:pt x="117083" y="77333"/>
                      </a:cubicBezTo>
                      <a:cubicBezTo>
                        <a:pt x="113750" y="78222"/>
                        <a:pt x="113750" y="78222"/>
                        <a:pt x="113750" y="78222"/>
                      </a:cubicBezTo>
                      <a:cubicBezTo>
                        <a:pt x="112083" y="80888"/>
                        <a:pt x="112083" y="80888"/>
                        <a:pt x="112083" y="80888"/>
                      </a:cubicBezTo>
                      <a:cubicBezTo>
                        <a:pt x="107083" y="80888"/>
                        <a:pt x="107083" y="80888"/>
                        <a:pt x="107083" y="80888"/>
                      </a:cubicBezTo>
                      <a:cubicBezTo>
                        <a:pt x="106250" y="86222"/>
                        <a:pt x="106250" y="86222"/>
                        <a:pt x="106250" y="86222"/>
                      </a:cubicBezTo>
                      <a:cubicBezTo>
                        <a:pt x="105000" y="89777"/>
                        <a:pt x="105000" y="89777"/>
                        <a:pt x="105000" y="89777"/>
                      </a:cubicBezTo>
                      <a:cubicBezTo>
                        <a:pt x="103750" y="93777"/>
                        <a:pt x="103750" y="93777"/>
                        <a:pt x="103750" y="93777"/>
                      </a:cubicBezTo>
                      <a:cubicBezTo>
                        <a:pt x="104583" y="96000"/>
                        <a:pt x="104583" y="96000"/>
                        <a:pt x="104583" y="96000"/>
                      </a:cubicBezTo>
                      <a:cubicBezTo>
                        <a:pt x="105833" y="99111"/>
                        <a:pt x="105833" y="99111"/>
                        <a:pt x="105833" y="99111"/>
                      </a:cubicBezTo>
                      <a:cubicBezTo>
                        <a:pt x="108333" y="102222"/>
                        <a:pt x="108333" y="102222"/>
                        <a:pt x="108333" y="102222"/>
                      </a:cubicBezTo>
                      <a:cubicBezTo>
                        <a:pt x="108333" y="102222"/>
                        <a:pt x="108333" y="102222"/>
                        <a:pt x="108333" y="102222"/>
                      </a:cubicBezTo>
                      <a:cubicBezTo>
                        <a:pt x="105833" y="103111"/>
                        <a:pt x="105833" y="103111"/>
                        <a:pt x="105833" y="103111"/>
                      </a:cubicBezTo>
                      <a:cubicBezTo>
                        <a:pt x="104166" y="103555"/>
                        <a:pt x="104166" y="103555"/>
                        <a:pt x="104166" y="103555"/>
                      </a:cubicBezTo>
                      <a:cubicBezTo>
                        <a:pt x="102500" y="100888"/>
                        <a:pt x="102500" y="100888"/>
                        <a:pt x="102500" y="100888"/>
                      </a:cubicBezTo>
                      <a:cubicBezTo>
                        <a:pt x="100000" y="100000"/>
                        <a:pt x="100000" y="100000"/>
                        <a:pt x="100000" y="100000"/>
                      </a:cubicBezTo>
                      <a:cubicBezTo>
                        <a:pt x="97083" y="101333"/>
                        <a:pt x="97083" y="101333"/>
                        <a:pt x="97083" y="101333"/>
                      </a:cubicBezTo>
                      <a:cubicBezTo>
                        <a:pt x="94166" y="102222"/>
                        <a:pt x="94166" y="102222"/>
                        <a:pt x="94166" y="102222"/>
                      </a:cubicBezTo>
                      <a:cubicBezTo>
                        <a:pt x="93333" y="102222"/>
                        <a:pt x="93333" y="102222"/>
                        <a:pt x="93333" y="102222"/>
                      </a:cubicBezTo>
                      <a:cubicBezTo>
                        <a:pt x="92500" y="104000"/>
                        <a:pt x="92500" y="104000"/>
                        <a:pt x="92500" y="104000"/>
                      </a:cubicBezTo>
                      <a:cubicBezTo>
                        <a:pt x="90000" y="105333"/>
                        <a:pt x="90000" y="105333"/>
                        <a:pt x="90000" y="105333"/>
                      </a:cubicBezTo>
                      <a:cubicBezTo>
                        <a:pt x="90000" y="105333"/>
                        <a:pt x="89166" y="104444"/>
                        <a:pt x="88750" y="104000"/>
                      </a:cubicBezTo>
                      <a:cubicBezTo>
                        <a:pt x="88333" y="103555"/>
                        <a:pt x="87083" y="102666"/>
                        <a:pt x="87083" y="102666"/>
                      </a:cubicBezTo>
                      <a:cubicBezTo>
                        <a:pt x="87083" y="102666"/>
                        <a:pt x="86666" y="101777"/>
                        <a:pt x="86250" y="101333"/>
                      </a:cubicBezTo>
                      <a:cubicBezTo>
                        <a:pt x="85833" y="101333"/>
                        <a:pt x="83333" y="103111"/>
                        <a:pt x="83333" y="103111"/>
                      </a:cubicBezTo>
                      <a:cubicBezTo>
                        <a:pt x="83333" y="103111"/>
                        <a:pt x="81250" y="104444"/>
                        <a:pt x="81250" y="104888"/>
                      </a:cubicBezTo>
                      <a:cubicBezTo>
                        <a:pt x="81666" y="104888"/>
                        <a:pt x="81250" y="107111"/>
                        <a:pt x="81250" y="107111"/>
                      </a:cubicBezTo>
                      <a:cubicBezTo>
                        <a:pt x="78333" y="104444"/>
                        <a:pt x="78333" y="104444"/>
                        <a:pt x="78333" y="104444"/>
                      </a:cubicBezTo>
                      <a:cubicBezTo>
                        <a:pt x="76250" y="106222"/>
                        <a:pt x="76250" y="106222"/>
                        <a:pt x="76250" y="106222"/>
                      </a:cubicBezTo>
                      <a:cubicBezTo>
                        <a:pt x="74583" y="104888"/>
                        <a:pt x="74583" y="104888"/>
                        <a:pt x="74583" y="104888"/>
                      </a:cubicBezTo>
                      <a:cubicBezTo>
                        <a:pt x="73750" y="104444"/>
                        <a:pt x="73750" y="104444"/>
                        <a:pt x="73750" y="104444"/>
                      </a:cubicBezTo>
                      <a:cubicBezTo>
                        <a:pt x="71250" y="107555"/>
                        <a:pt x="71250" y="107555"/>
                        <a:pt x="71250" y="107555"/>
                      </a:cubicBezTo>
                      <a:cubicBezTo>
                        <a:pt x="69583" y="106666"/>
                        <a:pt x="69583" y="106666"/>
                        <a:pt x="69583" y="106666"/>
                      </a:cubicBezTo>
                      <a:cubicBezTo>
                        <a:pt x="68750" y="109777"/>
                        <a:pt x="68750" y="109777"/>
                        <a:pt x="68750" y="109777"/>
                      </a:cubicBezTo>
                      <a:cubicBezTo>
                        <a:pt x="66666" y="108000"/>
                        <a:pt x="66666" y="108000"/>
                        <a:pt x="66666" y="108000"/>
                      </a:cubicBezTo>
                      <a:cubicBezTo>
                        <a:pt x="66666" y="108000"/>
                        <a:pt x="64583" y="107555"/>
                        <a:pt x="64166" y="107555"/>
                      </a:cubicBezTo>
                      <a:cubicBezTo>
                        <a:pt x="63750" y="107555"/>
                        <a:pt x="62500" y="109333"/>
                        <a:pt x="62500" y="109333"/>
                      </a:cubicBezTo>
                      <a:cubicBezTo>
                        <a:pt x="60416" y="107555"/>
                        <a:pt x="60416" y="107555"/>
                        <a:pt x="60416" y="107555"/>
                      </a:cubicBezTo>
                      <a:cubicBezTo>
                        <a:pt x="58750" y="106222"/>
                        <a:pt x="58750" y="106222"/>
                        <a:pt x="58750" y="106222"/>
                      </a:cubicBezTo>
                      <a:cubicBezTo>
                        <a:pt x="58750" y="106222"/>
                        <a:pt x="54166" y="106666"/>
                        <a:pt x="53750" y="106666"/>
                      </a:cubicBezTo>
                      <a:cubicBezTo>
                        <a:pt x="53333" y="106666"/>
                        <a:pt x="50416" y="106222"/>
                        <a:pt x="50416" y="106222"/>
                      </a:cubicBezTo>
                      <a:cubicBezTo>
                        <a:pt x="46666" y="107111"/>
                        <a:pt x="46666" y="107111"/>
                        <a:pt x="46666" y="107111"/>
                      </a:cubicBezTo>
                      <a:cubicBezTo>
                        <a:pt x="41250" y="107111"/>
                        <a:pt x="41250" y="107111"/>
                        <a:pt x="41250" y="107111"/>
                      </a:cubicBezTo>
                      <a:cubicBezTo>
                        <a:pt x="36250" y="107555"/>
                        <a:pt x="36250" y="107555"/>
                        <a:pt x="36250" y="107555"/>
                      </a:cubicBezTo>
                      <a:cubicBezTo>
                        <a:pt x="32500" y="107555"/>
                        <a:pt x="32500" y="107555"/>
                        <a:pt x="32500" y="107555"/>
                      </a:cubicBezTo>
                      <a:cubicBezTo>
                        <a:pt x="29583" y="109777"/>
                        <a:pt x="29583" y="109777"/>
                        <a:pt x="29583" y="109777"/>
                      </a:cubicBezTo>
                      <a:cubicBezTo>
                        <a:pt x="26666" y="110222"/>
                        <a:pt x="26666" y="110222"/>
                        <a:pt x="26666" y="110222"/>
                      </a:cubicBezTo>
                      <a:cubicBezTo>
                        <a:pt x="23333" y="110666"/>
                        <a:pt x="23333" y="110666"/>
                        <a:pt x="23333" y="110666"/>
                      </a:cubicBezTo>
                      <a:cubicBezTo>
                        <a:pt x="22916" y="110666"/>
                        <a:pt x="22916" y="110666"/>
                        <a:pt x="22916" y="110666"/>
                      </a:cubicBezTo>
                      <a:cubicBezTo>
                        <a:pt x="22500" y="111111"/>
                        <a:pt x="22500" y="111111"/>
                        <a:pt x="22500" y="111111"/>
                      </a:cubicBezTo>
                      <a:cubicBezTo>
                        <a:pt x="21250" y="112000"/>
                        <a:pt x="21250" y="112000"/>
                        <a:pt x="21250" y="112000"/>
                      </a:cubicBezTo>
                      <a:cubicBezTo>
                        <a:pt x="21250" y="112444"/>
                        <a:pt x="21250" y="112444"/>
                        <a:pt x="21250" y="112444"/>
                      </a:cubicBezTo>
                      <a:cubicBezTo>
                        <a:pt x="20416" y="113333"/>
                        <a:pt x="20416" y="113333"/>
                        <a:pt x="20416" y="113333"/>
                      </a:cubicBezTo>
                      <a:cubicBezTo>
                        <a:pt x="20000" y="115555"/>
                        <a:pt x="20000" y="115555"/>
                        <a:pt x="20000" y="115555"/>
                      </a:cubicBezTo>
                      <a:cubicBezTo>
                        <a:pt x="19583" y="116444"/>
                        <a:pt x="18750" y="117333"/>
                        <a:pt x="18333" y="118222"/>
                      </a:cubicBezTo>
                      <a:cubicBezTo>
                        <a:pt x="18333" y="118222"/>
                        <a:pt x="18333" y="118222"/>
                        <a:pt x="18333" y="118222"/>
                      </a:cubicBezTo>
                      <a:cubicBezTo>
                        <a:pt x="18333" y="118222"/>
                        <a:pt x="17083" y="117777"/>
                        <a:pt x="17083" y="118666"/>
                      </a:cubicBezTo>
                      <a:cubicBezTo>
                        <a:pt x="17083" y="119111"/>
                        <a:pt x="17083" y="119111"/>
                        <a:pt x="17083" y="119111"/>
                      </a:cubicBezTo>
                      <a:cubicBezTo>
                        <a:pt x="15833" y="119555"/>
                        <a:pt x="13750" y="118666"/>
                        <a:pt x="13750" y="118666"/>
                      </a:cubicBezTo>
                      <a:cubicBezTo>
                        <a:pt x="11250" y="120000"/>
                        <a:pt x="11250" y="120000"/>
                        <a:pt x="11250" y="120000"/>
                      </a:cubicBezTo>
                      <a:cubicBezTo>
                        <a:pt x="11250" y="120000"/>
                        <a:pt x="11250" y="120000"/>
                        <a:pt x="11250" y="120000"/>
                      </a:cubicBezTo>
                      <a:cubicBezTo>
                        <a:pt x="11250" y="119555"/>
                        <a:pt x="10416" y="117777"/>
                        <a:pt x="10416" y="117777"/>
                      </a:cubicBezTo>
                      <a:cubicBezTo>
                        <a:pt x="10416" y="117777"/>
                        <a:pt x="10833" y="114666"/>
                        <a:pt x="10833" y="114666"/>
                      </a:cubicBezTo>
                      <a:cubicBezTo>
                        <a:pt x="10833" y="114222"/>
                        <a:pt x="10416" y="110666"/>
                        <a:pt x="10416" y="110666"/>
                      </a:cubicBezTo>
                      <a:cubicBezTo>
                        <a:pt x="10416" y="108888"/>
                        <a:pt x="10416" y="108888"/>
                        <a:pt x="10416" y="108888"/>
                      </a:cubicBezTo>
                      <a:cubicBezTo>
                        <a:pt x="7916" y="107111"/>
                        <a:pt x="7916" y="107111"/>
                        <a:pt x="7916" y="107111"/>
                      </a:cubicBezTo>
                      <a:cubicBezTo>
                        <a:pt x="7916" y="107111"/>
                        <a:pt x="5000" y="106666"/>
                        <a:pt x="4166" y="106666"/>
                      </a:cubicBezTo>
                      <a:cubicBezTo>
                        <a:pt x="3750" y="106666"/>
                        <a:pt x="3333" y="105333"/>
                        <a:pt x="3333" y="105333"/>
                      </a:cubicBezTo>
                      <a:cubicBezTo>
                        <a:pt x="3750" y="104000"/>
                        <a:pt x="3750" y="104000"/>
                        <a:pt x="3750" y="104000"/>
                      </a:cubicBezTo>
                      <a:cubicBezTo>
                        <a:pt x="5000" y="100000"/>
                        <a:pt x="5000" y="100000"/>
                        <a:pt x="5000" y="100000"/>
                      </a:cubicBezTo>
                      <a:cubicBezTo>
                        <a:pt x="7083" y="96888"/>
                        <a:pt x="7083" y="96888"/>
                        <a:pt x="7083" y="96888"/>
                      </a:cubicBezTo>
                      <a:cubicBezTo>
                        <a:pt x="8750" y="96000"/>
                        <a:pt x="8750" y="96000"/>
                        <a:pt x="8750" y="96000"/>
                      </a:cubicBezTo>
                      <a:cubicBezTo>
                        <a:pt x="8750" y="96000"/>
                        <a:pt x="10416" y="93333"/>
                        <a:pt x="10833" y="92888"/>
                      </a:cubicBezTo>
                      <a:cubicBezTo>
                        <a:pt x="11250" y="92888"/>
                        <a:pt x="10833" y="90666"/>
                        <a:pt x="10416" y="90666"/>
                      </a:cubicBezTo>
                      <a:cubicBezTo>
                        <a:pt x="10416" y="90222"/>
                        <a:pt x="10416" y="88888"/>
                        <a:pt x="10416" y="88444"/>
                      </a:cubicBezTo>
                      <a:cubicBezTo>
                        <a:pt x="10416" y="87555"/>
                        <a:pt x="9166" y="86222"/>
                        <a:pt x="9166" y="86222"/>
                      </a:cubicBezTo>
                      <a:cubicBezTo>
                        <a:pt x="8750" y="82666"/>
                        <a:pt x="8750" y="82666"/>
                        <a:pt x="8750" y="82666"/>
                      </a:cubicBezTo>
                      <a:cubicBezTo>
                        <a:pt x="7916" y="81777"/>
                        <a:pt x="7916" y="81777"/>
                        <a:pt x="7916" y="81777"/>
                      </a:cubicBezTo>
                      <a:cubicBezTo>
                        <a:pt x="7916" y="81333"/>
                        <a:pt x="7916" y="81333"/>
                        <a:pt x="7916" y="81333"/>
                      </a:cubicBezTo>
                      <a:cubicBezTo>
                        <a:pt x="5416" y="77777"/>
                        <a:pt x="5416" y="77777"/>
                        <a:pt x="5416" y="77777"/>
                      </a:cubicBezTo>
                      <a:cubicBezTo>
                        <a:pt x="3333" y="72888"/>
                        <a:pt x="3333" y="72888"/>
                        <a:pt x="3333" y="72888"/>
                      </a:cubicBezTo>
                      <a:cubicBezTo>
                        <a:pt x="3333" y="72888"/>
                        <a:pt x="833" y="68444"/>
                        <a:pt x="416" y="66666"/>
                      </a:cubicBezTo>
                      <a:cubicBezTo>
                        <a:pt x="0" y="65333"/>
                        <a:pt x="0" y="65333"/>
                        <a:pt x="0" y="65333"/>
                      </a:cubicBezTo>
                      <a:cubicBezTo>
                        <a:pt x="3750" y="64444"/>
                        <a:pt x="3750" y="64444"/>
                        <a:pt x="3750" y="64444"/>
                      </a:cubicBezTo>
                      <a:cubicBezTo>
                        <a:pt x="7916" y="62666"/>
                        <a:pt x="7916" y="62666"/>
                        <a:pt x="7916" y="62666"/>
                      </a:cubicBezTo>
                      <a:cubicBezTo>
                        <a:pt x="10416" y="63111"/>
                        <a:pt x="10416" y="63111"/>
                        <a:pt x="10416" y="63111"/>
                      </a:cubicBezTo>
                      <a:cubicBezTo>
                        <a:pt x="13333" y="62666"/>
                        <a:pt x="13333" y="62666"/>
                        <a:pt x="13333" y="62666"/>
                      </a:cubicBezTo>
                      <a:cubicBezTo>
                        <a:pt x="15000" y="60444"/>
                        <a:pt x="15000" y="60444"/>
                        <a:pt x="15000" y="60444"/>
                      </a:cubicBezTo>
                      <a:cubicBezTo>
                        <a:pt x="17083" y="60444"/>
                        <a:pt x="17083" y="60444"/>
                        <a:pt x="17083" y="60444"/>
                      </a:cubicBezTo>
                      <a:cubicBezTo>
                        <a:pt x="16250" y="57333"/>
                        <a:pt x="16250" y="57333"/>
                        <a:pt x="16250" y="57333"/>
                      </a:cubicBezTo>
                      <a:cubicBezTo>
                        <a:pt x="16250" y="57333"/>
                        <a:pt x="16666" y="56000"/>
                        <a:pt x="17083" y="56444"/>
                      </a:cubicBezTo>
                      <a:cubicBezTo>
                        <a:pt x="17916" y="56444"/>
                        <a:pt x="19583" y="56444"/>
                        <a:pt x="19583" y="56444"/>
                      </a:cubicBezTo>
                      <a:cubicBezTo>
                        <a:pt x="20416" y="54666"/>
                        <a:pt x="20416" y="54666"/>
                        <a:pt x="20416" y="54666"/>
                      </a:cubicBezTo>
                      <a:cubicBezTo>
                        <a:pt x="20416" y="53777"/>
                        <a:pt x="20416" y="53777"/>
                        <a:pt x="20416" y="53777"/>
                      </a:cubicBezTo>
                      <a:cubicBezTo>
                        <a:pt x="23333" y="52888"/>
                        <a:pt x="23333" y="52888"/>
                        <a:pt x="23333" y="52888"/>
                      </a:cubicBezTo>
                      <a:cubicBezTo>
                        <a:pt x="24583" y="51555"/>
                        <a:pt x="24583" y="51555"/>
                        <a:pt x="24583" y="51555"/>
                      </a:cubicBezTo>
                      <a:cubicBezTo>
                        <a:pt x="25416" y="52444"/>
                        <a:pt x="25416" y="52444"/>
                        <a:pt x="25416" y="52444"/>
                      </a:cubicBezTo>
                      <a:cubicBezTo>
                        <a:pt x="25000" y="54222"/>
                        <a:pt x="25000" y="54222"/>
                        <a:pt x="25000" y="54222"/>
                      </a:cubicBezTo>
                      <a:cubicBezTo>
                        <a:pt x="27083" y="53777"/>
                        <a:pt x="27083" y="53777"/>
                        <a:pt x="27083" y="53777"/>
                      </a:cubicBezTo>
                      <a:cubicBezTo>
                        <a:pt x="27916" y="51111"/>
                        <a:pt x="27916" y="51111"/>
                        <a:pt x="27916" y="51111"/>
                      </a:cubicBezTo>
                      <a:cubicBezTo>
                        <a:pt x="27083" y="50666"/>
                        <a:pt x="27083" y="50666"/>
                        <a:pt x="27083" y="50666"/>
                      </a:cubicBezTo>
                      <a:cubicBezTo>
                        <a:pt x="25000" y="49777"/>
                        <a:pt x="25000" y="49777"/>
                        <a:pt x="25000" y="49777"/>
                      </a:cubicBezTo>
                      <a:cubicBezTo>
                        <a:pt x="25000" y="49777"/>
                        <a:pt x="24166" y="50222"/>
                        <a:pt x="24166" y="49333"/>
                      </a:cubicBezTo>
                      <a:cubicBezTo>
                        <a:pt x="24583" y="48000"/>
                        <a:pt x="25416" y="45777"/>
                        <a:pt x="25416" y="45777"/>
                      </a:cubicBezTo>
                      <a:cubicBezTo>
                        <a:pt x="25000" y="43111"/>
                        <a:pt x="25000" y="43111"/>
                        <a:pt x="25000" y="43111"/>
                      </a:cubicBezTo>
                      <a:cubicBezTo>
                        <a:pt x="24583" y="40000"/>
                        <a:pt x="24583" y="40000"/>
                        <a:pt x="24583" y="40000"/>
                      </a:cubicBezTo>
                      <a:cubicBezTo>
                        <a:pt x="25000" y="38222"/>
                        <a:pt x="25000" y="38222"/>
                        <a:pt x="25000" y="38222"/>
                      </a:cubicBezTo>
                      <a:cubicBezTo>
                        <a:pt x="25000" y="36444"/>
                        <a:pt x="25000" y="36444"/>
                        <a:pt x="25000" y="36444"/>
                      </a:cubicBezTo>
                      <a:cubicBezTo>
                        <a:pt x="25833" y="34666"/>
                        <a:pt x="25833" y="34666"/>
                        <a:pt x="25833" y="34666"/>
                      </a:cubicBezTo>
                      <a:cubicBezTo>
                        <a:pt x="29166" y="33333"/>
                        <a:pt x="29166" y="33333"/>
                        <a:pt x="29166" y="33333"/>
                      </a:cubicBezTo>
                      <a:cubicBezTo>
                        <a:pt x="29166" y="30222"/>
                        <a:pt x="29166" y="30222"/>
                        <a:pt x="29166" y="30222"/>
                      </a:cubicBezTo>
                      <a:cubicBezTo>
                        <a:pt x="30416" y="28888"/>
                        <a:pt x="30416" y="28888"/>
                        <a:pt x="30416" y="28888"/>
                      </a:cubicBezTo>
                      <a:lnTo>
                        <a:pt x="33750" y="29333"/>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73" name="Shape 2032"/>
                <p:cNvSpPr/>
                <p:nvPr/>
              </p:nvSpPr>
              <p:spPr>
                <a:xfrm>
                  <a:off x="6376066" y="2862203"/>
                  <a:ext cx="354016" cy="336671"/>
                </a:xfrm>
                <a:custGeom>
                  <a:avLst/>
                  <a:gdLst/>
                  <a:ahLst/>
                  <a:cxnLst/>
                  <a:rect l="0" t="0" r="0" b="0"/>
                  <a:pathLst>
                    <a:path w="120000" h="120000" extrusionOk="0">
                      <a:moveTo>
                        <a:pt x="76645" y="120000"/>
                      </a:moveTo>
                      <a:cubicBezTo>
                        <a:pt x="77419" y="116842"/>
                        <a:pt x="77419" y="116842"/>
                        <a:pt x="77419" y="116842"/>
                      </a:cubicBezTo>
                      <a:cubicBezTo>
                        <a:pt x="77419" y="116842"/>
                        <a:pt x="79741" y="116052"/>
                        <a:pt x="80516" y="116052"/>
                      </a:cubicBezTo>
                      <a:cubicBezTo>
                        <a:pt x="81290" y="115263"/>
                        <a:pt x="82064" y="116052"/>
                        <a:pt x="82838" y="115263"/>
                      </a:cubicBezTo>
                      <a:cubicBezTo>
                        <a:pt x="83612" y="115263"/>
                        <a:pt x="85161" y="114473"/>
                        <a:pt x="85161" y="114473"/>
                      </a:cubicBezTo>
                      <a:cubicBezTo>
                        <a:pt x="84387" y="114473"/>
                        <a:pt x="84387" y="114473"/>
                        <a:pt x="84387" y="114473"/>
                      </a:cubicBezTo>
                      <a:cubicBezTo>
                        <a:pt x="84387" y="112894"/>
                        <a:pt x="84387" y="112894"/>
                        <a:pt x="84387" y="112894"/>
                      </a:cubicBezTo>
                      <a:cubicBezTo>
                        <a:pt x="85161" y="111315"/>
                        <a:pt x="85161" y="111315"/>
                        <a:pt x="85161" y="111315"/>
                      </a:cubicBezTo>
                      <a:cubicBezTo>
                        <a:pt x="82064" y="109736"/>
                        <a:pt x="82064" y="109736"/>
                        <a:pt x="82064" y="109736"/>
                      </a:cubicBezTo>
                      <a:cubicBezTo>
                        <a:pt x="82838" y="108157"/>
                        <a:pt x="82838" y="108157"/>
                        <a:pt x="82838" y="108157"/>
                      </a:cubicBezTo>
                      <a:cubicBezTo>
                        <a:pt x="82838" y="108157"/>
                        <a:pt x="82064" y="106578"/>
                        <a:pt x="82838" y="106578"/>
                      </a:cubicBezTo>
                      <a:cubicBezTo>
                        <a:pt x="83612" y="106578"/>
                        <a:pt x="83612" y="104210"/>
                        <a:pt x="83612" y="104210"/>
                      </a:cubicBezTo>
                      <a:cubicBezTo>
                        <a:pt x="84387" y="102631"/>
                        <a:pt x="84387" y="102631"/>
                        <a:pt x="84387" y="102631"/>
                      </a:cubicBezTo>
                      <a:cubicBezTo>
                        <a:pt x="85935" y="102631"/>
                        <a:pt x="85935" y="102631"/>
                        <a:pt x="85935" y="102631"/>
                      </a:cubicBezTo>
                      <a:cubicBezTo>
                        <a:pt x="85935" y="102631"/>
                        <a:pt x="85935" y="101052"/>
                        <a:pt x="86709" y="100263"/>
                      </a:cubicBezTo>
                      <a:cubicBezTo>
                        <a:pt x="86709" y="100263"/>
                        <a:pt x="87483" y="99473"/>
                        <a:pt x="87483" y="99473"/>
                      </a:cubicBezTo>
                      <a:cubicBezTo>
                        <a:pt x="86709" y="97105"/>
                        <a:pt x="86709" y="97105"/>
                        <a:pt x="86709" y="97105"/>
                      </a:cubicBezTo>
                      <a:cubicBezTo>
                        <a:pt x="86709" y="97105"/>
                        <a:pt x="85161" y="94736"/>
                        <a:pt x="85935" y="94736"/>
                      </a:cubicBezTo>
                      <a:cubicBezTo>
                        <a:pt x="86709" y="94736"/>
                        <a:pt x="87483" y="93947"/>
                        <a:pt x="87483" y="93947"/>
                      </a:cubicBezTo>
                      <a:cubicBezTo>
                        <a:pt x="87483" y="93947"/>
                        <a:pt x="89806" y="91578"/>
                        <a:pt x="90580" y="91578"/>
                      </a:cubicBezTo>
                      <a:cubicBezTo>
                        <a:pt x="90580" y="91578"/>
                        <a:pt x="92129" y="90000"/>
                        <a:pt x="92129" y="89210"/>
                      </a:cubicBezTo>
                      <a:cubicBezTo>
                        <a:pt x="91354" y="88421"/>
                        <a:pt x="90580" y="87631"/>
                        <a:pt x="90580" y="87631"/>
                      </a:cubicBezTo>
                      <a:cubicBezTo>
                        <a:pt x="91354" y="84473"/>
                        <a:pt x="91354" y="84473"/>
                        <a:pt x="91354" y="84473"/>
                      </a:cubicBezTo>
                      <a:cubicBezTo>
                        <a:pt x="91354" y="84473"/>
                        <a:pt x="92129" y="82894"/>
                        <a:pt x="91354" y="82894"/>
                      </a:cubicBezTo>
                      <a:cubicBezTo>
                        <a:pt x="90580" y="82105"/>
                        <a:pt x="89032" y="82105"/>
                        <a:pt x="89032" y="82105"/>
                      </a:cubicBezTo>
                      <a:cubicBezTo>
                        <a:pt x="87483" y="80526"/>
                        <a:pt x="87483" y="80526"/>
                        <a:pt x="87483" y="80526"/>
                      </a:cubicBezTo>
                      <a:cubicBezTo>
                        <a:pt x="87483" y="78157"/>
                        <a:pt x="87483" y="78157"/>
                        <a:pt x="87483" y="78157"/>
                      </a:cubicBezTo>
                      <a:cubicBezTo>
                        <a:pt x="85935" y="75789"/>
                        <a:pt x="85935" y="75789"/>
                        <a:pt x="85935" y="75789"/>
                      </a:cubicBezTo>
                      <a:cubicBezTo>
                        <a:pt x="85935" y="75789"/>
                        <a:pt x="85935" y="74210"/>
                        <a:pt x="85935" y="73421"/>
                      </a:cubicBezTo>
                      <a:cubicBezTo>
                        <a:pt x="86709" y="73421"/>
                        <a:pt x="88258" y="70263"/>
                        <a:pt x="88258" y="69473"/>
                      </a:cubicBezTo>
                      <a:cubicBezTo>
                        <a:pt x="89032" y="69473"/>
                        <a:pt x="92129" y="66315"/>
                        <a:pt x="92129" y="66315"/>
                      </a:cubicBezTo>
                      <a:cubicBezTo>
                        <a:pt x="93677" y="70263"/>
                        <a:pt x="93677" y="70263"/>
                        <a:pt x="93677" y="70263"/>
                      </a:cubicBezTo>
                      <a:cubicBezTo>
                        <a:pt x="93677" y="73421"/>
                        <a:pt x="93677" y="73421"/>
                        <a:pt x="93677" y="73421"/>
                      </a:cubicBezTo>
                      <a:cubicBezTo>
                        <a:pt x="93677" y="73421"/>
                        <a:pt x="92903" y="75000"/>
                        <a:pt x="93677" y="75000"/>
                      </a:cubicBezTo>
                      <a:cubicBezTo>
                        <a:pt x="95225" y="74210"/>
                        <a:pt x="95225" y="72631"/>
                        <a:pt x="95225" y="72631"/>
                      </a:cubicBezTo>
                      <a:cubicBezTo>
                        <a:pt x="96000" y="71842"/>
                        <a:pt x="96000" y="71842"/>
                        <a:pt x="96000" y="71842"/>
                      </a:cubicBezTo>
                      <a:cubicBezTo>
                        <a:pt x="96000" y="71842"/>
                        <a:pt x="94451" y="69473"/>
                        <a:pt x="95225" y="69473"/>
                      </a:cubicBezTo>
                      <a:cubicBezTo>
                        <a:pt x="96000" y="69473"/>
                        <a:pt x="96000" y="67894"/>
                        <a:pt x="96000" y="69473"/>
                      </a:cubicBezTo>
                      <a:cubicBezTo>
                        <a:pt x="96774" y="70263"/>
                        <a:pt x="96774" y="71842"/>
                        <a:pt x="97548" y="71052"/>
                      </a:cubicBezTo>
                      <a:cubicBezTo>
                        <a:pt x="99096" y="71052"/>
                        <a:pt x="99096" y="71842"/>
                        <a:pt x="99096" y="71052"/>
                      </a:cubicBezTo>
                      <a:cubicBezTo>
                        <a:pt x="99870" y="70263"/>
                        <a:pt x="99870" y="69473"/>
                        <a:pt x="99870" y="69473"/>
                      </a:cubicBezTo>
                      <a:cubicBezTo>
                        <a:pt x="100645" y="68684"/>
                        <a:pt x="100645" y="68684"/>
                        <a:pt x="100645" y="68684"/>
                      </a:cubicBezTo>
                      <a:cubicBezTo>
                        <a:pt x="100645" y="68684"/>
                        <a:pt x="100645" y="70263"/>
                        <a:pt x="101419" y="70263"/>
                      </a:cubicBezTo>
                      <a:cubicBezTo>
                        <a:pt x="102193" y="70263"/>
                        <a:pt x="103741" y="70263"/>
                        <a:pt x="103741" y="70263"/>
                      </a:cubicBezTo>
                      <a:cubicBezTo>
                        <a:pt x="105290" y="71052"/>
                        <a:pt x="105290" y="71052"/>
                        <a:pt x="105290" y="71052"/>
                      </a:cubicBezTo>
                      <a:cubicBezTo>
                        <a:pt x="105290" y="71052"/>
                        <a:pt x="106064" y="71052"/>
                        <a:pt x="106064" y="70263"/>
                      </a:cubicBezTo>
                      <a:cubicBezTo>
                        <a:pt x="106064" y="69473"/>
                        <a:pt x="106064" y="68684"/>
                        <a:pt x="106064" y="68684"/>
                      </a:cubicBezTo>
                      <a:cubicBezTo>
                        <a:pt x="107612" y="67894"/>
                        <a:pt x="107612" y="67894"/>
                        <a:pt x="107612" y="67894"/>
                      </a:cubicBezTo>
                      <a:cubicBezTo>
                        <a:pt x="107612" y="65526"/>
                        <a:pt x="107612" y="65526"/>
                        <a:pt x="107612" y="65526"/>
                      </a:cubicBezTo>
                      <a:cubicBezTo>
                        <a:pt x="110709" y="67894"/>
                        <a:pt x="110709" y="67894"/>
                        <a:pt x="110709" y="67894"/>
                      </a:cubicBezTo>
                      <a:cubicBezTo>
                        <a:pt x="111483" y="70263"/>
                        <a:pt x="111483" y="70263"/>
                        <a:pt x="111483" y="70263"/>
                      </a:cubicBezTo>
                      <a:cubicBezTo>
                        <a:pt x="113032" y="69473"/>
                        <a:pt x="113032" y="69473"/>
                        <a:pt x="113032" y="69473"/>
                      </a:cubicBezTo>
                      <a:cubicBezTo>
                        <a:pt x="113806" y="67105"/>
                        <a:pt x="113806" y="67105"/>
                        <a:pt x="113806" y="67105"/>
                      </a:cubicBezTo>
                      <a:cubicBezTo>
                        <a:pt x="113806" y="67105"/>
                        <a:pt x="116129" y="67105"/>
                        <a:pt x="116903" y="66315"/>
                      </a:cubicBezTo>
                      <a:cubicBezTo>
                        <a:pt x="117677" y="66315"/>
                        <a:pt x="120000" y="65526"/>
                        <a:pt x="120000" y="65526"/>
                      </a:cubicBezTo>
                      <a:cubicBezTo>
                        <a:pt x="120000" y="64736"/>
                        <a:pt x="118451" y="63947"/>
                        <a:pt x="117677" y="64736"/>
                      </a:cubicBezTo>
                      <a:cubicBezTo>
                        <a:pt x="116903" y="64736"/>
                        <a:pt x="115354" y="65526"/>
                        <a:pt x="114580" y="64736"/>
                      </a:cubicBezTo>
                      <a:cubicBezTo>
                        <a:pt x="114580" y="63947"/>
                        <a:pt x="113032" y="62368"/>
                        <a:pt x="113032" y="62368"/>
                      </a:cubicBezTo>
                      <a:cubicBezTo>
                        <a:pt x="111483" y="62368"/>
                        <a:pt x="111483" y="62368"/>
                        <a:pt x="111483" y="62368"/>
                      </a:cubicBezTo>
                      <a:cubicBezTo>
                        <a:pt x="111483" y="62368"/>
                        <a:pt x="109935" y="61578"/>
                        <a:pt x="110709" y="60789"/>
                      </a:cubicBezTo>
                      <a:cubicBezTo>
                        <a:pt x="111483" y="60000"/>
                        <a:pt x="112258" y="60000"/>
                        <a:pt x="112258" y="60000"/>
                      </a:cubicBezTo>
                      <a:cubicBezTo>
                        <a:pt x="112258" y="60000"/>
                        <a:pt x="111483" y="58421"/>
                        <a:pt x="111483" y="57631"/>
                      </a:cubicBezTo>
                      <a:cubicBezTo>
                        <a:pt x="111483" y="56842"/>
                        <a:pt x="111483" y="55263"/>
                        <a:pt x="110709" y="54473"/>
                      </a:cubicBezTo>
                      <a:cubicBezTo>
                        <a:pt x="110709" y="54473"/>
                        <a:pt x="109161" y="51315"/>
                        <a:pt x="109161" y="51315"/>
                      </a:cubicBezTo>
                      <a:cubicBezTo>
                        <a:pt x="109161" y="49736"/>
                        <a:pt x="109161" y="49736"/>
                        <a:pt x="109161" y="49736"/>
                      </a:cubicBezTo>
                      <a:cubicBezTo>
                        <a:pt x="107612" y="50526"/>
                        <a:pt x="107612" y="50526"/>
                        <a:pt x="107612" y="50526"/>
                      </a:cubicBezTo>
                      <a:cubicBezTo>
                        <a:pt x="106064" y="48947"/>
                        <a:pt x="106064" y="48947"/>
                        <a:pt x="106064" y="48947"/>
                      </a:cubicBezTo>
                      <a:cubicBezTo>
                        <a:pt x="106064" y="48947"/>
                        <a:pt x="104516" y="48947"/>
                        <a:pt x="104516" y="49736"/>
                      </a:cubicBezTo>
                      <a:cubicBezTo>
                        <a:pt x="103741" y="49736"/>
                        <a:pt x="102967" y="48947"/>
                        <a:pt x="102967" y="48947"/>
                      </a:cubicBezTo>
                      <a:cubicBezTo>
                        <a:pt x="101419" y="48947"/>
                        <a:pt x="101419" y="48947"/>
                        <a:pt x="101419" y="48947"/>
                      </a:cubicBezTo>
                      <a:cubicBezTo>
                        <a:pt x="101419" y="48947"/>
                        <a:pt x="101419" y="48947"/>
                        <a:pt x="99870" y="48947"/>
                      </a:cubicBezTo>
                      <a:cubicBezTo>
                        <a:pt x="99096" y="48947"/>
                        <a:pt x="97548" y="48157"/>
                        <a:pt x="96774" y="48157"/>
                      </a:cubicBezTo>
                      <a:cubicBezTo>
                        <a:pt x="96774" y="47368"/>
                        <a:pt x="96774" y="46578"/>
                        <a:pt x="96774" y="46578"/>
                      </a:cubicBezTo>
                      <a:cubicBezTo>
                        <a:pt x="97548" y="45789"/>
                        <a:pt x="97548" y="45000"/>
                        <a:pt x="97548" y="45000"/>
                      </a:cubicBezTo>
                      <a:cubicBezTo>
                        <a:pt x="97548" y="45000"/>
                        <a:pt x="97548" y="42631"/>
                        <a:pt x="96774" y="42631"/>
                      </a:cubicBezTo>
                      <a:cubicBezTo>
                        <a:pt x="96000" y="42631"/>
                        <a:pt x="94451" y="42631"/>
                        <a:pt x="94451" y="42631"/>
                      </a:cubicBezTo>
                      <a:cubicBezTo>
                        <a:pt x="92903" y="41842"/>
                        <a:pt x="92903" y="41842"/>
                        <a:pt x="92903" y="41842"/>
                      </a:cubicBezTo>
                      <a:cubicBezTo>
                        <a:pt x="95225" y="41052"/>
                        <a:pt x="95225" y="41052"/>
                        <a:pt x="95225" y="41052"/>
                      </a:cubicBezTo>
                      <a:cubicBezTo>
                        <a:pt x="94451" y="39473"/>
                        <a:pt x="94451" y="39473"/>
                        <a:pt x="94451" y="39473"/>
                      </a:cubicBezTo>
                      <a:cubicBezTo>
                        <a:pt x="94451" y="39473"/>
                        <a:pt x="94451" y="37894"/>
                        <a:pt x="94451" y="37894"/>
                      </a:cubicBezTo>
                      <a:cubicBezTo>
                        <a:pt x="94451" y="37105"/>
                        <a:pt x="93677" y="36315"/>
                        <a:pt x="93677" y="36315"/>
                      </a:cubicBezTo>
                      <a:cubicBezTo>
                        <a:pt x="93677" y="33157"/>
                        <a:pt x="93677" y="33157"/>
                        <a:pt x="93677" y="33157"/>
                      </a:cubicBezTo>
                      <a:cubicBezTo>
                        <a:pt x="92129" y="33157"/>
                        <a:pt x="92129" y="33157"/>
                        <a:pt x="92129" y="33157"/>
                      </a:cubicBezTo>
                      <a:cubicBezTo>
                        <a:pt x="90580" y="32368"/>
                        <a:pt x="90580" y="32368"/>
                        <a:pt x="90580" y="32368"/>
                      </a:cubicBezTo>
                      <a:cubicBezTo>
                        <a:pt x="89806" y="34736"/>
                        <a:pt x="89806" y="34736"/>
                        <a:pt x="89806" y="34736"/>
                      </a:cubicBezTo>
                      <a:cubicBezTo>
                        <a:pt x="88258" y="35526"/>
                        <a:pt x="88258" y="35526"/>
                        <a:pt x="88258" y="35526"/>
                      </a:cubicBezTo>
                      <a:cubicBezTo>
                        <a:pt x="87483" y="33157"/>
                        <a:pt x="87483" y="33157"/>
                        <a:pt x="87483" y="33157"/>
                      </a:cubicBezTo>
                      <a:cubicBezTo>
                        <a:pt x="85935" y="32368"/>
                        <a:pt x="85935" y="32368"/>
                        <a:pt x="85935" y="32368"/>
                      </a:cubicBezTo>
                      <a:cubicBezTo>
                        <a:pt x="85161" y="32368"/>
                        <a:pt x="85161" y="32368"/>
                        <a:pt x="85161" y="32368"/>
                      </a:cubicBezTo>
                      <a:cubicBezTo>
                        <a:pt x="83612" y="30000"/>
                        <a:pt x="83612" y="30000"/>
                        <a:pt x="83612" y="30000"/>
                      </a:cubicBezTo>
                      <a:cubicBezTo>
                        <a:pt x="82064" y="30000"/>
                        <a:pt x="82064" y="30000"/>
                        <a:pt x="82064" y="30000"/>
                      </a:cubicBezTo>
                      <a:cubicBezTo>
                        <a:pt x="82064" y="30000"/>
                        <a:pt x="81290" y="32368"/>
                        <a:pt x="80516" y="30789"/>
                      </a:cubicBezTo>
                      <a:cubicBezTo>
                        <a:pt x="79741" y="30000"/>
                        <a:pt x="79741" y="27631"/>
                        <a:pt x="79741" y="27631"/>
                      </a:cubicBezTo>
                      <a:cubicBezTo>
                        <a:pt x="78967" y="26842"/>
                        <a:pt x="78967" y="26842"/>
                        <a:pt x="78967" y="26842"/>
                      </a:cubicBezTo>
                      <a:cubicBezTo>
                        <a:pt x="79741" y="25263"/>
                        <a:pt x="79741" y="25263"/>
                        <a:pt x="79741" y="25263"/>
                      </a:cubicBezTo>
                      <a:cubicBezTo>
                        <a:pt x="79741" y="22894"/>
                        <a:pt x="79741" y="22894"/>
                        <a:pt x="79741" y="22894"/>
                      </a:cubicBezTo>
                      <a:cubicBezTo>
                        <a:pt x="79741" y="22894"/>
                        <a:pt x="78967" y="21315"/>
                        <a:pt x="78967" y="21315"/>
                      </a:cubicBezTo>
                      <a:cubicBezTo>
                        <a:pt x="78967" y="20526"/>
                        <a:pt x="78193" y="18947"/>
                        <a:pt x="78193" y="18947"/>
                      </a:cubicBezTo>
                      <a:cubicBezTo>
                        <a:pt x="78967" y="17368"/>
                        <a:pt x="78967" y="17368"/>
                        <a:pt x="78967" y="17368"/>
                      </a:cubicBezTo>
                      <a:cubicBezTo>
                        <a:pt x="77419" y="16578"/>
                        <a:pt x="77419" y="16578"/>
                        <a:pt x="77419" y="16578"/>
                      </a:cubicBezTo>
                      <a:cubicBezTo>
                        <a:pt x="77419" y="14210"/>
                        <a:pt x="77419" y="14210"/>
                        <a:pt x="77419" y="14210"/>
                      </a:cubicBezTo>
                      <a:cubicBezTo>
                        <a:pt x="77419" y="13421"/>
                        <a:pt x="77419" y="13421"/>
                        <a:pt x="77419" y="13421"/>
                      </a:cubicBezTo>
                      <a:cubicBezTo>
                        <a:pt x="75096" y="12631"/>
                        <a:pt x="75096" y="12631"/>
                        <a:pt x="75096" y="12631"/>
                      </a:cubicBezTo>
                      <a:cubicBezTo>
                        <a:pt x="75096" y="12631"/>
                        <a:pt x="75096" y="11842"/>
                        <a:pt x="74322" y="11052"/>
                      </a:cubicBezTo>
                      <a:cubicBezTo>
                        <a:pt x="74322" y="11052"/>
                        <a:pt x="72774" y="9473"/>
                        <a:pt x="72774" y="9473"/>
                      </a:cubicBezTo>
                      <a:cubicBezTo>
                        <a:pt x="72774" y="9473"/>
                        <a:pt x="72000" y="9473"/>
                        <a:pt x="72000" y="10263"/>
                      </a:cubicBezTo>
                      <a:cubicBezTo>
                        <a:pt x="71225" y="11052"/>
                        <a:pt x="71225" y="12631"/>
                        <a:pt x="70451" y="12631"/>
                      </a:cubicBezTo>
                      <a:cubicBezTo>
                        <a:pt x="70451" y="12631"/>
                        <a:pt x="71225" y="12631"/>
                        <a:pt x="68903" y="12631"/>
                      </a:cubicBezTo>
                      <a:cubicBezTo>
                        <a:pt x="67354" y="11842"/>
                        <a:pt x="67354" y="11842"/>
                        <a:pt x="66580" y="11052"/>
                      </a:cubicBezTo>
                      <a:cubicBezTo>
                        <a:pt x="65806" y="11052"/>
                        <a:pt x="64258" y="9473"/>
                        <a:pt x="64258" y="9473"/>
                      </a:cubicBezTo>
                      <a:cubicBezTo>
                        <a:pt x="63483" y="6315"/>
                        <a:pt x="63483" y="6315"/>
                        <a:pt x="63483" y="6315"/>
                      </a:cubicBezTo>
                      <a:cubicBezTo>
                        <a:pt x="61935" y="6315"/>
                        <a:pt x="61935" y="6315"/>
                        <a:pt x="61935" y="6315"/>
                      </a:cubicBezTo>
                      <a:cubicBezTo>
                        <a:pt x="61935" y="6315"/>
                        <a:pt x="64258" y="7105"/>
                        <a:pt x="61161" y="7105"/>
                      </a:cubicBezTo>
                      <a:cubicBezTo>
                        <a:pt x="58064" y="7105"/>
                        <a:pt x="54967" y="7105"/>
                        <a:pt x="54967" y="7105"/>
                      </a:cubicBezTo>
                      <a:cubicBezTo>
                        <a:pt x="54193" y="8684"/>
                        <a:pt x="54193" y="8684"/>
                        <a:pt x="54193" y="8684"/>
                      </a:cubicBezTo>
                      <a:cubicBezTo>
                        <a:pt x="54193" y="8684"/>
                        <a:pt x="53419" y="10263"/>
                        <a:pt x="53419" y="11052"/>
                      </a:cubicBezTo>
                      <a:cubicBezTo>
                        <a:pt x="53419" y="11052"/>
                        <a:pt x="54193" y="11842"/>
                        <a:pt x="53419" y="11052"/>
                      </a:cubicBezTo>
                      <a:cubicBezTo>
                        <a:pt x="53419" y="10263"/>
                        <a:pt x="52645" y="10263"/>
                        <a:pt x="52645" y="9473"/>
                      </a:cubicBezTo>
                      <a:cubicBezTo>
                        <a:pt x="52645" y="9473"/>
                        <a:pt x="52645" y="8684"/>
                        <a:pt x="52645" y="8684"/>
                      </a:cubicBezTo>
                      <a:cubicBezTo>
                        <a:pt x="52645" y="7894"/>
                        <a:pt x="51096" y="7105"/>
                        <a:pt x="51096" y="7105"/>
                      </a:cubicBezTo>
                      <a:cubicBezTo>
                        <a:pt x="50322" y="8684"/>
                        <a:pt x="50322" y="8684"/>
                        <a:pt x="50322" y="8684"/>
                      </a:cubicBezTo>
                      <a:cubicBezTo>
                        <a:pt x="50322" y="8684"/>
                        <a:pt x="51096" y="9473"/>
                        <a:pt x="49548" y="9473"/>
                      </a:cubicBezTo>
                      <a:cubicBezTo>
                        <a:pt x="48774" y="10263"/>
                        <a:pt x="48774" y="10263"/>
                        <a:pt x="48774" y="10263"/>
                      </a:cubicBezTo>
                      <a:cubicBezTo>
                        <a:pt x="48774" y="9473"/>
                        <a:pt x="49548" y="8684"/>
                        <a:pt x="49548" y="8684"/>
                      </a:cubicBezTo>
                      <a:cubicBezTo>
                        <a:pt x="49548" y="8684"/>
                        <a:pt x="50322" y="7105"/>
                        <a:pt x="50322" y="7105"/>
                      </a:cubicBezTo>
                      <a:cubicBezTo>
                        <a:pt x="50322" y="7105"/>
                        <a:pt x="50322" y="5526"/>
                        <a:pt x="49548" y="5526"/>
                      </a:cubicBezTo>
                      <a:cubicBezTo>
                        <a:pt x="49548" y="5526"/>
                        <a:pt x="48000" y="5526"/>
                        <a:pt x="47225" y="5526"/>
                      </a:cubicBezTo>
                      <a:cubicBezTo>
                        <a:pt x="47225" y="5526"/>
                        <a:pt x="46451" y="6315"/>
                        <a:pt x="46451" y="6315"/>
                      </a:cubicBezTo>
                      <a:cubicBezTo>
                        <a:pt x="46451" y="6315"/>
                        <a:pt x="47225" y="7105"/>
                        <a:pt x="46451" y="7105"/>
                      </a:cubicBezTo>
                      <a:cubicBezTo>
                        <a:pt x="46451" y="7105"/>
                        <a:pt x="45677" y="7105"/>
                        <a:pt x="45677" y="7894"/>
                      </a:cubicBezTo>
                      <a:cubicBezTo>
                        <a:pt x="44903" y="7894"/>
                        <a:pt x="44903" y="6315"/>
                        <a:pt x="44903" y="6315"/>
                      </a:cubicBezTo>
                      <a:cubicBezTo>
                        <a:pt x="44903" y="6315"/>
                        <a:pt x="44129" y="5526"/>
                        <a:pt x="44129" y="5526"/>
                      </a:cubicBezTo>
                      <a:cubicBezTo>
                        <a:pt x="44129" y="6315"/>
                        <a:pt x="43354" y="7894"/>
                        <a:pt x="43354" y="7894"/>
                      </a:cubicBezTo>
                      <a:cubicBezTo>
                        <a:pt x="42580" y="7894"/>
                        <a:pt x="42580" y="7894"/>
                        <a:pt x="42580" y="7105"/>
                      </a:cubicBezTo>
                      <a:cubicBezTo>
                        <a:pt x="41806" y="7105"/>
                        <a:pt x="41806" y="5526"/>
                        <a:pt x="41806" y="5526"/>
                      </a:cubicBezTo>
                      <a:cubicBezTo>
                        <a:pt x="41032" y="4736"/>
                        <a:pt x="41032" y="4736"/>
                        <a:pt x="41032" y="4736"/>
                      </a:cubicBezTo>
                      <a:cubicBezTo>
                        <a:pt x="41032" y="4736"/>
                        <a:pt x="38709" y="4736"/>
                        <a:pt x="37935" y="4736"/>
                      </a:cubicBezTo>
                      <a:cubicBezTo>
                        <a:pt x="37935" y="4736"/>
                        <a:pt x="36387" y="4736"/>
                        <a:pt x="36387" y="3947"/>
                      </a:cubicBezTo>
                      <a:cubicBezTo>
                        <a:pt x="35612" y="3157"/>
                        <a:pt x="34838" y="3157"/>
                        <a:pt x="34838" y="3157"/>
                      </a:cubicBezTo>
                      <a:cubicBezTo>
                        <a:pt x="34838" y="3157"/>
                        <a:pt x="34838" y="3157"/>
                        <a:pt x="34064" y="2368"/>
                      </a:cubicBezTo>
                      <a:cubicBezTo>
                        <a:pt x="33290" y="2368"/>
                        <a:pt x="33290" y="2368"/>
                        <a:pt x="32516" y="2368"/>
                      </a:cubicBezTo>
                      <a:cubicBezTo>
                        <a:pt x="31741" y="1578"/>
                        <a:pt x="32516" y="1578"/>
                        <a:pt x="30967" y="1578"/>
                      </a:cubicBezTo>
                      <a:cubicBezTo>
                        <a:pt x="29419" y="1578"/>
                        <a:pt x="29419" y="3157"/>
                        <a:pt x="28645" y="2368"/>
                      </a:cubicBezTo>
                      <a:cubicBezTo>
                        <a:pt x="27096" y="2368"/>
                        <a:pt x="27096" y="2368"/>
                        <a:pt x="27096" y="2368"/>
                      </a:cubicBezTo>
                      <a:cubicBezTo>
                        <a:pt x="26322" y="1578"/>
                        <a:pt x="26322" y="1578"/>
                        <a:pt x="26322" y="1578"/>
                      </a:cubicBezTo>
                      <a:cubicBezTo>
                        <a:pt x="26322" y="789"/>
                        <a:pt x="25548" y="0"/>
                        <a:pt x="25548" y="789"/>
                      </a:cubicBezTo>
                      <a:cubicBezTo>
                        <a:pt x="25548" y="2368"/>
                        <a:pt x="25548" y="1578"/>
                        <a:pt x="24774" y="2368"/>
                      </a:cubicBezTo>
                      <a:cubicBezTo>
                        <a:pt x="24774" y="3157"/>
                        <a:pt x="23225" y="3947"/>
                        <a:pt x="23225" y="3947"/>
                      </a:cubicBezTo>
                      <a:cubicBezTo>
                        <a:pt x="23225" y="3947"/>
                        <a:pt x="22451" y="3947"/>
                        <a:pt x="22451" y="4736"/>
                      </a:cubicBezTo>
                      <a:cubicBezTo>
                        <a:pt x="22451" y="4736"/>
                        <a:pt x="21677" y="5526"/>
                        <a:pt x="21677" y="5526"/>
                      </a:cubicBezTo>
                      <a:cubicBezTo>
                        <a:pt x="21677" y="5526"/>
                        <a:pt x="21677" y="4736"/>
                        <a:pt x="20903" y="4736"/>
                      </a:cubicBezTo>
                      <a:cubicBezTo>
                        <a:pt x="20903" y="4736"/>
                        <a:pt x="20903" y="4736"/>
                        <a:pt x="20903" y="4736"/>
                      </a:cubicBezTo>
                      <a:cubicBezTo>
                        <a:pt x="20903" y="4736"/>
                        <a:pt x="19354" y="4736"/>
                        <a:pt x="19354" y="5526"/>
                      </a:cubicBezTo>
                      <a:cubicBezTo>
                        <a:pt x="19354" y="5526"/>
                        <a:pt x="19354" y="6315"/>
                        <a:pt x="19354" y="7105"/>
                      </a:cubicBezTo>
                      <a:cubicBezTo>
                        <a:pt x="19354" y="7105"/>
                        <a:pt x="18580" y="7894"/>
                        <a:pt x="18580" y="7894"/>
                      </a:cubicBezTo>
                      <a:cubicBezTo>
                        <a:pt x="17032" y="8684"/>
                        <a:pt x="17032" y="8684"/>
                        <a:pt x="17032" y="8684"/>
                      </a:cubicBezTo>
                      <a:cubicBezTo>
                        <a:pt x="17032" y="8684"/>
                        <a:pt x="17032" y="8684"/>
                        <a:pt x="16258" y="8684"/>
                      </a:cubicBezTo>
                      <a:cubicBezTo>
                        <a:pt x="15483" y="8684"/>
                        <a:pt x="13935" y="8684"/>
                        <a:pt x="13935" y="8684"/>
                      </a:cubicBezTo>
                      <a:cubicBezTo>
                        <a:pt x="13161" y="8684"/>
                        <a:pt x="12387" y="8684"/>
                        <a:pt x="12387" y="8684"/>
                      </a:cubicBezTo>
                      <a:cubicBezTo>
                        <a:pt x="12387" y="9473"/>
                        <a:pt x="12387" y="9473"/>
                        <a:pt x="12387" y="9473"/>
                      </a:cubicBezTo>
                      <a:cubicBezTo>
                        <a:pt x="11612" y="10263"/>
                        <a:pt x="11612" y="10263"/>
                        <a:pt x="11612" y="10263"/>
                      </a:cubicBezTo>
                      <a:cubicBezTo>
                        <a:pt x="11612" y="10263"/>
                        <a:pt x="10838" y="11842"/>
                        <a:pt x="10064" y="11052"/>
                      </a:cubicBezTo>
                      <a:cubicBezTo>
                        <a:pt x="10064" y="11052"/>
                        <a:pt x="9290" y="11052"/>
                        <a:pt x="9290" y="11052"/>
                      </a:cubicBezTo>
                      <a:cubicBezTo>
                        <a:pt x="7741" y="10263"/>
                        <a:pt x="7741" y="10263"/>
                        <a:pt x="7741" y="10263"/>
                      </a:cubicBezTo>
                      <a:cubicBezTo>
                        <a:pt x="7741" y="10263"/>
                        <a:pt x="6967" y="11052"/>
                        <a:pt x="6967" y="11052"/>
                      </a:cubicBezTo>
                      <a:cubicBezTo>
                        <a:pt x="6967" y="11052"/>
                        <a:pt x="6193" y="11052"/>
                        <a:pt x="6193" y="11052"/>
                      </a:cubicBezTo>
                      <a:cubicBezTo>
                        <a:pt x="6193" y="11052"/>
                        <a:pt x="6193" y="11052"/>
                        <a:pt x="6193" y="11052"/>
                      </a:cubicBezTo>
                      <a:cubicBezTo>
                        <a:pt x="6193" y="11052"/>
                        <a:pt x="6193" y="11842"/>
                        <a:pt x="6967" y="12631"/>
                      </a:cubicBezTo>
                      <a:cubicBezTo>
                        <a:pt x="6967" y="12631"/>
                        <a:pt x="6967" y="13421"/>
                        <a:pt x="6967" y="14210"/>
                      </a:cubicBezTo>
                      <a:cubicBezTo>
                        <a:pt x="6967" y="14210"/>
                        <a:pt x="6193" y="15000"/>
                        <a:pt x="6193" y="15000"/>
                      </a:cubicBezTo>
                      <a:cubicBezTo>
                        <a:pt x="5419" y="15000"/>
                        <a:pt x="4645" y="14210"/>
                        <a:pt x="4645" y="14210"/>
                      </a:cubicBezTo>
                      <a:cubicBezTo>
                        <a:pt x="4645" y="14210"/>
                        <a:pt x="4645" y="13421"/>
                        <a:pt x="3870" y="13421"/>
                      </a:cubicBezTo>
                      <a:cubicBezTo>
                        <a:pt x="3870" y="14210"/>
                        <a:pt x="1548" y="15000"/>
                        <a:pt x="1548" y="15000"/>
                      </a:cubicBezTo>
                      <a:cubicBezTo>
                        <a:pt x="1548" y="16578"/>
                        <a:pt x="1548" y="16578"/>
                        <a:pt x="1548" y="16578"/>
                      </a:cubicBezTo>
                      <a:cubicBezTo>
                        <a:pt x="0" y="17368"/>
                        <a:pt x="0" y="17368"/>
                        <a:pt x="0" y="17368"/>
                      </a:cubicBezTo>
                      <a:cubicBezTo>
                        <a:pt x="3870" y="17368"/>
                        <a:pt x="3870" y="17368"/>
                        <a:pt x="3870" y="17368"/>
                      </a:cubicBezTo>
                      <a:cubicBezTo>
                        <a:pt x="4645" y="17368"/>
                        <a:pt x="4645" y="17368"/>
                        <a:pt x="4645" y="17368"/>
                      </a:cubicBezTo>
                      <a:cubicBezTo>
                        <a:pt x="6193" y="17368"/>
                        <a:pt x="6193" y="17368"/>
                        <a:pt x="6193" y="17368"/>
                      </a:cubicBezTo>
                      <a:cubicBezTo>
                        <a:pt x="6967" y="16578"/>
                        <a:pt x="6967" y="16578"/>
                        <a:pt x="6967" y="16578"/>
                      </a:cubicBezTo>
                      <a:cubicBezTo>
                        <a:pt x="6967" y="16578"/>
                        <a:pt x="7741" y="16578"/>
                        <a:pt x="7741" y="17368"/>
                      </a:cubicBezTo>
                      <a:cubicBezTo>
                        <a:pt x="7741" y="17368"/>
                        <a:pt x="9290" y="18157"/>
                        <a:pt x="9290" y="18157"/>
                      </a:cubicBezTo>
                      <a:cubicBezTo>
                        <a:pt x="9290" y="18157"/>
                        <a:pt x="9290" y="18157"/>
                        <a:pt x="9290" y="18157"/>
                      </a:cubicBezTo>
                      <a:cubicBezTo>
                        <a:pt x="11612" y="17368"/>
                        <a:pt x="11612" y="17368"/>
                        <a:pt x="11612" y="17368"/>
                      </a:cubicBezTo>
                      <a:cubicBezTo>
                        <a:pt x="11612" y="18157"/>
                        <a:pt x="11612" y="18157"/>
                        <a:pt x="11612" y="18157"/>
                      </a:cubicBezTo>
                      <a:cubicBezTo>
                        <a:pt x="11612" y="18157"/>
                        <a:pt x="11612" y="18947"/>
                        <a:pt x="12387" y="18947"/>
                      </a:cubicBezTo>
                      <a:cubicBezTo>
                        <a:pt x="13161" y="18947"/>
                        <a:pt x="13161" y="18947"/>
                        <a:pt x="13161" y="18947"/>
                      </a:cubicBezTo>
                      <a:cubicBezTo>
                        <a:pt x="13161" y="20526"/>
                        <a:pt x="13161" y="20526"/>
                        <a:pt x="13161" y="20526"/>
                      </a:cubicBezTo>
                      <a:cubicBezTo>
                        <a:pt x="14709" y="20526"/>
                        <a:pt x="14709" y="20526"/>
                        <a:pt x="14709" y="20526"/>
                      </a:cubicBezTo>
                      <a:cubicBezTo>
                        <a:pt x="14709" y="20526"/>
                        <a:pt x="15483" y="20526"/>
                        <a:pt x="15483" y="20526"/>
                      </a:cubicBezTo>
                      <a:cubicBezTo>
                        <a:pt x="15483" y="20526"/>
                        <a:pt x="15483" y="21315"/>
                        <a:pt x="15483" y="21315"/>
                      </a:cubicBezTo>
                      <a:cubicBezTo>
                        <a:pt x="15483" y="21315"/>
                        <a:pt x="16258" y="22105"/>
                        <a:pt x="17032" y="22894"/>
                      </a:cubicBezTo>
                      <a:cubicBezTo>
                        <a:pt x="17032" y="22894"/>
                        <a:pt x="17806" y="23684"/>
                        <a:pt x="17806" y="23684"/>
                      </a:cubicBezTo>
                      <a:cubicBezTo>
                        <a:pt x="18580" y="24473"/>
                        <a:pt x="18580" y="24473"/>
                        <a:pt x="18580" y="24473"/>
                      </a:cubicBezTo>
                      <a:cubicBezTo>
                        <a:pt x="19354" y="25263"/>
                        <a:pt x="19354" y="25263"/>
                        <a:pt x="19354" y="25263"/>
                      </a:cubicBezTo>
                      <a:cubicBezTo>
                        <a:pt x="20129" y="26052"/>
                        <a:pt x="20129" y="26052"/>
                        <a:pt x="20129" y="26052"/>
                      </a:cubicBezTo>
                      <a:cubicBezTo>
                        <a:pt x="20129" y="26052"/>
                        <a:pt x="20129" y="26052"/>
                        <a:pt x="20129" y="26052"/>
                      </a:cubicBezTo>
                      <a:cubicBezTo>
                        <a:pt x="20129" y="26842"/>
                        <a:pt x="20129" y="27631"/>
                        <a:pt x="20903" y="27631"/>
                      </a:cubicBezTo>
                      <a:cubicBezTo>
                        <a:pt x="20903" y="27631"/>
                        <a:pt x="20903" y="27631"/>
                        <a:pt x="21677" y="27631"/>
                      </a:cubicBezTo>
                      <a:cubicBezTo>
                        <a:pt x="21677" y="27631"/>
                        <a:pt x="21677" y="27631"/>
                        <a:pt x="21677" y="28421"/>
                      </a:cubicBezTo>
                      <a:cubicBezTo>
                        <a:pt x="21677" y="28421"/>
                        <a:pt x="21677" y="28421"/>
                        <a:pt x="22451" y="29210"/>
                      </a:cubicBezTo>
                      <a:cubicBezTo>
                        <a:pt x="22451" y="29210"/>
                        <a:pt x="23225" y="30000"/>
                        <a:pt x="23225" y="30000"/>
                      </a:cubicBezTo>
                      <a:cubicBezTo>
                        <a:pt x="23225" y="30000"/>
                        <a:pt x="23225" y="30000"/>
                        <a:pt x="23225" y="30789"/>
                      </a:cubicBezTo>
                      <a:cubicBezTo>
                        <a:pt x="23225" y="31578"/>
                        <a:pt x="24000" y="32368"/>
                        <a:pt x="24000" y="32368"/>
                      </a:cubicBezTo>
                      <a:cubicBezTo>
                        <a:pt x="24000" y="33157"/>
                        <a:pt x="24774" y="33157"/>
                        <a:pt x="24774" y="33157"/>
                      </a:cubicBezTo>
                      <a:cubicBezTo>
                        <a:pt x="24774" y="33157"/>
                        <a:pt x="24774" y="33157"/>
                        <a:pt x="24774" y="33157"/>
                      </a:cubicBezTo>
                      <a:cubicBezTo>
                        <a:pt x="24774" y="33157"/>
                        <a:pt x="25548" y="33157"/>
                        <a:pt x="25548" y="33947"/>
                      </a:cubicBezTo>
                      <a:cubicBezTo>
                        <a:pt x="25548" y="34736"/>
                        <a:pt x="24774" y="35526"/>
                        <a:pt x="25548" y="35526"/>
                      </a:cubicBezTo>
                      <a:cubicBezTo>
                        <a:pt x="25548" y="35526"/>
                        <a:pt x="26322" y="37105"/>
                        <a:pt x="27096" y="37105"/>
                      </a:cubicBezTo>
                      <a:cubicBezTo>
                        <a:pt x="27870" y="37105"/>
                        <a:pt x="27870" y="37105"/>
                        <a:pt x="27870" y="37105"/>
                      </a:cubicBezTo>
                      <a:cubicBezTo>
                        <a:pt x="28645" y="37105"/>
                        <a:pt x="28645" y="38684"/>
                        <a:pt x="29419" y="38684"/>
                      </a:cubicBezTo>
                      <a:cubicBezTo>
                        <a:pt x="29419" y="39473"/>
                        <a:pt x="29419" y="39473"/>
                        <a:pt x="30193" y="39473"/>
                      </a:cubicBezTo>
                      <a:cubicBezTo>
                        <a:pt x="30967" y="39473"/>
                        <a:pt x="30967" y="39473"/>
                        <a:pt x="30967" y="39473"/>
                      </a:cubicBezTo>
                      <a:cubicBezTo>
                        <a:pt x="30967" y="39473"/>
                        <a:pt x="30967" y="39473"/>
                        <a:pt x="30967" y="40263"/>
                      </a:cubicBezTo>
                      <a:cubicBezTo>
                        <a:pt x="31741" y="40263"/>
                        <a:pt x="33290" y="41842"/>
                        <a:pt x="33290" y="41842"/>
                      </a:cubicBezTo>
                      <a:cubicBezTo>
                        <a:pt x="33290" y="41842"/>
                        <a:pt x="34064" y="42631"/>
                        <a:pt x="34064" y="42631"/>
                      </a:cubicBezTo>
                      <a:cubicBezTo>
                        <a:pt x="34064" y="42631"/>
                        <a:pt x="34838" y="42631"/>
                        <a:pt x="35612" y="42631"/>
                      </a:cubicBezTo>
                      <a:cubicBezTo>
                        <a:pt x="35612" y="42631"/>
                        <a:pt x="36387" y="42631"/>
                        <a:pt x="36387" y="43421"/>
                      </a:cubicBezTo>
                      <a:cubicBezTo>
                        <a:pt x="36387" y="44210"/>
                        <a:pt x="37161" y="44210"/>
                        <a:pt x="37161" y="45000"/>
                      </a:cubicBezTo>
                      <a:cubicBezTo>
                        <a:pt x="37161" y="45789"/>
                        <a:pt x="37935" y="45789"/>
                        <a:pt x="37935" y="46578"/>
                      </a:cubicBezTo>
                      <a:cubicBezTo>
                        <a:pt x="37935" y="46578"/>
                        <a:pt x="38709" y="48157"/>
                        <a:pt x="38709" y="48157"/>
                      </a:cubicBezTo>
                      <a:cubicBezTo>
                        <a:pt x="43354" y="49736"/>
                        <a:pt x="43354" y="49736"/>
                        <a:pt x="43354" y="49736"/>
                      </a:cubicBezTo>
                      <a:cubicBezTo>
                        <a:pt x="44129" y="51315"/>
                        <a:pt x="44129" y="51315"/>
                        <a:pt x="44129" y="51315"/>
                      </a:cubicBezTo>
                      <a:cubicBezTo>
                        <a:pt x="44129" y="51315"/>
                        <a:pt x="44903" y="52894"/>
                        <a:pt x="44903" y="52894"/>
                      </a:cubicBezTo>
                      <a:cubicBezTo>
                        <a:pt x="45677" y="53684"/>
                        <a:pt x="46451" y="53684"/>
                        <a:pt x="46451" y="53684"/>
                      </a:cubicBezTo>
                      <a:cubicBezTo>
                        <a:pt x="48774" y="56052"/>
                        <a:pt x="48774" y="56052"/>
                        <a:pt x="48774" y="56052"/>
                      </a:cubicBezTo>
                      <a:cubicBezTo>
                        <a:pt x="51096" y="56842"/>
                        <a:pt x="51096" y="56842"/>
                        <a:pt x="51096" y="56842"/>
                      </a:cubicBezTo>
                      <a:cubicBezTo>
                        <a:pt x="51096" y="56842"/>
                        <a:pt x="52645" y="57631"/>
                        <a:pt x="53419" y="57631"/>
                      </a:cubicBezTo>
                      <a:cubicBezTo>
                        <a:pt x="53419" y="57631"/>
                        <a:pt x="54967" y="58421"/>
                        <a:pt x="55741" y="58421"/>
                      </a:cubicBezTo>
                      <a:cubicBezTo>
                        <a:pt x="55741" y="59210"/>
                        <a:pt x="56516" y="61578"/>
                        <a:pt x="56516" y="61578"/>
                      </a:cubicBezTo>
                      <a:cubicBezTo>
                        <a:pt x="57290" y="61578"/>
                        <a:pt x="58838" y="63157"/>
                        <a:pt x="58838" y="64736"/>
                      </a:cubicBezTo>
                      <a:cubicBezTo>
                        <a:pt x="59612" y="65526"/>
                        <a:pt x="59612" y="65526"/>
                        <a:pt x="59612" y="67105"/>
                      </a:cubicBezTo>
                      <a:cubicBezTo>
                        <a:pt x="60387" y="67894"/>
                        <a:pt x="61935" y="69473"/>
                        <a:pt x="61935" y="69473"/>
                      </a:cubicBezTo>
                      <a:cubicBezTo>
                        <a:pt x="61935" y="69473"/>
                        <a:pt x="61935" y="69473"/>
                        <a:pt x="62709" y="71052"/>
                      </a:cubicBezTo>
                      <a:cubicBezTo>
                        <a:pt x="63483" y="71842"/>
                        <a:pt x="64258" y="72631"/>
                        <a:pt x="64258" y="73421"/>
                      </a:cubicBezTo>
                      <a:cubicBezTo>
                        <a:pt x="64258" y="73421"/>
                        <a:pt x="64258" y="73421"/>
                        <a:pt x="64258" y="74210"/>
                      </a:cubicBezTo>
                      <a:cubicBezTo>
                        <a:pt x="64258" y="74210"/>
                        <a:pt x="64258" y="75000"/>
                        <a:pt x="64258" y="75000"/>
                      </a:cubicBezTo>
                      <a:cubicBezTo>
                        <a:pt x="64258" y="75000"/>
                        <a:pt x="65032" y="76578"/>
                        <a:pt x="65032" y="77368"/>
                      </a:cubicBezTo>
                      <a:cubicBezTo>
                        <a:pt x="65032" y="77368"/>
                        <a:pt x="65806" y="78947"/>
                        <a:pt x="65806" y="78947"/>
                      </a:cubicBezTo>
                      <a:cubicBezTo>
                        <a:pt x="65806" y="79736"/>
                        <a:pt x="65806" y="79736"/>
                        <a:pt x="65806" y="79736"/>
                      </a:cubicBezTo>
                      <a:cubicBezTo>
                        <a:pt x="66580" y="82105"/>
                        <a:pt x="66580" y="82105"/>
                        <a:pt x="66580" y="82105"/>
                      </a:cubicBezTo>
                      <a:cubicBezTo>
                        <a:pt x="65806" y="83684"/>
                        <a:pt x="65806" y="83684"/>
                        <a:pt x="65806" y="83684"/>
                      </a:cubicBezTo>
                      <a:cubicBezTo>
                        <a:pt x="65806" y="83684"/>
                        <a:pt x="65032" y="84473"/>
                        <a:pt x="65806" y="84473"/>
                      </a:cubicBezTo>
                      <a:cubicBezTo>
                        <a:pt x="66580" y="84473"/>
                        <a:pt x="67354" y="85263"/>
                        <a:pt x="66580" y="86052"/>
                      </a:cubicBezTo>
                      <a:cubicBezTo>
                        <a:pt x="66580" y="86052"/>
                        <a:pt x="65806" y="87631"/>
                        <a:pt x="65806" y="87631"/>
                      </a:cubicBezTo>
                      <a:cubicBezTo>
                        <a:pt x="65806" y="88421"/>
                        <a:pt x="65806" y="88421"/>
                        <a:pt x="65806" y="88421"/>
                      </a:cubicBezTo>
                      <a:cubicBezTo>
                        <a:pt x="65032" y="90000"/>
                        <a:pt x="65032" y="90000"/>
                        <a:pt x="65032" y="90000"/>
                      </a:cubicBezTo>
                      <a:cubicBezTo>
                        <a:pt x="65032" y="90000"/>
                        <a:pt x="66580" y="90789"/>
                        <a:pt x="66580" y="90789"/>
                      </a:cubicBezTo>
                      <a:cubicBezTo>
                        <a:pt x="66580" y="91578"/>
                        <a:pt x="67354" y="92368"/>
                        <a:pt x="66580" y="93157"/>
                      </a:cubicBezTo>
                      <a:cubicBezTo>
                        <a:pt x="66580" y="93157"/>
                        <a:pt x="66580" y="94736"/>
                        <a:pt x="66580" y="94736"/>
                      </a:cubicBezTo>
                      <a:cubicBezTo>
                        <a:pt x="66580" y="94736"/>
                        <a:pt x="66580" y="96315"/>
                        <a:pt x="66580" y="96315"/>
                      </a:cubicBezTo>
                      <a:cubicBezTo>
                        <a:pt x="66580" y="96315"/>
                        <a:pt x="68129" y="97105"/>
                        <a:pt x="67354" y="97894"/>
                      </a:cubicBezTo>
                      <a:cubicBezTo>
                        <a:pt x="67354" y="97894"/>
                        <a:pt x="67354" y="98684"/>
                        <a:pt x="67354" y="99473"/>
                      </a:cubicBezTo>
                      <a:cubicBezTo>
                        <a:pt x="68129" y="101052"/>
                        <a:pt x="69677" y="103421"/>
                        <a:pt x="69677" y="103421"/>
                      </a:cubicBezTo>
                      <a:cubicBezTo>
                        <a:pt x="69677" y="103421"/>
                        <a:pt x="70451" y="105000"/>
                        <a:pt x="70451" y="105000"/>
                      </a:cubicBezTo>
                      <a:cubicBezTo>
                        <a:pt x="70451" y="105789"/>
                        <a:pt x="69677" y="105789"/>
                        <a:pt x="70451" y="106578"/>
                      </a:cubicBezTo>
                      <a:cubicBezTo>
                        <a:pt x="70451" y="106578"/>
                        <a:pt x="69677" y="107368"/>
                        <a:pt x="70451" y="107368"/>
                      </a:cubicBezTo>
                      <a:cubicBezTo>
                        <a:pt x="71225" y="108157"/>
                        <a:pt x="72000" y="109736"/>
                        <a:pt x="72000" y="109736"/>
                      </a:cubicBezTo>
                      <a:cubicBezTo>
                        <a:pt x="72000" y="109736"/>
                        <a:pt x="72000" y="109736"/>
                        <a:pt x="72774" y="110526"/>
                      </a:cubicBezTo>
                      <a:cubicBezTo>
                        <a:pt x="72774" y="111315"/>
                        <a:pt x="72774" y="112894"/>
                        <a:pt x="72774" y="112894"/>
                      </a:cubicBezTo>
                      <a:cubicBezTo>
                        <a:pt x="72774" y="113684"/>
                        <a:pt x="73548" y="113684"/>
                        <a:pt x="72774" y="113684"/>
                      </a:cubicBezTo>
                      <a:cubicBezTo>
                        <a:pt x="72774" y="113684"/>
                        <a:pt x="72000" y="114473"/>
                        <a:pt x="72000" y="114473"/>
                      </a:cubicBezTo>
                      <a:cubicBezTo>
                        <a:pt x="71225" y="116052"/>
                        <a:pt x="71225" y="116052"/>
                        <a:pt x="71225" y="116052"/>
                      </a:cubicBezTo>
                      <a:cubicBezTo>
                        <a:pt x="71225" y="116052"/>
                        <a:pt x="72000" y="116842"/>
                        <a:pt x="72774" y="116842"/>
                      </a:cubicBezTo>
                      <a:cubicBezTo>
                        <a:pt x="72774" y="116842"/>
                        <a:pt x="73548" y="116842"/>
                        <a:pt x="73548" y="116842"/>
                      </a:cubicBezTo>
                      <a:cubicBezTo>
                        <a:pt x="75096" y="118421"/>
                        <a:pt x="75096" y="118421"/>
                        <a:pt x="75096" y="118421"/>
                      </a:cubicBezTo>
                      <a:cubicBezTo>
                        <a:pt x="75096" y="120000"/>
                        <a:pt x="75096" y="120000"/>
                        <a:pt x="75096" y="120000"/>
                      </a:cubicBezTo>
                      <a:lnTo>
                        <a:pt x="76645" y="1200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77" name="Shape 2033"/>
                <p:cNvSpPr/>
                <p:nvPr/>
              </p:nvSpPr>
              <p:spPr>
                <a:xfrm>
                  <a:off x="4446566" y="2676821"/>
                  <a:ext cx="294647" cy="240785"/>
                </a:xfrm>
                <a:custGeom>
                  <a:avLst/>
                  <a:gdLst/>
                  <a:ahLst/>
                  <a:cxnLst/>
                  <a:rect l="0" t="0" r="0" b="0"/>
                  <a:pathLst>
                    <a:path w="120000" h="120000" extrusionOk="0">
                      <a:moveTo>
                        <a:pt x="930" y="19816"/>
                      </a:moveTo>
                      <a:cubicBezTo>
                        <a:pt x="930" y="19816"/>
                        <a:pt x="19534" y="6605"/>
                        <a:pt x="19534" y="6605"/>
                      </a:cubicBezTo>
                      <a:cubicBezTo>
                        <a:pt x="25116" y="5504"/>
                        <a:pt x="25116" y="5504"/>
                        <a:pt x="25116" y="5504"/>
                      </a:cubicBezTo>
                      <a:cubicBezTo>
                        <a:pt x="27906" y="5504"/>
                        <a:pt x="27906" y="5504"/>
                        <a:pt x="27906" y="5504"/>
                      </a:cubicBezTo>
                      <a:cubicBezTo>
                        <a:pt x="28837" y="4403"/>
                        <a:pt x="28837" y="4403"/>
                        <a:pt x="28837" y="4403"/>
                      </a:cubicBezTo>
                      <a:cubicBezTo>
                        <a:pt x="28837" y="4403"/>
                        <a:pt x="29767" y="7706"/>
                        <a:pt x="30697" y="7706"/>
                      </a:cubicBezTo>
                      <a:cubicBezTo>
                        <a:pt x="30697" y="7706"/>
                        <a:pt x="32558" y="9908"/>
                        <a:pt x="32558" y="8807"/>
                      </a:cubicBezTo>
                      <a:cubicBezTo>
                        <a:pt x="33488" y="7706"/>
                        <a:pt x="33488" y="6605"/>
                        <a:pt x="34418" y="6605"/>
                      </a:cubicBezTo>
                      <a:cubicBezTo>
                        <a:pt x="34418" y="5504"/>
                        <a:pt x="35348" y="4403"/>
                        <a:pt x="37209" y="5504"/>
                      </a:cubicBezTo>
                      <a:cubicBezTo>
                        <a:pt x="38139" y="6605"/>
                        <a:pt x="38139" y="11009"/>
                        <a:pt x="38139" y="11009"/>
                      </a:cubicBezTo>
                      <a:cubicBezTo>
                        <a:pt x="45581" y="13211"/>
                        <a:pt x="40930" y="14311"/>
                        <a:pt x="51162" y="11009"/>
                      </a:cubicBezTo>
                      <a:cubicBezTo>
                        <a:pt x="51162" y="11009"/>
                        <a:pt x="53023" y="8807"/>
                        <a:pt x="53023" y="8807"/>
                      </a:cubicBezTo>
                      <a:cubicBezTo>
                        <a:pt x="53023" y="7706"/>
                        <a:pt x="52093" y="5504"/>
                        <a:pt x="53953" y="6605"/>
                      </a:cubicBezTo>
                      <a:cubicBezTo>
                        <a:pt x="54883" y="7706"/>
                        <a:pt x="55813" y="7706"/>
                        <a:pt x="56744" y="7706"/>
                      </a:cubicBezTo>
                      <a:cubicBezTo>
                        <a:pt x="57674" y="7706"/>
                        <a:pt x="59534" y="7706"/>
                        <a:pt x="59534" y="7706"/>
                      </a:cubicBezTo>
                      <a:cubicBezTo>
                        <a:pt x="59534" y="7706"/>
                        <a:pt x="60465" y="6605"/>
                        <a:pt x="59534" y="5504"/>
                      </a:cubicBezTo>
                      <a:cubicBezTo>
                        <a:pt x="59534" y="4403"/>
                        <a:pt x="58604" y="3302"/>
                        <a:pt x="59534" y="3302"/>
                      </a:cubicBezTo>
                      <a:cubicBezTo>
                        <a:pt x="59534" y="2201"/>
                        <a:pt x="61395" y="1100"/>
                        <a:pt x="61395" y="1100"/>
                      </a:cubicBezTo>
                      <a:cubicBezTo>
                        <a:pt x="61395" y="1100"/>
                        <a:pt x="62325" y="1100"/>
                        <a:pt x="62325" y="2201"/>
                      </a:cubicBezTo>
                      <a:cubicBezTo>
                        <a:pt x="63255" y="3302"/>
                        <a:pt x="63255" y="3302"/>
                        <a:pt x="63255" y="4403"/>
                      </a:cubicBezTo>
                      <a:cubicBezTo>
                        <a:pt x="64186" y="4403"/>
                        <a:pt x="64186" y="5504"/>
                        <a:pt x="65116" y="5504"/>
                      </a:cubicBezTo>
                      <a:cubicBezTo>
                        <a:pt x="66976" y="5504"/>
                        <a:pt x="66976" y="5504"/>
                        <a:pt x="67906" y="4403"/>
                      </a:cubicBezTo>
                      <a:cubicBezTo>
                        <a:pt x="68837" y="3302"/>
                        <a:pt x="68837" y="3302"/>
                        <a:pt x="69767" y="2201"/>
                      </a:cubicBezTo>
                      <a:cubicBezTo>
                        <a:pt x="70697" y="0"/>
                        <a:pt x="70697" y="0"/>
                        <a:pt x="71627" y="1100"/>
                      </a:cubicBezTo>
                      <a:cubicBezTo>
                        <a:pt x="72558" y="1100"/>
                        <a:pt x="74418" y="2201"/>
                        <a:pt x="74418" y="2201"/>
                      </a:cubicBezTo>
                      <a:cubicBezTo>
                        <a:pt x="72558" y="4403"/>
                        <a:pt x="72558" y="4403"/>
                        <a:pt x="72558" y="4403"/>
                      </a:cubicBezTo>
                      <a:cubicBezTo>
                        <a:pt x="72558" y="4403"/>
                        <a:pt x="71627" y="4403"/>
                        <a:pt x="73488" y="5504"/>
                      </a:cubicBezTo>
                      <a:cubicBezTo>
                        <a:pt x="76279" y="6605"/>
                        <a:pt x="77209" y="6605"/>
                        <a:pt x="77209" y="6605"/>
                      </a:cubicBezTo>
                      <a:cubicBezTo>
                        <a:pt x="79069" y="3302"/>
                        <a:pt x="79069" y="3302"/>
                        <a:pt x="79069" y="3302"/>
                      </a:cubicBezTo>
                      <a:cubicBezTo>
                        <a:pt x="79069" y="3302"/>
                        <a:pt x="79069" y="1100"/>
                        <a:pt x="80000" y="3302"/>
                      </a:cubicBezTo>
                      <a:cubicBezTo>
                        <a:pt x="80000" y="4403"/>
                        <a:pt x="80930" y="6605"/>
                        <a:pt x="80930" y="6605"/>
                      </a:cubicBezTo>
                      <a:cubicBezTo>
                        <a:pt x="80930" y="6605"/>
                        <a:pt x="80930" y="9908"/>
                        <a:pt x="81860" y="9908"/>
                      </a:cubicBezTo>
                      <a:cubicBezTo>
                        <a:pt x="82790" y="9908"/>
                        <a:pt x="82790" y="8807"/>
                        <a:pt x="82790" y="9908"/>
                      </a:cubicBezTo>
                      <a:cubicBezTo>
                        <a:pt x="82790" y="11009"/>
                        <a:pt x="81860" y="11009"/>
                        <a:pt x="82790" y="11009"/>
                      </a:cubicBezTo>
                      <a:cubicBezTo>
                        <a:pt x="82790" y="12110"/>
                        <a:pt x="84651" y="12110"/>
                        <a:pt x="84651" y="12110"/>
                      </a:cubicBezTo>
                      <a:cubicBezTo>
                        <a:pt x="84651" y="12110"/>
                        <a:pt x="85581" y="12110"/>
                        <a:pt x="85581" y="13211"/>
                      </a:cubicBezTo>
                      <a:cubicBezTo>
                        <a:pt x="85581" y="14311"/>
                        <a:pt x="85581" y="15412"/>
                        <a:pt x="85581" y="15412"/>
                      </a:cubicBezTo>
                      <a:cubicBezTo>
                        <a:pt x="85581" y="15412"/>
                        <a:pt x="88372" y="15412"/>
                        <a:pt x="88372" y="15412"/>
                      </a:cubicBezTo>
                      <a:cubicBezTo>
                        <a:pt x="89302" y="15412"/>
                        <a:pt x="90232" y="16513"/>
                        <a:pt x="91162" y="16513"/>
                      </a:cubicBezTo>
                      <a:cubicBezTo>
                        <a:pt x="92093" y="15412"/>
                        <a:pt x="93023" y="14311"/>
                        <a:pt x="93023" y="14311"/>
                      </a:cubicBezTo>
                      <a:cubicBezTo>
                        <a:pt x="93023" y="15412"/>
                        <a:pt x="94883" y="15412"/>
                        <a:pt x="94883" y="16513"/>
                      </a:cubicBezTo>
                      <a:cubicBezTo>
                        <a:pt x="93953" y="18715"/>
                        <a:pt x="93023" y="18715"/>
                        <a:pt x="94883" y="19816"/>
                      </a:cubicBezTo>
                      <a:cubicBezTo>
                        <a:pt x="96744" y="19816"/>
                        <a:pt x="98604" y="20917"/>
                        <a:pt x="99534" y="20917"/>
                      </a:cubicBezTo>
                      <a:cubicBezTo>
                        <a:pt x="100465" y="22018"/>
                        <a:pt x="103255" y="23119"/>
                        <a:pt x="103255" y="23119"/>
                      </a:cubicBezTo>
                      <a:cubicBezTo>
                        <a:pt x="104186" y="23119"/>
                        <a:pt x="105116" y="23119"/>
                        <a:pt x="105116" y="24220"/>
                      </a:cubicBezTo>
                      <a:cubicBezTo>
                        <a:pt x="105116" y="25321"/>
                        <a:pt x="103255" y="27522"/>
                        <a:pt x="103255" y="27522"/>
                      </a:cubicBezTo>
                      <a:cubicBezTo>
                        <a:pt x="103255" y="27522"/>
                        <a:pt x="102325" y="28623"/>
                        <a:pt x="102325" y="29724"/>
                      </a:cubicBezTo>
                      <a:cubicBezTo>
                        <a:pt x="102325" y="29724"/>
                        <a:pt x="101395" y="33027"/>
                        <a:pt x="101395" y="33027"/>
                      </a:cubicBezTo>
                      <a:cubicBezTo>
                        <a:pt x="100465" y="34128"/>
                        <a:pt x="99534" y="36330"/>
                        <a:pt x="99534" y="36330"/>
                      </a:cubicBezTo>
                      <a:cubicBezTo>
                        <a:pt x="99534" y="36330"/>
                        <a:pt x="98604" y="38532"/>
                        <a:pt x="97674" y="38532"/>
                      </a:cubicBezTo>
                      <a:cubicBezTo>
                        <a:pt x="97674" y="38532"/>
                        <a:pt x="96744" y="39633"/>
                        <a:pt x="96744" y="39633"/>
                      </a:cubicBezTo>
                      <a:cubicBezTo>
                        <a:pt x="96744" y="40733"/>
                        <a:pt x="96744" y="42935"/>
                        <a:pt x="96744" y="42935"/>
                      </a:cubicBezTo>
                      <a:cubicBezTo>
                        <a:pt x="97674" y="45137"/>
                        <a:pt x="97674" y="45137"/>
                        <a:pt x="97674" y="45137"/>
                      </a:cubicBezTo>
                      <a:cubicBezTo>
                        <a:pt x="97674" y="47339"/>
                        <a:pt x="97674" y="47339"/>
                        <a:pt x="97674" y="47339"/>
                      </a:cubicBezTo>
                      <a:cubicBezTo>
                        <a:pt x="101395" y="46238"/>
                        <a:pt x="101395" y="46238"/>
                        <a:pt x="101395" y="46238"/>
                      </a:cubicBezTo>
                      <a:cubicBezTo>
                        <a:pt x="101395" y="46238"/>
                        <a:pt x="101395" y="46238"/>
                        <a:pt x="102325" y="47339"/>
                      </a:cubicBezTo>
                      <a:cubicBezTo>
                        <a:pt x="104186" y="47339"/>
                        <a:pt x="105116" y="46238"/>
                        <a:pt x="106046" y="46238"/>
                      </a:cubicBezTo>
                      <a:cubicBezTo>
                        <a:pt x="106046" y="46238"/>
                        <a:pt x="107906" y="48440"/>
                        <a:pt x="107906" y="48440"/>
                      </a:cubicBezTo>
                      <a:cubicBezTo>
                        <a:pt x="107906" y="48440"/>
                        <a:pt x="108837" y="49541"/>
                        <a:pt x="108837" y="49541"/>
                      </a:cubicBezTo>
                      <a:cubicBezTo>
                        <a:pt x="109767" y="49541"/>
                        <a:pt x="111627" y="50642"/>
                        <a:pt x="111627" y="50642"/>
                      </a:cubicBezTo>
                      <a:cubicBezTo>
                        <a:pt x="111627" y="53944"/>
                        <a:pt x="111627" y="53944"/>
                        <a:pt x="111627" y="53944"/>
                      </a:cubicBezTo>
                      <a:cubicBezTo>
                        <a:pt x="111627" y="53944"/>
                        <a:pt x="113488" y="53944"/>
                        <a:pt x="113488" y="53944"/>
                      </a:cubicBezTo>
                      <a:cubicBezTo>
                        <a:pt x="114418" y="53944"/>
                        <a:pt x="115348" y="55045"/>
                        <a:pt x="115348" y="55045"/>
                      </a:cubicBezTo>
                      <a:cubicBezTo>
                        <a:pt x="115348" y="55045"/>
                        <a:pt x="115348" y="58348"/>
                        <a:pt x="114418" y="58348"/>
                      </a:cubicBezTo>
                      <a:cubicBezTo>
                        <a:pt x="114418" y="59449"/>
                        <a:pt x="113488" y="60550"/>
                        <a:pt x="113488" y="60550"/>
                      </a:cubicBezTo>
                      <a:cubicBezTo>
                        <a:pt x="113488" y="60550"/>
                        <a:pt x="114418" y="62752"/>
                        <a:pt x="115348" y="62752"/>
                      </a:cubicBezTo>
                      <a:cubicBezTo>
                        <a:pt x="115348" y="62752"/>
                        <a:pt x="117209" y="62752"/>
                        <a:pt x="117209" y="62752"/>
                      </a:cubicBezTo>
                      <a:cubicBezTo>
                        <a:pt x="118139" y="62752"/>
                        <a:pt x="119069" y="64954"/>
                        <a:pt x="119069" y="64954"/>
                      </a:cubicBezTo>
                      <a:cubicBezTo>
                        <a:pt x="119069" y="64954"/>
                        <a:pt x="120000" y="66055"/>
                        <a:pt x="120000" y="67155"/>
                      </a:cubicBezTo>
                      <a:cubicBezTo>
                        <a:pt x="120000" y="68256"/>
                        <a:pt x="119069" y="70458"/>
                        <a:pt x="119069" y="70458"/>
                      </a:cubicBezTo>
                      <a:cubicBezTo>
                        <a:pt x="119069" y="70458"/>
                        <a:pt x="119069" y="71559"/>
                        <a:pt x="119069" y="72660"/>
                      </a:cubicBezTo>
                      <a:cubicBezTo>
                        <a:pt x="119069" y="72660"/>
                        <a:pt x="118139" y="73761"/>
                        <a:pt x="118139" y="73761"/>
                      </a:cubicBezTo>
                      <a:cubicBezTo>
                        <a:pt x="116279" y="73761"/>
                        <a:pt x="116279" y="73761"/>
                        <a:pt x="116279" y="73761"/>
                      </a:cubicBezTo>
                      <a:cubicBezTo>
                        <a:pt x="116279" y="73761"/>
                        <a:pt x="116279" y="77064"/>
                        <a:pt x="115348" y="77064"/>
                      </a:cubicBezTo>
                      <a:cubicBezTo>
                        <a:pt x="115348" y="77064"/>
                        <a:pt x="114418" y="77064"/>
                        <a:pt x="114418" y="77064"/>
                      </a:cubicBezTo>
                      <a:cubicBezTo>
                        <a:pt x="113488" y="77064"/>
                        <a:pt x="112558" y="78165"/>
                        <a:pt x="112558" y="78165"/>
                      </a:cubicBezTo>
                      <a:cubicBezTo>
                        <a:pt x="112558" y="79266"/>
                        <a:pt x="112558" y="79266"/>
                        <a:pt x="112558" y="79266"/>
                      </a:cubicBezTo>
                      <a:cubicBezTo>
                        <a:pt x="111627" y="81467"/>
                        <a:pt x="111627" y="81467"/>
                        <a:pt x="111627" y="81467"/>
                      </a:cubicBezTo>
                      <a:cubicBezTo>
                        <a:pt x="111627" y="81467"/>
                        <a:pt x="111627" y="81467"/>
                        <a:pt x="110697" y="81467"/>
                      </a:cubicBezTo>
                      <a:cubicBezTo>
                        <a:pt x="110697" y="81467"/>
                        <a:pt x="110697" y="81467"/>
                        <a:pt x="109767" y="81467"/>
                      </a:cubicBezTo>
                      <a:cubicBezTo>
                        <a:pt x="109767" y="82568"/>
                        <a:pt x="108837" y="82568"/>
                        <a:pt x="108837" y="82568"/>
                      </a:cubicBezTo>
                      <a:cubicBezTo>
                        <a:pt x="108837" y="82568"/>
                        <a:pt x="107906" y="81467"/>
                        <a:pt x="106976" y="81467"/>
                      </a:cubicBezTo>
                      <a:cubicBezTo>
                        <a:pt x="106976" y="81467"/>
                        <a:pt x="106046" y="81467"/>
                        <a:pt x="106046" y="82568"/>
                      </a:cubicBezTo>
                      <a:cubicBezTo>
                        <a:pt x="105116" y="83669"/>
                        <a:pt x="105116" y="84770"/>
                        <a:pt x="104186" y="84770"/>
                      </a:cubicBezTo>
                      <a:cubicBezTo>
                        <a:pt x="104186" y="84770"/>
                        <a:pt x="103255" y="85871"/>
                        <a:pt x="103255" y="85871"/>
                      </a:cubicBezTo>
                      <a:cubicBezTo>
                        <a:pt x="103255" y="85871"/>
                        <a:pt x="103255" y="88073"/>
                        <a:pt x="102325" y="88073"/>
                      </a:cubicBezTo>
                      <a:cubicBezTo>
                        <a:pt x="102325" y="89174"/>
                        <a:pt x="101395" y="90275"/>
                        <a:pt x="101395" y="90275"/>
                      </a:cubicBezTo>
                      <a:cubicBezTo>
                        <a:pt x="101395" y="90275"/>
                        <a:pt x="101395" y="91376"/>
                        <a:pt x="101395" y="91376"/>
                      </a:cubicBezTo>
                      <a:cubicBezTo>
                        <a:pt x="101395" y="92477"/>
                        <a:pt x="101395" y="93577"/>
                        <a:pt x="100465" y="94678"/>
                      </a:cubicBezTo>
                      <a:cubicBezTo>
                        <a:pt x="99534" y="94678"/>
                        <a:pt x="97674" y="96880"/>
                        <a:pt x="97674" y="96880"/>
                      </a:cubicBezTo>
                      <a:cubicBezTo>
                        <a:pt x="97674" y="96880"/>
                        <a:pt x="97674" y="96880"/>
                        <a:pt x="97674" y="97981"/>
                      </a:cubicBezTo>
                      <a:cubicBezTo>
                        <a:pt x="98604" y="97981"/>
                        <a:pt x="98604" y="99082"/>
                        <a:pt x="98604" y="99082"/>
                      </a:cubicBezTo>
                      <a:cubicBezTo>
                        <a:pt x="98604" y="101284"/>
                        <a:pt x="98604" y="101284"/>
                        <a:pt x="98604" y="101284"/>
                      </a:cubicBezTo>
                      <a:cubicBezTo>
                        <a:pt x="98604" y="101284"/>
                        <a:pt x="97674" y="102385"/>
                        <a:pt x="97674" y="103486"/>
                      </a:cubicBezTo>
                      <a:cubicBezTo>
                        <a:pt x="98604" y="103486"/>
                        <a:pt x="98604" y="103486"/>
                        <a:pt x="98604" y="103486"/>
                      </a:cubicBezTo>
                      <a:cubicBezTo>
                        <a:pt x="99534" y="105688"/>
                        <a:pt x="99534" y="105688"/>
                        <a:pt x="99534" y="105688"/>
                      </a:cubicBezTo>
                      <a:cubicBezTo>
                        <a:pt x="100465" y="107889"/>
                        <a:pt x="100465" y="107889"/>
                        <a:pt x="100465" y="107889"/>
                      </a:cubicBezTo>
                      <a:cubicBezTo>
                        <a:pt x="101395" y="107889"/>
                        <a:pt x="101395" y="107889"/>
                        <a:pt x="101395" y="107889"/>
                      </a:cubicBezTo>
                      <a:cubicBezTo>
                        <a:pt x="101395" y="107889"/>
                        <a:pt x="102325" y="110091"/>
                        <a:pt x="102325" y="111192"/>
                      </a:cubicBezTo>
                      <a:cubicBezTo>
                        <a:pt x="102325" y="111192"/>
                        <a:pt x="102325" y="113394"/>
                        <a:pt x="102325" y="113394"/>
                      </a:cubicBezTo>
                      <a:cubicBezTo>
                        <a:pt x="100465" y="115596"/>
                        <a:pt x="100465" y="115596"/>
                        <a:pt x="100465" y="115596"/>
                      </a:cubicBezTo>
                      <a:cubicBezTo>
                        <a:pt x="99534" y="117798"/>
                        <a:pt x="99534" y="117798"/>
                        <a:pt x="99534" y="117798"/>
                      </a:cubicBezTo>
                      <a:cubicBezTo>
                        <a:pt x="99534" y="117798"/>
                        <a:pt x="98604" y="117798"/>
                        <a:pt x="98604" y="117798"/>
                      </a:cubicBezTo>
                      <a:cubicBezTo>
                        <a:pt x="97674" y="117798"/>
                        <a:pt x="96744" y="117798"/>
                        <a:pt x="96744" y="117798"/>
                      </a:cubicBezTo>
                      <a:cubicBezTo>
                        <a:pt x="95813" y="118899"/>
                        <a:pt x="95813" y="118899"/>
                        <a:pt x="95813" y="118899"/>
                      </a:cubicBezTo>
                      <a:cubicBezTo>
                        <a:pt x="93953" y="118899"/>
                        <a:pt x="93953" y="118899"/>
                        <a:pt x="93953" y="118899"/>
                      </a:cubicBezTo>
                      <a:cubicBezTo>
                        <a:pt x="92093" y="120000"/>
                        <a:pt x="92093" y="120000"/>
                        <a:pt x="92093" y="120000"/>
                      </a:cubicBezTo>
                      <a:cubicBezTo>
                        <a:pt x="89302" y="120000"/>
                        <a:pt x="89302" y="120000"/>
                        <a:pt x="89302" y="120000"/>
                      </a:cubicBezTo>
                      <a:cubicBezTo>
                        <a:pt x="88372" y="117798"/>
                        <a:pt x="88372" y="117798"/>
                        <a:pt x="88372" y="117798"/>
                      </a:cubicBezTo>
                      <a:cubicBezTo>
                        <a:pt x="87441" y="115596"/>
                        <a:pt x="87441" y="115596"/>
                        <a:pt x="87441" y="115596"/>
                      </a:cubicBezTo>
                      <a:cubicBezTo>
                        <a:pt x="86511" y="114495"/>
                        <a:pt x="86511" y="114495"/>
                        <a:pt x="86511" y="114495"/>
                      </a:cubicBezTo>
                      <a:cubicBezTo>
                        <a:pt x="85581" y="114495"/>
                        <a:pt x="85581" y="114495"/>
                        <a:pt x="85581" y="114495"/>
                      </a:cubicBezTo>
                      <a:cubicBezTo>
                        <a:pt x="82790" y="113394"/>
                        <a:pt x="82790" y="113394"/>
                        <a:pt x="82790" y="113394"/>
                      </a:cubicBezTo>
                      <a:cubicBezTo>
                        <a:pt x="83720" y="111192"/>
                        <a:pt x="83720" y="111192"/>
                        <a:pt x="83720" y="111192"/>
                      </a:cubicBezTo>
                      <a:cubicBezTo>
                        <a:pt x="83720" y="111192"/>
                        <a:pt x="82790" y="108990"/>
                        <a:pt x="82790" y="108990"/>
                      </a:cubicBezTo>
                      <a:cubicBezTo>
                        <a:pt x="81860" y="108990"/>
                        <a:pt x="80930" y="108990"/>
                        <a:pt x="80930" y="108990"/>
                      </a:cubicBezTo>
                      <a:cubicBezTo>
                        <a:pt x="79069" y="106788"/>
                        <a:pt x="79069" y="106788"/>
                        <a:pt x="79069" y="106788"/>
                      </a:cubicBezTo>
                      <a:cubicBezTo>
                        <a:pt x="79069" y="106788"/>
                        <a:pt x="79069" y="105688"/>
                        <a:pt x="78139" y="104587"/>
                      </a:cubicBezTo>
                      <a:cubicBezTo>
                        <a:pt x="77209" y="104587"/>
                        <a:pt x="77209" y="103486"/>
                        <a:pt x="76279" y="103486"/>
                      </a:cubicBezTo>
                      <a:cubicBezTo>
                        <a:pt x="75348" y="103486"/>
                        <a:pt x="73488" y="103486"/>
                        <a:pt x="73488" y="103486"/>
                      </a:cubicBezTo>
                      <a:cubicBezTo>
                        <a:pt x="73488" y="103486"/>
                        <a:pt x="72558" y="101284"/>
                        <a:pt x="71627" y="101284"/>
                      </a:cubicBezTo>
                      <a:cubicBezTo>
                        <a:pt x="71627" y="101284"/>
                        <a:pt x="67906" y="101284"/>
                        <a:pt x="67906" y="101284"/>
                      </a:cubicBezTo>
                      <a:cubicBezTo>
                        <a:pt x="67906" y="101284"/>
                        <a:pt x="68837" y="97981"/>
                        <a:pt x="68837" y="97981"/>
                      </a:cubicBezTo>
                      <a:cubicBezTo>
                        <a:pt x="68837" y="96880"/>
                        <a:pt x="68837" y="93577"/>
                        <a:pt x="68837" y="93577"/>
                      </a:cubicBezTo>
                      <a:cubicBezTo>
                        <a:pt x="68837" y="92477"/>
                        <a:pt x="68837" y="92477"/>
                        <a:pt x="68837" y="92477"/>
                      </a:cubicBezTo>
                      <a:cubicBezTo>
                        <a:pt x="68837" y="92477"/>
                        <a:pt x="67906" y="91376"/>
                        <a:pt x="68837" y="89174"/>
                      </a:cubicBezTo>
                      <a:cubicBezTo>
                        <a:pt x="69767" y="86972"/>
                        <a:pt x="68837" y="88073"/>
                        <a:pt x="69767" y="85871"/>
                      </a:cubicBezTo>
                      <a:cubicBezTo>
                        <a:pt x="70697" y="82568"/>
                        <a:pt x="70697" y="81467"/>
                        <a:pt x="70697" y="81467"/>
                      </a:cubicBezTo>
                      <a:cubicBezTo>
                        <a:pt x="68837" y="80366"/>
                        <a:pt x="68837" y="80366"/>
                        <a:pt x="68837" y="80366"/>
                      </a:cubicBezTo>
                      <a:cubicBezTo>
                        <a:pt x="68837" y="80366"/>
                        <a:pt x="67906" y="79266"/>
                        <a:pt x="66976" y="80366"/>
                      </a:cubicBezTo>
                      <a:cubicBezTo>
                        <a:pt x="66976" y="82568"/>
                        <a:pt x="66046" y="82568"/>
                        <a:pt x="66046" y="82568"/>
                      </a:cubicBezTo>
                      <a:cubicBezTo>
                        <a:pt x="64186" y="85871"/>
                        <a:pt x="64186" y="85871"/>
                        <a:pt x="64186" y="85871"/>
                      </a:cubicBezTo>
                      <a:cubicBezTo>
                        <a:pt x="64186" y="89174"/>
                        <a:pt x="64186" y="89174"/>
                        <a:pt x="64186" y="89174"/>
                      </a:cubicBezTo>
                      <a:cubicBezTo>
                        <a:pt x="64186" y="89174"/>
                        <a:pt x="65116" y="90275"/>
                        <a:pt x="62325" y="90275"/>
                      </a:cubicBezTo>
                      <a:cubicBezTo>
                        <a:pt x="60465" y="90275"/>
                        <a:pt x="58604" y="90275"/>
                        <a:pt x="58604" y="90275"/>
                      </a:cubicBezTo>
                      <a:cubicBezTo>
                        <a:pt x="58604" y="90275"/>
                        <a:pt x="60465" y="92477"/>
                        <a:pt x="58604" y="92477"/>
                      </a:cubicBezTo>
                      <a:cubicBezTo>
                        <a:pt x="55813" y="92477"/>
                        <a:pt x="53023" y="92477"/>
                        <a:pt x="53023" y="92477"/>
                      </a:cubicBezTo>
                      <a:cubicBezTo>
                        <a:pt x="51162" y="90275"/>
                        <a:pt x="51162" y="90275"/>
                        <a:pt x="51162" y="90275"/>
                      </a:cubicBezTo>
                      <a:cubicBezTo>
                        <a:pt x="47441" y="91376"/>
                        <a:pt x="47441" y="91376"/>
                        <a:pt x="47441" y="91376"/>
                      </a:cubicBezTo>
                      <a:cubicBezTo>
                        <a:pt x="47441" y="91376"/>
                        <a:pt x="47441" y="90275"/>
                        <a:pt x="47441" y="88073"/>
                      </a:cubicBezTo>
                      <a:cubicBezTo>
                        <a:pt x="47441" y="86972"/>
                        <a:pt x="46511" y="84770"/>
                        <a:pt x="47441" y="84770"/>
                      </a:cubicBezTo>
                      <a:cubicBezTo>
                        <a:pt x="48372" y="84770"/>
                        <a:pt x="49302" y="83669"/>
                        <a:pt x="49302" y="83669"/>
                      </a:cubicBezTo>
                      <a:cubicBezTo>
                        <a:pt x="48372" y="80366"/>
                        <a:pt x="48372" y="80366"/>
                        <a:pt x="48372" y="80366"/>
                      </a:cubicBezTo>
                      <a:cubicBezTo>
                        <a:pt x="48372" y="80366"/>
                        <a:pt x="48372" y="80366"/>
                        <a:pt x="48372" y="80366"/>
                      </a:cubicBezTo>
                      <a:cubicBezTo>
                        <a:pt x="48372" y="80366"/>
                        <a:pt x="47441" y="80366"/>
                        <a:pt x="47441" y="79266"/>
                      </a:cubicBezTo>
                      <a:cubicBezTo>
                        <a:pt x="47441" y="78165"/>
                        <a:pt x="48372" y="75963"/>
                        <a:pt x="48372" y="75963"/>
                      </a:cubicBezTo>
                      <a:cubicBezTo>
                        <a:pt x="49302" y="74862"/>
                        <a:pt x="49302" y="72660"/>
                        <a:pt x="49302" y="72660"/>
                      </a:cubicBezTo>
                      <a:cubicBezTo>
                        <a:pt x="48372" y="72660"/>
                        <a:pt x="48372" y="72660"/>
                        <a:pt x="48372" y="72660"/>
                      </a:cubicBezTo>
                      <a:cubicBezTo>
                        <a:pt x="48372" y="72660"/>
                        <a:pt x="46511" y="73761"/>
                        <a:pt x="46511" y="71559"/>
                      </a:cubicBezTo>
                      <a:cubicBezTo>
                        <a:pt x="46511" y="70458"/>
                        <a:pt x="45581" y="68256"/>
                        <a:pt x="45581" y="68256"/>
                      </a:cubicBezTo>
                      <a:cubicBezTo>
                        <a:pt x="45581" y="68256"/>
                        <a:pt x="43720" y="67155"/>
                        <a:pt x="43720" y="67155"/>
                      </a:cubicBezTo>
                      <a:cubicBezTo>
                        <a:pt x="42790" y="67155"/>
                        <a:pt x="42790" y="67155"/>
                        <a:pt x="41860" y="68256"/>
                      </a:cubicBezTo>
                      <a:cubicBezTo>
                        <a:pt x="41860" y="68256"/>
                        <a:pt x="39069" y="67155"/>
                        <a:pt x="39069" y="67155"/>
                      </a:cubicBezTo>
                      <a:cubicBezTo>
                        <a:pt x="39069" y="67155"/>
                        <a:pt x="36279" y="67155"/>
                        <a:pt x="36279" y="67155"/>
                      </a:cubicBezTo>
                      <a:cubicBezTo>
                        <a:pt x="35348" y="67155"/>
                        <a:pt x="34418" y="69357"/>
                        <a:pt x="34418" y="69357"/>
                      </a:cubicBezTo>
                      <a:cubicBezTo>
                        <a:pt x="32558" y="66055"/>
                        <a:pt x="32558" y="66055"/>
                        <a:pt x="32558" y="66055"/>
                      </a:cubicBezTo>
                      <a:cubicBezTo>
                        <a:pt x="33488" y="62752"/>
                        <a:pt x="33488" y="62752"/>
                        <a:pt x="33488" y="62752"/>
                      </a:cubicBezTo>
                      <a:cubicBezTo>
                        <a:pt x="33488" y="62752"/>
                        <a:pt x="31627" y="60550"/>
                        <a:pt x="31627" y="59449"/>
                      </a:cubicBezTo>
                      <a:cubicBezTo>
                        <a:pt x="31627" y="59449"/>
                        <a:pt x="30697" y="57247"/>
                        <a:pt x="30697" y="57247"/>
                      </a:cubicBezTo>
                      <a:cubicBezTo>
                        <a:pt x="28837" y="57247"/>
                        <a:pt x="28837" y="57247"/>
                        <a:pt x="28837" y="57247"/>
                      </a:cubicBezTo>
                      <a:cubicBezTo>
                        <a:pt x="27906" y="56146"/>
                        <a:pt x="27906" y="56146"/>
                        <a:pt x="27906" y="56146"/>
                      </a:cubicBezTo>
                      <a:cubicBezTo>
                        <a:pt x="27906" y="56146"/>
                        <a:pt x="26046" y="56146"/>
                        <a:pt x="25116" y="56146"/>
                      </a:cubicBezTo>
                      <a:cubicBezTo>
                        <a:pt x="24186" y="56146"/>
                        <a:pt x="24186" y="56146"/>
                        <a:pt x="23255" y="56146"/>
                      </a:cubicBezTo>
                      <a:cubicBezTo>
                        <a:pt x="23255" y="56146"/>
                        <a:pt x="21395" y="53944"/>
                        <a:pt x="21395" y="53944"/>
                      </a:cubicBezTo>
                      <a:cubicBezTo>
                        <a:pt x="21395" y="52844"/>
                        <a:pt x="21395" y="51743"/>
                        <a:pt x="21395" y="50642"/>
                      </a:cubicBezTo>
                      <a:cubicBezTo>
                        <a:pt x="20465" y="49541"/>
                        <a:pt x="19534" y="47339"/>
                        <a:pt x="19534" y="46238"/>
                      </a:cubicBezTo>
                      <a:cubicBezTo>
                        <a:pt x="19534" y="46238"/>
                        <a:pt x="20465" y="44036"/>
                        <a:pt x="20465" y="44036"/>
                      </a:cubicBezTo>
                      <a:cubicBezTo>
                        <a:pt x="19534" y="42935"/>
                        <a:pt x="17674" y="40733"/>
                        <a:pt x="17674" y="40733"/>
                      </a:cubicBezTo>
                      <a:cubicBezTo>
                        <a:pt x="16744" y="38532"/>
                        <a:pt x="16744" y="38532"/>
                        <a:pt x="16744" y="38532"/>
                      </a:cubicBezTo>
                      <a:cubicBezTo>
                        <a:pt x="16744" y="38532"/>
                        <a:pt x="13953" y="40733"/>
                        <a:pt x="13023" y="40733"/>
                      </a:cubicBezTo>
                      <a:cubicBezTo>
                        <a:pt x="12093" y="40733"/>
                        <a:pt x="10232" y="39633"/>
                        <a:pt x="10232" y="40733"/>
                      </a:cubicBezTo>
                      <a:cubicBezTo>
                        <a:pt x="10232" y="40733"/>
                        <a:pt x="11162" y="42935"/>
                        <a:pt x="10232" y="42935"/>
                      </a:cubicBezTo>
                      <a:cubicBezTo>
                        <a:pt x="9302" y="42935"/>
                        <a:pt x="7441" y="42935"/>
                        <a:pt x="6511" y="41834"/>
                      </a:cubicBezTo>
                      <a:cubicBezTo>
                        <a:pt x="5581" y="40733"/>
                        <a:pt x="5581" y="39633"/>
                        <a:pt x="5581" y="38532"/>
                      </a:cubicBezTo>
                      <a:cubicBezTo>
                        <a:pt x="4651" y="38532"/>
                        <a:pt x="4651" y="36330"/>
                        <a:pt x="3720" y="36330"/>
                      </a:cubicBezTo>
                      <a:cubicBezTo>
                        <a:pt x="2790" y="36330"/>
                        <a:pt x="1860" y="36330"/>
                        <a:pt x="1860" y="35229"/>
                      </a:cubicBezTo>
                      <a:cubicBezTo>
                        <a:pt x="1860" y="35229"/>
                        <a:pt x="1860" y="31926"/>
                        <a:pt x="1860" y="31926"/>
                      </a:cubicBezTo>
                      <a:cubicBezTo>
                        <a:pt x="1860" y="29724"/>
                        <a:pt x="1860" y="29724"/>
                        <a:pt x="1860" y="29724"/>
                      </a:cubicBezTo>
                      <a:cubicBezTo>
                        <a:pt x="1860" y="29724"/>
                        <a:pt x="1860" y="26422"/>
                        <a:pt x="930" y="26422"/>
                      </a:cubicBezTo>
                      <a:cubicBezTo>
                        <a:pt x="930" y="25321"/>
                        <a:pt x="0" y="24220"/>
                        <a:pt x="0" y="24220"/>
                      </a:cubicBezTo>
                      <a:cubicBezTo>
                        <a:pt x="0" y="20917"/>
                        <a:pt x="0" y="20917"/>
                        <a:pt x="0" y="20917"/>
                      </a:cubicBezTo>
                      <a:lnTo>
                        <a:pt x="930" y="19816"/>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78" name="Shape 2034"/>
                <p:cNvSpPr/>
                <p:nvPr/>
              </p:nvSpPr>
              <p:spPr>
                <a:xfrm>
                  <a:off x="5187582" y="2730091"/>
                  <a:ext cx="547516" cy="294054"/>
                </a:xfrm>
                <a:custGeom>
                  <a:avLst/>
                  <a:gdLst/>
                  <a:ahLst/>
                  <a:cxnLst/>
                  <a:rect l="0" t="0" r="0" b="0"/>
                  <a:pathLst>
                    <a:path w="120000" h="120000" extrusionOk="0">
                      <a:moveTo>
                        <a:pt x="21500" y="24360"/>
                      </a:moveTo>
                      <a:cubicBezTo>
                        <a:pt x="22000" y="24360"/>
                        <a:pt x="25000" y="19849"/>
                        <a:pt x="25000" y="19849"/>
                      </a:cubicBezTo>
                      <a:cubicBezTo>
                        <a:pt x="28000" y="18045"/>
                        <a:pt x="28000" y="18045"/>
                        <a:pt x="28000" y="18045"/>
                      </a:cubicBezTo>
                      <a:cubicBezTo>
                        <a:pt x="29000" y="16240"/>
                        <a:pt x="29000" y="16240"/>
                        <a:pt x="29000" y="16240"/>
                      </a:cubicBezTo>
                      <a:cubicBezTo>
                        <a:pt x="30000" y="12631"/>
                        <a:pt x="30000" y="12631"/>
                        <a:pt x="30000" y="12631"/>
                      </a:cubicBezTo>
                      <a:cubicBezTo>
                        <a:pt x="30000" y="12631"/>
                        <a:pt x="29500" y="10827"/>
                        <a:pt x="31000" y="10827"/>
                      </a:cubicBezTo>
                      <a:cubicBezTo>
                        <a:pt x="32500" y="10827"/>
                        <a:pt x="37000" y="9022"/>
                        <a:pt x="37000" y="9022"/>
                      </a:cubicBezTo>
                      <a:cubicBezTo>
                        <a:pt x="37500" y="7218"/>
                        <a:pt x="37500" y="7218"/>
                        <a:pt x="37500" y="7218"/>
                      </a:cubicBezTo>
                      <a:cubicBezTo>
                        <a:pt x="36500" y="4511"/>
                        <a:pt x="36500" y="4511"/>
                        <a:pt x="36500" y="4511"/>
                      </a:cubicBezTo>
                      <a:cubicBezTo>
                        <a:pt x="36500" y="4511"/>
                        <a:pt x="36500" y="902"/>
                        <a:pt x="36500" y="902"/>
                      </a:cubicBezTo>
                      <a:cubicBezTo>
                        <a:pt x="37000" y="0"/>
                        <a:pt x="39000" y="0"/>
                        <a:pt x="40000" y="0"/>
                      </a:cubicBezTo>
                      <a:cubicBezTo>
                        <a:pt x="41000" y="902"/>
                        <a:pt x="42000" y="1804"/>
                        <a:pt x="42500" y="2706"/>
                      </a:cubicBezTo>
                      <a:cubicBezTo>
                        <a:pt x="42500" y="3609"/>
                        <a:pt x="42500" y="2706"/>
                        <a:pt x="42500" y="4511"/>
                      </a:cubicBezTo>
                      <a:cubicBezTo>
                        <a:pt x="42500" y="6315"/>
                        <a:pt x="42500" y="8120"/>
                        <a:pt x="42500" y="8120"/>
                      </a:cubicBezTo>
                      <a:cubicBezTo>
                        <a:pt x="42500" y="8120"/>
                        <a:pt x="43000" y="9022"/>
                        <a:pt x="43500" y="9924"/>
                      </a:cubicBezTo>
                      <a:cubicBezTo>
                        <a:pt x="44500" y="9924"/>
                        <a:pt x="45500" y="11729"/>
                        <a:pt x="45500" y="10827"/>
                      </a:cubicBezTo>
                      <a:cubicBezTo>
                        <a:pt x="45500" y="10827"/>
                        <a:pt x="46000" y="9924"/>
                        <a:pt x="46500" y="9022"/>
                      </a:cubicBezTo>
                      <a:cubicBezTo>
                        <a:pt x="46500" y="9022"/>
                        <a:pt x="46500" y="9022"/>
                        <a:pt x="46500" y="9022"/>
                      </a:cubicBezTo>
                      <a:cubicBezTo>
                        <a:pt x="46500" y="10827"/>
                        <a:pt x="47000" y="9924"/>
                        <a:pt x="47500" y="9924"/>
                      </a:cubicBezTo>
                      <a:cubicBezTo>
                        <a:pt x="48000" y="9924"/>
                        <a:pt x="50000" y="8120"/>
                        <a:pt x="50000" y="8120"/>
                      </a:cubicBezTo>
                      <a:cubicBezTo>
                        <a:pt x="50000" y="8120"/>
                        <a:pt x="49500" y="5413"/>
                        <a:pt x="49500" y="5413"/>
                      </a:cubicBezTo>
                      <a:cubicBezTo>
                        <a:pt x="49500" y="4511"/>
                        <a:pt x="49500" y="3609"/>
                        <a:pt x="49500" y="2706"/>
                      </a:cubicBezTo>
                      <a:cubicBezTo>
                        <a:pt x="50000" y="1804"/>
                        <a:pt x="50000" y="1804"/>
                        <a:pt x="50000" y="1804"/>
                      </a:cubicBezTo>
                      <a:cubicBezTo>
                        <a:pt x="50500" y="1804"/>
                        <a:pt x="51500" y="2706"/>
                        <a:pt x="51500" y="2706"/>
                      </a:cubicBezTo>
                      <a:cubicBezTo>
                        <a:pt x="51500" y="2706"/>
                        <a:pt x="52500" y="3609"/>
                        <a:pt x="53000" y="3609"/>
                      </a:cubicBezTo>
                      <a:cubicBezTo>
                        <a:pt x="54000" y="3609"/>
                        <a:pt x="53500" y="5413"/>
                        <a:pt x="53500" y="5413"/>
                      </a:cubicBezTo>
                      <a:cubicBezTo>
                        <a:pt x="53500" y="5413"/>
                        <a:pt x="54000" y="8120"/>
                        <a:pt x="55000" y="9022"/>
                      </a:cubicBezTo>
                      <a:cubicBezTo>
                        <a:pt x="56000" y="9924"/>
                        <a:pt x="56000" y="10827"/>
                        <a:pt x="56000" y="11729"/>
                      </a:cubicBezTo>
                      <a:cubicBezTo>
                        <a:pt x="56500" y="11729"/>
                        <a:pt x="57500" y="11729"/>
                        <a:pt x="57500" y="11729"/>
                      </a:cubicBezTo>
                      <a:cubicBezTo>
                        <a:pt x="59000" y="10827"/>
                        <a:pt x="59000" y="10827"/>
                        <a:pt x="59000" y="10827"/>
                      </a:cubicBezTo>
                      <a:cubicBezTo>
                        <a:pt x="59000" y="10827"/>
                        <a:pt x="60000" y="11729"/>
                        <a:pt x="60500" y="13533"/>
                      </a:cubicBezTo>
                      <a:cubicBezTo>
                        <a:pt x="60500" y="14436"/>
                        <a:pt x="62000" y="14436"/>
                        <a:pt x="62500" y="13533"/>
                      </a:cubicBezTo>
                      <a:cubicBezTo>
                        <a:pt x="63000" y="13533"/>
                        <a:pt x="63000" y="13533"/>
                        <a:pt x="63000" y="13533"/>
                      </a:cubicBezTo>
                      <a:cubicBezTo>
                        <a:pt x="63500" y="14436"/>
                        <a:pt x="63500" y="14436"/>
                        <a:pt x="63500" y="14436"/>
                      </a:cubicBezTo>
                      <a:cubicBezTo>
                        <a:pt x="63500" y="14436"/>
                        <a:pt x="64500" y="18045"/>
                        <a:pt x="66000" y="15338"/>
                      </a:cubicBezTo>
                      <a:cubicBezTo>
                        <a:pt x="67500" y="12631"/>
                        <a:pt x="66500" y="15338"/>
                        <a:pt x="66500" y="15338"/>
                      </a:cubicBezTo>
                      <a:cubicBezTo>
                        <a:pt x="66500" y="15338"/>
                        <a:pt x="67500" y="18045"/>
                        <a:pt x="68000" y="18045"/>
                      </a:cubicBezTo>
                      <a:cubicBezTo>
                        <a:pt x="69000" y="18045"/>
                        <a:pt x="69000" y="18045"/>
                        <a:pt x="69000" y="18045"/>
                      </a:cubicBezTo>
                      <a:cubicBezTo>
                        <a:pt x="71000" y="16240"/>
                        <a:pt x="71000" y="16240"/>
                        <a:pt x="71000" y="16240"/>
                      </a:cubicBezTo>
                      <a:cubicBezTo>
                        <a:pt x="72500" y="15338"/>
                        <a:pt x="72500" y="15338"/>
                        <a:pt x="72500" y="15338"/>
                      </a:cubicBezTo>
                      <a:cubicBezTo>
                        <a:pt x="72500" y="15338"/>
                        <a:pt x="74000" y="15338"/>
                        <a:pt x="73500" y="19849"/>
                      </a:cubicBezTo>
                      <a:cubicBezTo>
                        <a:pt x="73500" y="23458"/>
                        <a:pt x="73000" y="22556"/>
                        <a:pt x="73000" y="22556"/>
                      </a:cubicBezTo>
                      <a:cubicBezTo>
                        <a:pt x="72000" y="25263"/>
                        <a:pt x="72000" y="25263"/>
                        <a:pt x="72000" y="25263"/>
                      </a:cubicBezTo>
                      <a:cubicBezTo>
                        <a:pt x="72000" y="27969"/>
                        <a:pt x="72000" y="27969"/>
                        <a:pt x="72000" y="27969"/>
                      </a:cubicBezTo>
                      <a:cubicBezTo>
                        <a:pt x="72000" y="27969"/>
                        <a:pt x="72500" y="27969"/>
                        <a:pt x="73000" y="27969"/>
                      </a:cubicBezTo>
                      <a:cubicBezTo>
                        <a:pt x="73500" y="27969"/>
                        <a:pt x="74000" y="31578"/>
                        <a:pt x="74000" y="31578"/>
                      </a:cubicBezTo>
                      <a:cubicBezTo>
                        <a:pt x="75500" y="32481"/>
                        <a:pt x="75500" y="32481"/>
                        <a:pt x="75500" y="32481"/>
                      </a:cubicBezTo>
                      <a:cubicBezTo>
                        <a:pt x="75500" y="32481"/>
                        <a:pt x="76000" y="33383"/>
                        <a:pt x="77000" y="34285"/>
                      </a:cubicBezTo>
                      <a:cubicBezTo>
                        <a:pt x="77500" y="35187"/>
                        <a:pt x="78000" y="36992"/>
                        <a:pt x="78000" y="36992"/>
                      </a:cubicBezTo>
                      <a:cubicBezTo>
                        <a:pt x="78000" y="36992"/>
                        <a:pt x="78500" y="40601"/>
                        <a:pt x="79000" y="41503"/>
                      </a:cubicBezTo>
                      <a:cubicBezTo>
                        <a:pt x="79000" y="43308"/>
                        <a:pt x="82000" y="39699"/>
                        <a:pt x="82000" y="39699"/>
                      </a:cubicBezTo>
                      <a:cubicBezTo>
                        <a:pt x="82500" y="35187"/>
                        <a:pt x="82500" y="35187"/>
                        <a:pt x="82500" y="35187"/>
                      </a:cubicBezTo>
                      <a:cubicBezTo>
                        <a:pt x="85500" y="33383"/>
                        <a:pt x="85500" y="33383"/>
                        <a:pt x="85500" y="33383"/>
                      </a:cubicBezTo>
                      <a:cubicBezTo>
                        <a:pt x="84500" y="27969"/>
                        <a:pt x="84500" y="27969"/>
                        <a:pt x="84500" y="27969"/>
                      </a:cubicBezTo>
                      <a:cubicBezTo>
                        <a:pt x="83500" y="24360"/>
                        <a:pt x="83500" y="24360"/>
                        <a:pt x="83500" y="24360"/>
                      </a:cubicBezTo>
                      <a:cubicBezTo>
                        <a:pt x="83500" y="24360"/>
                        <a:pt x="85500" y="25263"/>
                        <a:pt x="86000" y="24360"/>
                      </a:cubicBezTo>
                      <a:cubicBezTo>
                        <a:pt x="86500" y="24360"/>
                        <a:pt x="88000" y="25263"/>
                        <a:pt x="88000" y="25263"/>
                      </a:cubicBezTo>
                      <a:cubicBezTo>
                        <a:pt x="93500" y="29774"/>
                        <a:pt x="93500" y="29774"/>
                        <a:pt x="93500" y="29774"/>
                      </a:cubicBezTo>
                      <a:cubicBezTo>
                        <a:pt x="93500" y="29774"/>
                        <a:pt x="95000" y="28872"/>
                        <a:pt x="96000" y="28872"/>
                      </a:cubicBezTo>
                      <a:cubicBezTo>
                        <a:pt x="97000" y="27969"/>
                        <a:pt x="97000" y="26165"/>
                        <a:pt x="97000" y="26165"/>
                      </a:cubicBezTo>
                      <a:cubicBezTo>
                        <a:pt x="97000" y="26165"/>
                        <a:pt x="97500" y="27067"/>
                        <a:pt x="98500" y="28872"/>
                      </a:cubicBezTo>
                      <a:cubicBezTo>
                        <a:pt x="99000" y="31578"/>
                        <a:pt x="98000" y="30676"/>
                        <a:pt x="98000" y="31578"/>
                      </a:cubicBezTo>
                      <a:cubicBezTo>
                        <a:pt x="97500" y="32481"/>
                        <a:pt x="96500" y="35187"/>
                        <a:pt x="96500" y="35187"/>
                      </a:cubicBezTo>
                      <a:cubicBezTo>
                        <a:pt x="96500" y="35187"/>
                        <a:pt x="97000" y="36992"/>
                        <a:pt x="98000" y="36992"/>
                      </a:cubicBezTo>
                      <a:cubicBezTo>
                        <a:pt x="98500" y="36992"/>
                        <a:pt x="98000" y="37894"/>
                        <a:pt x="99000" y="39699"/>
                      </a:cubicBezTo>
                      <a:cubicBezTo>
                        <a:pt x="99500" y="40601"/>
                        <a:pt x="101500" y="41503"/>
                        <a:pt x="101500" y="41503"/>
                      </a:cubicBezTo>
                      <a:cubicBezTo>
                        <a:pt x="103000" y="41503"/>
                        <a:pt x="103000" y="41503"/>
                        <a:pt x="103000" y="41503"/>
                      </a:cubicBezTo>
                      <a:cubicBezTo>
                        <a:pt x="104500" y="38796"/>
                        <a:pt x="104500" y="38796"/>
                        <a:pt x="104500" y="38796"/>
                      </a:cubicBezTo>
                      <a:cubicBezTo>
                        <a:pt x="104500" y="38796"/>
                        <a:pt x="106000" y="39699"/>
                        <a:pt x="106500" y="40601"/>
                      </a:cubicBezTo>
                      <a:cubicBezTo>
                        <a:pt x="107000" y="41503"/>
                        <a:pt x="109500" y="43308"/>
                        <a:pt x="109500" y="43308"/>
                      </a:cubicBezTo>
                      <a:cubicBezTo>
                        <a:pt x="113500" y="41503"/>
                        <a:pt x="113500" y="41503"/>
                        <a:pt x="113500" y="41503"/>
                      </a:cubicBezTo>
                      <a:cubicBezTo>
                        <a:pt x="114000" y="48721"/>
                        <a:pt x="114000" y="48721"/>
                        <a:pt x="114000" y="48721"/>
                      </a:cubicBezTo>
                      <a:cubicBezTo>
                        <a:pt x="114000" y="48721"/>
                        <a:pt x="115000" y="48721"/>
                        <a:pt x="116000" y="51428"/>
                      </a:cubicBezTo>
                      <a:cubicBezTo>
                        <a:pt x="117000" y="53233"/>
                        <a:pt x="116500" y="51428"/>
                        <a:pt x="116500" y="51428"/>
                      </a:cubicBezTo>
                      <a:cubicBezTo>
                        <a:pt x="116500" y="51428"/>
                        <a:pt x="118500" y="53233"/>
                        <a:pt x="118500" y="54135"/>
                      </a:cubicBezTo>
                      <a:cubicBezTo>
                        <a:pt x="118500" y="55939"/>
                        <a:pt x="119000" y="57744"/>
                        <a:pt x="119000" y="57744"/>
                      </a:cubicBezTo>
                      <a:cubicBezTo>
                        <a:pt x="120000" y="61353"/>
                        <a:pt x="120000" y="61353"/>
                        <a:pt x="120000" y="61353"/>
                      </a:cubicBezTo>
                      <a:cubicBezTo>
                        <a:pt x="119500" y="61353"/>
                        <a:pt x="118500" y="61353"/>
                        <a:pt x="118000" y="61353"/>
                      </a:cubicBezTo>
                      <a:cubicBezTo>
                        <a:pt x="118000" y="61353"/>
                        <a:pt x="117500" y="62255"/>
                        <a:pt x="117000" y="62255"/>
                      </a:cubicBezTo>
                      <a:cubicBezTo>
                        <a:pt x="116500" y="62255"/>
                        <a:pt x="116000" y="62255"/>
                        <a:pt x="116000" y="62255"/>
                      </a:cubicBezTo>
                      <a:cubicBezTo>
                        <a:pt x="114500" y="63157"/>
                        <a:pt x="114500" y="63157"/>
                        <a:pt x="114500" y="63157"/>
                      </a:cubicBezTo>
                      <a:cubicBezTo>
                        <a:pt x="113500" y="64962"/>
                        <a:pt x="113500" y="64962"/>
                        <a:pt x="113500" y="64962"/>
                      </a:cubicBezTo>
                      <a:cubicBezTo>
                        <a:pt x="112500" y="66766"/>
                        <a:pt x="112500" y="66766"/>
                        <a:pt x="112500" y="66766"/>
                      </a:cubicBezTo>
                      <a:cubicBezTo>
                        <a:pt x="111500" y="70375"/>
                        <a:pt x="111500" y="70375"/>
                        <a:pt x="111500" y="70375"/>
                      </a:cubicBezTo>
                      <a:cubicBezTo>
                        <a:pt x="111500" y="72180"/>
                        <a:pt x="111500" y="72180"/>
                        <a:pt x="111500" y="72180"/>
                      </a:cubicBezTo>
                      <a:cubicBezTo>
                        <a:pt x="110000" y="74887"/>
                        <a:pt x="110000" y="74887"/>
                        <a:pt x="110000" y="74887"/>
                      </a:cubicBezTo>
                      <a:cubicBezTo>
                        <a:pt x="110000" y="74887"/>
                        <a:pt x="108500" y="76691"/>
                        <a:pt x="108000" y="76691"/>
                      </a:cubicBezTo>
                      <a:cubicBezTo>
                        <a:pt x="107500" y="76691"/>
                        <a:pt x="107500" y="80300"/>
                        <a:pt x="107500" y="80300"/>
                      </a:cubicBezTo>
                      <a:cubicBezTo>
                        <a:pt x="108000" y="83007"/>
                        <a:pt x="108000" y="83007"/>
                        <a:pt x="108000" y="83007"/>
                      </a:cubicBezTo>
                      <a:cubicBezTo>
                        <a:pt x="107500" y="87518"/>
                        <a:pt x="107500" y="87518"/>
                        <a:pt x="107500" y="87518"/>
                      </a:cubicBezTo>
                      <a:cubicBezTo>
                        <a:pt x="105000" y="89323"/>
                        <a:pt x="105000" y="89323"/>
                        <a:pt x="105000" y="89323"/>
                      </a:cubicBezTo>
                      <a:cubicBezTo>
                        <a:pt x="104500" y="92030"/>
                        <a:pt x="104500" y="92030"/>
                        <a:pt x="104500" y="92030"/>
                      </a:cubicBezTo>
                      <a:cubicBezTo>
                        <a:pt x="104000" y="93834"/>
                        <a:pt x="104000" y="93834"/>
                        <a:pt x="104000" y="93834"/>
                      </a:cubicBezTo>
                      <a:cubicBezTo>
                        <a:pt x="104000" y="93834"/>
                        <a:pt x="103000" y="94736"/>
                        <a:pt x="103000" y="94736"/>
                      </a:cubicBezTo>
                      <a:cubicBezTo>
                        <a:pt x="102500" y="93834"/>
                        <a:pt x="102500" y="96541"/>
                        <a:pt x="102500" y="96541"/>
                      </a:cubicBezTo>
                      <a:cubicBezTo>
                        <a:pt x="101500" y="98345"/>
                        <a:pt x="101500" y="98345"/>
                        <a:pt x="101500" y="98345"/>
                      </a:cubicBezTo>
                      <a:cubicBezTo>
                        <a:pt x="101000" y="98345"/>
                        <a:pt x="101000" y="98345"/>
                        <a:pt x="101000" y="98345"/>
                      </a:cubicBezTo>
                      <a:cubicBezTo>
                        <a:pt x="100000" y="99248"/>
                        <a:pt x="100000" y="99248"/>
                        <a:pt x="100000" y="99248"/>
                      </a:cubicBezTo>
                      <a:cubicBezTo>
                        <a:pt x="100000" y="99248"/>
                        <a:pt x="99500" y="100150"/>
                        <a:pt x="99000" y="100150"/>
                      </a:cubicBezTo>
                      <a:cubicBezTo>
                        <a:pt x="99000" y="101052"/>
                        <a:pt x="98500" y="100150"/>
                        <a:pt x="98500" y="100150"/>
                      </a:cubicBezTo>
                      <a:cubicBezTo>
                        <a:pt x="98500" y="100150"/>
                        <a:pt x="97500" y="99248"/>
                        <a:pt x="97000" y="99248"/>
                      </a:cubicBezTo>
                      <a:cubicBezTo>
                        <a:pt x="97000" y="99248"/>
                        <a:pt x="97000" y="100150"/>
                        <a:pt x="96500" y="100150"/>
                      </a:cubicBezTo>
                      <a:cubicBezTo>
                        <a:pt x="96500" y="100150"/>
                        <a:pt x="96500" y="100150"/>
                        <a:pt x="96000" y="101052"/>
                      </a:cubicBezTo>
                      <a:cubicBezTo>
                        <a:pt x="96000" y="101052"/>
                        <a:pt x="95500" y="100150"/>
                        <a:pt x="95000" y="100150"/>
                      </a:cubicBezTo>
                      <a:cubicBezTo>
                        <a:pt x="94500" y="100150"/>
                        <a:pt x="94500" y="99248"/>
                        <a:pt x="94500" y="99248"/>
                      </a:cubicBezTo>
                      <a:cubicBezTo>
                        <a:pt x="94000" y="99248"/>
                        <a:pt x="93500" y="99248"/>
                        <a:pt x="93500" y="99248"/>
                      </a:cubicBezTo>
                      <a:cubicBezTo>
                        <a:pt x="93000" y="99248"/>
                        <a:pt x="92500" y="99248"/>
                        <a:pt x="92500" y="99248"/>
                      </a:cubicBezTo>
                      <a:cubicBezTo>
                        <a:pt x="92500" y="99248"/>
                        <a:pt x="92000" y="100150"/>
                        <a:pt x="92000" y="100150"/>
                      </a:cubicBezTo>
                      <a:cubicBezTo>
                        <a:pt x="91000" y="101052"/>
                        <a:pt x="91000" y="101052"/>
                        <a:pt x="91000" y="101052"/>
                      </a:cubicBezTo>
                      <a:cubicBezTo>
                        <a:pt x="91000" y="101052"/>
                        <a:pt x="91000" y="101954"/>
                        <a:pt x="91000" y="102857"/>
                      </a:cubicBezTo>
                      <a:cubicBezTo>
                        <a:pt x="91000" y="102857"/>
                        <a:pt x="91000" y="103759"/>
                        <a:pt x="90500" y="103759"/>
                      </a:cubicBezTo>
                      <a:cubicBezTo>
                        <a:pt x="90500" y="103759"/>
                        <a:pt x="90000" y="105563"/>
                        <a:pt x="90000" y="105563"/>
                      </a:cubicBezTo>
                      <a:cubicBezTo>
                        <a:pt x="90000" y="105563"/>
                        <a:pt x="90000" y="108270"/>
                        <a:pt x="89500" y="108270"/>
                      </a:cubicBezTo>
                      <a:cubicBezTo>
                        <a:pt x="89500" y="108270"/>
                        <a:pt x="89500" y="109172"/>
                        <a:pt x="89500" y="109172"/>
                      </a:cubicBezTo>
                      <a:cubicBezTo>
                        <a:pt x="89500" y="110977"/>
                        <a:pt x="89500" y="110977"/>
                        <a:pt x="89500" y="110977"/>
                      </a:cubicBezTo>
                      <a:cubicBezTo>
                        <a:pt x="89500" y="111879"/>
                        <a:pt x="89500" y="111879"/>
                        <a:pt x="89500" y="111879"/>
                      </a:cubicBezTo>
                      <a:cubicBezTo>
                        <a:pt x="88500" y="110977"/>
                        <a:pt x="88500" y="110977"/>
                        <a:pt x="88500" y="110977"/>
                      </a:cubicBezTo>
                      <a:cubicBezTo>
                        <a:pt x="87500" y="105563"/>
                        <a:pt x="87500" y="105563"/>
                        <a:pt x="87500" y="105563"/>
                      </a:cubicBezTo>
                      <a:cubicBezTo>
                        <a:pt x="87500" y="105563"/>
                        <a:pt x="86000" y="106466"/>
                        <a:pt x="84500" y="106466"/>
                      </a:cubicBezTo>
                      <a:cubicBezTo>
                        <a:pt x="83000" y="105563"/>
                        <a:pt x="82000" y="103759"/>
                        <a:pt x="81500" y="103759"/>
                      </a:cubicBezTo>
                      <a:cubicBezTo>
                        <a:pt x="81500" y="102857"/>
                        <a:pt x="79500" y="103759"/>
                        <a:pt x="79500" y="103759"/>
                      </a:cubicBezTo>
                      <a:cubicBezTo>
                        <a:pt x="79000" y="107368"/>
                        <a:pt x="79000" y="107368"/>
                        <a:pt x="79000" y="107368"/>
                      </a:cubicBezTo>
                      <a:cubicBezTo>
                        <a:pt x="73500" y="106466"/>
                        <a:pt x="73500" y="106466"/>
                        <a:pt x="73500" y="106466"/>
                      </a:cubicBezTo>
                      <a:cubicBezTo>
                        <a:pt x="71500" y="104661"/>
                        <a:pt x="71500" y="104661"/>
                        <a:pt x="71500" y="104661"/>
                      </a:cubicBezTo>
                      <a:cubicBezTo>
                        <a:pt x="68000" y="101954"/>
                        <a:pt x="68000" y="101954"/>
                        <a:pt x="68000" y="101954"/>
                      </a:cubicBezTo>
                      <a:cubicBezTo>
                        <a:pt x="67000" y="101052"/>
                        <a:pt x="67000" y="101052"/>
                        <a:pt x="67000" y="101052"/>
                      </a:cubicBezTo>
                      <a:cubicBezTo>
                        <a:pt x="67000" y="101052"/>
                        <a:pt x="65000" y="101052"/>
                        <a:pt x="64500" y="101052"/>
                      </a:cubicBezTo>
                      <a:cubicBezTo>
                        <a:pt x="64000" y="101052"/>
                        <a:pt x="62000" y="100150"/>
                        <a:pt x="62000" y="100150"/>
                      </a:cubicBezTo>
                      <a:cubicBezTo>
                        <a:pt x="62000" y="100150"/>
                        <a:pt x="60000" y="99248"/>
                        <a:pt x="59500" y="99248"/>
                      </a:cubicBezTo>
                      <a:cubicBezTo>
                        <a:pt x="59000" y="99248"/>
                        <a:pt x="58000" y="99248"/>
                        <a:pt x="58000" y="99248"/>
                      </a:cubicBezTo>
                      <a:cubicBezTo>
                        <a:pt x="55500" y="98345"/>
                        <a:pt x="55500" y="98345"/>
                        <a:pt x="55500" y="98345"/>
                      </a:cubicBezTo>
                      <a:cubicBezTo>
                        <a:pt x="55500" y="98345"/>
                        <a:pt x="54000" y="96541"/>
                        <a:pt x="53000" y="97443"/>
                      </a:cubicBezTo>
                      <a:cubicBezTo>
                        <a:pt x="52500" y="97443"/>
                        <a:pt x="53000" y="100150"/>
                        <a:pt x="53000" y="100150"/>
                      </a:cubicBezTo>
                      <a:cubicBezTo>
                        <a:pt x="53000" y="100150"/>
                        <a:pt x="52500" y="104661"/>
                        <a:pt x="53000" y="105563"/>
                      </a:cubicBezTo>
                      <a:cubicBezTo>
                        <a:pt x="53000" y="107368"/>
                        <a:pt x="52000" y="109172"/>
                        <a:pt x="52000" y="109172"/>
                      </a:cubicBezTo>
                      <a:cubicBezTo>
                        <a:pt x="50500" y="110075"/>
                        <a:pt x="50500" y="110075"/>
                        <a:pt x="50500" y="110075"/>
                      </a:cubicBezTo>
                      <a:cubicBezTo>
                        <a:pt x="50500" y="110075"/>
                        <a:pt x="49500" y="112781"/>
                        <a:pt x="49000" y="112781"/>
                      </a:cubicBezTo>
                      <a:cubicBezTo>
                        <a:pt x="48500" y="112781"/>
                        <a:pt x="48500" y="118195"/>
                        <a:pt x="48500" y="118195"/>
                      </a:cubicBezTo>
                      <a:cubicBezTo>
                        <a:pt x="46500" y="119097"/>
                        <a:pt x="46500" y="119097"/>
                        <a:pt x="46500" y="119097"/>
                      </a:cubicBezTo>
                      <a:cubicBezTo>
                        <a:pt x="44500" y="116390"/>
                        <a:pt x="44500" y="116390"/>
                        <a:pt x="44500" y="116390"/>
                      </a:cubicBezTo>
                      <a:cubicBezTo>
                        <a:pt x="43000" y="118195"/>
                        <a:pt x="43000" y="118195"/>
                        <a:pt x="43000" y="118195"/>
                      </a:cubicBezTo>
                      <a:cubicBezTo>
                        <a:pt x="42500" y="120000"/>
                        <a:pt x="42500" y="120000"/>
                        <a:pt x="42500" y="120000"/>
                      </a:cubicBezTo>
                      <a:cubicBezTo>
                        <a:pt x="42500" y="120000"/>
                        <a:pt x="40000" y="119097"/>
                        <a:pt x="40000" y="119097"/>
                      </a:cubicBezTo>
                      <a:cubicBezTo>
                        <a:pt x="39500" y="119097"/>
                        <a:pt x="37000" y="118195"/>
                        <a:pt x="37000" y="118195"/>
                      </a:cubicBezTo>
                      <a:cubicBezTo>
                        <a:pt x="37000" y="118195"/>
                        <a:pt x="35500" y="115488"/>
                        <a:pt x="35000" y="114586"/>
                      </a:cubicBezTo>
                      <a:cubicBezTo>
                        <a:pt x="34500" y="113684"/>
                        <a:pt x="32500" y="111879"/>
                        <a:pt x="32000" y="110977"/>
                      </a:cubicBezTo>
                      <a:cubicBezTo>
                        <a:pt x="31500" y="110977"/>
                        <a:pt x="31500" y="110075"/>
                        <a:pt x="31500" y="110075"/>
                      </a:cubicBezTo>
                      <a:cubicBezTo>
                        <a:pt x="30500" y="108270"/>
                        <a:pt x="31000" y="108270"/>
                        <a:pt x="30000" y="107368"/>
                      </a:cubicBezTo>
                      <a:cubicBezTo>
                        <a:pt x="29000" y="106466"/>
                        <a:pt x="28000" y="106466"/>
                        <a:pt x="28000" y="105563"/>
                      </a:cubicBezTo>
                      <a:cubicBezTo>
                        <a:pt x="28000" y="104661"/>
                        <a:pt x="28500" y="102857"/>
                        <a:pt x="27500" y="102857"/>
                      </a:cubicBezTo>
                      <a:cubicBezTo>
                        <a:pt x="26000" y="103759"/>
                        <a:pt x="25500" y="104661"/>
                        <a:pt x="25000" y="103759"/>
                      </a:cubicBezTo>
                      <a:cubicBezTo>
                        <a:pt x="24000" y="101954"/>
                        <a:pt x="24000" y="101954"/>
                        <a:pt x="23500" y="100150"/>
                      </a:cubicBezTo>
                      <a:cubicBezTo>
                        <a:pt x="23500" y="98345"/>
                        <a:pt x="23500" y="96541"/>
                        <a:pt x="22500" y="96541"/>
                      </a:cubicBezTo>
                      <a:cubicBezTo>
                        <a:pt x="21500" y="96541"/>
                        <a:pt x="21000" y="95639"/>
                        <a:pt x="21000" y="95639"/>
                      </a:cubicBezTo>
                      <a:cubicBezTo>
                        <a:pt x="21000" y="95639"/>
                        <a:pt x="20500" y="96541"/>
                        <a:pt x="20000" y="94736"/>
                      </a:cubicBezTo>
                      <a:cubicBezTo>
                        <a:pt x="19500" y="92030"/>
                        <a:pt x="21000" y="93834"/>
                        <a:pt x="19500" y="90225"/>
                      </a:cubicBezTo>
                      <a:cubicBezTo>
                        <a:pt x="17500" y="87518"/>
                        <a:pt x="18000" y="88421"/>
                        <a:pt x="17000" y="86616"/>
                      </a:cubicBezTo>
                      <a:cubicBezTo>
                        <a:pt x="16000" y="84812"/>
                        <a:pt x="13000" y="86616"/>
                        <a:pt x="13000" y="86616"/>
                      </a:cubicBezTo>
                      <a:cubicBezTo>
                        <a:pt x="13000" y="86616"/>
                        <a:pt x="13000" y="85714"/>
                        <a:pt x="12000" y="83909"/>
                      </a:cubicBezTo>
                      <a:cubicBezTo>
                        <a:pt x="11000" y="82105"/>
                        <a:pt x="11500" y="83007"/>
                        <a:pt x="10500" y="81203"/>
                      </a:cubicBezTo>
                      <a:cubicBezTo>
                        <a:pt x="9500" y="78496"/>
                        <a:pt x="9500" y="79398"/>
                        <a:pt x="9500" y="76691"/>
                      </a:cubicBezTo>
                      <a:cubicBezTo>
                        <a:pt x="9000" y="73984"/>
                        <a:pt x="9500" y="73082"/>
                        <a:pt x="8500" y="71278"/>
                      </a:cubicBezTo>
                      <a:cubicBezTo>
                        <a:pt x="7500" y="69473"/>
                        <a:pt x="7000" y="67669"/>
                        <a:pt x="7000" y="67669"/>
                      </a:cubicBezTo>
                      <a:cubicBezTo>
                        <a:pt x="7000" y="67669"/>
                        <a:pt x="6000" y="65864"/>
                        <a:pt x="7000" y="63157"/>
                      </a:cubicBezTo>
                      <a:cubicBezTo>
                        <a:pt x="8000" y="61353"/>
                        <a:pt x="8000" y="61353"/>
                        <a:pt x="8000" y="59548"/>
                      </a:cubicBezTo>
                      <a:cubicBezTo>
                        <a:pt x="8000" y="58646"/>
                        <a:pt x="8500" y="56842"/>
                        <a:pt x="7000" y="55037"/>
                      </a:cubicBezTo>
                      <a:cubicBezTo>
                        <a:pt x="5500" y="53233"/>
                        <a:pt x="5500" y="53233"/>
                        <a:pt x="4000" y="51428"/>
                      </a:cubicBezTo>
                      <a:cubicBezTo>
                        <a:pt x="3000" y="50526"/>
                        <a:pt x="2500" y="50526"/>
                        <a:pt x="2000" y="49624"/>
                      </a:cubicBezTo>
                      <a:cubicBezTo>
                        <a:pt x="1500" y="48721"/>
                        <a:pt x="500" y="42406"/>
                        <a:pt x="500" y="42406"/>
                      </a:cubicBezTo>
                      <a:cubicBezTo>
                        <a:pt x="0" y="39699"/>
                        <a:pt x="0" y="39699"/>
                        <a:pt x="0" y="39699"/>
                      </a:cubicBezTo>
                      <a:cubicBezTo>
                        <a:pt x="2500" y="39699"/>
                        <a:pt x="2500" y="39699"/>
                        <a:pt x="2500" y="39699"/>
                      </a:cubicBezTo>
                      <a:cubicBezTo>
                        <a:pt x="3000" y="43308"/>
                        <a:pt x="3000" y="43308"/>
                        <a:pt x="3000" y="43308"/>
                      </a:cubicBezTo>
                      <a:cubicBezTo>
                        <a:pt x="3500" y="46015"/>
                        <a:pt x="3500" y="46015"/>
                        <a:pt x="3500" y="46015"/>
                      </a:cubicBezTo>
                      <a:cubicBezTo>
                        <a:pt x="5000" y="40601"/>
                        <a:pt x="5000" y="40601"/>
                        <a:pt x="5000" y="40601"/>
                      </a:cubicBezTo>
                      <a:cubicBezTo>
                        <a:pt x="7000" y="36090"/>
                        <a:pt x="7000" y="36090"/>
                        <a:pt x="7000" y="36090"/>
                      </a:cubicBezTo>
                      <a:cubicBezTo>
                        <a:pt x="7000" y="36090"/>
                        <a:pt x="7000" y="36090"/>
                        <a:pt x="8500" y="36090"/>
                      </a:cubicBezTo>
                      <a:cubicBezTo>
                        <a:pt x="9500" y="36090"/>
                        <a:pt x="11000" y="34285"/>
                        <a:pt x="11500" y="34285"/>
                      </a:cubicBezTo>
                      <a:cubicBezTo>
                        <a:pt x="12500" y="34285"/>
                        <a:pt x="14000" y="35187"/>
                        <a:pt x="14500" y="35187"/>
                      </a:cubicBezTo>
                      <a:cubicBezTo>
                        <a:pt x="15500" y="34285"/>
                        <a:pt x="16000" y="34285"/>
                        <a:pt x="16000" y="32481"/>
                      </a:cubicBezTo>
                      <a:cubicBezTo>
                        <a:pt x="16500" y="31578"/>
                        <a:pt x="15500" y="29774"/>
                        <a:pt x="17500" y="28872"/>
                      </a:cubicBezTo>
                      <a:cubicBezTo>
                        <a:pt x="19000" y="27067"/>
                        <a:pt x="19500" y="27067"/>
                        <a:pt x="19500" y="27067"/>
                      </a:cubicBezTo>
                      <a:lnTo>
                        <a:pt x="21500" y="2436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80" name="Shape 2036"/>
                <p:cNvSpPr/>
                <p:nvPr/>
              </p:nvSpPr>
              <p:spPr>
                <a:xfrm>
                  <a:off x="5769180" y="1991757"/>
                  <a:ext cx="413385" cy="308971"/>
                </a:xfrm>
                <a:custGeom>
                  <a:avLst/>
                  <a:gdLst/>
                  <a:ahLst/>
                  <a:cxnLst/>
                  <a:rect l="0" t="0" r="0" b="0"/>
                  <a:pathLst>
                    <a:path w="120000" h="120000" extrusionOk="0">
                      <a:moveTo>
                        <a:pt x="11933" y="22285"/>
                      </a:moveTo>
                      <a:cubicBezTo>
                        <a:pt x="15911" y="18857"/>
                        <a:pt x="15911" y="18857"/>
                        <a:pt x="15911" y="18857"/>
                      </a:cubicBezTo>
                      <a:cubicBezTo>
                        <a:pt x="17900" y="16285"/>
                        <a:pt x="17900" y="16285"/>
                        <a:pt x="17900" y="16285"/>
                      </a:cubicBezTo>
                      <a:cubicBezTo>
                        <a:pt x="22541" y="17142"/>
                        <a:pt x="22541" y="17142"/>
                        <a:pt x="22541" y="17142"/>
                      </a:cubicBezTo>
                      <a:cubicBezTo>
                        <a:pt x="22541" y="17142"/>
                        <a:pt x="25856" y="15428"/>
                        <a:pt x="26519" y="15428"/>
                      </a:cubicBezTo>
                      <a:cubicBezTo>
                        <a:pt x="27182" y="15428"/>
                        <a:pt x="31823" y="14571"/>
                        <a:pt x="31823" y="14571"/>
                      </a:cubicBezTo>
                      <a:cubicBezTo>
                        <a:pt x="34475" y="12000"/>
                        <a:pt x="34475" y="12000"/>
                        <a:pt x="34475" y="12000"/>
                      </a:cubicBezTo>
                      <a:cubicBezTo>
                        <a:pt x="34475" y="12000"/>
                        <a:pt x="36464" y="12857"/>
                        <a:pt x="36464" y="13714"/>
                      </a:cubicBezTo>
                      <a:cubicBezTo>
                        <a:pt x="37127" y="14571"/>
                        <a:pt x="39116" y="17142"/>
                        <a:pt x="39779" y="17142"/>
                      </a:cubicBezTo>
                      <a:cubicBezTo>
                        <a:pt x="40441" y="16285"/>
                        <a:pt x="41104" y="12857"/>
                        <a:pt x="41104" y="12857"/>
                      </a:cubicBezTo>
                      <a:cubicBezTo>
                        <a:pt x="45082" y="12000"/>
                        <a:pt x="45082" y="12000"/>
                        <a:pt x="45082" y="12000"/>
                      </a:cubicBezTo>
                      <a:cubicBezTo>
                        <a:pt x="48397" y="11142"/>
                        <a:pt x="48397" y="11142"/>
                        <a:pt x="48397" y="11142"/>
                      </a:cubicBezTo>
                      <a:cubicBezTo>
                        <a:pt x="48397" y="11142"/>
                        <a:pt x="48397" y="10285"/>
                        <a:pt x="49060" y="10285"/>
                      </a:cubicBezTo>
                      <a:cubicBezTo>
                        <a:pt x="49723" y="11142"/>
                        <a:pt x="53701" y="11142"/>
                        <a:pt x="53701" y="11142"/>
                      </a:cubicBezTo>
                      <a:cubicBezTo>
                        <a:pt x="57679" y="11142"/>
                        <a:pt x="57679" y="11142"/>
                        <a:pt x="57679" y="11142"/>
                      </a:cubicBezTo>
                      <a:cubicBezTo>
                        <a:pt x="57679" y="11142"/>
                        <a:pt x="60331" y="12857"/>
                        <a:pt x="60994" y="12857"/>
                      </a:cubicBezTo>
                      <a:cubicBezTo>
                        <a:pt x="60994" y="12000"/>
                        <a:pt x="62983" y="8571"/>
                        <a:pt x="62983" y="8571"/>
                      </a:cubicBezTo>
                      <a:cubicBezTo>
                        <a:pt x="66961" y="10285"/>
                        <a:pt x="66961" y="10285"/>
                        <a:pt x="66961" y="10285"/>
                      </a:cubicBezTo>
                      <a:cubicBezTo>
                        <a:pt x="67624" y="6857"/>
                        <a:pt x="67624" y="6857"/>
                        <a:pt x="67624" y="6857"/>
                      </a:cubicBezTo>
                      <a:cubicBezTo>
                        <a:pt x="67624" y="6857"/>
                        <a:pt x="69613" y="2571"/>
                        <a:pt x="69613" y="2571"/>
                      </a:cubicBezTo>
                      <a:cubicBezTo>
                        <a:pt x="70276" y="2571"/>
                        <a:pt x="72928" y="0"/>
                        <a:pt x="72928" y="0"/>
                      </a:cubicBezTo>
                      <a:cubicBezTo>
                        <a:pt x="74254" y="5142"/>
                        <a:pt x="74254" y="5142"/>
                        <a:pt x="74254" y="5142"/>
                      </a:cubicBezTo>
                      <a:cubicBezTo>
                        <a:pt x="76906" y="7714"/>
                        <a:pt x="76906" y="7714"/>
                        <a:pt x="76906" y="7714"/>
                      </a:cubicBezTo>
                      <a:cubicBezTo>
                        <a:pt x="77569" y="8571"/>
                        <a:pt x="77569" y="8571"/>
                        <a:pt x="77569" y="8571"/>
                      </a:cubicBezTo>
                      <a:cubicBezTo>
                        <a:pt x="80220" y="11142"/>
                        <a:pt x="80220" y="11142"/>
                        <a:pt x="80220" y="11142"/>
                      </a:cubicBezTo>
                      <a:cubicBezTo>
                        <a:pt x="84861" y="9428"/>
                        <a:pt x="84861" y="9428"/>
                        <a:pt x="84861" y="9428"/>
                      </a:cubicBezTo>
                      <a:cubicBezTo>
                        <a:pt x="87513" y="8571"/>
                        <a:pt x="87513" y="8571"/>
                        <a:pt x="87513" y="8571"/>
                      </a:cubicBezTo>
                      <a:cubicBezTo>
                        <a:pt x="89502" y="8571"/>
                        <a:pt x="89502" y="8571"/>
                        <a:pt x="89502" y="8571"/>
                      </a:cubicBezTo>
                      <a:cubicBezTo>
                        <a:pt x="90165" y="10285"/>
                        <a:pt x="90165" y="10285"/>
                        <a:pt x="90165" y="10285"/>
                      </a:cubicBezTo>
                      <a:cubicBezTo>
                        <a:pt x="92154" y="12000"/>
                        <a:pt x="92154" y="12000"/>
                        <a:pt x="92154" y="12000"/>
                      </a:cubicBezTo>
                      <a:cubicBezTo>
                        <a:pt x="95469" y="12000"/>
                        <a:pt x="95469" y="12000"/>
                        <a:pt x="95469" y="12000"/>
                      </a:cubicBezTo>
                      <a:cubicBezTo>
                        <a:pt x="96795" y="14571"/>
                        <a:pt x="96795" y="14571"/>
                        <a:pt x="96795" y="14571"/>
                      </a:cubicBezTo>
                      <a:cubicBezTo>
                        <a:pt x="99447" y="15428"/>
                        <a:pt x="99447" y="15428"/>
                        <a:pt x="99447" y="15428"/>
                      </a:cubicBezTo>
                      <a:cubicBezTo>
                        <a:pt x="101436" y="18857"/>
                        <a:pt x="101436" y="18857"/>
                        <a:pt x="101436" y="18857"/>
                      </a:cubicBezTo>
                      <a:cubicBezTo>
                        <a:pt x="103425" y="19714"/>
                        <a:pt x="103425" y="19714"/>
                        <a:pt x="103425" y="19714"/>
                      </a:cubicBezTo>
                      <a:cubicBezTo>
                        <a:pt x="104751" y="23142"/>
                        <a:pt x="104751" y="23142"/>
                        <a:pt x="104751" y="23142"/>
                      </a:cubicBezTo>
                      <a:cubicBezTo>
                        <a:pt x="107403" y="23142"/>
                        <a:pt x="107403" y="23142"/>
                        <a:pt x="107403" y="23142"/>
                      </a:cubicBezTo>
                      <a:cubicBezTo>
                        <a:pt x="110718" y="24000"/>
                        <a:pt x="110718" y="24000"/>
                        <a:pt x="110718" y="24000"/>
                      </a:cubicBezTo>
                      <a:cubicBezTo>
                        <a:pt x="112707" y="24000"/>
                        <a:pt x="112707" y="24000"/>
                        <a:pt x="112707" y="24000"/>
                      </a:cubicBezTo>
                      <a:cubicBezTo>
                        <a:pt x="112707" y="24000"/>
                        <a:pt x="112707" y="24000"/>
                        <a:pt x="112707" y="24000"/>
                      </a:cubicBezTo>
                      <a:cubicBezTo>
                        <a:pt x="113370" y="24000"/>
                        <a:pt x="113370" y="24000"/>
                        <a:pt x="113370" y="24000"/>
                      </a:cubicBezTo>
                      <a:cubicBezTo>
                        <a:pt x="114033" y="31714"/>
                        <a:pt x="114033" y="31714"/>
                        <a:pt x="114033" y="31714"/>
                      </a:cubicBezTo>
                      <a:cubicBezTo>
                        <a:pt x="112707" y="36000"/>
                        <a:pt x="112707" y="36000"/>
                        <a:pt x="112707" y="36000"/>
                      </a:cubicBezTo>
                      <a:cubicBezTo>
                        <a:pt x="112707" y="40285"/>
                        <a:pt x="112707" y="40285"/>
                        <a:pt x="112707" y="40285"/>
                      </a:cubicBezTo>
                      <a:cubicBezTo>
                        <a:pt x="114696" y="41142"/>
                        <a:pt x="114696" y="41142"/>
                        <a:pt x="114696" y="41142"/>
                      </a:cubicBezTo>
                      <a:cubicBezTo>
                        <a:pt x="119337" y="40285"/>
                        <a:pt x="119337" y="40285"/>
                        <a:pt x="119337" y="40285"/>
                      </a:cubicBezTo>
                      <a:cubicBezTo>
                        <a:pt x="120000" y="43714"/>
                        <a:pt x="120000" y="43714"/>
                        <a:pt x="120000" y="43714"/>
                      </a:cubicBezTo>
                      <a:cubicBezTo>
                        <a:pt x="117348" y="45428"/>
                        <a:pt x="117348" y="45428"/>
                        <a:pt x="117348" y="45428"/>
                      </a:cubicBezTo>
                      <a:cubicBezTo>
                        <a:pt x="118011" y="49714"/>
                        <a:pt x="118011" y="49714"/>
                        <a:pt x="118011" y="49714"/>
                      </a:cubicBezTo>
                      <a:cubicBezTo>
                        <a:pt x="112707" y="48857"/>
                        <a:pt x="112707" y="48857"/>
                        <a:pt x="112707" y="48857"/>
                      </a:cubicBezTo>
                      <a:cubicBezTo>
                        <a:pt x="110718" y="51428"/>
                        <a:pt x="110718" y="51428"/>
                        <a:pt x="110718" y="51428"/>
                      </a:cubicBezTo>
                      <a:cubicBezTo>
                        <a:pt x="110718" y="57428"/>
                        <a:pt x="110718" y="57428"/>
                        <a:pt x="110718" y="57428"/>
                      </a:cubicBezTo>
                      <a:cubicBezTo>
                        <a:pt x="105414" y="60000"/>
                        <a:pt x="105414" y="60000"/>
                        <a:pt x="105414" y="60000"/>
                      </a:cubicBezTo>
                      <a:cubicBezTo>
                        <a:pt x="104088" y="63428"/>
                        <a:pt x="104088" y="63428"/>
                        <a:pt x="104088" y="63428"/>
                      </a:cubicBezTo>
                      <a:cubicBezTo>
                        <a:pt x="104088" y="66857"/>
                        <a:pt x="104088" y="66857"/>
                        <a:pt x="104088" y="66857"/>
                      </a:cubicBezTo>
                      <a:cubicBezTo>
                        <a:pt x="103425" y="70285"/>
                        <a:pt x="103425" y="70285"/>
                        <a:pt x="103425" y="70285"/>
                      </a:cubicBezTo>
                      <a:cubicBezTo>
                        <a:pt x="104088" y="76285"/>
                        <a:pt x="104088" y="76285"/>
                        <a:pt x="104088" y="76285"/>
                      </a:cubicBezTo>
                      <a:cubicBezTo>
                        <a:pt x="104751" y="81428"/>
                        <a:pt x="104751" y="81428"/>
                        <a:pt x="104751" y="81428"/>
                      </a:cubicBezTo>
                      <a:cubicBezTo>
                        <a:pt x="104751" y="81428"/>
                        <a:pt x="103425" y="85714"/>
                        <a:pt x="102762" y="88285"/>
                      </a:cubicBezTo>
                      <a:cubicBezTo>
                        <a:pt x="102762" y="90000"/>
                        <a:pt x="104088" y="89142"/>
                        <a:pt x="104088" y="89142"/>
                      </a:cubicBezTo>
                      <a:cubicBezTo>
                        <a:pt x="107403" y="90857"/>
                        <a:pt x="107403" y="90857"/>
                        <a:pt x="107403" y="90857"/>
                      </a:cubicBezTo>
                      <a:cubicBezTo>
                        <a:pt x="108729" y="91714"/>
                        <a:pt x="108729" y="91714"/>
                        <a:pt x="108729" y="91714"/>
                      </a:cubicBezTo>
                      <a:cubicBezTo>
                        <a:pt x="107403" y="96857"/>
                        <a:pt x="107403" y="96857"/>
                        <a:pt x="107403" y="96857"/>
                      </a:cubicBezTo>
                      <a:cubicBezTo>
                        <a:pt x="104088" y="97714"/>
                        <a:pt x="104088" y="97714"/>
                        <a:pt x="104088" y="97714"/>
                      </a:cubicBezTo>
                      <a:cubicBezTo>
                        <a:pt x="104751" y="94285"/>
                        <a:pt x="104751" y="94285"/>
                        <a:pt x="104751" y="94285"/>
                      </a:cubicBezTo>
                      <a:cubicBezTo>
                        <a:pt x="103425" y="92571"/>
                        <a:pt x="103425" y="92571"/>
                        <a:pt x="103425" y="92571"/>
                      </a:cubicBezTo>
                      <a:cubicBezTo>
                        <a:pt x="101436" y="95142"/>
                        <a:pt x="101436" y="95142"/>
                        <a:pt x="101436" y="95142"/>
                      </a:cubicBezTo>
                      <a:cubicBezTo>
                        <a:pt x="96795" y="96857"/>
                        <a:pt x="96795" y="96857"/>
                        <a:pt x="96795" y="96857"/>
                      </a:cubicBezTo>
                      <a:cubicBezTo>
                        <a:pt x="96795" y="98571"/>
                        <a:pt x="96795" y="98571"/>
                        <a:pt x="96795" y="98571"/>
                      </a:cubicBezTo>
                      <a:cubicBezTo>
                        <a:pt x="95469" y="102000"/>
                        <a:pt x="95469" y="102000"/>
                        <a:pt x="95469" y="102000"/>
                      </a:cubicBezTo>
                      <a:cubicBezTo>
                        <a:pt x="95469" y="102000"/>
                        <a:pt x="92817" y="102000"/>
                        <a:pt x="91491" y="102000"/>
                      </a:cubicBezTo>
                      <a:cubicBezTo>
                        <a:pt x="90828" y="101142"/>
                        <a:pt x="90165" y="103714"/>
                        <a:pt x="90165" y="103714"/>
                      </a:cubicBezTo>
                      <a:cubicBezTo>
                        <a:pt x="91491" y="109714"/>
                        <a:pt x="91491" y="109714"/>
                        <a:pt x="91491" y="109714"/>
                      </a:cubicBezTo>
                      <a:cubicBezTo>
                        <a:pt x="88176" y="109714"/>
                        <a:pt x="88176" y="109714"/>
                        <a:pt x="88176" y="109714"/>
                      </a:cubicBezTo>
                      <a:cubicBezTo>
                        <a:pt x="85524" y="114000"/>
                        <a:pt x="85524" y="114000"/>
                        <a:pt x="85524" y="114000"/>
                      </a:cubicBezTo>
                      <a:cubicBezTo>
                        <a:pt x="80883" y="114857"/>
                        <a:pt x="80883" y="114857"/>
                        <a:pt x="80883" y="114857"/>
                      </a:cubicBezTo>
                      <a:cubicBezTo>
                        <a:pt x="76906" y="114000"/>
                        <a:pt x="76906" y="114000"/>
                        <a:pt x="76906" y="114000"/>
                      </a:cubicBezTo>
                      <a:cubicBezTo>
                        <a:pt x="70276" y="117428"/>
                        <a:pt x="70276" y="117428"/>
                        <a:pt x="70276" y="117428"/>
                      </a:cubicBezTo>
                      <a:cubicBezTo>
                        <a:pt x="64309" y="119142"/>
                        <a:pt x="64309" y="119142"/>
                        <a:pt x="64309" y="119142"/>
                      </a:cubicBezTo>
                      <a:cubicBezTo>
                        <a:pt x="64309" y="120000"/>
                        <a:pt x="64309" y="120000"/>
                        <a:pt x="64309" y="120000"/>
                      </a:cubicBezTo>
                      <a:cubicBezTo>
                        <a:pt x="63646" y="114857"/>
                        <a:pt x="63646" y="114857"/>
                        <a:pt x="63646" y="114857"/>
                      </a:cubicBezTo>
                      <a:cubicBezTo>
                        <a:pt x="61657" y="112285"/>
                        <a:pt x="61657" y="112285"/>
                        <a:pt x="61657" y="112285"/>
                      </a:cubicBezTo>
                      <a:cubicBezTo>
                        <a:pt x="61657" y="112285"/>
                        <a:pt x="59668" y="107142"/>
                        <a:pt x="59668" y="106285"/>
                      </a:cubicBezTo>
                      <a:cubicBezTo>
                        <a:pt x="59668" y="106285"/>
                        <a:pt x="52375" y="106285"/>
                        <a:pt x="52375" y="106285"/>
                      </a:cubicBezTo>
                      <a:cubicBezTo>
                        <a:pt x="52375" y="106285"/>
                        <a:pt x="51049" y="103714"/>
                        <a:pt x="50386" y="102000"/>
                      </a:cubicBezTo>
                      <a:cubicBezTo>
                        <a:pt x="50386" y="101142"/>
                        <a:pt x="48397" y="103714"/>
                        <a:pt x="48397" y="103714"/>
                      </a:cubicBezTo>
                      <a:cubicBezTo>
                        <a:pt x="45745" y="104571"/>
                        <a:pt x="45745" y="104571"/>
                        <a:pt x="45745" y="104571"/>
                      </a:cubicBezTo>
                      <a:cubicBezTo>
                        <a:pt x="45745" y="103714"/>
                        <a:pt x="45745" y="103714"/>
                        <a:pt x="45745" y="103714"/>
                      </a:cubicBezTo>
                      <a:cubicBezTo>
                        <a:pt x="43756" y="100285"/>
                        <a:pt x="43756" y="100285"/>
                        <a:pt x="43756" y="100285"/>
                      </a:cubicBezTo>
                      <a:cubicBezTo>
                        <a:pt x="43756" y="91714"/>
                        <a:pt x="43756" y="91714"/>
                        <a:pt x="43756" y="91714"/>
                      </a:cubicBezTo>
                      <a:cubicBezTo>
                        <a:pt x="43756" y="89142"/>
                        <a:pt x="43756" y="89142"/>
                        <a:pt x="43756" y="89142"/>
                      </a:cubicBezTo>
                      <a:cubicBezTo>
                        <a:pt x="45082" y="83142"/>
                        <a:pt x="45082" y="83142"/>
                        <a:pt x="45082" y="83142"/>
                      </a:cubicBezTo>
                      <a:cubicBezTo>
                        <a:pt x="45082" y="83142"/>
                        <a:pt x="43756" y="82285"/>
                        <a:pt x="43093" y="80571"/>
                      </a:cubicBezTo>
                      <a:cubicBezTo>
                        <a:pt x="41767" y="78857"/>
                        <a:pt x="40441" y="77142"/>
                        <a:pt x="40441" y="77142"/>
                      </a:cubicBezTo>
                      <a:cubicBezTo>
                        <a:pt x="39116" y="77142"/>
                        <a:pt x="39116" y="77142"/>
                        <a:pt x="39116" y="77142"/>
                      </a:cubicBezTo>
                      <a:cubicBezTo>
                        <a:pt x="37127" y="73714"/>
                        <a:pt x="37127" y="73714"/>
                        <a:pt x="37127" y="73714"/>
                      </a:cubicBezTo>
                      <a:cubicBezTo>
                        <a:pt x="32486" y="75428"/>
                        <a:pt x="32486" y="75428"/>
                        <a:pt x="32486" y="75428"/>
                      </a:cubicBezTo>
                      <a:cubicBezTo>
                        <a:pt x="29834" y="76285"/>
                        <a:pt x="29834" y="76285"/>
                        <a:pt x="29834" y="76285"/>
                      </a:cubicBezTo>
                      <a:cubicBezTo>
                        <a:pt x="28508" y="78000"/>
                        <a:pt x="28508" y="78000"/>
                        <a:pt x="28508" y="78000"/>
                      </a:cubicBezTo>
                      <a:cubicBezTo>
                        <a:pt x="20552" y="77142"/>
                        <a:pt x="20552" y="77142"/>
                        <a:pt x="20552" y="77142"/>
                      </a:cubicBezTo>
                      <a:cubicBezTo>
                        <a:pt x="16574" y="74571"/>
                        <a:pt x="16574" y="74571"/>
                        <a:pt x="16574" y="74571"/>
                      </a:cubicBezTo>
                      <a:cubicBezTo>
                        <a:pt x="14585" y="73714"/>
                        <a:pt x="14585" y="73714"/>
                        <a:pt x="14585" y="73714"/>
                      </a:cubicBezTo>
                      <a:cubicBezTo>
                        <a:pt x="11933" y="71142"/>
                        <a:pt x="11933" y="71142"/>
                        <a:pt x="11933" y="71142"/>
                      </a:cubicBezTo>
                      <a:cubicBezTo>
                        <a:pt x="8618" y="67714"/>
                        <a:pt x="8618" y="67714"/>
                        <a:pt x="8618" y="67714"/>
                      </a:cubicBezTo>
                      <a:cubicBezTo>
                        <a:pt x="7955" y="62571"/>
                        <a:pt x="7955" y="62571"/>
                        <a:pt x="7955" y="62571"/>
                      </a:cubicBezTo>
                      <a:cubicBezTo>
                        <a:pt x="7292" y="59142"/>
                        <a:pt x="7292" y="59142"/>
                        <a:pt x="7292" y="59142"/>
                      </a:cubicBezTo>
                      <a:cubicBezTo>
                        <a:pt x="3977" y="54857"/>
                        <a:pt x="3977" y="54857"/>
                        <a:pt x="3977" y="54857"/>
                      </a:cubicBezTo>
                      <a:cubicBezTo>
                        <a:pt x="2651" y="51428"/>
                        <a:pt x="2651" y="51428"/>
                        <a:pt x="2651" y="51428"/>
                      </a:cubicBezTo>
                      <a:cubicBezTo>
                        <a:pt x="2651" y="46285"/>
                        <a:pt x="2651" y="46285"/>
                        <a:pt x="2651" y="46285"/>
                      </a:cubicBezTo>
                      <a:cubicBezTo>
                        <a:pt x="662" y="42000"/>
                        <a:pt x="662" y="42000"/>
                        <a:pt x="662" y="42000"/>
                      </a:cubicBezTo>
                      <a:cubicBezTo>
                        <a:pt x="1325" y="37714"/>
                        <a:pt x="1325" y="37714"/>
                        <a:pt x="1325" y="37714"/>
                      </a:cubicBezTo>
                      <a:cubicBezTo>
                        <a:pt x="1325" y="37714"/>
                        <a:pt x="0" y="36857"/>
                        <a:pt x="662" y="36000"/>
                      </a:cubicBezTo>
                      <a:cubicBezTo>
                        <a:pt x="1988" y="36000"/>
                        <a:pt x="3977" y="35142"/>
                        <a:pt x="3977" y="35142"/>
                      </a:cubicBezTo>
                      <a:cubicBezTo>
                        <a:pt x="4640" y="30000"/>
                        <a:pt x="4640" y="30000"/>
                        <a:pt x="4640" y="30000"/>
                      </a:cubicBezTo>
                      <a:cubicBezTo>
                        <a:pt x="5303" y="28285"/>
                        <a:pt x="5303" y="28285"/>
                        <a:pt x="5303" y="28285"/>
                      </a:cubicBezTo>
                      <a:cubicBezTo>
                        <a:pt x="7955" y="26571"/>
                        <a:pt x="7955" y="26571"/>
                        <a:pt x="7955" y="26571"/>
                      </a:cubicBezTo>
                      <a:cubicBezTo>
                        <a:pt x="9281" y="22285"/>
                        <a:pt x="9281" y="22285"/>
                        <a:pt x="9281" y="22285"/>
                      </a:cubicBezTo>
                      <a:lnTo>
                        <a:pt x="11933" y="22285"/>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85" name="Shape 2037"/>
                <p:cNvSpPr/>
                <p:nvPr/>
              </p:nvSpPr>
              <p:spPr>
                <a:xfrm>
                  <a:off x="5766982" y="1595421"/>
                  <a:ext cx="401291" cy="265289"/>
                </a:xfrm>
                <a:custGeom>
                  <a:avLst/>
                  <a:gdLst/>
                  <a:ahLst/>
                  <a:cxnLst/>
                  <a:rect l="0" t="0" r="0" b="0"/>
                  <a:pathLst>
                    <a:path w="120000" h="120000" extrusionOk="0">
                      <a:moveTo>
                        <a:pt x="26590" y="52000"/>
                      </a:moveTo>
                      <a:cubicBezTo>
                        <a:pt x="27272" y="50000"/>
                        <a:pt x="27272" y="50000"/>
                        <a:pt x="27272" y="50000"/>
                      </a:cubicBezTo>
                      <a:cubicBezTo>
                        <a:pt x="27954" y="48000"/>
                        <a:pt x="27954" y="48000"/>
                        <a:pt x="27954" y="48000"/>
                      </a:cubicBezTo>
                      <a:cubicBezTo>
                        <a:pt x="27954" y="45000"/>
                        <a:pt x="27954" y="45000"/>
                        <a:pt x="27954" y="45000"/>
                      </a:cubicBezTo>
                      <a:cubicBezTo>
                        <a:pt x="26590" y="45000"/>
                        <a:pt x="26590" y="45000"/>
                        <a:pt x="26590" y="45000"/>
                      </a:cubicBezTo>
                      <a:cubicBezTo>
                        <a:pt x="25909" y="42000"/>
                        <a:pt x="25909" y="42000"/>
                        <a:pt x="25909" y="42000"/>
                      </a:cubicBezTo>
                      <a:cubicBezTo>
                        <a:pt x="25909" y="42000"/>
                        <a:pt x="26590" y="41000"/>
                        <a:pt x="27272" y="41000"/>
                      </a:cubicBezTo>
                      <a:cubicBezTo>
                        <a:pt x="27272" y="40000"/>
                        <a:pt x="29318" y="40000"/>
                        <a:pt x="29318" y="40000"/>
                      </a:cubicBezTo>
                      <a:cubicBezTo>
                        <a:pt x="30681" y="38000"/>
                        <a:pt x="30681" y="38000"/>
                        <a:pt x="30681" y="38000"/>
                      </a:cubicBezTo>
                      <a:cubicBezTo>
                        <a:pt x="30681" y="38000"/>
                        <a:pt x="30000" y="36000"/>
                        <a:pt x="31363" y="36000"/>
                      </a:cubicBezTo>
                      <a:cubicBezTo>
                        <a:pt x="32045" y="36000"/>
                        <a:pt x="33409" y="36000"/>
                        <a:pt x="34090" y="36000"/>
                      </a:cubicBezTo>
                      <a:cubicBezTo>
                        <a:pt x="34772" y="36000"/>
                        <a:pt x="35454" y="35000"/>
                        <a:pt x="35454" y="35000"/>
                      </a:cubicBezTo>
                      <a:cubicBezTo>
                        <a:pt x="36818" y="35000"/>
                        <a:pt x="37500" y="36000"/>
                        <a:pt x="36818" y="35000"/>
                      </a:cubicBezTo>
                      <a:cubicBezTo>
                        <a:pt x="36818" y="35000"/>
                        <a:pt x="36818" y="34000"/>
                        <a:pt x="36136" y="33000"/>
                      </a:cubicBezTo>
                      <a:cubicBezTo>
                        <a:pt x="35454" y="32000"/>
                        <a:pt x="33409" y="30000"/>
                        <a:pt x="34772" y="29000"/>
                      </a:cubicBezTo>
                      <a:cubicBezTo>
                        <a:pt x="35454" y="28000"/>
                        <a:pt x="36136" y="28000"/>
                        <a:pt x="36818" y="29000"/>
                      </a:cubicBezTo>
                      <a:cubicBezTo>
                        <a:pt x="37500" y="29000"/>
                        <a:pt x="38181" y="31000"/>
                        <a:pt x="38181" y="31000"/>
                      </a:cubicBezTo>
                      <a:cubicBezTo>
                        <a:pt x="38181" y="27000"/>
                        <a:pt x="38181" y="27000"/>
                        <a:pt x="38181" y="27000"/>
                      </a:cubicBezTo>
                      <a:cubicBezTo>
                        <a:pt x="38181" y="27000"/>
                        <a:pt x="40227" y="27000"/>
                        <a:pt x="40909" y="26000"/>
                      </a:cubicBezTo>
                      <a:cubicBezTo>
                        <a:pt x="40909" y="25000"/>
                        <a:pt x="40227" y="23000"/>
                        <a:pt x="40227" y="23000"/>
                      </a:cubicBezTo>
                      <a:cubicBezTo>
                        <a:pt x="40227" y="23000"/>
                        <a:pt x="40227" y="23000"/>
                        <a:pt x="42272" y="23000"/>
                      </a:cubicBezTo>
                      <a:cubicBezTo>
                        <a:pt x="44318" y="22000"/>
                        <a:pt x="43636" y="22000"/>
                        <a:pt x="45000" y="22000"/>
                      </a:cubicBezTo>
                      <a:cubicBezTo>
                        <a:pt x="45681" y="22000"/>
                        <a:pt x="47727" y="22000"/>
                        <a:pt x="47727" y="22000"/>
                      </a:cubicBezTo>
                      <a:cubicBezTo>
                        <a:pt x="47727" y="22000"/>
                        <a:pt x="49090" y="21000"/>
                        <a:pt x="48409" y="20000"/>
                      </a:cubicBezTo>
                      <a:cubicBezTo>
                        <a:pt x="48409" y="19000"/>
                        <a:pt x="47045" y="17000"/>
                        <a:pt x="47045" y="17000"/>
                      </a:cubicBezTo>
                      <a:cubicBezTo>
                        <a:pt x="47045" y="17000"/>
                        <a:pt x="47727" y="14000"/>
                        <a:pt x="47727" y="15000"/>
                      </a:cubicBezTo>
                      <a:cubicBezTo>
                        <a:pt x="47727" y="17000"/>
                        <a:pt x="49772" y="19000"/>
                        <a:pt x="49772" y="19000"/>
                      </a:cubicBezTo>
                      <a:cubicBezTo>
                        <a:pt x="51136" y="17000"/>
                        <a:pt x="51136" y="17000"/>
                        <a:pt x="51136" y="17000"/>
                      </a:cubicBezTo>
                      <a:cubicBezTo>
                        <a:pt x="53181" y="16000"/>
                        <a:pt x="53181" y="16000"/>
                        <a:pt x="53181" y="16000"/>
                      </a:cubicBezTo>
                      <a:cubicBezTo>
                        <a:pt x="55227" y="15000"/>
                        <a:pt x="55227" y="15000"/>
                        <a:pt x="55227" y="15000"/>
                      </a:cubicBezTo>
                      <a:cubicBezTo>
                        <a:pt x="55227" y="15000"/>
                        <a:pt x="57272" y="15000"/>
                        <a:pt x="58636" y="15000"/>
                      </a:cubicBezTo>
                      <a:cubicBezTo>
                        <a:pt x="59318" y="15000"/>
                        <a:pt x="61363" y="14000"/>
                        <a:pt x="61363" y="14000"/>
                      </a:cubicBezTo>
                      <a:cubicBezTo>
                        <a:pt x="62045" y="12000"/>
                        <a:pt x="62045" y="12000"/>
                        <a:pt x="62045" y="12000"/>
                      </a:cubicBezTo>
                      <a:cubicBezTo>
                        <a:pt x="59318" y="8000"/>
                        <a:pt x="59318" y="8000"/>
                        <a:pt x="59318" y="8000"/>
                      </a:cubicBezTo>
                      <a:cubicBezTo>
                        <a:pt x="59318" y="8000"/>
                        <a:pt x="60681" y="5000"/>
                        <a:pt x="60681" y="6000"/>
                      </a:cubicBezTo>
                      <a:cubicBezTo>
                        <a:pt x="61363" y="7000"/>
                        <a:pt x="61363" y="9000"/>
                        <a:pt x="62045" y="9000"/>
                      </a:cubicBezTo>
                      <a:cubicBezTo>
                        <a:pt x="62727" y="9000"/>
                        <a:pt x="63409" y="10000"/>
                        <a:pt x="64090" y="9000"/>
                      </a:cubicBezTo>
                      <a:cubicBezTo>
                        <a:pt x="64090" y="8000"/>
                        <a:pt x="64090" y="5000"/>
                        <a:pt x="64090" y="5000"/>
                      </a:cubicBezTo>
                      <a:cubicBezTo>
                        <a:pt x="64090" y="5000"/>
                        <a:pt x="63409" y="4000"/>
                        <a:pt x="64090" y="4000"/>
                      </a:cubicBezTo>
                      <a:cubicBezTo>
                        <a:pt x="64772" y="5000"/>
                        <a:pt x="66136" y="7000"/>
                        <a:pt x="66136" y="7000"/>
                      </a:cubicBezTo>
                      <a:cubicBezTo>
                        <a:pt x="68181" y="7000"/>
                        <a:pt x="68181" y="7000"/>
                        <a:pt x="68181" y="7000"/>
                      </a:cubicBezTo>
                      <a:cubicBezTo>
                        <a:pt x="70227" y="4000"/>
                        <a:pt x="70227" y="4000"/>
                        <a:pt x="70227" y="4000"/>
                      </a:cubicBezTo>
                      <a:cubicBezTo>
                        <a:pt x="70909" y="6000"/>
                        <a:pt x="70909" y="6000"/>
                        <a:pt x="70909" y="6000"/>
                      </a:cubicBezTo>
                      <a:cubicBezTo>
                        <a:pt x="70909" y="6000"/>
                        <a:pt x="72272" y="5000"/>
                        <a:pt x="72954" y="5000"/>
                      </a:cubicBezTo>
                      <a:cubicBezTo>
                        <a:pt x="73636" y="5000"/>
                        <a:pt x="73636" y="4000"/>
                        <a:pt x="74318" y="4000"/>
                      </a:cubicBezTo>
                      <a:cubicBezTo>
                        <a:pt x="75000" y="4000"/>
                        <a:pt x="76363" y="5000"/>
                        <a:pt x="76363" y="5000"/>
                      </a:cubicBezTo>
                      <a:cubicBezTo>
                        <a:pt x="79772" y="6000"/>
                        <a:pt x="79772" y="6000"/>
                        <a:pt x="79772" y="6000"/>
                      </a:cubicBezTo>
                      <a:cubicBezTo>
                        <a:pt x="81136" y="3000"/>
                        <a:pt x="81136" y="3000"/>
                        <a:pt x="81136" y="3000"/>
                      </a:cubicBezTo>
                      <a:cubicBezTo>
                        <a:pt x="84545" y="5000"/>
                        <a:pt x="84545" y="5000"/>
                        <a:pt x="84545" y="5000"/>
                      </a:cubicBezTo>
                      <a:cubicBezTo>
                        <a:pt x="87272" y="7000"/>
                        <a:pt x="87272" y="7000"/>
                        <a:pt x="87272" y="7000"/>
                      </a:cubicBezTo>
                      <a:cubicBezTo>
                        <a:pt x="90681" y="7000"/>
                        <a:pt x="90681" y="7000"/>
                        <a:pt x="90681" y="7000"/>
                      </a:cubicBezTo>
                      <a:cubicBezTo>
                        <a:pt x="90681" y="7000"/>
                        <a:pt x="93409" y="5000"/>
                        <a:pt x="94090" y="5000"/>
                      </a:cubicBezTo>
                      <a:cubicBezTo>
                        <a:pt x="95454" y="4000"/>
                        <a:pt x="98181" y="4000"/>
                        <a:pt x="98181" y="4000"/>
                      </a:cubicBezTo>
                      <a:cubicBezTo>
                        <a:pt x="98181" y="4000"/>
                        <a:pt x="98863" y="4000"/>
                        <a:pt x="100227" y="4000"/>
                      </a:cubicBezTo>
                      <a:cubicBezTo>
                        <a:pt x="101590" y="3000"/>
                        <a:pt x="105000" y="3000"/>
                        <a:pt x="105000" y="3000"/>
                      </a:cubicBezTo>
                      <a:cubicBezTo>
                        <a:pt x="107045" y="0"/>
                        <a:pt x="107045" y="0"/>
                        <a:pt x="107045" y="0"/>
                      </a:cubicBezTo>
                      <a:cubicBezTo>
                        <a:pt x="110454" y="2000"/>
                        <a:pt x="110454" y="2000"/>
                        <a:pt x="110454" y="2000"/>
                      </a:cubicBezTo>
                      <a:cubicBezTo>
                        <a:pt x="110454" y="4000"/>
                        <a:pt x="110454" y="4000"/>
                        <a:pt x="110454" y="4000"/>
                      </a:cubicBezTo>
                      <a:cubicBezTo>
                        <a:pt x="107045" y="8000"/>
                        <a:pt x="107045" y="8000"/>
                        <a:pt x="107045" y="8000"/>
                      </a:cubicBezTo>
                      <a:cubicBezTo>
                        <a:pt x="107045" y="15000"/>
                        <a:pt x="107045" y="15000"/>
                        <a:pt x="107045" y="15000"/>
                      </a:cubicBezTo>
                      <a:cubicBezTo>
                        <a:pt x="106363" y="25000"/>
                        <a:pt x="104318" y="30000"/>
                        <a:pt x="103636" y="36000"/>
                      </a:cubicBezTo>
                      <a:cubicBezTo>
                        <a:pt x="102954" y="39000"/>
                        <a:pt x="101590" y="40000"/>
                        <a:pt x="103636" y="45000"/>
                      </a:cubicBezTo>
                      <a:cubicBezTo>
                        <a:pt x="105000" y="47000"/>
                        <a:pt x="105000" y="54000"/>
                        <a:pt x="107727" y="58000"/>
                      </a:cubicBezTo>
                      <a:cubicBezTo>
                        <a:pt x="109090" y="60000"/>
                        <a:pt x="107727" y="65000"/>
                        <a:pt x="109772" y="67000"/>
                      </a:cubicBezTo>
                      <a:cubicBezTo>
                        <a:pt x="109772" y="67000"/>
                        <a:pt x="109772" y="68000"/>
                        <a:pt x="110454" y="70000"/>
                      </a:cubicBezTo>
                      <a:cubicBezTo>
                        <a:pt x="111818" y="72000"/>
                        <a:pt x="111818" y="71000"/>
                        <a:pt x="112500" y="72000"/>
                      </a:cubicBezTo>
                      <a:cubicBezTo>
                        <a:pt x="112500" y="72000"/>
                        <a:pt x="113863" y="73000"/>
                        <a:pt x="114545" y="74000"/>
                      </a:cubicBezTo>
                      <a:cubicBezTo>
                        <a:pt x="115227" y="75000"/>
                        <a:pt x="115227" y="77000"/>
                        <a:pt x="115227" y="78000"/>
                      </a:cubicBezTo>
                      <a:cubicBezTo>
                        <a:pt x="115227" y="79000"/>
                        <a:pt x="115909" y="80000"/>
                        <a:pt x="115909" y="80000"/>
                      </a:cubicBezTo>
                      <a:cubicBezTo>
                        <a:pt x="115909" y="80000"/>
                        <a:pt x="116590" y="79000"/>
                        <a:pt x="116590" y="80000"/>
                      </a:cubicBezTo>
                      <a:cubicBezTo>
                        <a:pt x="116590" y="81000"/>
                        <a:pt x="115909" y="79000"/>
                        <a:pt x="116590" y="81000"/>
                      </a:cubicBezTo>
                      <a:cubicBezTo>
                        <a:pt x="117954" y="83000"/>
                        <a:pt x="120000" y="83000"/>
                        <a:pt x="120000" y="83000"/>
                      </a:cubicBezTo>
                      <a:cubicBezTo>
                        <a:pt x="119318" y="87000"/>
                        <a:pt x="119318" y="87000"/>
                        <a:pt x="119318" y="87000"/>
                      </a:cubicBezTo>
                      <a:cubicBezTo>
                        <a:pt x="117954" y="88000"/>
                        <a:pt x="117954" y="88000"/>
                        <a:pt x="117954" y="88000"/>
                      </a:cubicBezTo>
                      <a:cubicBezTo>
                        <a:pt x="117954" y="88000"/>
                        <a:pt x="114545" y="88000"/>
                        <a:pt x="114545" y="90000"/>
                      </a:cubicBezTo>
                      <a:cubicBezTo>
                        <a:pt x="114545" y="91000"/>
                        <a:pt x="114545" y="95000"/>
                        <a:pt x="114545" y="95000"/>
                      </a:cubicBezTo>
                      <a:cubicBezTo>
                        <a:pt x="112500" y="98000"/>
                        <a:pt x="112500" y="98000"/>
                        <a:pt x="112500" y="98000"/>
                      </a:cubicBezTo>
                      <a:cubicBezTo>
                        <a:pt x="112500" y="98000"/>
                        <a:pt x="113863" y="102000"/>
                        <a:pt x="113863" y="103000"/>
                      </a:cubicBezTo>
                      <a:cubicBezTo>
                        <a:pt x="113863" y="104000"/>
                        <a:pt x="114545" y="104000"/>
                        <a:pt x="114545" y="104000"/>
                      </a:cubicBezTo>
                      <a:cubicBezTo>
                        <a:pt x="112500" y="105000"/>
                        <a:pt x="112500" y="105000"/>
                        <a:pt x="112500" y="105000"/>
                      </a:cubicBezTo>
                      <a:cubicBezTo>
                        <a:pt x="109772" y="105000"/>
                        <a:pt x="109772" y="105000"/>
                        <a:pt x="109772" y="105000"/>
                      </a:cubicBezTo>
                      <a:cubicBezTo>
                        <a:pt x="104318" y="103000"/>
                        <a:pt x="104318" y="103000"/>
                        <a:pt x="104318" y="103000"/>
                      </a:cubicBezTo>
                      <a:cubicBezTo>
                        <a:pt x="102954" y="106000"/>
                        <a:pt x="102954" y="106000"/>
                        <a:pt x="102954" y="106000"/>
                      </a:cubicBezTo>
                      <a:cubicBezTo>
                        <a:pt x="101590" y="106000"/>
                        <a:pt x="101590" y="106000"/>
                        <a:pt x="101590" y="106000"/>
                      </a:cubicBezTo>
                      <a:cubicBezTo>
                        <a:pt x="101590" y="106000"/>
                        <a:pt x="100909" y="108000"/>
                        <a:pt x="99545" y="109000"/>
                      </a:cubicBezTo>
                      <a:cubicBezTo>
                        <a:pt x="98863" y="110000"/>
                        <a:pt x="98181" y="111000"/>
                        <a:pt x="97500" y="111000"/>
                      </a:cubicBezTo>
                      <a:cubicBezTo>
                        <a:pt x="96136" y="112000"/>
                        <a:pt x="94772" y="110000"/>
                        <a:pt x="94772" y="110000"/>
                      </a:cubicBezTo>
                      <a:cubicBezTo>
                        <a:pt x="92727" y="109000"/>
                        <a:pt x="92727" y="109000"/>
                        <a:pt x="92727" y="109000"/>
                      </a:cubicBezTo>
                      <a:cubicBezTo>
                        <a:pt x="90681" y="105000"/>
                        <a:pt x="90681" y="105000"/>
                        <a:pt x="90681" y="105000"/>
                      </a:cubicBezTo>
                      <a:cubicBezTo>
                        <a:pt x="84545" y="99000"/>
                        <a:pt x="84545" y="99000"/>
                        <a:pt x="84545" y="99000"/>
                      </a:cubicBezTo>
                      <a:cubicBezTo>
                        <a:pt x="81136" y="97000"/>
                        <a:pt x="81136" y="97000"/>
                        <a:pt x="81136" y="97000"/>
                      </a:cubicBezTo>
                      <a:cubicBezTo>
                        <a:pt x="78409" y="96000"/>
                        <a:pt x="78409" y="96000"/>
                        <a:pt x="78409" y="96000"/>
                      </a:cubicBezTo>
                      <a:cubicBezTo>
                        <a:pt x="75000" y="96000"/>
                        <a:pt x="75000" y="96000"/>
                        <a:pt x="75000" y="96000"/>
                      </a:cubicBezTo>
                      <a:cubicBezTo>
                        <a:pt x="72272" y="94000"/>
                        <a:pt x="72272" y="94000"/>
                        <a:pt x="72272" y="94000"/>
                      </a:cubicBezTo>
                      <a:cubicBezTo>
                        <a:pt x="69545" y="94000"/>
                        <a:pt x="69545" y="94000"/>
                        <a:pt x="69545" y="94000"/>
                      </a:cubicBezTo>
                      <a:cubicBezTo>
                        <a:pt x="66136" y="92000"/>
                        <a:pt x="66136" y="92000"/>
                        <a:pt x="66136" y="92000"/>
                      </a:cubicBezTo>
                      <a:cubicBezTo>
                        <a:pt x="63409" y="95000"/>
                        <a:pt x="63409" y="95000"/>
                        <a:pt x="63409" y="95000"/>
                      </a:cubicBezTo>
                      <a:cubicBezTo>
                        <a:pt x="60000" y="98000"/>
                        <a:pt x="60000" y="98000"/>
                        <a:pt x="60000" y="98000"/>
                      </a:cubicBezTo>
                      <a:cubicBezTo>
                        <a:pt x="56590" y="103000"/>
                        <a:pt x="56590" y="103000"/>
                        <a:pt x="56590" y="103000"/>
                      </a:cubicBezTo>
                      <a:cubicBezTo>
                        <a:pt x="56590" y="103000"/>
                        <a:pt x="54545" y="106000"/>
                        <a:pt x="53181" y="107000"/>
                      </a:cubicBezTo>
                      <a:cubicBezTo>
                        <a:pt x="52500" y="106000"/>
                        <a:pt x="52500" y="106000"/>
                        <a:pt x="52500" y="106000"/>
                      </a:cubicBezTo>
                      <a:cubicBezTo>
                        <a:pt x="52500" y="106000"/>
                        <a:pt x="52500" y="103000"/>
                        <a:pt x="53181" y="101000"/>
                      </a:cubicBezTo>
                      <a:cubicBezTo>
                        <a:pt x="53863" y="100000"/>
                        <a:pt x="53863" y="98000"/>
                        <a:pt x="53863" y="97000"/>
                      </a:cubicBezTo>
                      <a:cubicBezTo>
                        <a:pt x="53863" y="96000"/>
                        <a:pt x="53863" y="94000"/>
                        <a:pt x="53181" y="92000"/>
                      </a:cubicBezTo>
                      <a:cubicBezTo>
                        <a:pt x="53181" y="90000"/>
                        <a:pt x="52500" y="87000"/>
                        <a:pt x="52500" y="87000"/>
                      </a:cubicBezTo>
                      <a:cubicBezTo>
                        <a:pt x="54545" y="85000"/>
                        <a:pt x="54545" y="85000"/>
                        <a:pt x="54545" y="85000"/>
                      </a:cubicBezTo>
                      <a:cubicBezTo>
                        <a:pt x="53181" y="80000"/>
                        <a:pt x="53181" y="80000"/>
                        <a:pt x="53181" y="80000"/>
                      </a:cubicBezTo>
                      <a:cubicBezTo>
                        <a:pt x="51818" y="80000"/>
                        <a:pt x="51818" y="80000"/>
                        <a:pt x="51818" y="80000"/>
                      </a:cubicBezTo>
                      <a:cubicBezTo>
                        <a:pt x="49772" y="80000"/>
                        <a:pt x="49772" y="80000"/>
                        <a:pt x="49772" y="80000"/>
                      </a:cubicBezTo>
                      <a:cubicBezTo>
                        <a:pt x="48409" y="83000"/>
                        <a:pt x="48409" y="83000"/>
                        <a:pt x="48409" y="83000"/>
                      </a:cubicBezTo>
                      <a:cubicBezTo>
                        <a:pt x="48409" y="83000"/>
                        <a:pt x="49090" y="85000"/>
                        <a:pt x="49090" y="86000"/>
                      </a:cubicBezTo>
                      <a:cubicBezTo>
                        <a:pt x="48409" y="87000"/>
                        <a:pt x="47045" y="87000"/>
                        <a:pt x="47045" y="87000"/>
                      </a:cubicBezTo>
                      <a:cubicBezTo>
                        <a:pt x="46363" y="88000"/>
                        <a:pt x="46363" y="91000"/>
                        <a:pt x="46363" y="91000"/>
                      </a:cubicBezTo>
                      <a:cubicBezTo>
                        <a:pt x="43636" y="87000"/>
                        <a:pt x="43636" y="87000"/>
                        <a:pt x="43636" y="87000"/>
                      </a:cubicBezTo>
                      <a:cubicBezTo>
                        <a:pt x="43636" y="87000"/>
                        <a:pt x="42272" y="87000"/>
                        <a:pt x="41590" y="86000"/>
                      </a:cubicBezTo>
                      <a:cubicBezTo>
                        <a:pt x="40909" y="86000"/>
                        <a:pt x="39545" y="86000"/>
                        <a:pt x="39545" y="86000"/>
                      </a:cubicBezTo>
                      <a:cubicBezTo>
                        <a:pt x="39545" y="86000"/>
                        <a:pt x="39545" y="86000"/>
                        <a:pt x="38863" y="86000"/>
                      </a:cubicBezTo>
                      <a:cubicBezTo>
                        <a:pt x="37500" y="86000"/>
                        <a:pt x="37500" y="86000"/>
                        <a:pt x="36818" y="84000"/>
                      </a:cubicBezTo>
                      <a:cubicBezTo>
                        <a:pt x="36136" y="82000"/>
                        <a:pt x="34090" y="77000"/>
                        <a:pt x="34090" y="77000"/>
                      </a:cubicBezTo>
                      <a:cubicBezTo>
                        <a:pt x="34090" y="77000"/>
                        <a:pt x="33409" y="75000"/>
                        <a:pt x="32727" y="75000"/>
                      </a:cubicBezTo>
                      <a:cubicBezTo>
                        <a:pt x="32727" y="75000"/>
                        <a:pt x="32045" y="77000"/>
                        <a:pt x="32045" y="77000"/>
                      </a:cubicBezTo>
                      <a:cubicBezTo>
                        <a:pt x="31363" y="77000"/>
                        <a:pt x="31363" y="75000"/>
                        <a:pt x="31363" y="74000"/>
                      </a:cubicBezTo>
                      <a:cubicBezTo>
                        <a:pt x="31363" y="73000"/>
                        <a:pt x="31363" y="72000"/>
                        <a:pt x="31363" y="70000"/>
                      </a:cubicBezTo>
                      <a:cubicBezTo>
                        <a:pt x="31363" y="68000"/>
                        <a:pt x="30681" y="66000"/>
                        <a:pt x="31363" y="66000"/>
                      </a:cubicBezTo>
                      <a:cubicBezTo>
                        <a:pt x="31363" y="66000"/>
                        <a:pt x="32045" y="67000"/>
                        <a:pt x="32727" y="67000"/>
                      </a:cubicBezTo>
                      <a:cubicBezTo>
                        <a:pt x="33409" y="67000"/>
                        <a:pt x="33409" y="65000"/>
                        <a:pt x="33409" y="65000"/>
                      </a:cubicBezTo>
                      <a:cubicBezTo>
                        <a:pt x="34090" y="65000"/>
                        <a:pt x="34772" y="66000"/>
                        <a:pt x="34772" y="66000"/>
                      </a:cubicBezTo>
                      <a:cubicBezTo>
                        <a:pt x="35454" y="66000"/>
                        <a:pt x="36136" y="66000"/>
                        <a:pt x="36136" y="66000"/>
                      </a:cubicBezTo>
                      <a:cubicBezTo>
                        <a:pt x="36818" y="65000"/>
                        <a:pt x="36818" y="65000"/>
                        <a:pt x="36818" y="64000"/>
                      </a:cubicBezTo>
                      <a:cubicBezTo>
                        <a:pt x="36818" y="63000"/>
                        <a:pt x="36136" y="62000"/>
                        <a:pt x="36136" y="62000"/>
                      </a:cubicBezTo>
                      <a:cubicBezTo>
                        <a:pt x="35454" y="62000"/>
                        <a:pt x="31363" y="65000"/>
                        <a:pt x="31363" y="65000"/>
                      </a:cubicBezTo>
                      <a:cubicBezTo>
                        <a:pt x="28636" y="65000"/>
                        <a:pt x="28636" y="65000"/>
                        <a:pt x="28636" y="65000"/>
                      </a:cubicBezTo>
                      <a:cubicBezTo>
                        <a:pt x="30000" y="63000"/>
                        <a:pt x="30000" y="63000"/>
                        <a:pt x="30000" y="63000"/>
                      </a:cubicBezTo>
                      <a:cubicBezTo>
                        <a:pt x="28636" y="61000"/>
                        <a:pt x="28636" y="61000"/>
                        <a:pt x="28636" y="61000"/>
                      </a:cubicBezTo>
                      <a:cubicBezTo>
                        <a:pt x="28636" y="59000"/>
                        <a:pt x="28636" y="59000"/>
                        <a:pt x="28636" y="59000"/>
                      </a:cubicBezTo>
                      <a:cubicBezTo>
                        <a:pt x="27272" y="58000"/>
                        <a:pt x="27272" y="58000"/>
                        <a:pt x="27272" y="58000"/>
                      </a:cubicBezTo>
                      <a:cubicBezTo>
                        <a:pt x="27954" y="56000"/>
                        <a:pt x="27954" y="56000"/>
                        <a:pt x="27954" y="56000"/>
                      </a:cubicBezTo>
                      <a:cubicBezTo>
                        <a:pt x="29318" y="56000"/>
                        <a:pt x="29318" y="56000"/>
                        <a:pt x="29318" y="56000"/>
                      </a:cubicBezTo>
                      <a:cubicBezTo>
                        <a:pt x="30681" y="55000"/>
                        <a:pt x="30681" y="55000"/>
                        <a:pt x="30681" y="55000"/>
                      </a:cubicBezTo>
                      <a:cubicBezTo>
                        <a:pt x="30681" y="51000"/>
                        <a:pt x="30681" y="51000"/>
                        <a:pt x="30681" y="51000"/>
                      </a:cubicBezTo>
                      <a:cubicBezTo>
                        <a:pt x="29318" y="52000"/>
                        <a:pt x="29318" y="52000"/>
                        <a:pt x="29318" y="52000"/>
                      </a:cubicBezTo>
                      <a:cubicBezTo>
                        <a:pt x="30000" y="54000"/>
                        <a:pt x="30000" y="54000"/>
                        <a:pt x="30000" y="54000"/>
                      </a:cubicBezTo>
                      <a:cubicBezTo>
                        <a:pt x="27272" y="54000"/>
                        <a:pt x="27272" y="54000"/>
                        <a:pt x="27272" y="54000"/>
                      </a:cubicBezTo>
                      <a:cubicBezTo>
                        <a:pt x="26590" y="52000"/>
                        <a:pt x="26590" y="52000"/>
                        <a:pt x="26590" y="52000"/>
                      </a:cubicBezTo>
                      <a:close/>
                      <a:moveTo>
                        <a:pt x="15681" y="103000"/>
                      </a:moveTo>
                      <a:cubicBezTo>
                        <a:pt x="15681" y="103000"/>
                        <a:pt x="15681" y="103000"/>
                        <a:pt x="15681" y="103000"/>
                      </a:cubicBezTo>
                      <a:cubicBezTo>
                        <a:pt x="15681" y="103000"/>
                        <a:pt x="17045" y="103000"/>
                        <a:pt x="17045" y="103000"/>
                      </a:cubicBezTo>
                      <a:cubicBezTo>
                        <a:pt x="17045" y="103000"/>
                        <a:pt x="17727" y="104000"/>
                        <a:pt x="17045" y="104000"/>
                      </a:cubicBezTo>
                      <a:cubicBezTo>
                        <a:pt x="17045" y="105000"/>
                        <a:pt x="17727" y="105000"/>
                        <a:pt x="17045" y="105000"/>
                      </a:cubicBezTo>
                      <a:cubicBezTo>
                        <a:pt x="16363" y="105000"/>
                        <a:pt x="15000" y="106000"/>
                        <a:pt x="15000" y="105000"/>
                      </a:cubicBezTo>
                      <a:cubicBezTo>
                        <a:pt x="15000" y="105000"/>
                        <a:pt x="15681" y="104000"/>
                        <a:pt x="15681" y="104000"/>
                      </a:cubicBezTo>
                      <a:cubicBezTo>
                        <a:pt x="15681" y="103000"/>
                        <a:pt x="15681" y="103000"/>
                        <a:pt x="15681" y="103000"/>
                      </a:cubicBezTo>
                      <a:close/>
                      <a:moveTo>
                        <a:pt x="43636" y="95000"/>
                      </a:moveTo>
                      <a:cubicBezTo>
                        <a:pt x="43636" y="95000"/>
                        <a:pt x="43636" y="95000"/>
                        <a:pt x="43636" y="95000"/>
                      </a:cubicBezTo>
                      <a:cubicBezTo>
                        <a:pt x="43636" y="95000"/>
                        <a:pt x="42954" y="98000"/>
                        <a:pt x="43636" y="98000"/>
                      </a:cubicBezTo>
                      <a:cubicBezTo>
                        <a:pt x="43636" y="98000"/>
                        <a:pt x="44318" y="98000"/>
                        <a:pt x="45000" y="98000"/>
                      </a:cubicBezTo>
                      <a:cubicBezTo>
                        <a:pt x="45681" y="97000"/>
                        <a:pt x="45681" y="97000"/>
                        <a:pt x="45681" y="97000"/>
                      </a:cubicBezTo>
                      <a:cubicBezTo>
                        <a:pt x="45681" y="96000"/>
                        <a:pt x="45681" y="95000"/>
                        <a:pt x="45681" y="95000"/>
                      </a:cubicBezTo>
                      <a:cubicBezTo>
                        <a:pt x="43636" y="95000"/>
                        <a:pt x="43636" y="95000"/>
                        <a:pt x="43636" y="95000"/>
                      </a:cubicBezTo>
                      <a:close/>
                      <a:moveTo>
                        <a:pt x="6136" y="91000"/>
                      </a:moveTo>
                      <a:cubicBezTo>
                        <a:pt x="6136" y="91000"/>
                        <a:pt x="6136" y="91000"/>
                        <a:pt x="6136" y="91000"/>
                      </a:cubicBezTo>
                      <a:cubicBezTo>
                        <a:pt x="5454" y="92000"/>
                        <a:pt x="5454" y="92000"/>
                        <a:pt x="5454" y="92000"/>
                      </a:cubicBezTo>
                      <a:cubicBezTo>
                        <a:pt x="5454" y="92000"/>
                        <a:pt x="4772" y="89000"/>
                        <a:pt x="4772" y="88000"/>
                      </a:cubicBezTo>
                      <a:cubicBezTo>
                        <a:pt x="4772" y="88000"/>
                        <a:pt x="3409" y="87000"/>
                        <a:pt x="3409" y="87000"/>
                      </a:cubicBezTo>
                      <a:cubicBezTo>
                        <a:pt x="3409" y="87000"/>
                        <a:pt x="2727" y="87000"/>
                        <a:pt x="2727" y="87000"/>
                      </a:cubicBezTo>
                      <a:cubicBezTo>
                        <a:pt x="2045" y="87000"/>
                        <a:pt x="2045" y="88000"/>
                        <a:pt x="2045" y="88000"/>
                      </a:cubicBezTo>
                      <a:cubicBezTo>
                        <a:pt x="1363" y="88000"/>
                        <a:pt x="1363" y="88000"/>
                        <a:pt x="1363" y="88000"/>
                      </a:cubicBezTo>
                      <a:cubicBezTo>
                        <a:pt x="1363" y="88000"/>
                        <a:pt x="681" y="88000"/>
                        <a:pt x="681" y="88000"/>
                      </a:cubicBezTo>
                      <a:cubicBezTo>
                        <a:pt x="0" y="89000"/>
                        <a:pt x="681" y="90000"/>
                        <a:pt x="681" y="90000"/>
                      </a:cubicBezTo>
                      <a:cubicBezTo>
                        <a:pt x="681" y="90000"/>
                        <a:pt x="1363" y="90000"/>
                        <a:pt x="2045" y="91000"/>
                      </a:cubicBezTo>
                      <a:cubicBezTo>
                        <a:pt x="2727" y="91000"/>
                        <a:pt x="2727" y="91000"/>
                        <a:pt x="2727" y="91000"/>
                      </a:cubicBezTo>
                      <a:cubicBezTo>
                        <a:pt x="2727" y="91000"/>
                        <a:pt x="4090" y="93000"/>
                        <a:pt x="4772" y="94000"/>
                      </a:cubicBezTo>
                      <a:cubicBezTo>
                        <a:pt x="4772" y="94000"/>
                        <a:pt x="4772" y="95000"/>
                        <a:pt x="4772" y="95000"/>
                      </a:cubicBezTo>
                      <a:cubicBezTo>
                        <a:pt x="2727" y="97000"/>
                        <a:pt x="2727" y="97000"/>
                        <a:pt x="2727" y="97000"/>
                      </a:cubicBezTo>
                      <a:cubicBezTo>
                        <a:pt x="2727" y="97000"/>
                        <a:pt x="3409" y="98000"/>
                        <a:pt x="3409" y="98000"/>
                      </a:cubicBezTo>
                      <a:cubicBezTo>
                        <a:pt x="4090" y="98000"/>
                        <a:pt x="2727" y="99000"/>
                        <a:pt x="2727" y="99000"/>
                      </a:cubicBezTo>
                      <a:cubicBezTo>
                        <a:pt x="2727" y="99000"/>
                        <a:pt x="2727" y="101000"/>
                        <a:pt x="2727" y="101000"/>
                      </a:cubicBezTo>
                      <a:cubicBezTo>
                        <a:pt x="2727" y="101000"/>
                        <a:pt x="3409" y="102000"/>
                        <a:pt x="4772" y="102000"/>
                      </a:cubicBezTo>
                      <a:cubicBezTo>
                        <a:pt x="6136" y="103000"/>
                        <a:pt x="6136" y="102000"/>
                        <a:pt x="6136" y="102000"/>
                      </a:cubicBezTo>
                      <a:cubicBezTo>
                        <a:pt x="6818" y="103000"/>
                        <a:pt x="6818" y="103000"/>
                        <a:pt x="6818" y="103000"/>
                      </a:cubicBezTo>
                      <a:cubicBezTo>
                        <a:pt x="6818" y="104000"/>
                        <a:pt x="6818" y="104000"/>
                        <a:pt x="6818" y="104000"/>
                      </a:cubicBezTo>
                      <a:cubicBezTo>
                        <a:pt x="7500" y="105000"/>
                        <a:pt x="7500" y="105000"/>
                        <a:pt x="7500" y="105000"/>
                      </a:cubicBezTo>
                      <a:cubicBezTo>
                        <a:pt x="9545" y="106000"/>
                        <a:pt x="9545" y="106000"/>
                        <a:pt x="9545" y="106000"/>
                      </a:cubicBezTo>
                      <a:cubicBezTo>
                        <a:pt x="9545" y="107000"/>
                        <a:pt x="9545" y="107000"/>
                        <a:pt x="9545" y="107000"/>
                      </a:cubicBezTo>
                      <a:cubicBezTo>
                        <a:pt x="9545" y="110000"/>
                        <a:pt x="9545" y="110000"/>
                        <a:pt x="9545" y="110000"/>
                      </a:cubicBezTo>
                      <a:cubicBezTo>
                        <a:pt x="9545" y="110000"/>
                        <a:pt x="8863" y="110000"/>
                        <a:pt x="8181" y="110000"/>
                      </a:cubicBezTo>
                      <a:cubicBezTo>
                        <a:pt x="8181" y="111000"/>
                        <a:pt x="8181" y="112000"/>
                        <a:pt x="7500" y="112000"/>
                      </a:cubicBezTo>
                      <a:cubicBezTo>
                        <a:pt x="7500" y="112000"/>
                        <a:pt x="7500" y="114000"/>
                        <a:pt x="6818" y="115000"/>
                      </a:cubicBezTo>
                      <a:cubicBezTo>
                        <a:pt x="6818" y="116000"/>
                        <a:pt x="7500" y="117000"/>
                        <a:pt x="7500" y="118000"/>
                      </a:cubicBezTo>
                      <a:cubicBezTo>
                        <a:pt x="7500" y="120000"/>
                        <a:pt x="8181" y="119000"/>
                        <a:pt x="8863" y="119000"/>
                      </a:cubicBezTo>
                      <a:cubicBezTo>
                        <a:pt x="8863" y="119000"/>
                        <a:pt x="9545" y="118000"/>
                        <a:pt x="9545" y="118000"/>
                      </a:cubicBezTo>
                      <a:cubicBezTo>
                        <a:pt x="10227" y="118000"/>
                        <a:pt x="10909" y="116000"/>
                        <a:pt x="11590" y="115000"/>
                      </a:cubicBezTo>
                      <a:cubicBezTo>
                        <a:pt x="11590" y="114000"/>
                        <a:pt x="11590" y="113000"/>
                        <a:pt x="11590" y="113000"/>
                      </a:cubicBezTo>
                      <a:cubicBezTo>
                        <a:pt x="10909" y="112000"/>
                        <a:pt x="11590" y="110000"/>
                        <a:pt x="11590" y="110000"/>
                      </a:cubicBezTo>
                      <a:cubicBezTo>
                        <a:pt x="11590" y="109000"/>
                        <a:pt x="11590" y="109000"/>
                        <a:pt x="11590" y="109000"/>
                      </a:cubicBezTo>
                      <a:cubicBezTo>
                        <a:pt x="10909" y="105000"/>
                        <a:pt x="10909" y="105000"/>
                        <a:pt x="10909" y="105000"/>
                      </a:cubicBezTo>
                      <a:cubicBezTo>
                        <a:pt x="12272" y="101000"/>
                        <a:pt x="12272" y="101000"/>
                        <a:pt x="12272" y="101000"/>
                      </a:cubicBezTo>
                      <a:cubicBezTo>
                        <a:pt x="13636" y="101000"/>
                        <a:pt x="13636" y="101000"/>
                        <a:pt x="13636" y="101000"/>
                      </a:cubicBezTo>
                      <a:cubicBezTo>
                        <a:pt x="15681" y="99000"/>
                        <a:pt x="15681" y="99000"/>
                        <a:pt x="15681" y="99000"/>
                      </a:cubicBezTo>
                      <a:cubicBezTo>
                        <a:pt x="15681" y="99000"/>
                        <a:pt x="15681" y="99000"/>
                        <a:pt x="15681" y="99000"/>
                      </a:cubicBezTo>
                      <a:cubicBezTo>
                        <a:pt x="15681" y="99000"/>
                        <a:pt x="16363" y="99000"/>
                        <a:pt x="17045" y="98000"/>
                      </a:cubicBezTo>
                      <a:cubicBezTo>
                        <a:pt x="18409" y="98000"/>
                        <a:pt x="17727" y="99000"/>
                        <a:pt x="18409" y="99000"/>
                      </a:cubicBezTo>
                      <a:cubicBezTo>
                        <a:pt x="18409" y="100000"/>
                        <a:pt x="19090" y="100000"/>
                        <a:pt x="19772" y="100000"/>
                      </a:cubicBezTo>
                      <a:cubicBezTo>
                        <a:pt x="19772" y="100000"/>
                        <a:pt x="20454" y="98000"/>
                        <a:pt x="20454" y="98000"/>
                      </a:cubicBezTo>
                      <a:cubicBezTo>
                        <a:pt x="20454" y="97000"/>
                        <a:pt x="19772" y="97000"/>
                        <a:pt x="19772" y="97000"/>
                      </a:cubicBezTo>
                      <a:cubicBezTo>
                        <a:pt x="19090" y="95000"/>
                        <a:pt x="19090" y="95000"/>
                        <a:pt x="19090" y="95000"/>
                      </a:cubicBezTo>
                      <a:cubicBezTo>
                        <a:pt x="21136" y="94000"/>
                        <a:pt x="21136" y="94000"/>
                        <a:pt x="21136" y="94000"/>
                      </a:cubicBezTo>
                      <a:cubicBezTo>
                        <a:pt x="21818" y="93000"/>
                        <a:pt x="21818" y="93000"/>
                        <a:pt x="21818" y="93000"/>
                      </a:cubicBezTo>
                      <a:cubicBezTo>
                        <a:pt x="23181" y="91000"/>
                        <a:pt x="23181" y="91000"/>
                        <a:pt x="23181" y="91000"/>
                      </a:cubicBezTo>
                      <a:cubicBezTo>
                        <a:pt x="22500" y="89000"/>
                        <a:pt x="22500" y="89000"/>
                        <a:pt x="22500" y="89000"/>
                      </a:cubicBezTo>
                      <a:cubicBezTo>
                        <a:pt x="22500" y="89000"/>
                        <a:pt x="23863" y="89000"/>
                        <a:pt x="24545" y="89000"/>
                      </a:cubicBezTo>
                      <a:cubicBezTo>
                        <a:pt x="24545" y="89000"/>
                        <a:pt x="24545" y="88000"/>
                        <a:pt x="24545" y="88000"/>
                      </a:cubicBezTo>
                      <a:cubicBezTo>
                        <a:pt x="23863" y="86000"/>
                        <a:pt x="23863" y="86000"/>
                        <a:pt x="23863" y="86000"/>
                      </a:cubicBezTo>
                      <a:cubicBezTo>
                        <a:pt x="23863" y="86000"/>
                        <a:pt x="25227" y="86000"/>
                        <a:pt x="25909" y="85000"/>
                      </a:cubicBezTo>
                      <a:cubicBezTo>
                        <a:pt x="25909" y="85000"/>
                        <a:pt x="25227" y="84000"/>
                        <a:pt x="25227" y="84000"/>
                      </a:cubicBezTo>
                      <a:cubicBezTo>
                        <a:pt x="25227" y="83000"/>
                        <a:pt x="25909" y="82000"/>
                        <a:pt x="25909" y="82000"/>
                      </a:cubicBezTo>
                      <a:cubicBezTo>
                        <a:pt x="25909" y="82000"/>
                        <a:pt x="27272" y="84000"/>
                        <a:pt x="27954" y="84000"/>
                      </a:cubicBezTo>
                      <a:cubicBezTo>
                        <a:pt x="28636" y="85000"/>
                        <a:pt x="28636" y="84000"/>
                        <a:pt x="29318" y="84000"/>
                      </a:cubicBezTo>
                      <a:cubicBezTo>
                        <a:pt x="29318" y="83000"/>
                        <a:pt x="28636" y="82000"/>
                        <a:pt x="28636" y="82000"/>
                      </a:cubicBezTo>
                      <a:cubicBezTo>
                        <a:pt x="27954" y="81000"/>
                        <a:pt x="27954" y="81000"/>
                        <a:pt x="27954" y="81000"/>
                      </a:cubicBezTo>
                      <a:cubicBezTo>
                        <a:pt x="25909" y="80000"/>
                        <a:pt x="25909" y="80000"/>
                        <a:pt x="25909" y="80000"/>
                      </a:cubicBezTo>
                      <a:cubicBezTo>
                        <a:pt x="23181" y="78000"/>
                        <a:pt x="23181" y="78000"/>
                        <a:pt x="23181" y="78000"/>
                      </a:cubicBezTo>
                      <a:cubicBezTo>
                        <a:pt x="23181" y="78000"/>
                        <a:pt x="21136" y="78000"/>
                        <a:pt x="21136" y="77000"/>
                      </a:cubicBezTo>
                      <a:cubicBezTo>
                        <a:pt x="20454" y="77000"/>
                        <a:pt x="20454" y="77000"/>
                        <a:pt x="20454" y="77000"/>
                      </a:cubicBezTo>
                      <a:cubicBezTo>
                        <a:pt x="20454" y="77000"/>
                        <a:pt x="19090" y="77000"/>
                        <a:pt x="19090" y="77000"/>
                      </a:cubicBezTo>
                      <a:cubicBezTo>
                        <a:pt x="18409" y="77000"/>
                        <a:pt x="17727" y="78000"/>
                        <a:pt x="17045" y="79000"/>
                      </a:cubicBezTo>
                      <a:cubicBezTo>
                        <a:pt x="17045" y="79000"/>
                        <a:pt x="16363" y="80000"/>
                        <a:pt x="15681" y="80000"/>
                      </a:cubicBezTo>
                      <a:cubicBezTo>
                        <a:pt x="15681" y="80000"/>
                        <a:pt x="15000" y="78000"/>
                        <a:pt x="15000" y="78000"/>
                      </a:cubicBezTo>
                      <a:cubicBezTo>
                        <a:pt x="13636" y="78000"/>
                        <a:pt x="13636" y="78000"/>
                        <a:pt x="13636" y="78000"/>
                      </a:cubicBezTo>
                      <a:cubicBezTo>
                        <a:pt x="13636" y="78000"/>
                        <a:pt x="12954" y="80000"/>
                        <a:pt x="12954" y="81000"/>
                      </a:cubicBezTo>
                      <a:cubicBezTo>
                        <a:pt x="12954" y="81000"/>
                        <a:pt x="11590" y="81000"/>
                        <a:pt x="10909" y="81000"/>
                      </a:cubicBezTo>
                      <a:cubicBezTo>
                        <a:pt x="10227" y="82000"/>
                        <a:pt x="9545" y="82000"/>
                        <a:pt x="8863" y="83000"/>
                      </a:cubicBezTo>
                      <a:cubicBezTo>
                        <a:pt x="8181" y="83000"/>
                        <a:pt x="9545" y="84000"/>
                        <a:pt x="9545" y="84000"/>
                      </a:cubicBezTo>
                      <a:cubicBezTo>
                        <a:pt x="9545" y="86000"/>
                        <a:pt x="9545" y="86000"/>
                        <a:pt x="9545" y="86000"/>
                      </a:cubicBezTo>
                      <a:cubicBezTo>
                        <a:pt x="8181" y="86000"/>
                        <a:pt x="8181" y="86000"/>
                        <a:pt x="8181" y="86000"/>
                      </a:cubicBezTo>
                      <a:cubicBezTo>
                        <a:pt x="7500" y="85000"/>
                        <a:pt x="7500" y="85000"/>
                        <a:pt x="7500" y="85000"/>
                      </a:cubicBezTo>
                      <a:cubicBezTo>
                        <a:pt x="6136" y="87000"/>
                        <a:pt x="6136" y="87000"/>
                        <a:pt x="6136" y="87000"/>
                      </a:cubicBezTo>
                      <a:cubicBezTo>
                        <a:pt x="5454" y="89000"/>
                        <a:pt x="5454" y="89000"/>
                        <a:pt x="5454" y="89000"/>
                      </a:cubicBezTo>
                      <a:cubicBezTo>
                        <a:pt x="5454" y="89000"/>
                        <a:pt x="6136" y="91000"/>
                        <a:pt x="6136" y="91000"/>
                      </a:cubicBezTo>
                      <a:close/>
                      <a:moveTo>
                        <a:pt x="23863" y="76000"/>
                      </a:moveTo>
                      <a:cubicBezTo>
                        <a:pt x="23863" y="76000"/>
                        <a:pt x="23863" y="76000"/>
                        <a:pt x="23863" y="76000"/>
                      </a:cubicBezTo>
                      <a:cubicBezTo>
                        <a:pt x="24545" y="77000"/>
                        <a:pt x="24545" y="77000"/>
                        <a:pt x="24545" y="77000"/>
                      </a:cubicBezTo>
                      <a:cubicBezTo>
                        <a:pt x="24545" y="77000"/>
                        <a:pt x="25227" y="78000"/>
                        <a:pt x="26590" y="78000"/>
                      </a:cubicBezTo>
                      <a:cubicBezTo>
                        <a:pt x="28636" y="78000"/>
                        <a:pt x="28636" y="80000"/>
                        <a:pt x="30000" y="78000"/>
                      </a:cubicBezTo>
                      <a:cubicBezTo>
                        <a:pt x="30000" y="77000"/>
                        <a:pt x="30000" y="77000"/>
                        <a:pt x="29318" y="76000"/>
                      </a:cubicBezTo>
                      <a:cubicBezTo>
                        <a:pt x="29318" y="75000"/>
                        <a:pt x="28636" y="75000"/>
                        <a:pt x="28636" y="74000"/>
                      </a:cubicBezTo>
                      <a:cubicBezTo>
                        <a:pt x="28636" y="74000"/>
                        <a:pt x="28636" y="74000"/>
                        <a:pt x="27272" y="72000"/>
                      </a:cubicBezTo>
                      <a:cubicBezTo>
                        <a:pt x="26590" y="71000"/>
                        <a:pt x="26590" y="72000"/>
                        <a:pt x="25909" y="72000"/>
                      </a:cubicBezTo>
                      <a:cubicBezTo>
                        <a:pt x="25227" y="72000"/>
                        <a:pt x="24545" y="72000"/>
                        <a:pt x="23863" y="72000"/>
                      </a:cubicBezTo>
                      <a:cubicBezTo>
                        <a:pt x="23181" y="73000"/>
                        <a:pt x="24545" y="74000"/>
                        <a:pt x="24545" y="75000"/>
                      </a:cubicBezTo>
                      <a:cubicBezTo>
                        <a:pt x="24545" y="75000"/>
                        <a:pt x="23863" y="76000"/>
                        <a:pt x="23863" y="76000"/>
                      </a:cubicBezTo>
                      <a:close/>
                      <a:moveTo>
                        <a:pt x="15000" y="57000"/>
                      </a:moveTo>
                      <a:cubicBezTo>
                        <a:pt x="15000" y="57000"/>
                        <a:pt x="15000" y="57000"/>
                        <a:pt x="15000" y="57000"/>
                      </a:cubicBezTo>
                      <a:cubicBezTo>
                        <a:pt x="15000" y="56000"/>
                        <a:pt x="16363" y="56000"/>
                        <a:pt x="17045" y="57000"/>
                      </a:cubicBezTo>
                      <a:cubicBezTo>
                        <a:pt x="17045" y="57000"/>
                        <a:pt x="18409" y="58000"/>
                        <a:pt x="18409" y="59000"/>
                      </a:cubicBezTo>
                      <a:cubicBezTo>
                        <a:pt x="18409" y="59000"/>
                        <a:pt x="19090" y="59000"/>
                        <a:pt x="19090" y="60000"/>
                      </a:cubicBezTo>
                      <a:cubicBezTo>
                        <a:pt x="19090" y="60000"/>
                        <a:pt x="19772" y="61000"/>
                        <a:pt x="19772" y="62000"/>
                      </a:cubicBezTo>
                      <a:cubicBezTo>
                        <a:pt x="20454" y="63000"/>
                        <a:pt x="21136" y="64000"/>
                        <a:pt x="21136" y="64000"/>
                      </a:cubicBezTo>
                      <a:cubicBezTo>
                        <a:pt x="21136" y="64000"/>
                        <a:pt x="21818" y="65000"/>
                        <a:pt x="21136" y="65000"/>
                      </a:cubicBezTo>
                      <a:cubicBezTo>
                        <a:pt x="20454" y="65000"/>
                        <a:pt x="18409" y="65000"/>
                        <a:pt x="18409" y="65000"/>
                      </a:cubicBezTo>
                      <a:cubicBezTo>
                        <a:pt x="18409" y="65000"/>
                        <a:pt x="17727" y="66000"/>
                        <a:pt x="17727" y="66000"/>
                      </a:cubicBezTo>
                      <a:cubicBezTo>
                        <a:pt x="17727" y="67000"/>
                        <a:pt x="19090" y="68000"/>
                        <a:pt x="18409" y="68000"/>
                      </a:cubicBezTo>
                      <a:cubicBezTo>
                        <a:pt x="17727" y="69000"/>
                        <a:pt x="17727" y="69000"/>
                        <a:pt x="17045" y="69000"/>
                      </a:cubicBezTo>
                      <a:cubicBezTo>
                        <a:pt x="16363" y="68000"/>
                        <a:pt x="15681" y="66000"/>
                        <a:pt x="15681" y="66000"/>
                      </a:cubicBezTo>
                      <a:cubicBezTo>
                        <a:pt x="15000" y="67000"/>
                        <a:pt x="15000" y="70000"/>
                        <a:pt x="15000" y="70000"/>
                      </a:cubicBezTo>
                      <a:cubicBezTo>
                        <a:pt x="15000" y="71000"/>
                        <a:pt x="15681" y="72000"/>
                        <a:pt x="15000" y="73000"/>
                      </a:cubicBezTo>
                      <a:cubicBezTo>
                        <a:pt x="15000" y="73000"/>
                        <a:pt x="12954" y="74000"/>
                        <a:pt x="12954" y="74000"/>
                      </a:cubicBezTo>
                      <a:cubicBezTo>
                        <a:pt x="12954" y="74000"/>
                        <a:pt x="12272" y="74000"/>
                        <a:pt x="12272" y="74000"/>
                      </a:cubicBezTo>
                      <a:cubicBezTo>
                        <a:pt x="11590" y="74000"/>
                        <a:pt x="10227" y="72000"/>
                        <a:pt x="9545" y="71000"/>
                      </a:cubicBezTo>
                      <a:cubicBezTo>
                        <a:pt x="9545" y="70000"/>
                        <a:pt x="9545" y="68000"/>
                        <a:pt x="9545" y="68000"/>
                      </a:cubicBezTo>
                      <a:cubicBezTo>
                        <a:pt x="8863" y="67000"/>
                        <a:pt x="8181" y="66000"/>
                        <a:pt x="8181" y="66000"/>
                      </a:cubicBezTo>
                      <a:cubicBezTo>
                        <a:pt x="8181" y="66000"/>
                        <a:pt x="8863" y="65000"/>
                        <a:pt x="7500" y="66000"/>
                      </a:cubicBezTo>
                      <a:cubicBezTo>
                        <a:pt x="5454" y="66000"/>
                        <a:pt x="6136" y="67000"/>
                        <a:pt x="5454" y="67000"/>
                      </a:cubicBezTo>
                      <a:cubicBezTo>
                        <a:pt x="4772" y="66000"/>
                        <a:pt x="4772" y="65000"/>
                        <a:pt x="3409" y="65000"/>
                      </a:cubicBezTo>
                      <a:cubicBezTo>
                        <a:pt x="2727" y="65000"/>
                        <a:pt x="2045" y="64000"/>
                        <a:pt x="2045" y="64000"/>
                      </a:cubicBezTo>
                      <a:cubicBezTo>
                        <a:pt x="2045" y="64000"/>
                        <a:pt x="4090" y="62000"/>
                        <a:pt x="4772" y="62000"/>
                      </a:cubicBezTo>
                      <a:cubicBezTo>
                        <a:pt x="5454" y="62000"/>
                        <a:pt x="4772" y="62000"/>
                        <a:pt x="6136" y="62000"/>
                      </a:cubicBezTo>
                      <a:cubicBezTo>
                        <a:pt x="8181" y="61000"/>
                        <a:pt x="8863" y="63000"/>
                        <a:pt x="8863" y="61000"/>
                      </a:cubicBezTo>
                      <a:cubicBezTo>
                        <a:pt x="9545" y="59000"/>
                        <a:pt x="9545" y="58000"/>
                        <a:pt x="10227" y="57000"/>
                      </a:cubicBezTo>
                      <a:cubicBezTo>
                        <a:pt x="10227" y="56000"/>
                        <a:pt x="10909" y="54000"/>
                        <a:pt x="10909" y="54000"/>
                      </a:cubicBezTo>
                      <a:cubicBezTo>
                        <a:pt x="10909" y="53000"/>
                        <a:pt x="12954" y="53000"/>
                        <a:pt x="12954" y="53000"/>
                      </a:cubicBezTo>
                      <a:cubicBezTo>
                        <a:pt x="13636" y="56000"/>
                        <a:pt x="13636" y="56000"/>
                        <a:pt x="13636" y="56000"/>
                      </a:cubicBezTo>
                      <a:cubicBezTo>
                        <a:pt x="13636" y="56000"/>
                        <a:pt x="13636" y="57000"/>
                        <a:pt x="14318" y="57000"/>
                      </a:cubicBezTo>
                      <a:cubicBezTo>
                        <a:pt x="15000" y="57000"/>
                        <a:pt x="15000" y="57000"/>
                        <a:pt x="15000" y="57000"/>
                      </a:cubicBezTo>
                      <a:close/>
                      <a:moveTo>
                        <a:pt x="24545" y="52000"/>
                      </a:moveTo>
                      <a:cubicBezTo>
                        <a:pt x="24545" y="52000"/>
                        <a:pt x="24545" y="52000"/>
                        <a:pt x="24545" y="52000"/>
                      </a:cubicBezTo>
                      <a:cubicBezTo>
                        <a:pt x="23863" y="53000"/>
                        <a:pt x="23863" y="53000"/>
                        <a:pt x="23863" y="53000"/>
                      </a:cubicBezTo>
                      <a:cubicBezTo>
                        <a:pt x="21136" y="53000"/>
                        <a:pt x="21136" y="53000"/>
                        <a:pt x="21136" y="53000"/>
                      </a:cubicBezTo>
                      <a:cubicBezTo>
                        <a:pt x="21136" y="55000"/>
                        <a:pt x="21136" y="55000"/>
                        <a:pt x="21136" y="55000"/>
                      </a:cubicBezTo>
                      <a:cubicBezTo>
                        <a:pt x="22500" y="57000"/>
                        <a:pt x="22500" y="57000"/>
                        <a:pt x="22500" y="57000"/>
                      </a:cubicBezTo>
                      <a:cubicBezTo>
                        <a:pt x="22500" y="57000"/>
                        <a:pt x="23181" y="56000"/>
                        <a:pt x="23863" y="56000"/>
                      </a:cubicBezTo>
                      <a:cubicBezTo>
                        <a:pt x="24545" y="56000"/>
                        <a:pt x="25909" y="56000"/>
                        <a:pt x="25909" y="56000"/>
                      </a:cubicBezTo>
                      <a:cubicBezTo>
                        <a:pt x="26590" y="55000"/>
                        <a:pt x="26590" y="55000"/>
                        <a:pt x="26590" y="55000"/>
                      </a:cubicBezTo>
                      <a:cubicBezTo>
                        <a:pt x="25909" y="52000"/>
                        <a:pt x="25909" y="52000"/>
                        <a:pt x="25909" y="52000"/>
                      </a:cubicBezTo>
                      <a:lnTo>
                        <a:pt x="24545" y="520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86" name="Shape 2038"/>
                <p:cNvSpPr/>
                <p:nvPr/>
              </p:nvSpPr>
              <p:spPr>
                <a:xfrm>
                  <a:off x="6144085" y="3377866"/>
                  <a:ext cx="556312" cy="405923"/>
                </a:xfrm>
                <a:custGeom>
                  <a:avLst/>
                  <a:gdLst/>
                  <a:ahLst/>
                  <a:cxnLst/>
                  <a:rect l="0" t="0" r="0" b="0"/>
                  <a:pathLst>
                    <a:path w="120000" h="120000" extrusionOk="0">
                      <a:moveTo>
                        <a:pt x="3442" y="24782"/>
                      </a:moveTo>
                      <a:cubicBezTo>
                        <a:pt x="3442" y="23478"/>
                        <a:pt x="3442" y="23478"/>
                        <a:pt x="3442" y="23478"/>
                      </a:cubicBezTo>
                      <a:cubicBezTo>
                        <a:pt x="3442" y="23478"/>
                        <a:pt x="3442" y="23478"/>
                        <a:pt x="3442" y="23478"/>
                      </a:cubicBezTo>
                      <a:cubicBezTo>
                        <a:pt x="6885" y="22173"/>
                        <a:pt x="9836" y="24782"/>
                        <a:pt x="11311" y="24782"/>
                      </a:cubicBezTo>
                      <a:cubicBezTo>
                        <a:pt x="14262" y="25434"/>
                        <a:pt x="7868" y="30000"/>
                        <a:pt x="8852" y="30000"/>
                      </a:cubicBezTo>
                      <a:cubicBezTo>
                        <a:pt x="9836" y="29347"/>
                        <a:pt x="8852" y="33260"/>
                        <a:pt x="10327" y="33913"/>
                      </a:cubicBezTo>
                      <a:cubicBezTo>
                        <a:pt x="12786" y="34565"/>
                        <a:pt x="14754" y="31956"/>
                        <a:pt x="17704" y="31956"/>
                      </a:cubicBezTo>
                      <a:cubicBezTo>
                        <a:pt x="20163" y="31304"/>
                        <a:pt x="23114" y="33260"/>
                        <a:pt x="24098" y="31956"/>
                      </a:cubicBezTo>
                      <a:cubicBezTo>
                        <a:pt x="26065" y="28695"/>
                        <a:pt x="33934" y="35217"/>
                        <a:pt x="37868" y="31956"/>
                      </a:cubicBezTo>
                      <a:cubicBezTo>
                        <a:pt x="40327" y="29347"/>
                        <a:pt x="50163" y="28043"/>
                        <a:pt x="53606" y="28043"/>
                      </a:cubicBezTo>
                      <a:cubicBezTo>
                        <a:pt x="62459" y="27391"/>
                        <a:pt x="62950" y="27391"/>
                        <a:pt x="66885" y="24130"/>
                      </a:cubicBezTo>
                      <a:cubicBezTo>
                        <a:pt x="66885" y="24130"/>
                        <a:pt x="69344" y="16956"/>
                        <a:pt x="70819" y="13695"/>
                      </a:cubicBezTo>
                      <a:cubicBezTo>
                        <a:pt x="71803" y="11086"/>
                        <a:pt x="74754" y="9782"/>
                        <a:pt x="77704" y="7173"/>
                      </a:cubicBezTo>
                      <a:cubicBezTo>
                        <a:pt x="80163" y="4565"/>
                        <a:pt x="86557" y="1956"/>
                        <a:pt x="88032" y="1304"/>
                      </a:cubicBezTo>
                      <a:cubicBezTo>
                        <a:pt x="89508" y="1304"/>
                        <a:pt x="99836" y="1956"/>
                        <a:pt x="99836" y="1956"/>
                      </a:cubicBezTo>
                      <a:cubicBezTo>
                        <a:pt x="105245" y="0"/>
                        <a:pt x="105245" y="0"/>
                        <a:pt x="105245" y="0"/>
                      </a:cubicBezTo>
                      <a:cubicBezTo>
                        <a:pt x="105245" y="0"/>
                        <a:pt x="106229" y="5217"/>
                        <a:pt x="107704" y="5869"/>
                      </a:cubicBezTo>
                      <a:cubicBezTo>
                        <a:pt x="112131" y="6521"/>
                        <a:pt x="115573" y="6521"/>
                        <a:pt x="117049" y="5217"/>
                      </a:cubicBezTo>
                      <a:cubicBezTo>
                        <a:pt x="117540" y="5217"/>
                        <a:pt x="117540" y="6521"/>
                        <a:pt x="118032" y="7173"/>
                      </a:cubicBezTo>
                      <a:cubicBezTo>
                        <a:pt x="118524" y="8478"/>
                        <a:pt x="119016" y="11086"/>
                        <a:pt x="119016" y="11086"/>
                      </a:cubicBezTo>
                      <a:cubicBezTo>
                        <a:pt x="118524" y="14347"/>
                        <a:pt x="118524" y="14347"/>
                        <a:pt x="118524" y="14347"/>
                      </a:cubicBezTo>
                      <a:cubicBezTo>
                        <a:pt x="118032" y="15000"/>
                        <a:pt x="118032" y="15000"/>
                        <a:pt x="118032" y="15000"/>
                      </a:cubicBezTo>
                      <a:cubicBezTo>
                        <a:pt x="115573" y="16956"/>
                        <a:pt x="115573" y="16956"/>
                        <a:pt x="115573" y="16956"/>
                      </a:cubicBezTo>
                      <a:cubicBezTo>
                        <a:pt x="115573" y="16956"/>
                        <a:pt x="114590" y="16956"/>
                        <a:pt x="114098" y="17608"/>
                      </a:cubicBezTo>
                      <a:cubicBezTo>
                        <a:pt x="113606" y="17608"/>
                        <a:pt x="112622" y="18260"/>
                        <a:pt x="112622" y="18260"/>
                      </a:cubicBezTo>
                      <a:cubicBezTo>
                        <a:pt x="112622" y="18260"/>
                        <a:pt x="111639" y="19565"/>
                        <a:pt x="111639" y="20217"/>
                      </a:cubicBezTo>
                      <a:cubicBezTo>
                        <a:pt x="111147" y="21521"/>
                        <a:pt x="110655" y="23478"/>
                        <a:pt x="110655" y="23478"/>
                      </a:cubicBezTo>
                      <a:cubicBezTo>
                        <a:pt x="109672" y="26739"/>
                        <a:pt x="109672" y="26739"/>
                        <a:pt x="109672" y="26739"/>
                      </a:cubicBezTo>
                      <a:cubicBezTo>
                        <a:pt x="109672" y="31304"/>
                        <a:pt x="109672" y="31304"/>
                        <a:pt x="109672" y="31304"/>
                      </a:cubicBezTo>
                      <a:cubicBezTo>
                        <a:pt x="110655" y="36521"/>
                        <a:pt x="110655" y="36521"/>
                        <a:pt x="110655" y="36521"/>
                      </a:cubicBezTo>
                      <a:cubicBezTo>
                        <a:pt x="111639" y="42391"/>
                        <a:pt x="111639" y="42391"/>
                        <a:pt x="111639" y="42391"/>
                      </a:cubicBezTo>
                      <a:cubicBezTo>
                        <a:pt x="111639" y="42391"/>
                        <a:pt x="110163" y="44347"/>
                        <a:pt x="109672" y="44347"/>
                      </a:cubicBezTo>
                      <a:cubicBezTo>
                        <a:pt x="109672" y="44347"/>
                        <a:pt x="109180" y="45000"/>
                        <a:pt x="109180" y="45000"/>
                      </a:cubicBezTo>
                      <a:cubicBezTo>
                        <a:pt x="109180" y="46304"/>
                        <a:pt x="109180" y="46304"/>
                        <a:pt x="109180" y="46304"/>
                      </a:cubicBezTo>
                      <a:cubicBezTo>
                        <a:pt x="108688" y="48260"/>
                        <a:pt x="108688" y="48260"/>
                        <a:pt x="108688" y="48260"/>
                      </a:cubicBezTo>
                      <a:cubicBezTo>
                        <a:pt x="108196" y="49565"/>
                        <a:pt x="108196" y="49565"/>
                        <a:pt x="108196" y="49565"/>
                      </a:cubicBezTo>
                      <a:cubicBezTo>
                        <a:pt x="108196" y="49565"/>
                        <a:pt x="107704" y="50869"/>
                        <a:pt x="107213" y="50869"/>
                      </a:cubicBezTo>
                      <a:cubicBezTo>
                        <a:pt x="106721" y="51521"/>
                        <a:pt x="105737" y="52826"/>
                        <a:pt x="105737" y="52826"/>
                      </a:cubicBezTo>
                      <a:cubicBezTo>
                        <a:pt x="106229" y="54130"/>
                        <a:pt x="106229" y="54130"/>
                        <a:pt x="106229" y="54130"/>
                      </a:cubicBezTo>
                      <a:cubicBezTo>
                        <a:pt x="111639" y="55434"/>
                        <a:pt x="111639" y="55434"/>
                        <a:pt x="111639" y="55434"/>
                      </a:cubicBezTo>
                      <a:cubicBezTo>
                        <a:pt x="111639" y="56739"/>
                        <a:pt x="111639" y="56739"/>
                        <a:pt x="111639" y="56739"/>
                      </a:cubicBezTo>
                      <a:cubicBezTo>
                        <a:pt x="114098" y="60000"/>
                        <a:pt x="114098" y="60000"/>
                        <a:pt x="114098" y="60000"/>
                      </a:cubicBezTo>
                      <a:cubicBezTo>
                        <a:pt x="115573" y="63260"/>
                        <a:pt x="115573" y="63260"/>
                        <a:pt x="115573" y="63260"/>
                      </a:cubicBezTo>
                      <a:cubicBezTo>
                        <a:pt x="118032" y="64565"/>
                        <a:pt x="118032" y="64565"/>
                        <a:pt x="118032" y="64565"/>
                      </a:cubicBezTo>
                      <a:cubicBezTo>
                        <a:pt x="118032" y="64565"/>
                        <a:pt x="120000" y="66521"/>
                        <a:pt x="120000" y="66521"/>
                      </a:cubicBezTo>
                      <a:cubicBezTo>
                        <a:pt x="119508" y="67173"/>
                        <a:pt x="117049" y="68478"/>
                        <a:pt x="117049" y="68478"/>
                      </a:cubicBezTo>
                      <a:cubicBezTo>
                        <a:pt x="115573" y="69782"/>
                        <a:pt x="115573" y="69782"/>
                        <a:pt x="115573" y="69782"/>
                      </a:cubicBezTo>
                      <a:cubicBezTo>
                        <a:pt x="115573" y="69782"/>
                        <a:pt x="114590" y="69782"/>
                        <a:pt x="113606" y="70434"/>
                      </a:cubicBezTo>
                      <a:cubicBezTo>
                        <a:pt x="113114" y="71086"/>
                        <a:pt x="110163" y="73043"/>
                        <a:pt x="110163" y="73043"/>
                      </a:cubicBezTo>
                      <a:cubicBezTo>
                        <a:pt x="106229" y="69782"/>
                        <a:pt x="106229" y="69782"/>
                        <a:pt x="106229" y="69782"/>
                      </a:cubicBezTo>
                      <a:cubicBezTo>
                        <a:pt x="103770" y="69130"/>
                        <a:pt x="103770" y="69130"/>
                        <a:pt x="103770" y="69130"/>
                      </a:cubicBezTo>
                      <a:cubicBezTo>
                        <a:pt x="102786" y="71086"/>
                        <a:pt x="102786" y="71086"/>
                        <a:pt x="102786" y="71086"/>
                      </a:cubicBezTo>
                      <a:cubicBezTo>
                        <a:pt x="100327" y="71739"/>
                        <a:pt x="100327" y="71739"/>
                        <a:pt x="100327" y="71739"/>
                      </a:cubicBezTo>
                      <a:cubicBezTo>
                        <a:pt x="98852" y="75000"/>
                        <a:pt x="98852" y="75000"/>
                        <a:pt x="98852" y="75000"/>
                      </a:cubicBezTo>
                      <a:cubicBezTo>
                        <a:pt x="98852" y="75000"/>
                        <a:pt x="95409" y="76304"/>
                        <a:pt x="94426" y="76956"/>
                      </a:cubicBezTo>
                      <a:cubicBezTo>
                        <a:pt x="93934" y="77608"/>
                        <a:pt x="91967" y="79565"/>
                        <a:pt x="91967" y="79565"/>
                      </a:cubicBezTo>
                      <a:cubicBezTo>
                        <a:pt x="92459" y="82173"/>
                        <a:pt x="92459" y="82173"/>
                        <a:pt x="92459" y="82173"/>
                      </a:cubicBezTo>
                      <a:cubicBezTo>
                        <a:pt x="90491" y="84130"/>
                        <a:pt x="90491" y="84130"/>
                        <a:pt x="90491" y="84130"/>
                      </a:cubicBezTo>
                      <a:cubicBezTo>
                        <a:pt x="90491" y="84130"/>
                        <a:pt x="89016" y="84782"/>
                        <a:pt x="88524" y="86086"/>
                      </a:cubicBezTo>
                      <a:cubicBezTo>
                        <a:pt x="88524" y="87391"/>
                        <a:pt x="89016" y="88043"/>
                        <a:pt x="89016" y="88043"/>
                      </a:cubicBezTo>
                      <a:cubicBezTo>
                        <a:pt x="88032" y="88043"/>
                        <a:pt x="86557" y="88695"/>
                        <a:pt x="86065" y="89347"/>
                      </a:cubicBezTo>
                      <a:cubicBezTo>
                        <a:pt x="85573" y="89347"/>
                        <a:pt x="85573" y="90652"/>
                        <a:pt x="86065" y="91956"/>
                      </a:cubicBezTo>
                      <a:cubicBezTo>
                        <a:pt x="86065" y="92608"/>
                        <a:pt x="87049" y="93913"/>
                        <a:pt x="88032" y="95869"/>
                      </a:cubicBezTo>
                      <a:cubicBezTo>
                        <a:pt x="88524" y="97826"/>
                        <a:pt x="89016" y="97826"/>
                        <a:pt x="89016" y="98478"/>
                      </a:cubicBezTo>
                      <a:cubicBezTo>
                        <a:pt x="89016" y="99130"/>
                        <a:pt x="88524" y="101086"/>
                        <a:pt x="88032" y="101739"/>
                      </a:cubicBezTo>
                      <a:cubicBezTo>
                        <a:pt x="87049" y="103043"/>
                        <a:pt x="86065" y="103043"/>
                        <a:pt x="85573" y="103043"/>
                      </a:cubicBezTo>
                      <a:cubicBezTo>
                        <a:pt x="85081" y="103695"/>
                        <a:pt x="83606" y="105000"/>
                        <a:pt x="83114" y="105000"/>
                      </a:cubicBezTo>
                      <a:cubicBezTo>
                        <a:pt x="82622" y="105652"/>
                        <a:pt x="80163" y="106304"/>
                        <a:pt x="79672" y="106304"/>
                      </a:cubicBezTo>
                      <a:cubicBezTo>
                        <a:pt x="79180" y="106304"/>
                        <a:pt x="76229" y="107608"/>
                        <a:pt x="76229" y="107608"/>
                      </a:cubicBezTo>
                      <a:cubicBezTo>
                        <a:pt x="73770" y="108913"/>
                        <a:pt x="73770" y="108913"/>
                        <a:pt x="73770" y="108913"/>
                      </a:cubicBezTo>
                      <a:cubicBezTo>
                        <a:pt x="72295" y="110217"/>
                        <a:pt x="72295" y="110217"/>
                        <a:pt x="72295" y="110217"/>
                      </a:cubicBezTo>
                      <a:cubicBezTo>
                        <a:pt x="68360" y="108913"/>
                        <a:pt x="68360" y="108913"/>
                        <a:pt x="68360" y="108913"/>
                      </a:cubicBezTo>
                      <a:cubicBezTo>
                        <a:pt x="63442" y="106956"/>
                        <a:pt x="63442" y="106956"/>
                        <a:pt x="63442" y="106956"/>
                      </a:cubicBezTo>
                      <a:cubicBezTo>
                        <a:pt x="63442" y="106956"/>
                        <a:pt x="60983" y="109565"/>
                        <a:pt x="60491" y="109565"/>
                      </a:cubicBezTo>
                      <a:cubicBezTo>
                        <a:pt x="60000" y="109565"/>
                        <a:pt x="57049" y="106956"/>
                        <a:pt x="57049" y="106956"/>
                      </a:cubicBezTo>
                      <a:cubicBezTo>
                        <a:pt x="55573" y="103695"/>
                        <a:pt x="55573" y="103695"/>
                        <a:pt x="55573" y="103695"/>
                      </a:cubicBezTo>
                      <a:cubicBezTo>
                        <a:pt x="55573" y="103695"/>
                        <a:pt x="52622" y="104347"/>
                        <a:pt x="52131" y="104347"/>
                      </a:cubicBezTo>
                      <a:cubicBezTo>
                        <a:pt x="51639" y="104347"/>
                        <a:pt x="51147" y="105652"/>
                        <a:pt x="51147" y="106304"/>
                      </a:cubicBezTo>
                      <a:cubicBezTo>
                        <a:pt x="50655" y="106304"/>
                        <a:pt x="49672" y="106304"/>
                        <a:pt x="48688" y="106304"/>
                      </a:cubicBezTo>
                      <a:cubicBezTo>
                        <a:pt x="47213" y="106304"/>
                        <a:pt x="46229" y="107608"/>
                        <a:pt x="46229" y="107608"/>
                      </a:cubicBezTo>
                      <a:cubicBezTo>
                        <a:pt x="45245" y="110217"/>
                        <a:pt x="45245" y="110217"/>
                        <a:pt x="45245" y="110217"/>
                      </a:cubicBezTo>
                      <a:cubicBezTo>
                        <a:pt x="45245" y="110217"/>
                        <a:pt x="42786" y="111521"/>
                        <a:pt x="42786" y="111521"/>
                      </a:cubicBezTo>
                      <a:cubicBezTo>
                        <a:pt x="42295" y="112173"/>
                        <a:pt x="37868" y="114130"/>
                        <a:pt x="37868" y="114130"/>
                      </a:cubicBezTo>
                      <a:cubicBezTo>
                        <a:pt x="34426" y="115434"/>
                        <a:pt x="34426" y="115434"/>
                        <a:pt x="34426" y="115434"/>
                      </a:cubicBezTo>
                      <a:cubicBezTo>
                        <a:pt x="34426" y="115434"/>
                        <a:pt x="33442" y="116086"/>
                        <a:pt x="32950" y="115434"/>
                      </a:cubicBezTo>
                      <a:cubicBezTo>
                        <a:pt x="32459" y="115434"/>
                        <a:pt x="30983" y="117391"/>
                        <a:pt x="30983" y="117391"/>
                      </a:cubicBezTo>
                      <a:cubicBezTo>
                        <a:pt x="28032" y="120000"/>
                        <a:pt x="28032" y="120000"/>
                        <a:pt x="28032" y="120000"/>
                      </a:cubicBezTo>
                      <a:cubicBezTo>
                        <a:pt x="25081" y="120000"/>
                        <a:pt x="25081" y="120000"/>
                        <a:pt x="25081" y="120000"/>
                      </a:cubicBezTo>
                      <a:cubicBezTo>
                        <a:pt x="25081" y="120000"/>
                        <a:pt x="25081" y="119347"/>
                        <a:pt x="25081" y="119347"/>
                      </a:cubicBezTo>
                      <a:cubicBezTo>
                        <a:pt x="25081" y="119347"/>
                        <a:pt x="25081" y="119347"/>
                        <a:pt x="25081" y="119347"/>
                      </a:cubicBezTo>
                      <a:cubicBezTo>
                        <a:pt x="25081" y="118695"/>
                        <a:pt x="25081" y="118695"/>
                        <a:pt x="25081" y="118695"/>
                      </a:cubicBezTo>
                      <a:cubicBezTo>
                        <a:pt x="25081" y="118043"/>
                        <a:pt x="24590" y="117391"/>
                        <a:pt x="24590" y="116086"/>
                      </a:cubicBezTo>
                      <a:cubicBezTo>
                        <a:pt x="24098" y="114782"/>
                        <a:pt x="23606" y="113478"/>
                        <a:pt x="23606" y="112173"/>
                      </a:cubicBezTo>
                      <a:cubicBezTo>
                        <a:pt x="23606" y="111521"/>
                        <a:pt x="24098" y="110869"/>
                        <a:pt x="24098" y="110217"/>
                      </a:cubicBezTo>
                      <a:cubicBezTo>
                        <a:pt x="24098" y="110217"/>
                        <a:pt x="24098" y="110217"/>
                        <a:pt x="24098" y="110217"/>
                      </a:cubicBezTo>
                      <a:cubicBezTo>
                        <a:pt x="24590" y="109565"/>
                        <a:pt x="24590" y="108913"/>
                        <a:pt x="24590" y="107608"/>
                      </a:cubicBezTo>
                      <a:cubicBezTo>
                        <a:pt x="24098" y="105000"/>
                        <a:pt x="22131" y="105000"/>
                        <a:pt x="21639" y="102391"/>
                      </a:cubicBezTo>
                      <a:cubicBezTo>
                        <a:pt x="21147" y="100434"/>
                        <a:pt x="19180" y="98478"/>
                        <a:pt x="19180" y="97826"/>
                      </a:cubicBezTo>
                      <a:cubicBezTo>
                        <a:pt x="15737" y="95217"/>
                        <a:pt x="13770" y="95869"/>
                        <a:pt x="11803" y="93260"/>
                      </a:cubicBezTo>
                      <a:cubicBezTo>
                        <a:pt x="11311" y="92608"/>
                        <a:pt x="10819" y="91956"/>
                        <a:pt x="10819" y="91304"/>
                      </a:cubicBezTo>
                      <a:cubicBezTo>
                        <a:pt x="11311" y="90652"/>
                        <a:pt x="11311" y="90652"/>
                        <a:pt x="11311" y="90652"/>
                      </a:cubicBezTo>
                      <a:cubicBezTo>
                        <a:pt x="11311" y="90652"/>
                        <a:pt x="10819" y="90652"/>
                        <a:pt x="10327" y="90000"/>
                      </a:cubicBezTo>
                      <a:cubicBezTo>
                        <a:pt x="9836" y="89347"/>
                        <a:pt x="9344" y="88695"/>
                        <a:pt x="8852" y="88043"/>
                      </a:cubicBezTo>
                      <a:cubicBezTo>
                        <a:pt x="8852" y="88043"/>
                        <a:pt x="8852" y="88043"/>
                        <a:pt x="8852" y="88043"/>
                      </a:cubicBezTo>
                      <a:cubicBezTo>
                        <a:pt x="9344" y="88043"/>
                        <a:pt x="9836" y="86739"/>
                        <a:pt x="9836" y="86739"/>
                      </a:cubicBezTo>
                      <a:cubicBezTo>
                        <a:pt x="10327" y="84782"/>
                        <a:pt x="10327" y="84782"/>
                        <a:pt x="10327" y="84782"/>
                      </a:cubicBezTo>
                      <a:cubicBezTo>
                        <a:pt x="10819" y="83478"/>
                        <a:pt x="10819" y="83478"/>
                        <a:pt x="10819" y="83478"/>
                      </a:cubicBezTo>
                      <a:cubicBezTo>
                        <a:pt x="10819" y="83478"/>
                        <a:pt x="10327" y="81521"/>
                        <a:pt x="9836" y="81521"/>
                      </a:cubicBezTo>
                      <a:cubicBezTo>
                        <a:pt x="9836" y="80869"/>
                        <a:pt x="8360" y="80217"/>
                        <a:pt x="8360" y="80217"/>
                      </a:cubicBezTo>
                      <a:cubicBezTo>
                        <a:pt x="8360" y="76956"/>
                        <a:pt x="8360" y="76956"/>
                        <a:pt x="8360" y="76956"/>
                      </a:cubicBezTo>
                      <a:cubicBezTo>
                        <a:pt x="7868" y="73695"/>
                        <a:pt x="7868" y="73695"/>
                        <a:pt x="7868" y="73695"/>
                      </a:cubicBezTo>
                      <a:cubicBezTo>
                        <a:pt x="6885" y="71739"/>
                        <a:pt x="6885" y="71739"/>
                        <a:pt x="6885" y="71739"/>
                      </a:cubicBezTo>
                      <a:cubicBezTo>
                        <a:pt x="6885" y="71739"/>
                        <a:pt x="7868" y="70434"/>
                        <a:pt x="8360" y="69782"/>
                      </a:cubicBezTo>
                      <a:cubicBezTo>
                        <a:pt x="8360" y="69782"/>
                        <a:pt x="8852" y="69130"/>
                        <a:pt x="9344" y="69130"/>
                      </a:cubicBezTo>
                      <a:cubicBezTo>
                        <a:pt x="9836" y="68478"/>
                        <a:pt x="10819" y="68478"/>
                        <a:pt x="11311" y="68478"/>
                      </a:cubicBezTo>
                      <a:cubicBezTo>
                        <a:pt x="11803" y="68478"/>
                        <a:pt x="12786" y="67173"/>
                        <a:pt x="12786" y="67173"/>
                      </a:cubicBezTo>
                      <a:cubicBezTo>
                        <a:pt x="12786" y="67173"/>
                        <a:pt x="12786" y="65217"/>
                        <a:pt x="12295" y="64565"/>
                      </a:cubicBezTo>
                      <a:cubicBezTo>
                        <a:pt x="12295" y="63260"/>
                        <a:pt x="13278" y="61956"/>
                        <a:pt x="13278" y="61956"/>
                      </a:cubicBezTo>
                      <a:cubicBezTo>
                        <a:pt x="13278" y="61956"/>
                        <a:pt x="14754" y="59347"/>
                        <a:pt x="15245" y="58695"/>
                      </a:cubicBezTo>
                      <a:cubicBezTo>
                        <a:pt x="15737" y="58043"/>
                        <a:pt x="16229" y="54782"/>
                        <a:pt x="16229" y="54782"/>
                      </a:cubicBezTo>
                      <a:cubicBezTo>
                        <a:pt x="14262" y="54782"/>
                        <a:pt x="14262" y="54782"/>
                        <a:pt x="14262" y="54782"/>
                      </a:cubicBezTo>
                      <a:cubicBezTo>
                        <a:pt x="12295" y="54130"/>
                        <a:pt x="12295" y="54130"/>
                        <a:pt x="12295" y="54130"/>
                      </a:cubicBezTo>
                      <a:cubicBezTo>
                        <a:pt x="12295" y="54130"/>
                        <a:pt x="10327" y="50217"/>
                        <a:pt x="10327" y="50217"/>
                      </a:cubicBezTo>
                      <a:cubicBezTo>
                        <a:pt x="10327" y="49565"/>
                        <a:pt x="9344" y="49565"/>
                        <a:pt x="9344" y="49565"/>
                      </a:cubicBezTo>
                      <a:cubicBezTo>
                        <a:pt x="9344" y="49565"/>
                        <a:pt x="7377" y="48260"/>
                        <a:pt x="7377" y="48260"/>
                      </a:cubicBezTo>
                      <a:cubicBezTo>
                        <a:pt x="6885" y="48260"/>
                        <a:pt x="5409" y="47608"/>
                        <a:pt x="5409" y="47608"/>
                      </a:cubicBezTo>
                      <a:cubicBezTo>
                        <a:pt x="5409" y="47608"/>
                        <a:pt x="3442" y="44347"/>
                        <a:pt x="2950" y="43043"/>
                      </a:cubicBezTo>
                      <a:cubicBezTo>
                        <a:pt x="2459" y="41739"/>
                        <a:pt x="1967" y="41086"/>
                        <a:pt x="1967" y="41086"/>
                      </a:cubicBezTo>
                      <a:cubicBezTo>
                        <a:pt x="1967" y="41086"/>
                        <a:pt x="1475" y="39782"/>
                        <a:pt x="983" y="39130"/>
                      </a:cubicBezTo>
                      <a:cubicBezTo>
                        <a:pt x="491" y="38478"/>
                        <a:pt x="491" y="37173"/>
                        <a:pt x="491" y="37173"/>
                      </a:cubicBezTo>
                      <a:cubicBezTo>
                        <a:pt x="491" y="37173"/>
                        <a:pt x="983" y="35217"/>
                        <a:pt x="491" y="33913"/>
                      </a:cubicBezTo>
                      <a:cubicBezTo>
                        <a:pt x="491" y="33260"/>
                        <a:pt x="0" y="30652"/>
                        <a:pt x="491" y="30652"/>
                      </a:cubicBezTo>
                      <a:cubicBezTo>
                        <a:pt x="983" y="29347"/>
                        <a:pt x="1475" y="28043"/>
                        <a:pt x="2459" y="27391"/>
                      </a:cubicBezTo>
                      <a:cubicBezTo>
                        <a:pt x="2950" y="27391"/>
                        <a:pt x="2950" y="27391"/>
                        <a:pt x="3442" y="27391"/>
                      </a:cubicBezTo>
                      <a:cubicBezTo>
                        <a:pt x="3934" y="27391"/>
                        <a:pt x="3442" y="25434"/>
                        <a:pt x="3442" y="25434"/>
                      </a:cubicBezTo>
                      <a:lnTo>
                        <a:pt x="3442" y="24782"/>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88" name="Shape 2040"/>
                <p:cNvSpPr/>
                <p:nvPr/>
              </p:nvSpPr>
              <p:spPr>
                <a:xfrm>
                  <a:off x="4983087" y="2966615"/>
                  <a:ext cx="635471" cy="313232"/>
                </a:xfrm>
                <a:custGeom>
                  <a:avLst/>
                  <a:gdLst/>
                  <a:ahLst/>
                  <a:cxnLst/>
                  <a:rect l="0" t="0" r="0" b="0"/>
                  <a:pathLst>
                    <a:path w="120000" h="120000" extrusionOk="0">
                      <a:moveTo>
                        <a:pt x="80430" y="20281"/>
                      </a:moveTo>
                      <a:cubicBezTo>
                        <a:pt x="80430" y="20281"/>
                        <a:pt x="80430" y="15211"/>
                        <a:pt x="80860" y="15211"/>
                      </a:cubicBezTo>
                      <a:cubicBezTo>
                        <a:pt x="81290" y="15211"/>
                        <a:pt x="82150" y="12676"/>
                        <a:pt x="82150" y="12676"/>
                      </a:cubicBezTo>
                      <a:cubicBezTo>
                        <a:pt x="83440" y="11830"/>
                        <a:pt x="83440" y="11830"/>
                        <a:pt x="83440" y="11830"/>
                      </a:cubicBezTo>
                      <a:cubicBezTo>
                        <a:pt x="83440" y="11830"/>
                        <a:pt x="84301" y="10140"/>
                        <a:pt x="84301" y="8450"/>
                      </a:cubicBezTo>
                      <a:cubicBezTo>
                        <a:pt x="83870" y="7605"/>
                        <a:pt x="84301" y="3380"/>
                        <a:pt x="84301" y="3380"/>
                      </a:cubicBezTo>
                      <a:cubicBezTo>
                        <a:pt x="84301" y="3380"/>
                        <a:pt x="83870" y="845"/>
                        <a:pt x="84301" y="845"/>
                      </a:cubicBezTo>
                      <a:cubicBezTo>
                        <a:pt x="85161" y="0"/>
                        <a:pt x="86451" y="1690"/>
                        <a:pt x="86451" y="1690"/>
                      </a:cubicBezTo>
                      <a:cubicBezTo>
                        <a:pt x="88602" y="2535"/>
                        <a:pt x="88602" y="2535"/>
                        <a:pt x="88602" y="2535"/>
                      </a:cubicBezTo>
                      <a:cubicBezTo>
                        <a:pt x="88602" y="2535"/>
                        <a:pt x="89462" y="2535"/>
                        <a:pt x="89892" y="2535"/>
                      </a:cubicBezTo>
                      <a:cubicBezTo>
                        <a:pt x="90322" y="2535"/>
                        <a:pt x="92043" y="3380"/>
                        <a:pt x="92043" y="3380"/>
                      </a:cubicBezTo>
                      <a:cubicBezTo>
                        <a:pt x="92043" y="3380"/>
                        <a:pt x="93763" y="4225"/>
                        <a:pt x="94193" y="4225"/>
                      </a:cubicBezTo>
                      <a:cubicBezTo>
                        <a:pt x="94623" y="4225"/>
                        <a:pt x="96344" y="4225"/>
                        <a:pt x="96344" y="4225"/>
                      </a:cubicBezTo>
                      <a:cubicBezTo>
                        <a:pt x="97204" y="5070"/>
                        <a:pt x="97204" y="5070"/>
                        <a:pt x="97204" y="5070"/>
                      </a:cubicBezTo>
                      <a:cubicBezTo>
                        <a:pt x="100215" y="7605"/>
                        <a:pt x="100215" y="7605"/>
                        <a:pt x="100215" y="7605"/>
                      </a:cubicBezTo>
                      <a:cubicBezTo>
                        <a:pt x="101935" y="9295"/>
                        <a:pt x="101935" y="9295"/>
                        <a:pt x="101935" y="9295"/>
                      </a:cubicBezTo>
                      <a:cubicBezTo>
                        <a:pt x="106666" y="10140"/>
                        <a:pt x="106666" y="10140"/>
                        <a:pt x="106666" y="10140"/>
                      </a:cubicBezTo>
                      <a:cubicBezTo>
                        <a:pt x="107096" y="6760"/>
                        <a:pt x="107096" y="6760"/>
                        <a:pt x="107096" y="6760"/>
                      </a:cubicBezTo>
                      <a:cubicBezTo>
                        <a:pt x="107096" y="6760"/>
                        <a:pt x="108817" y="5915"/>
                        <a:pt x="108817" y="6760"/>
                      </a:cubicBezTo>
                      <a:cubicBezTo>
                        <a:pt x="109247" y="6760"/>
                        <a:pt x="110107" y="8450"/>
                        <a:pt x="111397" y="9295"/>
                      </a:cubicBezTo>
                      <a:cubicBezTo>
                        <a:pt x="112688" y="9295"/>
                        <a:pt x="113978" y="8450"/>
                        <a:pt x="113978" y="8450"/>
                      </a:cubicBezTo>
                      <a:cubicBezTo>
                        <a:pt x="114838" y="13521"/>
                        <a:pt x="114838" y="13521"/>
                        <a:pt x="114838" y="13521"/>
                      </a:cubicBezTo>
                      <a:cubicBezTo>
                        <a:pt x="115698" y="14366"/>
                        <a:pt x="115698" y="14366"/>
                        <a:pt x="115698" y="14366"/>
                      </a:cubicBezTo>
                      <a:cubicBezTo>
                        <a:pt x="115268" y="14366"/>
                        <a:pt x="115268" y="14366"/>
                        <a:pt x="115268" y="14366"/>
                      </a:cubicBezTo>
                      <a:cubicBezTo>
                        <a:pt x="115268" y="16901"/>
                        <a:pt x="115268" y="16901"/>
                        <a:pt x="115268" y="16901"/>
                      </a:cubicBezTo>
                      <a:cubicBezTo>
                        <a:pt x="115698" y="17746"/>
                        <a:pt x="115698" y="17746"/>
                        <a:pt x="115698" y="17746"/>
                      </a:cubicBezTo>
                      <a:cubicBezTo>
                        <a:pt x="115698" y="17746"/>
                        <a:pt x="115268" y="19436"/>
                        <a:pt x="115268" y="19436"/>
                      </a:cubicBezTo>
                      <a:cubicBezTo>
                        <a:pt x="115268" y="19436"/>
                        <a:pt x="115268" y="21126"/>
                        <a:pt x="115268" y="21126"/>
                      </a:cubicBezTo>
                      <a:cubicBezTo>
                        <a:pt x="114408" y="22816"/>
                        <a:pt x="114408" y="22816"/>
                        <a:pt x="114408" y="22816"/>
                      </a:cubicBezTo>
                      <a:cubicBezTo>
                        <a:pt x="114408" y="24507"/>
                        <a:pt x="114408" y="24507"/>
                        <a:pt x="114408" y="24507"/>
                      </a:cubicBezTo>
                      <a:cubicBezTo>
                        <a:pt x="114408" y="24507"/>
                        <a:pt x="114408" y="27042"/>
                        <a:pt x="114408" y="27042"/>
                      </a:cubicBezTo>
                      <a:cubicBezTo>
                        <a:pt x="114408" y="27042"/>
                        <a:pt x="114838" y="27887"/>
                        <a:pt x="115268" y="27887"/>
                      </a:cubicBezTo>
                      <a:cubicBezTo>
                        <a:pt x="115268" y="27887"/>
                        <a:pt x="115268" y="28732"/>
                        <a:pt x="115268" y="28732"/>
                      </a:cubicBezTo>
                      <a:cubicBezTo>
                        <a:pt x="115268" y="28732"/>
                        <a:pt x="115698" y="29577"/>
                        <a:pt x="116129" y="30422"/>
                      </a:cubicBezTo>
                      <a:cubicBezTo>
                        <a:pt x="116129" y="30422"/>
                        <a:pt x="116129" y="30422"/>
                        <a:pt x="116129" y="30422"/>
                      </a:cubicBezTo>
                      <a:cubicBezTo>
                        <a:pt x="116129" y="30422"/>
                        <a:pt x="116559" y="32112"/>
                        <a:pt x="116559" y="32957"/>
                      </a:cubicBezTo>
                      <a:cubicBezTo>
                        <a:pt x="116989" y="33802"/>
                        <a:pt x="116989" y="34647"/>
                        <a:pt x="116989" y="34647"/>
                      </a:cubicBezTo>
                      <a:cubicBezTo>
                        <a:pt x="116989" y="34647"/>
                        <a:pt x="117419" y="36338"/>
                        <a:pt x="117849" y="36338"/>
                      </a:cubicBezTo>
                      <a:cubicBezTo>
                        <a:pt x="117849" y="36338"/>
                        <a:pt x="118279" y="36338"/>
                        <a:pt x="118709" y="36338"/>
                      </a:cubicBezTo>
                      <a:cubicBezTo>
                        <a:pt x="118709" y="36338"/>
                        <a:pt x="119139" y="36338"/>
                        <a:pt x="119139" y="36338"/>
                      </a:cubicBezTo>
                      <a:cubicBezTo>
                        <a:pt x="119139" y="37183"/>
                        <a:pt x="118709" y="42253"/>
                        <a:pt x="118709" y="42253"/>
                      </a:cubicBezTo>
                      <a:cubicBezTo>
                        <a:pt x="119139" y="47323"/>
                        <a:pt x="119139" y="47323"/>
                        <a:pt x="119139" y="47323"/>
                      </a:cubicBezTo>
                      <a:cubicBezTo>
                        <a:pt x="119139" y="47323"/>
                        <a:pt x="118709" y="49859"/>
                        <a:pt x="118709" y="50704"/>
                      </a:cubicBezTo>
                      <a:cubicBezTo>
                        <a:pt x="119139" y="52394"/>
                        <a:pt x="120000" y="54084"/>
                        <a:pt x="118709" y="54929"/>
                      </a:cubicBezTo>
                      <a:cubicBezTo>
                        <a:pt x="117849" y="54929"/>
                        <a:pt x="116559" y="56619"/>
                        <a:pt x="116129" y="54929"/>
                      </a:cubicBezTo>
                      <a:cubicBezTo>
                        <a:pt x="116129" y="54929"/>
                        <a:pt x="115698" y="53239"/>
                        <a:pt x="115698" y="55774"/>
                      </a:cubicBezTo>
                      <a:cubicBezTo>
                        <a:pt x="116129" y="56619"/>
                        <a:pt x="114838" y="55774"/>
                        <a:pt x="114838" y="55774"/>
                      </a:cubicBezTo>
                      <a:cubicBezTo>
                        <a:pt x="111397" y="53239"/>
                        <a:pt x="111397" y="53239"/>
                        <a:pt x="111397" y="53239"/>
                      </a:cubicBezTo>
                      <a:cubicBezTo>
                        <a:pt x="110537" y="54929"/>
                        <a:pt x="110537" y="54929"/>
                        <a:pt x="110537" y="54929"/>
                      </a:cubicBezTo>
                      <a:cubicBezTo>
                        <a:pt x="108817" y="57464"/>
                        <a:pt x="108817" y="57464"/>
                        <a:pt x="108817" y="57464"/>
                      </a:cubicBezTo>
                      <a:cubicBezTo>
                        <a:pt x="111397" y="59154"/>
                        <a:pt x="111397" y="59154"/>
                        <a:pt x="111397" y="59154"/>
                      </a:cubicBezTo>
                      <a:cubicBezTo>
                        <a:pt x="112258" y="59154"/>
                        <a:pt x="112258" y="59154"/>
                        <a:pt x="112258" y="59154"/>
                      </a:cubicBezTo>
                      <a:cubicBezTo>
                        <a:pt x="114408" y="65915"/>
                        <a:pt x="114408" y="65915"/>
                        <a:pt x="114408" y="65915"/>
                      </a:cubicBezTo>
                      <a:cubicBezTo>
                        <a:pt x="111827" y="69295"/>
                        <a:pt x="111827" y="69295"/>
                        <a:pt x="111827" y="69295"/>
                      </a:cubicBezTo>
                      <a:cubicBezTo>
                        <a:pt x="111827" y="69295"/>
                        <a:pt x="110537" y="70985"/>
                        <a:pt x="110107" y="70985"/>
                      </a:cubicBezTo>
                      <a:cubicBezTo>
                        <a:pt x="109677" y="70985"/>
                        <a:pt x="109247" y="71830"/>
                        <a:pt x="109247" y="71830"/>
                      </a:cubicBezTo>
                      <a:cubicBezTo>
                        <a:pt x="110537" y="76901"/>
                        <a:pt x="110537" y="76901"/>
                        <a:pt x="110537" y="76901"/>
                      </a:cubicBezTo>
                      <a:cubicBezTo>
                        <a:pt x="110537" y="78591"/>
                        <a:pt x="110537" y="78591"/>
                        <a:pt x="110537" y="78591"/>
                      </a:cubicBezTo>
                      <a:cubicBezTo>
                        <a:pt x="110967" y="83661"/>
                        <a:pt x="110967" y="83661"/>
                        <a:pt x="110967" y="83661"/>
                      </a:cubicBezTo>
                      <a:cubicBezTo>
                        <a:pt x="109677" y="87887"/>
                        <a:pt x="109677" y="87887"/>
                        <a:pt x="109677" y="87887"/>
                      </a:cubicBezTo>
                      <a:cubicBezTo>
                        <a:pt x="108387" y="88732"/>
                        <a:pt x="108387" y="88732"/>
                        <a:pt x="108387" y="88732"/>
                      </a:cubicBezTo>
                      <a:cubicBezTo>
                        <a:pt x="107096" y="94647"/>
                        <a:pt x="107096" y="94647"/>
                        <a:pt x="107096" y="94647"/>
                      </a:cubicBezTo>
                      <a:cubicBezTo>
                        <a:pt x="104946" y="97183"/>
                        <a:pt x="104946" y="97183"/>
                        <a:pt x="104946" y="97183"/>
                      </a:cubicBezTo>
                      <a:cubicBezTo>
                        <a:pt x="104516" y="100563"/>
                        <a:pt x="104516" y="100563"/>
                        <a:pt x="104516" y="100563"/>
                      </a:cubicBezTo>
                      <a:cubicBezTo>
                        <a:pt x="104946" y="105633"/>
                        <a:pt x="104946" y="105633"/>
                        <a:pt x="104946" y="105633"/>
                      </a:cubicBezTo>
                      <a:cubicBezTo>
                        <a:pt x="102365" y="102253"/>
                        <a:pt x="102365" y="102253"/>
                        <a:pt x="102365" y="102253"/>
                      </a:cubicBezTo>
                      <a:cubicBezTo>
                        <a:pt x="100215" y="103943"/>
                        <a:pt x="100215" y="103943"/>
                        <a:pt x="100215" y="103943"/>
                      </a:cubicBezTo>
                      <a:cubicBezTo>
                        <a:pt x="98924" y="104788"/>
                        <a:pt x="98924" y="104788"/>
                        <a:pt x="98924" y="104788"/>
                      </a:cubicBezTo>
                      <a:cubicBezTo>
                        <a:pt x="96344" y="108169"/>
                        <a:pt x="96344" y="108169"/>
                        <a:pt x="96344" y="108169"/>
                      </a:cubicBezTo>
                      <a:cubicBezTo>
                        <a:pt x="94193" y="106478"/>
                        <a:pt x="94193" y="106478"/>
                        <a:pt x="94193" y="106478"/>
                      </a:cubicBezTo>
                      <a:cubicBezTo>
                        <a:pt x="91182" y="108169"/>
                        <a:pt x="91182" y="108169"/>
                        <a:pt x="91182" y="108169"/>
                      </a:cubicBezTo>
                      <a:cubicBezTo>
                        <a:pt x="88602" y="108169"/>
                        <a:pt x="88602" y="108169"/>
                        <a:pt x="88602" y="108169"/>
                      </a:cubicBezTo>
                      <a:cubicBezTo>
                        <a:pt x="87311" y="109859"/>
                        <a:pt x="87311" y="109859"/>
                        <a:pt x="87311" y="109859"/>
                      </a:cubicBezTo>
                      <a:cubicBezTo>
                        <a:pt x="86451" y="113239"/>
                        <a:pt x="86451" y="113239"/>
                        <a:pt x="86451" y="113239"/>
                      </a:cubicBezTo>
                      <a:cubicBezTo>
                        <a:pt x="86021" y="114929"/>
                        <a:pt x="86021" y="114929"/>
                        <a:pt x="86021" y="114929"/>
                      </a:cubicBezTo>
                      <a:cubicBezTo>
                        <a:pt x="84301" y="115774"/>
                        <a:pt x="84301" y="115774"/>
                        <a:pt x="84301" y="115774"/>
                      </a:cubicBezTo>
                      <a:cubicBezTo>
                        <a:pt x="83440" y="118309"/>
                        <a:pt x="83440" y="118309"/>
                        <a:pt x="83440" y="118309"/>
                      </a:cubicBezTo>
                      <a:cubicBezTo>
                        <a:pt x="82150" y="120000"/>
                        <a:pt x="82150" y="120000"/>
                        <a:pt x="82150" y="120000"/>
                      </a:cubicBezTo>
                      <a:cubicBezTo>
                        <a:pt x="81290" y="120000"/>
                        <a:pt x="81290" y="120000"/>
                        <a:pt x="81290" y="120000"/>
                      </a:cubicBezTo>
                      <a:cubicBezTo>
                        <a:pt x="77419" y="120000"/>
                        <a:pt x="77419" y="120000"/>
                        <a:pt x="77419" y="120000"/>
                      </a:cubicBezTo>
                      <a:cubicBezTo>
                        <a:pt x="73118" y="119154"/>
                        <a:pt x="73118" y="119154"/>
                        <a:pt x="73118" y="119154"/>
                      </a:cubicBezTo>
                      <a:cubicBezTo>
                        <a:pt x="69247" y="116619"/>
                        <a:pt x="69247" y="116619"/>
                        <a:pt x="69247" y="116619"/>
                      </a:cubicBezTo>
                      <a:cubicBezTo>
                        <a:pt x="66236" y="117464"/>
                        <a:pt x="66236" y="117464"/>
                        <a:pt x="66236" y="117464"/>
                      </a:cubicBezTo>
                      <a:cubicBezTo>
                        <a:pt x="66236" y="117464"/>
                        <a:pt x="64086" y="116619"/>
                        <a:pt x="62795" y="116619"/>
                      </a:cubicBezTo>
                      <a:cubicBezTo>
                        <a:pt x="61075" y="116619"/>
                        <a:pt x="57634" y="114929"/>
                        <a:pt x="57634" y="114929"/>
                      </a:cubicBezTo>
                      <a:cubicBezTo>
                        <a:pt x="53333" y="112394"/>
                        <a:pt x="53333" y="112394"/>
                        <a:pt x="53333" y="112394"/>
                      </a:cubicBezTo>
                      <a:cubicBezTo>
                        <a:pt x="50752" y="112394"/>
                        <a:pt x="50752" y="112394"/>
                        <a:pt x="50752" y="112394"/>
                      </a:cubicBezTo>
                      <a:cubicBezTo>
                        <a:pt x="46881" y="111549"/>
                        <a:pt x="46881" y="111549"/>
                        <a:pt x="46881" y="111549"/>
                      </a:cubicBezTo>
                      <a:cubicBezTo>
                        <a:pt x="46881" y="111549"/>
                        <a:pt x="46451" y="109859"/>
                        <a:pt x="46021" y="109014"/>
                      </a:cubicBezTo>
                      <a:cubicBezTo>
                        <a:pt x="46021" y="108169"/>
                        <a:pt x="44731" y="106478"/>
                        <a:pt x="44731" y="106478"/>
                      </a:cubicBezTo>
                      <a:cubicBezTo>
                        <a:pt x="44731" y="104788"/>
                        <a:pt x="44731" y="104788"/>
                        <a:pt x="44731" y="104788"/>
                      </a:cubicBezTo>
                      <a:cubicBezTo>
                        <a:pt x="43870" y="100563"/>
                        <a:pt x="43870" y="100563"/>
                        <a:pt x="43870" y="100563"/>
                      </a:cubicBezTo>
                      <a:cubicBezTo>
                        <a:pt x="43010" y="97183"/>
                        <a:pt x="43010" y="97183"/>
                        <a:pt x="43010" y="97183"/>
                      </a:cubicBezTo>
                      <a:cubicBezTo>
                        <a:pt x="43870" y="94647"/>
                        <a:pt x="43870" y="94647"/>
                        <a:pt x="43870" y="94647"/>
                      </a:cubicBezTo>
                      <a:cubicBezTo>
                        <a:pt x="43010" y="93802"/>
                        <a:pt x="43010" y="93802"/>
                        <a:pt x="43010" y="93802"/>
                      </a:cubicBezTo>
                      <a:cubicBezTo>
                        <a:pt x="43010" y="93802"/>
                        <a:pt x="41290" y="94647"/>
                        <a:pt x="40430" y="94647"/>
                      </a:cubicBezTo>
                      <a:cubicBezTo>
                        <a:pt x="40000" y="95492"/>
                        <a:pt x="37419" y="96338"/>
                        <a:pt x="37419" y="96338"/>
                      </a:cubicBezTo>
                      <a:cubicBezTo>
                        <a:pt x="36559" y="97183"/>
                        <a:pt x="36559" y="97183"/>
                        <a:pt x="36559" y="97183"/>
                      </a:cubicBezTo>
                      <a:cubicBezTo>
                        <a:pt x="33118" y="97183"/>
                        <a:pt x="33118" y="97183"/>
                        <a:pt x="33118" y="97183"/>
                      </a:cubicBezTo>
                      <a:cubicBezTo>
                        <a:pt x="29677" y="98028"/>
                        <a:pt x="29677" y="98028"/>
                        <a:pt x="29677" y="98028"/>
                      </a:cubicBezTo>
                      <a:cubicBezTo>
                        <a:pt x="28387" y="99718"/>
                        <a:pt x="28387" y="99718"/>
                        <a:pt x="28387" y="99718"/>
                      </a:cubicBezTo>
                      <a:cubicBezTo>
                        <a:pt x="25806" y="102253"/>
                        <a:pt x="25806" y="102253"/>
                        <a:pt x="25806" y="102253"/>
                      </a:cubicBezTo>
                      <a:cubicBezTo>
                        <a:pt x="25806" y="105633"/>
                        <a:pt x="25806" y="105633"/>
                        <a:pt x="25806" y="105633"/>
                      </a:cubicBezTo>
                      <a:cubicBezTo>
                        <a:pt x="24516" y="109014"/>
                        <a:pt x="24516" y="109014"/>
                        <a:pt x="24516" y="109014"/>
                      </a:cubicBezTo>
                      <a:cubicBezTo>
                        <a:pt x="22365" y="109014"/>
                        <a:pt x="22365" y="109014"/>
                        <a:pt x="22365" y="109014"/>
                      </a:cubicBezTo>
                      <a:cubicBezTo>
                        <a:pt x="20215" y="105633"/>
                        <a:pt x="20215" y="105633"/>
                        <a:pt x="20215" y="105633"/>
                      </a:cubicBezTo>
                      <a:cubicBezTo>
                        <a:pt x="19354" y="107323"/>
                        <a:pt x="19354" y="107323"/>
                        <a:pt x="19354" y="107323"/>
                      </a:cubicBezTo>
                      <a:cubicBezTo>
                        <a:pt x="16774" y="106478"/>
                        <a:pt x="16774" y="106478"/>
                        <a:pt x="16774" y="106478"/>
                      </a:cubicBezTo>
                      <a:cubicBezTo>
                        <a:pt x="16344" y="107323"/>
                        <a:pt x="16344" y="107323"/>
                        <a:pt x="16344" y="107323"/>
                      </a:cubicBezTo>
                      <a:cubicBezTo>
                        <a:pt x="16344" y="107323"/>
                        <a:pt x="16344" y="106478"/>
                        <a:pt x="16344" y="106478"/>
                      </a:cubicBezTo>
                      <a:cubicBezTo>
                        <a:pt x="16344" y="105633"/>
                        <a:pt x="16774" y="103098"/>
                        <a:pt x="16774" y="103098"/>
                      </a:cubicBezTo>
                      <a:cubicBezTo>
                        <a:pt x="16774" y="103098"/>
                        <a:pt x="16774" y="102253"/>
                        <a:pt x="16774" y="101408"/>
                      </a:cubicBezTo>
                      <a:cubicBezTo>
                        <a:pt x="16774" y="101408"/>
                        <a:pt x="16344" y="100563"/>
                        <a:pt x="16344" y="100563"/>
                      </a:cubicBezTo>
                      <a:cubicBezTo>
                        <a:pt x="15913" y="99718"/>
                        <a:pt x="15913" y="99718"/>
                        <a:pt x="15913" y="99718"/>
                      </a:cubicBezTo>
                      <a:cubicBezTo>
                        <a:pt x="15913" y="99718"/>
                        <a:pt x="15483" y="98028"/>
                        <a:pt x="15483" y="98028"/>
                      </a:cubicBezTo>
                      <a:cubicBezTo>
                        <a:pt x="15053" y="98873"/>
                        <a:pt x="14623" y="98873"/>
                        <a:pt x="14623" y="98873"/>
                      </a:cubicBezTo>
                      <a:cubicBezTo>
                        <a:pt x="14623" y="98873"/>
                        <a:pt x="14623" y="100563"/>
                        <a:pt x="14623" y="100563"/>
                      </a:cubicBezTo>
                      <a:cubicBezTo>
                        <a:pt x="14193" y="101408"/>
                        <a:pt x="13763" y="101408"/>
                        <a:pt x="13763" y="101408"/>
                      </a:cubicBezTo>
                      <a:cubicBezTo>
                        <a:pt x="13763" y="101408"/>
                        <a:pt x="13763" y="101408"/>
                        <a:pt x="13763" y="101408"/>
                      </a:cubicBezTo>
                      <a:cubicBezTo>
                        <a:pt x="13333" y="101408"/>
                        <a:pt x="13333" y="101408"/>
                        <a:pt x="13333" y="101408"/>
                      </a:cubicBezTo>
                      <a:cubicBezTo>
                        <a:pt x="12903" y="103098"/>
                        <a:pt x="12903" y="103098"/>
                        <a:pt x="12903" y="103098"/>
                      </a:cubicBezTo>
                      <a:cubicBezTo>
                        <a:pt x="12473" y="103943"/>
                        <a:pt x="12473" y="103943"/>
                        <a:pt x="12473" y="103943"/>
                      </a:cubicBezTo>
                      <a:cubicBezTo>
                        <a:pt x="12473" y="103943"/>
                        <a:pt x="12473" y="103943"/>
                        <a:pt x="12473" y="103943"/>
                      </a:cubicBezTo>
                      <a:cubicBezTo>
                        <a:pt x="12473" y="103943"/>
                        <a:pt x="12473" y="103943"/>
                        <a:pt x="12473" y="103943"/>
                      </a:cubicBezTo>
                      <a:cubicBezTo>
                        <a:pt x="12473" y="103943"/>
                        <a:pt x="12043" y="103943"/>
                        <a:pt x="12043" y="104788"/>
                      </a:cubicBezTo>
                      <a:cubicBezTo>
                        <a:pt x="12043" y="104788"/>
                        <a:pt x="11612" y="104788"/>
                        <a:pt x="11182" y="104788"/>
                      </a:cubicBezTo>
                      <a:cubicBezTo>
                        <a:pt x="11182" y="104788"/>
                        <a:pt x="10322" y="104788"/>
                        <a:pt x="10322" y="104788"/>
                      </a:cubicBezTo>
                      <a:cubicBezTo>
                        <a:pt x="9892" y="103943"/>
                        <a:pt x="9892" y="103943"/>
                        <a:pt x="9892" y="103943"/>
                      </a:cubicBezTo>
                      <a:cubicBezTo>
                        <a:pt x="8602" y="103098"/>
                        <a:pt x="8602" y="103098"/>
                        <a:pt x="8602" y="103098"/>
                      </a:cubicBezTo>
                      <a:cubicBezTo>
                        <a:pt x="8602" y="103098"/>
                        <a:pt x="8602" y="103098"/>
                        <a:pt x="8602" y="103098"/>
                      </a:cubicBezTo>
                      <a:cubicBezTo>
                        <a:pt x="7741" y="102253"/>
                        <a:pt x="7741" y="102253"/>
                        <a:pt x="7741" y="102253"/>
                      </a:cubicBezTo>
                      <a:cubicBezTo>
                        <a:pt x="7311" y="101408"/>
                        <a:pt x="7311" y="101408"/>
                        <a:pt x="7311" y="101408"/>
                      </a:cubicBezTo>
                      <a:cubicBezTo>
                        <a:pt x="7311" y="99718"/>
                        <a:pt x="7311" y="99718"/>
                        <a:pt x="7311" y="99718"/>
                      </a:cubicBezTo>
                      <a:cubicBezTo>
                        <a:pt x="6451" y="98028"/>
                        <a:pt x="6451" y="98028"/>
                        <a:pt x="6451" y="98028"/>
                      </a:cubicBezTo>
                      <a:cubicBezTo>
                        <a:pt x="4731" y="97183"/>
                        <a:pt x="4731" y="97183"/>
                        <a:pt x="4731" y="97183"/>
                      </a:cubicBezTo>
                      <a:cubicBezTo>
                        <a:pt x="3440" y="96338"/>
                        <a:pt x="3440" y="96338"/>
                        <a:pt x="3440" y="96338"/>
                      </a:cubicBezTo>
                      <a:cubicBezTo>
                        <a:pt x="2580" y="96338"/>
                        <a:pt x="2580" y="96338"/>
                        <a:pt x="2580" y="96338"/>
                      </a:cubicBezTo>
                      <a:cubicBezTo>
                        <a:pt x="2580" y="96338"/>
                        <a:pt x="860" y="96338"/>
                        <a:pt x="860" y="96338"/>
                      </a:cubicBezTo>
                      <a:cubicBezTo>
                        <a:pt x="860" y="96338"/>
                        <a:pt x="430" y="96338"/>
                        <a:pt x="430" y="96338"/>
                      </a:cubicBezTo>
                      <a:cubicBezTo>
                        <a:pt x="430" y="96338"/>
                        <a:pt x="430" y="96338"/>
                        <a:pt x="430" y="96338"/>
                      </a:cubicBezTo>
                      <a:cubicBezTo>
                        <a:pt x="430" y="96338"/>
                        <a:pt x="430" y="96338"/>
                        <a:pt x="430" y="96338"/>
                      </a:cubicBezTo>
                      <a:cubicBezTo>
                        <a:pt x="430" y="96338"/>
                        <a:pt x="430" y="96338"/>
                        <a:pt x="430" y="96338"/>
                      </a:cubicBezTo>
                      <a:cubicBezTo>
                        <a:pt x="860" y="96338"/>
                        <a:pt x="860" y="96338"/>
                        <a:pt x="860" y="96338"/>
                      </a:cubicBezTo>
                      <a:cubicBezTo>
                        <a:pt x="860" y="96338"/>
                        <a:pt x="860" y="95492"/>
                        <a:pt x="860" y="95492"/>
                      </a:cubicBezTo>
                      <a:cubicBezTo>
                        <a:pt x="860" y="95492"/>
                        <a:pt x="860" y="95492"/>
                        <a:pt x="860" y="95492"/>
                      </a:cubicBezTo>
                      <a:cubicBezTo>
                        <a:pt x="860" y="95492"/>
                        <a:pt x="1290" y="96338"/>
                        <a:pt x="1290" y="96338"/>
                      </a:cubicBezTo>
                      <a:cubicBezTo>
                        <a:pt x="1290" y="96338"/>
                        <a:pt x="1290" y="96338"/>
                        <a:pt x="1290" y="96338"/>
                      </a:cubicBezTo>
                      <a:cubicBezTo>
                        <a:pt x="1290" y="96338"/>
                        <a:pt x="1290" y="96338"/>
                        <a:pt x="1290" y="96338"/>
                      </a:cubicBezTo>
                      <a:cubicBezTo>
                        <a:pt x="1290" y="96338"/>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2150" y="95492"/>
                      </a:cubicBezTo>
                      <a:cubicBezTo>
                        <a:pt x="2150" y="95492"/>
                        <a:pt x="2150" y="95492"/>
                        <a:pt x="2150" y="94647"/>
                      </a:cubicBezTo>
                      <a:cubicBezTo>
                        <a:pt x="2150" y="94647"/>
                        <a:pt x="2150" y="94647"/>
                        <a:pt x="2150" y="94647"/>
                      </a:cubicBezTo>
                      <a:cubicBezTo>
                        <a:pt x="2150" y="94647"/>
                        <a:pt x="2150" y="94647"/>
                        <a:pt x="1720" y="94647"/>
                      </a:cubicBezTo>
                      <a:cubicBezTo>
                        <a:pt x="1720" y="94647"/>
                        <a:pt x="1720" y="94647"/>
                        <a:pt x="1720" y="94647"/>
                      </a:cubicBezTo>
                      <a:cubicBezTo>
                        <a:pt x="1720" y="94647"/>
                        <a:pt x="1720" y="94647"/>
                        <a:pt x="1720" y="93802"/>
                      </a:cubicBezTo>
                      <a:cubicBezTo>
                        <a:pt x="1720" y="93802"/>
                        <a:pt x="2150" y="93802"/>
                        <a:pt x="2150" y="93802"/>
                      </a:cubicBezTo>
                      <a:cubicBezTo>
                        <a:pt x="2150" y="93802"/>
                        <a:pt x="2150" y="93802"/>
                        <a:pt x="1720" y="93802"/>
                      </a:cubicBezTo>
                      <a:cubicBezTo>
                        <a:pt x="1720" y="93802"/>
                        <a:pt x="1720" y="93802"/>
                        <a:pt x="1720" y="93802"/>
                      </a:cubicBezTo>
                      <a:cubicBezTo>
                        <a:pt x="1720" y="92957"/>
                        <a:pt x="1720" y="93802"/>
                        <a:pt x="1720" y="93802"/>
                      </a:cubicBezTo>
                      <a:cubicBezTo>
                        <a:pt x="1720" y="92957"/>
                        <a:pt x="1720" y="92957"/>
                        <a:pt x="1720" y="92957"/>
                      </a:cubicBezTo>
                      <a:cubicBezTo>
                        <a:pt x="1720" y="92957"/>
                        <a:pt x="1720" y="92957"/>
                        <a:pt x="1720" y="92957"/>
                      </a:cubicBezTo>
                      <a:cubicBezTo>
                        <a:pt x="1720" y="92957"/>
                        <a:pt x="1720" y="92957"/>
                        <a:pt x="1720" y="92957"/>
                      </a:cubicBezTo>
                      <a:cubicBezTo>
                        <a:pt x="1720" y="92957"/>
                        <a:pt x="1720" y="92957"/>
                        <a:pt x="1720" y="92957"/>
                      </a:cubicBezTo>
                      <a:cubicBezTo>
                        <a:pt x="1720" y="92957"/>
                        <a:pt x="1720" y="92957"/>
                        <a:pt x="1720" y="92957"/>
                      </a:cubicBezTo>
                      <a:cubicBezTo>
                        <a:pt x="1290" y="92957"/>
                        <a:pt x="1290" y="92957"/>
                        <a:pt x="1290" y="92957"/>
                      </a:cubicBezTo>
                      <a:cubicBezTo>
                        <a:pt x="1290" y="92957"/>
                        <a:pt x="1290" y="92957"/>
                        <a:pt x="1290" y="92957"/>
                      </a:cubicBezTo>
                      <a:cubicBezTo>
                        <a:pt x="1290" y="92112"/>
                        <a:pt x="1290" y="92112"/>
                        <a:pt x="1290" y="92112"/>
                      </a:cubicBezTo>
                      <a:cubicBezTo>
                        <a:pt x="1290" y="92112"/>
                        <a:pt x="1290" y="92112"/>
                        <a:pt x="1290" y="92112"/>
                      </a:cubicBezTo>
                      <a:cubicBezTo>
                        <a:pt x="1290" y="92112"/>
                        <a:pt x="1290" y="92112"/>
                        <a:pt x="1290" y="92112"/>
                      </a:cubicBezTo>
                      <a:cubicBezTo>
                        <a:pt x="1290" y="92112"/>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0422"/>
                        <a:pt x="1290" y="91267"/>
                        <a:pt x="1290" y="90422"/>
                      </a:cubicBezTo>
                      <a:cubicBezTo>
                        <a:pt x="1290" y="90422"/>
                        <a:pt x="1290" y="90422"/>
                        <a:pt x="1290" y="90422"/>
                      </a:cubicBezTo>
                      <a:cubicBezTo>
                        <a:pt x="1290" y="90422"/>
                        <a:pt x="1290" y="90422"/>
                        <a:pt x="1290" y="90422"/>
                      </a:cubicBezTo>
                      <a:cubicBezTo>
                        <a:pt x="1290" y="90422"/>
                        <a:pt x="860" y="90422"/>
                        <a:pt x="860" y="89577"/>
                      </a:cubicBezTo>
                      <a:cubicBezTo>
                        <a:pt x="860" y="89577"/>
                        <a:pt x="860" y="89577"/>
                        <a:pt x="860" y="89577"/>
                      </a:cubicBezTo>
                      <a:cubicBezTo>
                        <a:pt x="860" y="89577"/>
                        <a:pt x="860" y="89577"/>
                        <a:pt x="860" y="89577"/>
                      </a:cubicBezTo>
                      <a:cubicBezTo>
                        <a:pt x="860" y="89577"/>
                        <a:pt x="860" y="89577"/>
                        <a:pt x="860" y="89577"/>
                      </a:cubicBezTo>
                      <a:cubicBezTo>
                        <a:pt x="860" y="90422"/>
                        <a:pt x="860" y="90422"/>
                        <a:pt x="860" y="90422"/>
                      </a:cubicBezTo>
                      <a:cubicBezTo>
                        <a:pt x="860" y="91267"/>
                        <a:pt x="860" y="91267"/>
                        <a:pt x="860" y="91267"/>
                      </a:cubicBezTo>
                      <a:cubicBezTo>
                        <a:pt x="430" y="91267"/>
                        <a:pt x="430" y="91267"/>
                        <a:pt x="430" y="91267"/>
                      </a:cubicBezTo>
                      <a:cubicBezTo>
                        <a:pt x="430" y="90422"/>
                        <a:pt x="430" y="90422"/>
                        <a:pt x="430" y="90422"/>
                      </a:cubicBezTo>
                      <a:cubicBezTo>
                        <a:pt x="860" y="87887"/>
                        <a:pt x="860" y="87887"/>
                        <a:pt x="860" y="87887"/>
                      </a:cubicBezTo>
                      <a:cubicBezTo>
                        <a:pt x="1720" y="86197"/>
                        <a:pt x="1720" y="86197"/>
                        <a:pt x="1720" y="86197"/>
                      </a:cubicBezTo>
                      <a:cubicBezTo>
                        <a:pt x="1720" y="86197"/>
                        <a:pt x="1720" y="84507"/>
                        <a:pt x="2150" y="84507"/>
                      </a:cubicBezTo>
                      <a:cubicBezTo>
                        <a:pt x="2150" y="83661"/>
                        <a:pt x="2150" y="82816"/>
                        <a:pt x="2150" y="82816"/>
                      </a:cubicBezTo>
                      <a:cubicBezTo>
                        <a:pt x="3010" y="81971"/>
                        <a:pt x="3010" y="81971"/>
                        <a:pt x="3010" y="81971"/>
                      </a:cubicBezTo>
                      <a:cubicBezTo>
                        <a:pt x="3010" y="81971"/>
                        <a:pt x="3440" y="81126"/>
                        <a:pt x="3440" y="81126"/>
                      </a:cubicBezTo>
                      <a:cubicBezTo>
                        <a:pt x="3440" y="80281"/>
                        <a:pt x="3010" y="79436"/>
                        <a:pt x="3010" y="79436"/>
                      </a:cubicBezTo>
                      <a:cubicBezTo>
                        <a:pt x="3010" y="78591"/>
                        <a:pt x="3440" y="77746"/>
                        <a:pt x="3440" y="77746"/>
                      </a:cubicBezTo>
                      <a:cubicBezTo>
                        <a:pt x="3010" y="77746"/>
                        <a:pt x="301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3440" y="74366"/>
                        <a:pt x="4301" y="72676"/>
                        <a:pt x="4301" y="72676"/>
                      </a:cubicBezTo>
                      <a:cubicBezTo>
                        <a:pt x="4301" y="72676"/>
                        <a:pt x="5161" y="71830"/>
                        <a:pt x="6021" y="72676"/>
                      </a:cubicBezTo>
                      <a:cubicBezTo>
                        <a:pt x="6451" y="73521"/>
                        <a:pt x="7311" y="75211"/>
                        <a:pt x="7741" y="76056"/>
                      </a:cubicBezTo>
                      <a:cubicBezTo>
                        <a:pt x="7741" y="76056"/>
                        <a:pt x="8172" y="76901"/>
                        <a:pt x="8602" y="76901"/>
                      </a:cubicBezTo>
                      <a:cubicBezTo>
                        <a:pt x="9032" y="76901"/>
                        <a:pt x="9462" y="77746"/>
                        <a:pt x="9462" y="77746"/>
                      </a:cubicBezTo>
                      <a:cubicBezTo>
                        <a:pt x="9462" y="78591"/>
                        <a:pt x="9892" y="77746"/>
                        <a:pt x="9892" y="79436"/>
                      </a:cubicBezTo>
                      <a:cubicBezTo>
                        <a:pt x="9462" y="81126"/>
                        <a:pt x="9462" y="82816"/>
                        <a:pt x="9892" y="82816"/>
                      </a:cubicBezTo>
                      <a:cubicBezTo>
                        <a:pt x="10752" y="81971"/>
                        <a:pt x="11182" y="81126"/>
                        <a:pt x="11182" y="81971"/>
                      </a:cubicBezTo>
                      <a:cubicBezTo>
                        <a:pt x="11182" y="82816"/>
                        <a:pt x="11612" y="81971"/>
                        <a:pt x="11182" y="83661"/>
                      </a:cubicBezTo>
                      <a:cubicBezTo>
                        <a:pt x="11182" y="85352"/>
                        <a:pt x="10752" y="86197"/>
                        <a:pt x="11182" y="86197"/>
                      </a:cubicBezTo>
                      <a:cubicBezTo>
                        <a:pt x="12043" y="87042"/>
                        <a:pt x="12903" y="87887"/>
                        <a:pt x="13333" y="87042"/>
                      </a:cubicBezTo>
                      <a:cubicBezTo>
                        <a:pt x="13763" y="85352"/>
                        <a:pt x="13333" y="87042"/>
                        <a:pt x="13763" y="85352"/>
                      </a:cubicBezTo>
                      <a:cubicBezTo>
                        <a:pt x="14193" y="82816"/>
                        <a:pt x="14193" y="83661"/>
                        <a:pt x="14623" y="82816"/>
                      </a:cubicBezTo>
                      <a:cubicBezTo>
                        <a:pt x="14623" y="81126"/>
                        <a:pt x="14623" y="81971"/>
                        <a:pt x="15053" y="80281"/>
                      </a:cubicBezTo>
                      <a:cubicBezTo>
                        <a:pt x="15053" y="78591"/>
                        <a:pt x="15483" y="79436"/>
                        <a:pt x="15053" y="78591"/>
                      </a:cubicBezTo>
                      <a:cubicBezTo>
                        <a:pt x="15053" y="78591"/>
                        <a:pt x="15053" y="77746"/>
                        <a:pt x="14623" y="76901"/>
                      </a:cubicBezTo>
                      <a:cubicBezTo>
                        <a:pt x="14623" y="75211"/>
                        <a:pt x="13763" y="76056"/>
                        <a:pt x="15053" y="75211"/>
                      </a:cubicBezTo>
                      <a:cubicBezTo>
                        <a:pt x="15913" y="74366"/>
                        <a:pt x="16344" y="74366"/>
                        <a:pt x="16344" y="74366"/>
                      </a:cubicBezTo>
                      <a:cubicBezTo>
                        <a:pt x="16344" y="73521"/>
                        <a:pt x="17634" y="73521"/>
                        <a:pt x="17634" y="73521"/>
                      </a:cubicBezTo>
                      <a:cubicBezTo>
                        <a:pt x="17634" y="73521"/>
                        <a:pt x="18924" y="73521"/>
                        <a:pt x="18924" y="73521"/>
                      </a:cubicBezTo>
                      <a:cubicBezTo>
                        <a:pt x="19354" y="73521"/>
                        <a:pt x="21075" y="73521"/>
                        <a:pt x="21075" y="74366"/>
                      </a:cubicBezTo>
                      <a:cubicBezTo>
                        <a:pt x="21075" y="75211"/>
                        <a:pt x="21935" y="75211"/>
                        <a:pt x="21935" y="75211"/>
                      </a:cubicBezTo>
                      <a:cubicBezTo>
                        <a:pt x="21935" y="75211"/>
                        <a:pt x="22795" y="75211"/>
                        <a:pt x="23225" y="76901"/>
                      </a:cubicBezTo>
                      <a:cubicBezTo>
                        <a:pt x="23225" y="79436"/>
                        <a:pt x="23225" y="81126"/>
                        <a:pt x="23655" y="80281"/>
                      </a:cubicBezTo>
                      <a:cubicBezTo>
                        <a:pt x="24086" y="80281"/>
                        <a:pt x="24946" y="81971"/>
                        <a:pt x="24946" y="81126"/>
                      </a:cubicBezTo>
                      <a:cubicBezTo>
                        <a:pt x="25376" y="80281"/>
                        <a:pt x="25806" y="79436"/>
                        <a:pt x="26236" y="79436"/>
                      </a:cubicBezTo>
                      <a:cubicBezTo>
                        <a:pt x="26666" y="79436"/>
                        <a:pt x="25806" y="78591"/>
                        <a:pt x="27096" y="78591"/>
                      </a:cubicBezTo>
                      <a:cubicBezTo>
                        <a:pt x="28817" y="79436"/>
                        <a:pt x="28387" y="80281"/>
                        <a:pt x="29247" y="78591"/>
                      </a:cubicBezTo>
                      <a:cubicBezTo>
                        <a:pt x="29677" y="76901"/>
                        <a:pt x="29677" y="76901"/>
                        <a:pt x="30537" y="76056"/>
                      </a:cubicBezTo>
                      <a:cubicBezTo>
                        <a:pt x="30967" y="75211"/>
                        <a:pt x="30967" y="75211"/>
                        <a:pt x="31397" y="74366"/>
                      </a:cubicBezTo>
                      <a:cubicBezTo>
                        <a:pt x="31397" y="74366"/>
                        <a:pt x="33118" y="74366"/>
                        <a:pt x="33118" y="74366"/>
                      </a:cubicBezTo>
                      <a:cubicBezTo>
                        <a:pt x="33548" y="73521"/>
                        <a:pt x="33978" y="71830"/>
                        <a:pt x="34408" y="71830"/>
                      </a:cubicBezTo>
                      <a:cubicBezTo>
                        <a:pt x="34408" y="71830"/>
                        <a:pt x="36129" y="71830"/>
                        <a:pt x="36559" y="71830"/>
                      </a:cubicBezTo>
                      <a:cubicBezTo>
                        <a:pt x="36989" y="71830"/>
                        <a:pt x="37849" y="71830"/>
                        <a:pt x="38279" y="70985"/>
                      </a:cubicBezTo>
                      <a:cubicBezTo>
                        <a:pt x="38279" y="70140"/>
                        <a:pt x="38279" y="70140"/>
                        <a:pt x="38709" y="69295"/>
                      </a:cubicBezTo>
                      <a:cubicBezTo>
                        <a:pt x="39569" y="69295"/>
                        <a:pt x="40000" y="69295"/>
                        <a:pt x="40860" y="69295"/>
                      </a:cubicBezTo>
                      <a:cubicBezTo>
                        <a:pt x="41720" y="69295"/>
                        <a:pt x="41720" y="69295"/>
                        <a:pt x="42150" y="69295"/>
                      </a:cubicBezTo>
                      <a:cubicBezTo>
                        <a:pt x="42580" y="69295"/>
                        <a:pt x="43010" y="70985"/>
                        <a:pt x="43010" y="68450"/>
                      </a:cubicBezTo>
                      <a:cubicBezTo>
                        <a:pt x="42580" y="65915"/>
                        <a:pt x="42150" y="65915"/>
                        <a:pt x="42580" y="65070"/>
                      </a:cubicBezTo>
                      <a:cubicBezTo>
                        <a:pt x="43440" y="65070"/>
                        <a:pt x="44301" y="65070"/>
                        <a:pt x="44301" y="65070"/>
                      </a:cubicBezTo>
                      <a:cubicBezTo>
                        <a:pt x="44731" y="65070"/>
                        <a:pt x="46451" y="65915"/>
                        <a:pt x="46881" y="65915"/>
                      </a:cubicBezTo>
                      <a:cubicBezTo>
                        <a:pt x="46881" y="65915"/>
                        <a:pt x="47311" y="67605"/>
                        <a:pt x="47311" y="67605"/>
                      </a:cubicBezTo>
                      <a:cubicBezTo>
                        <a:pt x="47741" y="67605"/>
                        <a:pt x="48172" y="68450"/>
                        <a:pt x="48602" y="67605"/>
                      </a:cubicBezTo>
                      <a:cubicBezTo>
                        <a:pt x="48602" y="67605"/>
                        <a:pt x="49032" y="65915"/>
                        <a:pt x="49462" y="65915"/>
                      </a:cubicBezTo>
                      <a:cubicBezTo>
                        <a:pt x="49892" y="65915"/>
                        <a:pt x="51182" y="65915"/>
                        <a:pt x="51182" y="65915"/>
                      </a:cubicBezTo>
                      <a:cubicBezTo>
                        <a:pt x="51182" y="65915"/>
                        <a:pt x="52903" y="66760"/>
                        <a:pt x="52903" y="66760"/>
                      </a:cubicBezTo>
                      <a:cubicBezTo>
                        <a:pt x="52903" y="66760"/>
                        <a:pt x="52473" y="68450"/>
                        <a:pt x="52473" y="69295"/>
                      </a:cubicBezTo>
                      <a:cubicBezTo>
                        <a:pt x="52473" y="70140"/>
                        <a:pt x="52473" y="70985"/>
                        <a:pt x="52903" y="71830"/>
                      </a:cubicBezTo>
                      <a:cubicBezTo>
                        <a:pt x="52903" y="71830"/>
                        <a:pt x="53763" y="73521"/>
                        <a:pt x="53763" y="73521"/>
                      </a:cubicBezTo>
                      <a:cubicBezTo>
                        <a:pt x="53763" y="73521"/>
                        <a:pt x="55913" y="75211"/>
                        <a:pt x="55913" y="75211"/>
                      </a:cubicBezTo>
                      <a:cubicBezTo>
                        <a:pt x="55913" y="75211"/>
                        <a:pt x="56344" y="76056"/>
                        <a:pt x="56344" y="72676"/>
                      </a:cubicBezTo>
                      <a:cubicBezTo>
                        <a:pt x="56344" y="69295"/>
                        <a:pt x="56344" y="68450"/>
                        <a:pt x="56344" y="68450"/>
                      </a:cubicBezTo>
                      <a:cubicBezTo>
                        <a:pt x="56344" y="65070"/>
                        <a:pt x="56344" y="65070"/>
                        <a:pt x="56344" y="65070"/>
                      </a:cubicBezTo>
                      <a:cubicBezTo>
                        <a:pt x="56344" y="65070"/>
                        <a:pt x="56344" y="64225"/>
                        <a:pt x="55913" y="64225"/>
                      </a:cubicBezTo>
                      <a:cubicBezTo>
                        <a:pt x="55913" y="64225"/>
                        <a:pt x="55483" y="64225"/>
                        <a:pt x="55483" y="64225"/>
                      </a:cubicBezTo>
                      <a:cubicBezTo>
                        <a:pt x="55483" y="64225"/>
                        <a:pt x="53763" y="63380"/>
                        <a:pt x="53333" y="63380"/>
                      </a:cubicBezTo>
                      <a:cubicBezTo>
                        <a:pt x="52903" y="63380"/>
                        <a:pt x="53333" y="61690"/>
                        <a:pt x="53333" y="60845"/>
                      </a:cubicBezTo>
                      <a:cubicBezTo>
                        <a:pt x="53333" y="60845"/>
                        <a:pt x="54193" y="59154"/>
                        <a:pt x="54193" y="59154"/>
                      </a:cubicBezTo>
                      <a:cubicBezTo>
                        <a:pt x="54193" y="56619"/>
                        <a:pt x="54193" y="56619"/>
                        <a:pt x="54193" y="56619"/>
                      </a:cubicBezTo>
                      <a:cubicBezTo>
                        <a:pt x="52903" y="52394"/>
                        <a:pt x="52903" y="52394"/>
                        <a:pt x="52903" y="52394"/>
                      </a:cubicBezTo>
                      <a:cubicBezTo>
                        <a:pt x="51612" y="49859"/>
                        <a:pt x="51612" y="49859"/>
                        <a:pt x="51612" y="49859"/>
                      </a:cubicBezTo>
                      <a:cubicBezTo>
                        <a:pt x="50752" y="45633"/>
                        <a:pt x="50752" y="45633"/>
                        <a:pt x="50752" y="45633"/>
                      </a:cubicBezTo>
                      <a:cubicBezTo>
                        <a:pt x="50752" y="45633"/>
                        <a:pt x="50752" y="45633"/>
                        <a:pt x="50752" y="45633"/>
                      </a:cubicBezTo>
                      <a:cubicBezTo>
                        <a:pt x="50752" y="45633"/>
                        <a:pt x="50752" y="45633"/>
                        <a:pt x="50752" y="45633"/>
                      </a:cubicBezTo>
                      <a:cubicBezTo>
                        <a:pt x="52043" y="43943"/>
                        <a:pt x="52043" y="43943"/>
                        <a:pt x="52043" y="43943"/>
                      </a:cubicBezTo>
                      <a:cubicBezTo>
                        <a:pt x="52903" y="42253"/>
                        <a:pt x="54193" y="40563"/>
                        <a:pt x="54193" y="40563"/>
                      </a:cubicBezTo>
                      <a:cubicBezTo>
                        <a:pt x="54193" y="40563"/>
                        <a:pt x="54193" y="40563"/>
                        <a:pt x="54623" y="40563"/>
                      </a:cubicBezTo>
                      <a:cubicBezTo>
                        <a:pt x="55483" y="38873"/>
                        <a:pt x="55483" y="38873"/>
                        <a:pt x="55483" y="38873"/>
                      </a:cubicBezTo>
                      <a:cubicBezTo>
                        <a:pt x="55483" y="38873"/>
                        <a:pt x="57634" y="37183"/>
                        <a:pt x="57634" y="37183"/>
                      </a:cubicBezTo>
                      <a:cubicBezTo>
                        <a:pt x="57634" y="37183"/>
                        <a:pt x="58064" y="36338"/>
                        <a:pt x="58064" y="36338"/>
                      </a:cubicBezTo>
                      <a:cubicBezTo>
                        <a:pt x="58494" y="36338"/>
                        <a:pt x="58494" y="36338"/>
                        <a:pt x="58494" y="36338"/>
                      </a:cubicBezTo>
                      <a:cubicBezTo>
                        <a:pt x="60645" y="32112"/>
                        <a:pt x="60645" y="32112"/>
                        <a:pt x="60645" y="32112"/>
                      </a:cubicBezTo>
                      <a:cubicBezTo>
                        <a:pt x="60645" y="27887"/>
                        <a:pt x="60645" y="27887"/>
                        <a:pt x="60645" y="27887"/>
                      </a:cubicBezTo>
                      <a:cubicBezTo>
                        <a:pt x="61075" y="26197"/>
                        <a:pt x="61075" y="26197"/>
                        <a:pt x="61075" y="26197"/>
                      </a:cubicBezTo>
                      <a:cubicBezTo>
                        <a:pt x="61075" y="25352"/>
                        <a:pt x="61075" y="23661"/>
                        <a:pt x="61075" y="23661"/>
                      </a:cubicBezTo>
                      <a:cubicBezTo>
                        <a:pt x="63655" y="23661"/>
                        <a:pt x="63655" y="23661"/>
                        <a:pt x="63655" y="23661"/>
                      </a:cubicBezTo>
                      <a:cubicBezTo>
                        <a:pt x="63655" y="23661"/>
                        <a:pt x="64086" y="24507"/>
                        <a:pt x="64516" y="25352"/>
                      </a:cubicBezTo>
                      <a:cubicBezTo>
                        <a:pt x="64946" y="25352"/>
                        <a:pt x="65376" y="24507"/>
                        <a:pt x="65376" y="24507"/>
                      </a:cubicBezTo>
                      <a:cubicBezTo>
                        <a:pt x="65806" y="24507"/>
                        <a:pt x="66236" y="22816"/>
                        <a:pt x="66236" y="22816"/>
                      </a:cubicBezTo>
                      <a:cubicBezTo>
                        <a:pt x="66236" y="20281"/>
                        <a:pt x="66236" y="20281"/>
                        <a:pt x="66236" y="20281"/>
                      </a:cubicBezTo>
                      <a:cubicBezTo>
                        <a:pt x="65806" y="16056"/>
                        <a:pt x="65806" y="16056"/>
                        <a:pt x="65806" y="16056"/>
                      </a:cubicBezTo>
                      <a:cubicBezTo>
                        <a:pt x="65806" y="13521"/>
                        <a:pt x="65806" y="13521"/>
                        <a:pt x="65806" y="13521"/>
                      </a:cubicBezTo>
                      <a:cubicBezTo>
                        <a:pt x="65806" y="13521"/>
                        <a:pt x="65806" y="13521"/>
                        <a:pt x="65806" y="13521"/>
                      </a:cubicBezTo>
                      <a:cubicBezTo>
                        <a:pt x="66236" y="13521"/>
                        <a:pt x="67956" y="16056"/>
                        <a:pt x="68817" y="16901"/>
                      </a:cubicBezTo>
                      <a:cubicBezTo>
                        <a:pt x="69247" y="17746"/>
                        <a:pt x="70537" y="20281"/>
                        <a:pt x="70537" y="20281"/>
                      </a:cubicBezTo>
                      <a:cubicBezTo>
                        <a:pt x="70537" y="20281"/>
                        <a:pt x="72688" y="21126"/>
                        <a:pt x="73118" y="21126"/>
                      </a:cubicBezTo>
                      <a:cubicBezTo>
                        <a:pt x="73118" y="21126"/>
                        <a:pt x="75268" y="21971"/>
                        <a:pt x="75268" y="21971"/>
                      </a:cubicBezTo>
                      <a:cubicBezTo>
                        <a:pt x="75698" y="20281"/>
                        <a:pt x="75698" y="20281"/>
                        <a:pt x="75698" y="20281"/>
                      </a:cubicBezTo>
                      <a:cubicBezTo>
                        <a:pt x="76989" y="18591"/>
                        <a:pt x="76989" y="18591"/>
                        <a:pt x="76989" y="18591"/>
                      </a:cubicBezTo>
                      <a:cubicBezTo>
                        <a:pt x="78709" y="21126"/>
                        <a:pt x="78709" y="21126"/>
                        <a:pt x="78709" y="21126"/>
                      </a:cubicBezTo>
                      <a:cubicBezTo>
                        <a:pt x="80430" y="20281"/>
                        <a:pt x="80430" y="20281"/>
                        <a:pt x="80430" y="20281"/>
                      </a:cubicBezTo>
                      <a:close/>
                      <a:moveTo>
                        <a:pt x="2150" y="76901"/>
                      </a:moveTo>
                      <a:cubicBezTo>
                        <a:pt x="2150" y="76901"/>
                        <a:pt x="2150" y="76901"/>
                        <a:pt x="2150" y="76901"/>
                      </a:cubicBezTo>
                      <a:cubicBezTo>
                        <a:pt x="2150" y="76901"/>
                        <a:pt x="2150" y="76901"/>
                        <a:pt x="2150" y="76901"/>
                      </a:cubicBezTo>
                      <a:cubicBezTo>
                        <a:pt x="2150" y="76901"/>
                        <a:pt x="2150" y="76901"/>
                        <a:pt x="2150" y="76901"/>
                      </a:cubicBezTo>
                      <a:close/>
                      <a:moveTo>
                        <a:pt x="430" y="96338"/>
                      </a:moveTo>
                      <a:cubicBezTo>
                        <a:pt x="430" y="96338"/>
                        <a:pt x="430" y="96338"/>
                        <a:pt x="430" y="96338"/>
                      </a:cubicBezTo>
                      <a:cubicBezTo>
                        <a:pt x="430" y="96338"/>
                        <a:pt x="430" y="96338"/>
                        <a:pt x="430" y="96338"/>
                      </a:cubicBezTo>
                      <a:cubicBezTo>
                        <a:pt x="430" y="96338"/>
                        <a:pt x="430" y="96338"/>
                        <a:pt x="430" y="96338"/>
                      </a:cubicBezTo>
                      <a:cubicBezTo>
                        <a:pt x="430" y="96338"/>
                        <a:pt x="430" y="96338"/>
                        <a:pt x="430" y="96338"/>
                      </a:cubicBezTo>
                      <a:close/>
                      <a:moveTo>
                        <a:pt x="430" y="96338"/>
                      </a:moveTo>
                      <a:cubicBezTo>
                        <a:pt x="430" y="96338"/>
                        <a:pt x="430" y="96338"/>
                        <a:pt x="430" y="96338"/>
                      </a:cubicBezTo>
                      <a:cubicBezTo>
                        <a:pt x="430" y="96338"/>
                        <a:pt x="430" y="95492"/>
                        <a:pt x="430" y="95492"/>
                      </a:cubicBezTo>
                      <a:cubicBezTo>
                        <a:pt x="430" y="95492"/>
                        <a:pt x="430" y="95492"/>
                        <a:pt x="430" y="95492"/>
                      </a:cubicBezTo>
                      <a:cubicBezTo>
                        <a:pt x="430" y="95492"/>
                        <a:pt x="860" y="95492"/>
                        <a:pt x="860" y="94647"/>
                      </a:cubicBezTo>
                      <a:cubicBezTo>
                        <a:pt x="860" y="94647"/>
                        <a:pt x="860" y="94647"/>
                        <a:pt x="860" y="94647"/>
                      </a:cubicBezTo>
                      <a:cubicBezTo>
                        <a:pt x="860" y="94647"/>
                        <a:pt x="860" y="94647"/>
                        <a:pt x="860" y="94647"/>
                      </a:cubicBezTo>
                      <a:cubicBezTo>
                        <a:pt x="860" y="94647"/>
                        <a:pt x="860" y="94647"/>
                        <a:pt x="860" y="94647"/>
                      </a:cubicBezTo>
                      <a:cubicBezTo>
                        <a:pt x="430" y="94647"/>
                        <a:pt x="430" y="94647"/>
                        <a:pt x="430" y="94647"/>
                      </a:cubicBezTo>
                      <a:cubicBezTo>
                        <a:pt x="0" y="96338"/>
                        <a:pt x="0" y="96338"/>
                        <a:pt x="0" y="96338"/>
                      </a:cubicBezTo>
                      <a:lnTo>
                        <a:pt x="430" y="96338"/>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89" name="Shape 2041"/>
                <p:cNvSpPr/>
                <p:nvPr/>
              </p:nvSpPr>
              <p:spPr>
                <a:xfrm>
                  <a:off x="3808896" y="2714110"/>
                  <a:ext cx="1185185" cy="1190072"/>
                </a:xfrm>
                <a:custGeom>
                  <a:avLst/>
                  <a:gdLst/>
                  <a:ahLst/>
                  <a:cxnLst/>
                  <a:rect l="0" t="0" r="0" b="0"/>
                  <a:pathLst>
                    <a:path w="120000" h="120000" extrusionOk="0">
                      <a:moveTo>
                        <a:pt x="59769" y="105055"/>
                      </a:moveTo>
                      <a:cubicBezTo>
                        <a:pt x="60230" y="104386"/>
                        <a:pt x="60230" y="104386"/>
                        <a:pt x="60230" y="104386"/>
                      </a:cubicBezTo>
                      <a:cubicBezTo>
                        <a:pt x="60230" y="104386"/>
                        <a:pt x="60230" y="103048"/>
                        <a:pt x="59769" y="102825"/>
                      </a:cubicBezTo>
                      <a:cubicBezTo>
                        <a:pt x="59538" y="102602"/>
                        <a:pt x="59307" y="102379"/>
                        <a:pt x="59307" y="102379"/>
                      </a:cubicBezTo>
                      <a:cubicBezTo>
                        <a:pt x="59307" y="102379"/>
                        <a:pt x="59307" y="101486"/>
                        <a:pt x="59307" y="101040"/>
                      </a:cubicBezTo>
                      <a:cubicBezTo>
                        <a:pt x="59307" y="100817"/>
                        <a:pt x="59307" y="99925"/>
                        <a:pt x="59307" y="99702"/>
                      </a:cubicBezTo>
                      <a:cubicBezTo>
                        <a:pt x="59307" y="99479"/>
                        <a:pt x="59538" y="98587"/>
                        <a:pt x="59538" y="98364"/>
                      </a:cubicBezTo>
                      <a:cubicBezTo>
                        <a:pt x="59538" y="98364"/>
                        <a:pt x="59307" y="98364"/>
                        <a:pt x="59769" y="97918"/>
                      </a:cubicBezTo>
                      <a:cubicBezTo>
                        <a:pt x="60230" y="97249"/>
                        <a:pt x="60230" y="96802"/>
                        <a:pt x="60230" y="96802"/>
                      </a:cubicBezTo>
                      <a:cubicBezTo>
                        <a:pt x="61153" y="95687"/>
                        <a:pt x="61153" y="95687"/>
                        <a:pt x="61153" y="95687"/>
                      </a:cubicBezTo>
                      <a:cubicBezTo>
                        <a:pt x="61153" y="95687"/>
                        <a:pt x="61846" y="94572"/>
                        <a:pt x="62076" y="94572"/>
                      </a:cubicBezTo>
                      <a:cubicBezTo>
                        <a:pt x="62307" y="94795"/>
                        <a:pt x="63230" y="94572"/>
                        <a:pt x="63461" y="94572"/>
                      </a:cubicBezTo>
                      <a:cubicBezTo>
                        <a:pt x="63692" y="94572"/>
                        <a:pt x="64615" y="95464"/>
                        <a:pt x="65076" y="94572"/>
                      </a:cubicBezTo>
                      <a:cubicBezTo>
                        <a:pt x="65538" y="93903"/>
                        <a:pt x="65769" y="93457"/>
                        <a:pt x="65769" y="93234"/>
                      </a:cubicBezTo>
                      <a:cubicBezTo>
                        <a:pt x="66000" y="93011"/>
                        <a:pt x="66230" y="92342"/>
                        <a:pt x="66923" y="92342"/>
                      </a:cubicBezTo>
                      <a:cubicBezTo>
                        <a:pt x="67615" y="92118"/>
                        <a:pt x="69230" y="92118"/>
                        <a:pt x="69230" y="92118"/>
                      </a:cubicBezTo>
                      <a:cubicBezTo>
                        <a:pt x="69923" y="92342"/>
                        <a:pt x="69923" y="92342"/>
                        <a:pt x="69923" y="92342"/>
                      </a:cubicBezTo>
                      <a:cubicBezTo>
                        <a:pt x="71769" y="93011"/>
                        <a:pt x="71769" y="93011"/>
                        <a:pt x="71769" y="93011"/>
                      </a:cubicBezTo>
                      <a:cubicBezTo>
                        <a:pt x="71769" y="93011"/>
                        <a:pt x="72461" y="93011"/>
                        <a:pt x="72923" y="93011"/>
                      </a:cubicBezTo>
                      <a:cubicBezTo>
                        <a:pt x="73153" y="93011"/>
                        <a:pt x="73384" y="93011"/>
                        <a:pt x="73384" y="93011"/>
                      </a:cubicBezTo>
                      <a:cubicBezTo>
                        <a:pt x="74076" y="93903"/>
                        <a:pt x="74076" y="93903"/>
                        <a:pt x="74076" y="93903"/>
                      </a:cubicBezTo>
                      <a:cubicBezTo>
                        <a:pt x="74076" y="93903"/>
                        <a:pt x="75000" y="94349"/>
                        <a:pt x="75230" y="94349"/>
                      </a:cubicBezTo>
                      <a:cubicBezTo>
                        <a:pt x="75461" y="94349"/>
                        <a:pt x="77307" y="93903"/>
                        <a:pt x="77307" y="93903"/>
                      </a:cubicBezTo>
                      <a:cubicBezTo>
                        <a:pt x="77307" y="93903"/>
                        <a:pt x="78000" y="93680"/>
                        <a:pt x="78230" y="93903"/>
                      </a:cubicBezTo>
                      <a:cubicBezTo>
                        <a:pt x="78461" y="94126"/>
                        <a:pt x="79153" y="94349"/>
                        <a:pt x="79384" y="94572"/>
                      </a:cubicBezTo>
                      <a:cubicBezTo>
                        <a:pt x="79384" y="94795"/>
                        <a:pt x="81230" y="95687"/>
                        <a:pt x="81692" y="95910"/>
                      </a:cubicBezTo>
                      <a:cubicBezTo>
                        <a:pt x="81923" y="96133"/>
                        <a:pt x="82846" y="95910"/>
                        <a:pt x="82846" y="95910"/>
                      </a:cubicBezTo>
                      <a:cubicBezTo>
                        <a:pt x="83307" y="97026"/>
                        <a:pt x="83307" y="97026"/>
                        <a:pt x="83307" y="97026"/>
                      </a:cubicBezTo>
                      <a:cubicBezTo>
                        <a:pt x="85615" y="97695"/>
                        <a:pt x="85615" y="97695"/>
                        <a:pt x="85615" y="97695"/>
                      </a:cubicBezTo>
                      <a:cubicBezTo>
                        <a:pt x="86538" y="97695"/>
                        <a:pt x="86538" y="97695"/>
                        <a:pt x="86538" y="97695"/>
                      </a:cubicBezTo>
                      <a:cubicBezTo>
                        <a:pt x="89769" y="98810"/>
                        <a:pt x="89769" y="98810"/>
                        <a:pt x="89769" y="98810"/>
                      </a:cubicBezTo>
                      <a:cubicBezTo>
                        <a:pt x="91846" y="97249"/>
                        <a:pt x="91846" y="97249"/>
                        <a:pt x="91846" y="97249"/>
                      </a:cubicBezTo>
                      <a:cubicBezTo>
                        <a:pt x="91846" y="97249"/>
                        <a:pt x="92307" y="97472"/>
                        <a:pt x="92538" y="97472"/>
                      </a:cubicBezTo>
                      <a:cubicBezTo>
                        <a:pt x="92769" y="97472"/>
                        <a:pt x="93230" y="95687"/>
                        <a:pt x="93230" y="95687"/>
                      </a:cubicBezTo>
                      <a:cubicBezTo>
                        <a:pt x="93230" y="95687"/>
                        <a:pt x="93230" y="95241"/>
                        <a:pt x="93461" y="95241"/>
                      </a:cubicBezTo>
                      <a:cubicBezTo>
                        <a:pt x="93923" y="95241"/>
                        <a:pt x="95538" y="94572"/>
                        <a:pt x="95538" y="94572"/>
                      </a:cubicBezTo>
                      <a:cubicBezTo>
                        <a:pt x="95538" y="94349"/>
                        <a:pt x="95307" y="93457"/>
                        <a:pt x="96000" y="93234"/>
                      </a:cubicBezTo>
                      <a:cubicBezTo>
                        <a:pt x="96461" y="93011"/>
                        <a:pt x="97384" y="92342"/>
                        <a:pt x="97384" y="92342"/>
                      </a:cubicBezTo>
                      <a:cubicBezTo>
                        <a:pt x="97615" y="92118"/>
                        <a:pt x="97153" y="91672"/>
                        <a:pt x="97846" y="91449"/>
                      </a:cubicBezTo>
                      <a:cubicBezTo>
                        <a:pt x="98307" y="91449"/>
                        <a:pt x="99000" y="91226"/>
                        <a:pt x="99461" y="91226"/>
                      </a:cubicBezTo>
                      <a:cubicBezTo>
                        <a:pt x="99461" y="91226"/>
                        <a:pt x="99461" y="91226"/>
                        <a:pt x="99461" y="91226"/>
                      </a:cubicBezTo>
                      <a:cubicBezTo>
                        <a:pt x="99461" y="91003"/>
                        <a:pt x="99461" y="91003"/>
                        <a:pt x="99461" y="91003"/>
                      </a:cubicBezTo>
                      <a:cubicBezTo>
                        <a:pt x="99461" y="91003"/>
                        <a:pt x="99461" y="91003"/>
                        <a:pt x="99461"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923" y="90780"/>
                        <a:pt x="99923" y="90780"/>
                        <a:pt x="99923" y="90780"/>
                      </a:cubicBezTo>
                      <a:cubicBezTo>
                        <a:pt x="99923" y="90780"/>
                        <a:pt x="99923" y="90780"/>
                        <a:pt x="99923" y="90780"/>
                      </a:cubicBezTo>
                      <a:cubicBezTo>
                        <a:pt x="99923" y="90780"/>
                        <a:pt x="99923" y="90780"/>
                        <a:pt x="9992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384" y="90780"/>
                        <a:pt x="100384" y="90780"/>
                        <a:pt x="100384" y="90780"/>
                      </a:cubicBezTo>
                      <a:cubicBezTo>
                        <a:pt x="100384" y="90780"/>
                        <a:pt x="100384" y="90780"/>
                        <a:pt x="100384" y="90780"/>
                      </a:cubicBezTo>
                      <a:cubicBezTo>
                        <a:pt x="100384" y="90780"/>
                        <a:pt x="100384" y="90780"/>
                        <a:pt x="100384" y="90780"/>
                      </a:cubicBezTo>
                      <a:cubicBezTo>
                        <a:pt x="100384" y="90780"/>
                        <a:pt x="100384" y="90780"/>
                        <a:pt x="100384" y="90780"/>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846" y="90334"/>
                        <a:pt x="101076" y="90334"/>
                        <a:pt x="101076" y="90334"/>
                      </a:cubicBezTo>
                      <a:cubicBezTo>
                        <a:pt x="102461" y="89219"/>
                        <a:pt x="102461" y="89219"/>
                        <a:pt x="102461" y="89219"/>
                      </a:cubicBezTo>
                      <a:cubicBezTo>
                        <a:pt x="103153" y="86765"/>
                        <a:pt x="103153" y="86765"/>
                        <a:pt x="103153" y="86765"/>
                      </a:cubicBezTo>
                      <a:cubicBezTo>
                        <a:pt x="102230" y="86096"/>
                        <a:pt x="102230" y="86096"/>
                        <a:pt x="102230" y="86096"/>
                      </a:cubicBezTo>
                      <a:cubicBezTo>
                        <a:pt x="100153" y="86096"/>
                        <a:pt x="100153" y="86096"/>
                        <a:pt x="100153" y="86096"/>
                      </a:cubicBezTo>
                      <a:cubicBezTo>
                        <a:pt x="97846" y="85204"/>
                        <a:pt x="97846" y="85204"/>
                        <a:pt x="97846" y="85204"/>
                      </a:cubicBezTo>
                      <a:cubicBezTo>
                        <a:pt x="96692" y="83420"/>
                        <a:pt x="96692" y="83420"/>
                        <a:pt x="96692" y="83420"/>
                      </a:cubicBezTo>
                      <a:cubicBezTo>
                        <a:pt x="96000" y="83420"/>
                        <a:pt x="96000" y="83420"/>
                        <a:pt x="96000" y="83420"/>
                      </a:cubicBezTo>
                      <a:cubicBezTo>
                        <a:pt x="95769" y="81858"/>
                        <a:pt x="95307" y="82527"/>
                        <a:pt x="96230" y="81412"/>
                      </a:cubicBezTo>
                      <a:cubicBezTo>
                        <a:pt x="97153" y="80074"/>
                        <a:pt x="97153" y="80074"/>
                        <a:pt x="97153" y="80074"/>
                      </a:cubicBezTo>
                      <a:cubicBezTo>
                        <a:pt x="96923" y="77843"/>
                        <a:pt x="96923" y="77843"/>
                        <a:pt x="96923" y="77843"/>
                      </a:cubicBezTo>
                      <a:cubicBezTo>
                        <a:pt x="96230" y="77174"/>
                        <a:pt x="96230" y="77174"/>
                        <a:pt x="96230" y="77174"/>
                      </a:cubicBezTo>
                      <a:cubicBezTo>
                        <a:pt x="95076" y="76505"/>
                        <a:pt x="95076" y="76505"/>
                        <a:pt x="95076" y="76505"/>
                      </a:cubicBezTo>
                      <a:cubicBezTo>
                        <a:pt x="95076" y="76505"/>
                        <a:pt x="94384" y="75613"/>
                        <a:pt x="94153" y="75390"/>
                      </a:cubicBezTo>
                      <a:cubicBezTo>
                        <a:pt x="94153" y="75390"/>
                        <a:pt x="94153" y="74944"/>
                        <a:pt x="94153" y="74944"/>
                      </a:cubicBezTo>
                      <a:cubicBezTo>
                        <a:pt x="93923" y="74721"/>
                        <a:pt x="94846" y="74721"/>
                        <a:pt x="94846" y="74721"/>
                      </a:cubicBezTo>
                      <a:cubicBezTo>
                        <a:pt x="95076" y="74721"/>
                        <a:pt x="95769" y="74498"/>
                        <a:pt x="96000" y="74498"/>
                      </a:cubicBezTo>
                      <a:cubicBezTo>
                        <a:pt x="96230" y="74498"/>
                        <a:pt x="97153" y="73605"/>
                        <a:pt x="97153" y="73605"/>
                      </a:cubicBezTo>
                      <a:cubicBezTo>
                        <a:pt x="97153" y="73605"/>
                        <a:pt x="97615" y="72713"/>
                        <a:pt x="98076" y="72490"/>
                      </a:cubicBezTo>
                      <a:cubicBezTo>
                        <a:pt x="98307" y="72267"/>
                        <a:pt x="98769" y="70483"/>
                        <a:pt x="98769" y="70260"/>
                      </a:cubicBezTo>
                      <a:cubicBezTo>
                        <a:pt x="98769" y="70260"/>
                        <a:pt x="98307" y="69144"/>
                        <a:pt x="98076" y="69144"/>
                      </a:cubicBezTo>
                      <a:cubicBezTo>
                        <a:pt x="96000" y="68252"/>
                        <a:pt x="96461" y="67806"/>
                        <a:pt x="95538" y="67360"/>
                      </a:cubicBezTo>
                      <a:cubicBezTo>
                        <a:pt x="95538" y="66245"/>
                        <a:pt x="95538" y="66245"/>
                        <a:pt x="95538" y="66245"/>
                      </a:cubicBezTo>
                      <a:cubicBezTo>
                        <a:pt x="96692" y="65353"/>
                        <a:pt x="96692" y="65353"/>
                        <a:pt x="96692" y="65353"/>
                      </a:cubicBezTo>
                      <a:cubicBezTo>
                        <a:pt x="96923" y="65130"/>
                        <a:pt x="97384" y="64907"/>
                        <a:pt x="97615" y="64907"/>
                      </a:cubicBezTo>
                      <a:cubicBezTo>
                        <a:pt x="97846" y="64460"/>
                        <a:pt x="97846" y="64460"/>
                        <a:pt x="97846" y="64460"/>
                      </a:cubicBezTo>
                      <a:cubicBezTo>
                        <a:pt x="97846" y="64460"/>
                        <a:pt x="97384" y="64014"/>
                        <a:pt x="97384" y="64014"/>
                      </a:cubicBezTo>
                      <a:cubicBezTo>
                        <a:pt x="97384" y="64014"/>
                        <a:pt x="97153" y="63791"/>
                        <a:pt x="96923" y="63791"/>
                      </a:cubicBezTo>
                      <a:cubicBezTo>
                        <a:pt x="96923" y="63791"/>
                        <a:pt x="96692" y="63568"/>
                        <a:pt x="96692" y="63568"/>
                      </a:cubicBezTo>
                      <a:cubicBezTo>
                        <a:pt x="96692" y="63568"/>
                        <a:pt x="96461" y="63345"/>
                        <a:pt x="96230" y="63345"/>
                      </a:cubicBezTo>
                      <a:cubicBezTo>
                        <a:pt x="96000" y="63345"/>
                        <a:pt x="96230" y="62899"/>
                        <a:pt x="96461" y="62899"/>
                      </a:cubicBezTo>
                      <a:cubicBezTo>
                        <a:pt x="96461" y="62676"/>
                        <a:pt x="96461" y="62230"/>
                        <a:pt x="96461" y="62230"/>
                      </a:cubicBezTo>
                      <a:cubicBezTo>
                        <a:pt x="96461" y="62230"/>
                        <a:pt x="95769" y="62230"/>
                        <a:pt x="95538" y="62230"/>
                      </a:cubicBezTo>
                      <a:cubicBezTo>
                        <a:pt x="95538" y="62007"/>
                        <a:pt x="95538" y="62007"/>
                        <a:pt x="95538" y="62007"/>
                      </a:cubicBezTo>
                      <a:cubicBezTo>
                        <a:pt x="95538" y="62007"/>
                        <a:pt x="95769" y="61338"/>
                        <a:pt x="96000" y="61338"/>
                      </a:cubicBezTo>
                      <a:cubicBezTo>
                        <a:pt x="96000" y="61115"/>
                        <a:pt x="96000" y="60892"/>
                        <a:pt x="96000" y="60892"/>
                      </a:cubicBezTo>
                      <a:cubicBezTo>
                        <a:pt x="96000" y="60892"/>
                        <a:pt x="96000" y="60669"/>
                        <a:pt x="96000" y="60223"/>
                      </a:cubicBezTo>
                      <a:cubicBezTo>
                        <a:pt x="96230" y="60000"/>
                        <a:pt x="96000" y="60000"/>
                        <a:pt x="96000" y="60000"/>
                      </a:cubicBezTo>
                      <a:cubicBezTo>
                        <a:pt x="96000" y="60000"/>
                        <a:pt x="95769" y="59776"/>
                        <a:pt x="95538" y="59776"/>
                      </a:cubicBezTo>
                      <a:cubicBezTo>
                        <a:pt x="95538" y="59776"/>
                        <a:pt x="95538" y="59776"/>
                        <a:pt x="95769" y="59553"/>
                      </a:cubicBezTo>
                      <a:cubicBezTo>
                        <a:pt x="96000" y="59107"/>
                        <a:pt x="96000" y="59330"/>
                        <a:pt x="96000" y="59330"/>
                      </a:cubicBezTo>
                      <a:cubicBezTo>
                        <a:pt x="96000" y="58884"/>
                        <a:pt x="96000" y="58884"/>
                        <a:pt x="96000" y="58884"/>
                      </a:cubicBezTo>
                      <a:cubicBezTo>
                        <a:pt x="95538" y="58661"/>
                        <a:pt x="95538" y="58661"/>
                        <a:pt x="95538" y="58661"/>
                      </a:cubicBezTo>
                      <a:cubicBezTo>
                        <a:pt x="94846" y="58215"/>
                        <a:pt x="94846" y="58215"/>
                        <a:pt x="94846" y="58215"/>
                      </a:cubicBezTo>
                      <a:cubicBezTo>
                        <a:pt x="94846" y="58215"/>
                        <a:pt x="93923" y="58215"/>
                        <a:pt x="93923" y="58215"/>
                      </a:cubicBezTo>
                      <a:cubicBezTo>
                        <a:pt x="93923" y="58215"/>
                        <a:pt x="93230" y="58215"/>
                        <a:pt x="93230" y="58215"/>
                      </a:cubicBezTo>
                      <a:cubicBezTo>
                        <a:pt x="92769" y="58438"/>
                        <a:pt x="92769" y="58438"/>
                        <a:pt x="92769" y="58438"/>
                      </a:cubicBezTo>
                      <a:cubicBezTo>
                        <a:pt x="92538" y="58661"/>
                        <a:pt x="92538" y="58661"/>
                        <a:pt x="92538" y="58661"/>
                      </a:cubicBezTo>
                      <a:cubicBezTo>
                        <a:pt x="91846" y="58884"/>
                        <a:pt x="91846" y="58884"/>
                        <a:pt x="91846" y="58884"/>
                      </a:cubicBezTo>
                      <a:cubicBezTo>
                        <a:pt x="91153" y="59107"/>
                        <a:pt x="91153" y="59107"/>
                        <a:pt x="91153" y="59107"/>
                      </a:cubicBezTo>
                      <a:cubicBezTo>
                        <a:pt x="91153" y="59107"/>
                        <a:pt x="90923" y="59553"/>
                        <a:pt x="90692" y="59776"/>
                      </a:cubicBezTo>
                      <a:cubicBezTo>
                        <a:pt x="90692" y="59776"/>
                        <a:pt x="90692" y="60000"/>
                        <a:pt x="90692" y="60000"/>
                      </a:cubicBezTo>
                      <a:cubicBezTo>
                        <a:pt x="91153" y="60223"/>
                        <a:pt x="91153" y="60223"/>
                        <a:pt x="91153" y="60223"/>
                      </a:cubicBezTo>
                      <a:cubicBezTo>
                        <a:pt x="91153" y="60669"/>
                        <a:pt x="91153" y="60669"/>
                        <a:pt x="91153" y="60669"/>
                      </a:cubicBezTo>
                      <a:cubicBezTo>
                        <a:pt x="91384" y="60669"/>
                        <a:pt x="91384" y="60669"/>
                        <a:pt x="91384" y="60669"/>
                      </a:cubicBezTo>
                      <a:cubicBezTo>
                        <a:pt x="91153" y="61115"/>
                        <a:pt x="91153" y="61115"/>
                        <a:pt x="91153" y="61115"/>
                      </a:cubicBezTo>
                      <a:cubicBezTo>
                        <a:pt x="91153" y="61115"/>
                        <a:pt x="90923" y="61115"/>
                        <a:pt x="90692" y="61338"/>
                      </a:cubicBezTo>
                      <a:cubicBezTo>
                        <a:pt x="90461" y="61561"/>
                        <a:pt x="90461" y="61784"/>
                        <a:pt x="90461" y="61784"/>
                      </a:cubicBezTo>
                      <a:cubicBezTo>
                        <a:pt x="89769" y="62007"/>
                        <a:pt x="89769" y="62007"/>
                        <a:pt x="89769" y="62007"/>
                      </a:cubicBezTo>
                      <a:cubicBezTo>
                        <a:pt x="89307" y="61784"/>
                        <a:pt x="89307" y="61784"/>
                        <a:pt x="89307" y="61784"/>
                      </a:cubicBezTo>
                      <a:cubicBezTo>
                        <a:pt x="88846" y="62007"/>
                        <a:pt x="88846" y="62007"/>
                        <a:pt x="88846" y="62007"/>
                      </a:cubicBezTo>
                      <a:cubicBezTo>
                        <a:pt x="88615" y="62007"/>
                        <a:pt x="88615" y="62007"/>
                        <a:pt x="88615" y="62007"/>
                      </a:cubicBezTo>
                      <a:cubicBezTo>
                        <a:pt x="88615" y="61561"/>
                        <a:pt x="88615" y="61561"/>
                        <a:pt x="88615" y="61561"/>
                      </a:cubicBezTo>
                      <a:cubicBezTo>
                        <a:pt x="88384" y="61338"/>
                        <a:pt x="88384" y="61338"/>
                        <a:pt x="88384" y="61338"/>
                      </a:cubicBezTo>
                      <a:cubicBezTo>
                        <a:pt x="88615" y="61115"/>
                        <a:pt x="88615" y="61115"/>
                        <a:pt x="88615" y="61115"/>
                      </a:cubicBezTo>
                      <a:cubicBezTo>
                        <a:pt x="88615" y="61115"/>
                        <a:pt x="88846" y="60892"/>
                        <a:pt x="88846" y="60892"/>
                      </a:cubicBezTo>
                      <a:cubicBezTo>
                        <a:pt x="89076" y="60892"/>
                        <a:pt x="89307" y="60669"/>
                        <a:pt x="89307" y="60669"/>
                      </a:cubicBezTo>
                      <a:cubicBezTo>
                        <a:pt x="89769" y="60669"/>
                        <a:pt x="89769" y="60669"/>
                        <a:pt x="89769" y="60669"/>
                      </a:cubicBezTo>
                      <a:cubicBezTo>
                        <a:pt x="89769" y="60223"/>
                        <a:pt x="89769" y="60223"/>
                        <a:pt x="89769" y="60223"/>
                      </a:cubicBezTo>
                      <a:cubicBezTo>
                        <a:pt x="90000" y="59776"/>
                        <a:pt x="90000" y="59776"/>
                        <a:pt x="90000" y="59776"/>
                      </a:cubicBezTo>
                      <a:cubicBezTo>
                        <a:pt x="90000" y="59107"/>
                        <a:pt x="90000" y="59107"/>
                        <a:pt x="90000" y="59107"/>
                      </a:cubicBezTo>
                      <a:cubicBezTo>
                        <a:pt x="89769" y="58884"/>
                        <a:pt x="89769" y="58884"/>
                        <a:pt x="89769" y="58884"/>
                      </a:cubicBezTo>
                      <a:cubicBezTo>
                        <a:pt x="89538" y="58661"/>
                        <a:pt x="89538" y="58661"/>
                        <a:pt x="89538" y="58661"/>
                      </a:cubicBezTo>
                      <a:cubicBezTo>
                        <a:pt x="89538" y="58438"/>
                        <a:pt x="89538" y="58438"/>
                        <a:pt x="89538" y="58438"/>
                      </a:cubicBezTo>
                      <a:cubicBezTo>
                        <a:pt x="89538" y="57992"/>
                        <a:pt x="89538" y="57992"/>
                        <a:pt x="89538" y="57992"/>
                      </a:cubicBezTo>
                      <a:cubicBezTo>
                        <a:pt x="89769" y="57769"/>
                        <a:pt x="89769" y="57769"/>
                        <a:pt x="89769" y="57769"/>
                      </a:cubicBezTo>
                      <a:cubicBezTo>
                        <a:pt x="89769" y="57769"/>
                        <a:pt x="90000" y="57546"/>
                        <a:pt x="90000" y="57323"/>
                      </a:cubicBezTo>
                      <a:cubicBezTo>
                        <a:pt x="90000" y="57323"/>
                        <a:pt x="90000" y="56877"/>
                        <a:pt x="90000" y="56877"/>
                      </a:cubicBezTo>
                      <a:cubicBezTo>
                        <a:pt x="90000" y="56877"/>
                        <a:pt x="90000" y="56654"/>
                        <a:pt x="90000" y="56654"/>
                      </a:cubicBezTo>
                      <a:cubicBezTo>
                        <a:pt x="90923" y="55762"/>
                        <a:pt x="90923" y="55762"/>
                        <a:pt x="90923" y="55762"/>
                      </a:cubicBezTo>
                      <a:cubicBezTo>
                        <a:pt x="91384" y="55315"/>
                        <a:pt x="91384" y="55315"/>
                        <a:pt x="91384" y="55315"/>
                      </a:cubicBezTo>
                      <a:cubicBezTo>
                        <a:pt x="91384" y="55315"/>
                        <a:pt x="91846" y="55315"/>
                        <a:pt x="91846" y="55092"/>
                      </a:cubicBezTo>
                      <a:cubicBezTo>
                        <a:pt x="91846" y="55092"/>
                        <a:pt x="92307" y="55092"/>
                        <a:pt x="92307" y="55092"/>
                      </a:cubicBezTo>
                      <a:cubicBezTo>
                        <a:pt x="92307" y="55092"/>
                        <a:pt x="92538" y="54869"/>
                        <a:pt x="92538" y="54869"/>
                      </a:cubicBezTo>
                      <a:cubicBezTo>
                        <a:pt x="92769" y="54646"/>
                        <a:pt x="92769" y="54423"/>
                        <a:pt x="92769" y="54423"/>
                      </a:cubicBezTo>
                      <a:cubicBezTo>
                        <a:pt x="92769" y="54423"/>
                        <a:pt x="92769" y="54200"/>
                        <a:pt x="92769" y="54200"/>
                      </a:cubicBezTo>
                      <a:cubicBezTo>
                        <a:pt x="92769" y="54200"/>
                        <a:pt x="92769" y="53977"/>
                        <a:pt x="92769" y="53977"/>
                      </a:cubicBezTo>
                      <a:cubicBezTo>
                        <a:pt x="92769" y="53977"/>
                        <a:pt x="92769" y="53754"/>
                        <a:pt x="92769" y="53754"/>
                      </a:cubicBezTo>
                      <a:cubicBezTo>
                        <a:pt x="92769" y="53531"/>
                        <a:pt x="93000" y="53531"/>
                        <a:pt x="93000" y="53531"/>
                      </a:cubicBezTo>
                      <a:cubicBezTo>
                        <a:pt x="93000" y="53085"/>
                        <a:pt x="93000" y="53085"/>
                        <a:pt x="93000" y="53085"/>
                      </a:cubicBezTo>
                      <a:cubicBezTo>
                        <a:pt x="93000" y="53085"/>
                        <a:pt x="92769" y="52862"/>
                        <a:pt x="92769" y="52639"/>
                      </a:cubicBezTo>
                      <a:cubicBezTo>
                        <a:pt x="92769" y="52639"/>
                        <a:pt x="92769" y="52639"/>
                        <a:pt x="92769" y="52416"/>
                      </a:cubicBezTo>
                      <a:cubicBezTo>
                        <a:pt x="93000" y="52193"/>
                        <a:pt x="93230" y="52193"/>
                        <a:pt x="93230" y="52193"/>
                      </a:cubicBezTo>
                      <a:cubicBezTo>
                        <a:pt x="93692" y="52193"/>
                        <a:pt x="93692" y="52193"/>
                        <a:pt x="93692" y="52193"/>
                      </a:cubicBezTo>
                      <a:cubicBezTo>
                        <a:pt x="93692" y="52193"/>
                        <a:pt x="93923" y="51970"/>
                        <a:pt x="94153" y="51970"/>
                      </a:cubicBezTo>
                      <a:cubicBezTo>
                        <a:pt x="94153" y="51970"/>
                        <a:pt x="94384" y="51747"/>
                        <a:pt x="94384" y="51747"/>
                      </a:cubicBezTo>
                      <a:cubicBezTo>
                        <a:pt x="94615" y="51301"/>
                        <a:pt x="94615" y="51301"/>
                        <a:pt x="94615" y="51301"/>
                      </a:cubicBezTo>
                      <a:cubicBezTo>
                        <a:pt x="94846" y="51301"/>
                        <a:pt x="94846" y="51301"/>
                        <a:pt x="94846" y="51301"/>
                      </a:cubicBezTo>
                      <a:cubicBezTo>
                        <a:pt x="95076" y="51078"/>
                        <a:pt x="95076" y="51078"/>
                        <a:pt x="95076" y="51078"/>
                      </a:cubicBezTo>
                      <a:cubicBezTo>
                        <a:pt x="95076" y="50631"/>
                        <a:pt x="95076" y="50631"/>
                        <a:pt x="95076" y="50631"/>
                      </a:cubicBezTo>
                      <a:cubicBezTo>
                        <a:pt x="95538" y="50408"/>
                        <a:pt x="95538" y="50408"/>
                        <a:pt x="95538" y="50408"/>
                      </a:cubicBezTo>
                      <a:cubicBezTo>
                        <a:pt x="95538" y="50185"/>
                        <a:pt x="95538" y="50185"/>
                        <a:pt x="95538" y="50185"/>
                      </a:cubicBezTo>
                      <a:cubicBezTo>
                        <a:pt x="95769" y="49962"/>
                        <a:pt x="95769" y="49962"/>
                        <a:pt x="95769" y="49962"/>
                      </a:cubicBezTo>
                      <a:cubicBezTo>
                        <a:pt x="96000" y="49962"/>
                        <a:pt x="96000" y="49962"/>
                        <a:pt x="96000" y="49962"/>
                      </a:cubicBezTo>
                      <a:cubicBezTo>
                        <a:pt x="96461" y="49516"/>
                        <a:pt x="96461" y="49516"/>
                        <a:pt x="96461" y="49516"/>
                      </a:cubicBezTo>
                      <a:cubicBezTo>
                        <a:pt x="96923" y="49293"/>
                        <a:pt x="96923" y="49293"/>
                        <a:pt x="96923" y="49293"/>
                      </a:cubicBezTo>
                      <a:cubicBezTo>
                        <a:pt x="96923" y="49293"/>
                        <a:pt x="97153" y="48847"/>
                        <a:pt x="97153" y="48624"/>
                      </a:cubicBezTo>
                      <a:cubicBezTo>
                        <a:pt x="97153" y="48401"/>
                        <a:pt x="97153" y="48401"/>
                        <a:pt x="97384" y="48178"/>
                      </a:cubicBezTo>
                      <a:cubicBezTo>
                        <a:pt x="97384" y="48178"/>
                        <a:pt x="97615" y="48178"/>
                        <a:pt x="97846" y="47955"/>
                      </a:cubicBezTo>
                      <a:cubicBezTo>
                        <a:pt x="97846" y="47955"/>
                        <a:pt x="97846" y="47732"/>
                        <a:pt x="97846" y="47732"/>
                      </a:cubicBezTo>
                      <a:cubicBezTo>
                        <a:pt x="98076" y="47732"/>
                        <a:pt x="98076" y="47732"/>
                        <a:pt x="98076" y="47732"/>
                      </a:cubicBezTo>
                      <a:cubicBezTo>
                        <a:pt x="98076" y="47286"/>
                        <a:pt x="98076" y="47286"/>
                        <a:pt x="98076" y="47286"/>
                      </a:cubicBezTo>
                      <a:cubicBezTo>
                        <a:pt x="98076" y="47063"/>
                        <a:pt x="98076" y="47063"/>
                        <a:pt x="98076" y="47063"/>
                      </a:cubicBezTo>
                      <a:cubicBezTo>
                        <a:pt x="98076" y="47063"/>
                        <a:pt x="97615" y="47286"/>
                        <a:pt x="97615" y="47286"/>
                      </a:cubicBezTo>
                      <a:cubicBezTo>
                        <a:pt x="97615" y="47286"/>
                        <a:pt x="97384" y="47286"/>
                        <a:pt x="97153" y="47286"/>
                      </a:cubicBezTo>
                      <a:cubicBezTo>
                        <a:pt x="97153" y="47286"/>
                        <a:pt x="96923" y="47286"/>
                        <a:pt x="96692" y="47286"/>
                      </a:cubicBezTo>
                      <a:cubicBezTo>
                        <a:pt x="96461" y="47063"/>
                        <a:pt x="96692" y="47063"/>
                        <a:pt x="96692" y="47063"/>
                      </a:cubicBezTo>
                      <a:cubicBezTo>
                        <a:pt x="96692" y="47063"/>
                        <a:pt x="96923" y="47063"/>
                        <a:pt x="96923" y="46840"/>
                      </a:cubicBezTo>
                      <a:cubicBezTo>
                        <a:pt x="96923" y="46840"/>
                        <a:pt x="97153" y="46394"/>
                        <a:pt x="97153" y="46394"/>
                      </a:cubicBezTo>
                      <a:cubicBezTo>
                        <a:pt x="97384" y="46394"/>
                        <a:pt x="97384" y="46394"/>
                        <a:pt x="97384" y="46394"/>
                      </a:cubicBezTo>
                      <a:cubicBezTo>
                        <a:pt x="97615" y="46171"/>
                        <a:pt x="97615" y="46171"/>
                        <a:pt x="97615" y="46171"/>
                      </a:cubicBezTo>
                      <a:cubicBezTo>
                        <a:pt x="97615" y="46171"/>
                        <a:pt x="97846" y="46171"/>
                        <a:pt x="97846" y="46171"/>
                      </a:cubicBezTo>
                      <a:cubicBezTo>
                        <a:pt x="97846" y="46171"/>
                        <a:pt x="97615" y="45947"/>
                        <a:pt x="97615" y="45947"/>
                      </a:cubicBezTo>
                      <a:cubicBezTo>
                        <a:pt x="97615" y="45501"/>
                        <a:pt x="97615" y="45501"/>
                        <a:pt x="97615" y="45501"/>
                      </a:cubicBezTo>
                      <a:cubicBezTo>
                        <a:pt x="98076" y="45724"/>
                        <a:pt x="98076" y="45724"/>
                        <a:pt x="98076" y="45724"/>
                      </a:cubicBezTo>
                      <a:cubicBezTo>
                        <a:pt x="98769" y="45724"/>
                        <a:pt x="98769" y="45724"/>
                        <a:pt x="98769" y="45724"/>
                      </a:cubicBezTo>
                      <a:cubicBezTo>
                        <a:pt x="99000" y="45501"/>
                        <a:pt x="99000" y="45501"/>
                        <a:pt x="99000" y="45501"/>
                      </a:cubicBezTo>
                      <a:cubicBezTo>
                        <a:pt x="99000" y="45501"/>
                        <a:pt x="99230" y="45947"/>
                        <a:pt x="99230" y="45947"/>
                      </a:cubicBezTo>
                      <a:cubicBezTo>
                        <a:pt x="99230" y="46171"/>
                        <a:pt x="99230" y="46394"/>
                        <a:pt x="99461" y="46394"/>
                      </a:cubicBezTo>
                      <a:cubicBezTo>
                        <a:pt x="99461" y="46394"/>
                        <a:pt x="99923" y="46617"/>
                        <a:pt x="99923" y="46617"/>
                      </a:cubicBezTo>
                      <a:cubicBezTo>
                        <a:pt x="99923" y="46617"/>
                        <a:pt x="99923" y="46394"/>
                        <a:pt x="100153" y="46394"/>
                      </a:cubicBezTo>
                      <a:cubicBezTo>
                        <a:pt x="100153" y="46394"/>
                        <a:pt x="100384" y="46394"/>
                        <a:pt x="100384" y="46394"/>
                      </a:cubicBezTo>
                      <a:cubicBezTo>
                        <a:pt x="100615" y="46394"/>
                        <a:pt x="100846" y="46394"/>
                        <a:pt x="100846" y="46394"/>
                      </a:cubicBezTo>
                      <a:cubicBezTo>
                        <a:pt x="100846" y="46394"/>
                        <a:pt x="101076" y="46394"/>
                        <a:pt x="101307" y="46394"/>
                      </a:cubicBezTo>
                      <a:cubicBezTo>
                        <a:pt x="101307" y="46171"/>
                        <a:pt x="101307" y="46171"/>
                        <a:pt x="101307" y="46171"/>
                      </a:cubicBezTo>
                      <a:cubicBezTo>
                        <a:pt x="101307" y="46171"/>
                        <a:pt x="101307" y="45947"/>
                        <a:pt x="101307" y="45947"/>
                      </a:cubicBezTo>
                      <a:cubicBezTo>
                        <a:pt x="101307" y="45947"/>
                        <a:pt x="101538" y="45501"/>
                        <a:pt x="101538" y="45501"/>
                      </a:cubicBezTo>
                      <a:cubicBezTo>
                        <a:pt x="101538" y="45501"/>
                        <a:pt x="101769" y="45501"/>
                        <a:pt x="101769" y="45501"/>
                      </a:cubicBezTo>
                      <a:cubicBezTo>
                        <a:pt x="101769" y="45501"/>
                        <a:pt x="102000" y="45501"/>
                        <a:pt x="102000" y="45501"/>
                      </a:cubicBezTo>
                      <a:cubicBezTo>
                        <a:pt x="102000" y="45501"/>
                        <a:pt x="102000" y="45278"/>
                        <a:pt x="102000" y="45278"/>
                      </a:cubicBezTo>
                      <a:cubicBezTo>
                        <a:pt x="102000" y="45278"/>
                        <a:pt x="102000" y="45055"/>
                        <a:pt x="102000" y="45055"/>
                      </a:cubicBezTo>
                      <a:cubicBezTo>
                        <a:pt x="102000" y="45055"/>
                        <a:pt x="102230" y="45055"/>
                        <a:pt x="102230" y="45055"/>
                      </a:cubicBezTo>
                      <a:cubicBezTo>
                        <a:pt x="102230" y="44609"/>
                        <a:pt x="102230" y="44609"/>
                        <a:pt x="102230" y="44609"/>
                      </a:cubicBezTo>
                      <a:cubicBezTo>
                        <a:pt x="102230" y="44609"/>
                        <a:pt x="102692" y="44609"/>
                        <a:pt x="102692" y="44609"/>
                      </a:cubicBezTo>
                      <a:cubicBezTo>
                        <a:pt x="102923" y="44609"/>
                        <a:pt x="102692" y="44609"/>
                        <a:pt x="102692" y="44609"/>
                      </a:cubicBezTo>
                      <a:cubicBezTo>
                        <a:pt x="103384" y="44386"/>
                        <a:pt x="103384" y="44386"/>
                        <a:pt x="103384" y="44386"/>
                      </a:cubicBezTo>
                      <a:cubicBezTo>
                        <a:pt x="103384" y="44386"/>
                        <a:pt x="103384" y="44386"/>
                        <a:pt x="103384" y="44609"/>
                      </a:cubicBezTo>
                      <a:cubicBezTo>
                        <a:pt x="102923" y="43940"/>
                        <a:pt x="102230" y="43048"/>
                        <a:pt x="102230" y="43048"/>
                      </a:cubicBezTo>
                      <a:cubicBezTo>
                        <a:pt x="102692" y="42156"/>
                        <a:pt x="102692" y="42156"/>
                        <a:pt x="102692" y="42156"/>
                      </a:cubicBezTo>
                      <a:cubicBezTo>
                        <a:pt x="102692" y="42156"/>
                        <a:pt x="102923" y="40594"/>
                        <a:pt x="102923" y="40148"/>
                      </a:cubicBezTo>
                      <a:cubicBezTo>
                        <a:pt x="102923" y="39925"/>
                        <a:pt x="102923" y="38587"/>
                        <a:pt x="102923" y="38587"/>
                      </a:cubicBezTo>
                      <a:cubicBezTo>
                        <a:pt x="102923" y="38587"/>
                        <a:pt x="102000" y="38364"/>
                        <a:pt x="102692" y="37695"/>
                      </a:cubicBezTo>
                      <a:cubicBezTo>
                        <a:pt x="103384" y="36802"/>
                        <a:pt x="104076" y="35687"/>
                        <a:pt x="104076" y="35687"/>
                      </a:cubicBezTo>
                      <a:cubicBezTo>
                        <a:pt x="104076" y="33457"/>
                        <a:pt x="104076" y="33457"/>
                        <a:pt x="104076" y="33457"/>
                      </a:cubicBezTo>
                      <a:cubicBezTo>
                        <a:pt x="104076" y="33457"/>
                        <a:pt x="103384" y="32788"/>
                        <a:pt x="104307" y="32342"/>
                      </a:cubicBezTo>
                      <a:cubicBezTo>
                        <a:pt x="105230" y="31672"/>
                        <a:pt x="106846" y="29665"/>
                        <a:pt x="106846" y="29665"/>
                      </a:cubicBezTo>
                      <a:cubicBezTo>
                        <a:pt x="108461" y="27881"/>
                        <a:pt x="108461" y="27881"/>
                        <a:pt x="108461" y="27881"/>
                      </a:cubicBezTo>
                      <a:cubicBezTo>
                        <a:pt x="105692" y="27211"/>
                        <a:pt x="105692" y="27211"/>
                        <a:pt x="105692" y="27211"/>
                      </a:cubicBezTo>
                      <a:cubicBezTo>
                        <a:pt x="104076" y="26988"/>
                        <a:pt x="104076" y="26988"/>
                        <a:pt x="104076" y="26988"/>
                      </a:cubicBezTo>
                      <a:cubicBezTo>
                        <a:pt x="102923" y="26319"/>
                        <a:pt x="102923" y="26319"/>
                        <a:pt x="102923" y="26319"/>
                      </a:cubicBezTo>
                      <a:cubicBezTo>
                        <a:pt x="102230" y="25204"/>
                        <a:pt x="102230" y="25204"/>
                        <a:pt x="102230" y="25204"/>
                      </a:cubicBezTo>
                      <a:cubicBezTo>
                        <a:pt x="101538" y="25650"/>
                        <a:pt x="101538" y="25650"/>
                        <a:pt x="101538" y="25650"/>
                      </a:cubicBezTo>
                      <a:cubicBezTo>
                        <a:pt x="100846" y="26096"/>
                        <a:pt x="100846" y="26096"/>
                        <a:pt x="100846" y="26096"/>
                      </a:cubicBezTo>
                      <a:cubicBezTo>
                        <a:pt x="99230" y="25873"/>
                        <a:pt x="99230" y="25873"/>
                        <a:pt x="99230" y="25873"/>
                      </a:cubicBezTo>
                      <a:cubicBezTo>
                        <a:pt x="98076" y="24758"/>
                        <a:pt x="98076" y="24758"/>
                        <a:pt x="98076" y="24758"/>
                      </a:cubicBezTo>
                      <a:cubicBezTo>
                        <a:pt x="97153" y="25427"/>
                        <a:pt x="97153" y="25427"/>
                        <a:pt x="97153" y="25427"/>
                      </a:cubicBezTo>
                      <a:cubicBezTo>
                        <a:pt x="96230" y="24758"/>
                        <a:pt x="96230" y="24758"/>
                        <a:pt x="96230" y="24758"/>
                      </a:cubicBezTo>
                      <a:cubicBezTo>
                        <a:pt x="95538" y="23643"/>
                        <a:pt x="95538" y="23643"/>
                        <a:pt x="95538" y="23643"/>
                      </a:cubicBezTo>
                      <a:cubicBezTo>
                        <a:pt x="95307" y="22750"/>
                        <a:pt x="95307" y="22750"/>
                        <a:pt x="95307" y="22750"/>
                      </a:cubicBezTo>
                      <a:cubicBezTo>
                        <a:pt x="94153" y="21635"/>
                        <a:pt x="94153" y="21635"/>
                        <a:pt x="94153" y="21635"/>
                      </a:cubicBezTo>
                      <a:cubicBezTo>
                        <a:pt x="93692" y="21635"/>
                        <a:pt x="93692" y="21635"/>
                        <a:pt x="93692" y="21635"/>
                      </a:cubicBezTo>
                      <a:cubicBezTo>
                        <a:pt x="93692" y="21858"/>
                        <a:pt x="93461" y="21858"/>
                        <a:pt x="93461" y="21858"/>
                      </a:cubicBezTo>
                      <a:cubicBezTo>
                        <a:pt x="93461" y="21858"/>
                        <a:pt x="92769" y="21635"/>
                        <a:pt x="92769" y="21635"/>
                      </a:cubicBezTo>
                      <a:cubicBezTo>
                        <a:pt x="92769" y="21189"/>
                        <a:pt x="92769" y="21189"/>
                        <a:pt x="92769" y="21189"/>
                      </a:cubicBezTo>
                      <a:cubicBezTo>
                        <a:pt x="92538" y="20966"/>
                        <a:pt x="92538" y="20966"/>
                        <a:pt x="92538" y="20966"/>
                      </a:cubicBezTo>
                      <a:cubicBezTo>
                        <a:pt x="92076" y="20966"/>
                        <a:pt x="92076" y="20966"/>
                        <a:pt x="92076" y="20966"/>
                      </a:cubicBezTo>
                      <a:cubicBezTo>
                        <a:pt x="91615" y="21189"/>
                        <a:pt x="91615" y="21189"/>
                        <a:pt x="91615" y="21189"/>
                      </a:cubicBezTo>
                      <a:cubicBezTo>
                        <a:pt x="91384" y="21412"/>
                        <a:pt x="91384" y="21412"/>
                        <a:pt x="91384" y="21412"/>
                      </a:cubicBezTo>
                      <a:cubicBezTo>
                        <a:pt x="91384" y="21412"/>
                        <a:pt x="91384" y="21412"/>
                        <a:pt x="91384" y="21412"/>
                      </a:cubicBezTo>
                      <a:cubicBezTo>
                        <a:pt x="91153" y="21635"/>
                        <a:pt x="91153" y="21635"/>
                        <a:pt x="91153" y="21635"/>
                      </a:cubicBezTo>
                      <a:cubicBezTo>
                        <a:pt x="90923" y="21635"/>
                        <a:pt x="90923" y="21635"/>
                        <a:pt x="90923" y="21635"/>
                      </a:cubicBezTo>
                      <a:cubicBezTo>
                        <a:pt x="90923" y="21635"/>
                        <a:pt x="90923" y="21635"/>
                        <a:pt x="90923" y="21635"/>
                      </a:cubicBezTo>
                      <a:cubicBezTo>
                        <a:pt x="90923" y="21635"/>
                        <a:pt x="90692" y="21635"/>
                        <a:pt x="90692" y="21635"/>
                      </a:cubicBezTo>
                      <a:cubicBezTo>
                        <a:pt x="90230" y="21635"/>
                        <a:pt x="90230" y="21635"/>
                        <a:pt x="90230" y="21635"/>
                      </a:cubicBezTo>
                      <a:cubicBezTo>
                        <a:pt x="90230" y="21412"/>
                        <a:pt x="90230" y="21412"/>
                        <a:pt x="90230" y="21412"/>
                      </a:cubicBezTo>
                      <a:cubicBezTo>
                        <a:pt x="90230" y="21189"/>
                        <a:pt x="90230" y="21189"/>
                        <a:pt x="90230" y="21189"/>
                      </a:cubicBezTo>
                      <a:cubicBezTo>
                        <a:pt x="89769" y="20966"/>
                        <a:pt x="89769" y="20966"/>
                        <a:pt x="89769" y="20966"/>
                      </a:cubicBezTo>
                      <a:cubicBezTo>
                        <a:pt x="89538" y="20966"/>
                        <a:pt x="89538" y="20966"/>
                        <a:pt x="89538" y="20966"/>
                      </a:cubicBezTo>
                      <a:cubicBezTo>
                        <a:pt x="89538" y="20966"/>
                        <a:pt x="89307" y="20743"/>
                        <a:pt x="89307" y="20743"/>
                      </a:cubicBezTo>
                      <a:cubicBezTo>
                        <a:pt x="89076" y="20743"/>
                        <a:pt x="89076" y="20520"/>
                        <a:pt x="89076" y="20520"/>
                      </a:cubicBezTo>
                      <a:cubicBezTo>
                        <a:pt x="88846" y="20297"/>
                        <a:pt x="88846" y="20297"/>
                        <a:pt x="88846" y="20297"/>
                      </a:cubicBezTo>
                      <a:cubicBezTo>
                        <a:pt x="89307" y="20297"/>
                        <a:pt x="89307" y="20297"/>
                        <a:pt x="89307" y="20297"/>
                      </a:cubicBezTo>
                      <a:cubicBezTo>
                        <a:pt x="89307" y="20297"/>
                        <a:pt x="89307" y="20074"/>
                        <a:pt x="89307" y="20074"/>
                      </a:cubicBezTo>
                      <a:cubicBezTo>
                        <a:pt x="89307" y="20074"/>
                        <a:pt x="89307" y="20074"/>
                        <a:pt x="89307" y="20074"/>
                      </a:cubicBezTo>
                      <a:cubicBezTo>
                        <a:pt x="89307" y="20074"/>
                        <a:pt x="89076" y="20074"/>
                        <a:pt x="89076" y="20074"/>
                      </a:cubicBezTo>
                      <a:cubicBezTo>
                        <a:pt x="88615" y="20074"/>
                        <a:pt x="88615" y="20074"/>
                        <a:pt x="88615" y="20074"/>
                      </a:cubicBezTo>
                      <a:cubicBezTo>
                        <a:pt x="88384" y="20297"/>
                        <a:pt x="88384" y="20297"/>
                        <a:pt x="88384" y="20297"/>
                      </a:cubicBezTo>
                      <a:cubicBezTo>
                        <a:pt x="87923" y="20297"/>
                        <a:pt x="87923" y="20297"/>
                        <a:pt x="87923" y="20297"/>
                      </a:cubicBezTo>
                      <a:cubicBezTo>
                        <a:pt x="87461" y="20520"/>
                        <a:pt x="87461" y="20520"/>
                        <a:pt x="87461" y="20520"/>
                      </a:cubicBezTo>
                      <a:cubicBezTo>
                        <a:pt x="86769" y="20520"/>
                        <a:pt x="86769" y="20520"/>
                        <a:pt x="86769" y="20520"/>
                      </a:cubicBezTo>
                      <a:cubicBezTo>
                        <a:pt x="86538" y="20074"/>
                        <a:pt x="86538" y="20074"/>
                        <a:pt x="86538" y="20074"/>
                      </a:cubicBezTo>
                      <a:cubicBezTo>
                        <a:pt x="86307" y="19628"/>
                        <a:pt x="86307" y="19628"/>
                        <a:pt x="86307" y="19628"/>
                      </a:cubicBezTo>
                      <a:cubicBezTo>
                        <a:pt x="86076" y="19405"/>
                        <a:pt x="86076" y="19405"/>
                        <a:pt x="86076" y="19405"/>
                      </a:cubicBezTo>
                      <a:cubicBezTo>
                        <a:pt x="85846" y="19405"/>
                        <a:pt x="85846" y="19405"/>
                        <a:pt x="85846" y="19405"/>
                      </a:cubicBezTo>
                      <a:cubicBezTo>
                        <a:pt x="85153" y="19182"/>
                        <a:pt x="85153" y="19182"/>
                        <a:pt x="85153" y="19182"/>
                      </a:cubicBezTo>
                      <a:cubicBezTo>
                        <a:pt x="85384" y="18736"/>
                        <a:pt x="85384" y="18736"/>
                        <a:pt x="85384" y="18736"/>
                      </a:cubicBezTo>
                      <a:cubicBezTo>
                        <a:pt x="85384" y="18736"/>
                        <a:pt x="85153" y="18289"/>
                        <a:pt x="85153" y="18289"/>
                      </a:cubicBezTo>
                      <a:cubicBezTo>
                        <a:pt x="84923" y="18289"/>
                        <a:pt x="84692" y="18289"/>
                        <a:pt x="84692" y="18289"/>
                      </a:cubicBezTo>
                      <a:cubicBezTo>
                        <a:pt x="84230" y="17843"/>
                        <a:pt x="84230" y="17843"/>
                        <a:pt x="84230" y="17843"/>
                      </a:cubicBezTo>
                      <a:cubicBezTo>
                        <a:pt x="84230" y="17843"/>
                        <a:pt x="84230" y="17620"/>
                        <a:pt x="84000" y="17397"/>
                      </a:cubicBezTo>
                      <a:cubicBezTo>
                        <a:pt x="83769" y="17397"/>
                        <a:pt x="83769" y="17174"/>
                        <a:pt x="83538" y="17174"/>
                      </a:cubicBezTo>
                      <a:cubicBezTo>
                        <a:pt x="83307" y="17174"/>
                        <a:pt x="82846" y="17174"/>
                        <a:pt x="82846" y="17174"/>
                      </a:cubicBezTo>
                      <a:cubicBezTo>
                        <a:pt x="82846" y="17174"/>
                        <a:pt x="82615" y="16728"/>
                        <a:pt x="82384" y="16728"/>
                      </a:cubicBezTo>
                      <a:cubicBezTo>
                        <a:pt x="82384" y="16728"/>
                        <a:pt x="81461" y="16728"/>
                        <a:pt x="81461" y="16728"/>
                      </a:cubicBezTo>
                      <a:cubicBezTo>
                        <a:pt x="81461" y="16728"/>
                        <a:pt x="81692" y="16059"/>
                        <a:pt x="81692" y="16059"/>
                      </a:cubicBezTo>
                      <a:cubicBezTo>
                        <a:pt x="81692" y="15836"/>
                        <a:pt x="81692" y="15167"/>
                        <a:pt x="81692" y="15167"/>
                      </a:cubicBezTo>
                      <a:cubicBezTo>
                        <a:pt x="81692" y="14944"/>
                        <a:pt x="81692" y="14944"/>
                        <a:pt x="81692" y="14944"/>
                      </a:cubicBezTo>
                      <a:cubicBezTo>
                        <a:pt x="81692" y="14944"/>
                        <a:pt x="81461" y="14721"/>
                        <a:pt x="81692" y="14275"/>
                      </a:cubicBezTo>
                      <a:cubicBezTo>
                        <a:pt x="81923" y="13828"/>
                        <a:pt x="81692" y="14052"/>
                        <a:pt x="81923" y="13605"/>
                      </a:cubicBezTo>
                      <a:cubicBezTo>
                        <a:pt x="82153" y="12936"/>
                        <a:pt x="82153" y="12713"/>
                        <a:pt x="82153" y="12713"/>
                      </a:cubicBezTo>
                      <a:cubicBezTo>
                        <a:pt x="81692" y="12490"/>
                        <a:pt x="81692" y="12490"/>
                        <a:pt x="81692" y="12490"/>
                      </a:cubicBezTo>
                      <a:cubicBezTo>
                        <a:pt x="81692" y="12490"/>
                        <a:pt x="81461" y="12267"/>
                        <a:pt x="81230" y="12490"/>
                      </a:cubicBezTo>
                      <a:cubicBezTo>
                        <a:pt x="81230" y="12936"/>
                        <a:pt x="81000" y="12936"/>
                        <a:pt x="81000" y="12936"/>
                      </a:cubicBezTo>
                      <a:cubicBezTo>
                        <a:pt x="80538" y="13605"/>
                        <a:pt x="80538" y="13605"/>
                        <a:pt x="80538" y="13605"/>
                      </a:cubicBezTo>
                      <a:cubicBezTo>
                        <a:pt x="80538" y="14275"/>
                        <a:pt x="80538" y="14275"/>
                        <a:pt x="80538" y="14275"/>
                      </a:cubicBezTo>
                      <a:cubicBezTo>
                        <a:pt x="80538" y="14275"/>
                        <a:pt x="80769" y="14498"/>
                        <a:pt x="80076" y="14498"/>
                      </a:cubicBezTo>
                      <a:cubicBezTo>
                        <a:pt x="79615" y="14498"/>
                        <a:pt x="79153" y="14498"/>
                        <a:pt x="79153" y="14498"/>
                      </a:cubicBezTo>
                      <a:cubicBezTo>
                        <a:pt x="79153" y="14498"/>
                        <a:pt x="79615" y="14944"/>
                        <a:pt x="78923" y="14944"/>
                      </a:cubicBezTo>
                      <a:cubicBezTo>
                        <a:pt x="78461" y="14944"/>
                        <a:pt x="77769" y="14944"/>
                        <a:pt x="77769" y="14944"/>
                      </a:cubicBezTo>
                      <a:cubicBezTo>
                        <a:pt x="77307" y="14498"/>
                        <a:pt x="77307" y="14498"/>
                        <a:pt x="77307" y="14498"/>
                      </a:cubicBezTo>
                      <a:cubicBezTo>
                        <a:pt x="76384" y="14721"/>
                        <a:pt x="76384" y="14721"/>
                        <a:pt x="76384" y="14721"/>
                      </a:cubicBezTo>
                      <a:cubicBezTo>
                        <a:pt x="76384" y="14721"/>
                        <a:pt x="76384" y="14498"/>
                        <a:pt x="76384" y="14052"/>
                      </a:cubicBezTo>
                      <a:cubicBezTo>
                        <a:pt x="76384" y="13828"/>
                        <a:pt x="76153" y="13382"/>
                        <a:pt x="76384" y="13382"/>
                      </a:cubicBezTo>
                      <a:cubicBezTo>
                        <a:pt x="76615" y="13382"/>
                        <a:pt x="76846" y="13159"/>
                        <a:pt x="76846" y="13159"/>
                      </a:cubicBezTo>
                      <a:cubicBezTo>
                        <a:pt x="76615" y="12490"/>
                        <a:pt x="76615" y="12490"/>
                        <a:pt x="76615" y="12490"/>
                      </a:cubicBezTo>
                      <a:cubicBezTo>
                        <a:pt x="76615" y="12490"/>
                        <a:pt x="76615" y="12490"/>
                        <a:pt x="76615" y="12490"/>
                      </a:cubicBezTo>
                      <a:cubicBezTo>
                        <a:pt x="76615" y="12490"/>
                        <a:pt x="76384" y="12490"/>
                        <a:pt x="76384" y="12267"/>
                      </a:cubicBezTo>
                      <a:cubicBezTo>
                        <a:pt x="76384" y="12044"/>
                        <a:pt x="76615" y="11598"/>
                        <a:pt x="76615" y="11598"/>
                      </a:cubicBezTo>
                      <a:cubicBezTo>
                        <a:pt x="76846" y="11375"/>
                        <a:pt x="76846" y="10929"/>
                        <a:pt x="76846" y="10929"/>
                      </a:cubicBezTo>
                      <a:cubicBezTo>
                        <a:pt x="76615" y="10929"/>
                        <a:pt x="76615" y="10929"/>
                        <a:pt x="76615" y="10929"/>
                      </a:cubicBezTo>
                      <a:cubicBezTo>
                        <a:pt x="76615" y="10929"/>
                        <a:pt x="76153" y="11152"/>
                        <a:pt x="76153" y="10706"/>
                      </a:cubicBezTo>
                      <a:cubicBezTo>
                        <a:pt x="76153" y="10483"/>
                        <a:pt x="75923" y="10037"/>
                        <a:pt x="75923" y="10037"/>
                      </a:cubicBezTo>
                      <a:cubicBezTo>
                        <a:pt x="75923" y="10037"/>
                        <a:pt x="75461" y="9814"/>
                        <a:pt x="75461" y="9814"/>
                      </a:cubicBezTo>
                      <a:cubicBezTo>
                        <a:pt x="75230" y="9814"/>
                        <a:pt x="75230" y="9814"/>
                        <a:pt x="75000" y="10037"/>
                      </a:cubicBezTo>
                      <a:cubicBezTo>
                        <a:pt x="75000" y="10037"/>
                        <a:pt x="74307" y="9814"/>
                        <a:pt x="74307" y="9814"/>
                      </a:cubicBezTo>
                      <a:cubicBezTo>
                        <a:pt x="74307" y="9814"/>
                        <a:pt x="73615" y="9814"/>
                        <a:pt x="73615" y="9814"/>
                      </a:cubicBezTo>
                      <a:cubicBezTo>
                        <a:pt x="73384" y="9814"/>
                        <a:pt x="73153" y="10260"/>
                        <a:pt x="73153" y="10260"/>
                      </a:cubicBezTo>
                      <a:cubicBezTo>
                        <a:pt x="72692" y="9591"/>
                        <a:pt x="72692" y="9591"/>
                        <a:pt x="72692" y="9591"/>
                      </a:cubicBezTo>
                      <a:cubicBezTo>
                        <a:pt x="72923" y="8921"/>
                        <a:pt x="72923" y="8921"/>
                        <a:pt x="72923" y="8921"/>
                      </a:cubicBezTo>
                      <a:cubicBezTo>
                        <a:pt x="72923" y="8921"/>
                        <a:pt x="72461" y="8475"/>
                        <a:pt x="72461" y="8252"/>
                      </a:cubicBezTo>
                      <a:cubicBezTo>
                        <a:pt x="72461" y="8252"/>
                        <a:pt x="72230" y="7806"/>
                        <a:pt x="72230" y="7806"/>
                      </a:cubicBezTo>
                      <a:cubicBezTo>
                        <a:pt x="71769" y="7806"/>
                        <a:pt x="71769" y="7806"/>
                        <a:pt x="71769" y="7806"/>
                      </a:cubicBezTo>
                      <a:cubicBezTo>
                        <a:pt x="71538" y="7583"/>
                        <a:pt x="71538" y="7583"/>
                        <a:pt x="71538" y="7583"/>
                      </a:cubicBezTo>
                      <a:cubicBezTo>
                        <a:pt x="71538" y="7583"/>
                        <a:pt x="71076" y="7583"/>
                        <a:pt x="70846" y="7583"/>
                      </a:cubicBezTo>
                      <a:cubicBezTo>
                        <a:pt x="70615" y="7583"/>
                        <a:pt x="70615" y="7583"/>
                        <a:pt x="70384" y="7583"/>
                      </a:cubicBezTo>
                      <a:cubicBezTo>
                        <a:pt x="70384" y="7583"/>
                        <a:pt x="69923" y="7137"/>
                        <a:pt x="69923" y="7137"/>
                      </a:cubicBezTo>
                      <a:cubicBezTo>
                        <a:pt x="69923" y="6914"/>
                        <a:pt x="69923" y="6691"/>
                        <a:pt x="69923" y="6468"/>
                      </a:cubicBezTo>
                      <a:cubicBezTo>
                        <a:pt x="69692" y="6245"/>
                        <a:pt x="69461" y="5799"/>
                        <a:pt x="69461" y="5576"/>
                      </a:cubicBezTo>
                      <a:cubicBezTo>
                        <a:pt x="69461" y="5576"/>
                        <a:pt x="69692" y="5130"/>
                        <a:pt x="69692" y="5130"/>
                      </a:cubicBezTo>
                      <a:cubicBezTo>
                        <a:pt x="69461" y="4907"/>
                        <a:pt x="69000" y="4460"/>
                        <a:pt x="69000" y="4460"/>
                      </a:cubicBezTo>
                      <a:cubicBezTo>
                        <a:pt x="68769" y="4014"/>
                        <a:pt x="68769" y="4014"/>
                        <a:pt x="68769" y="4014"/>
                      </a:cubicBezTo>
                      <a:cubicBezTo>
                        <a:pt x="68769" y="4014"/>
                        <a:pt x="68076" y="4460"/>
                        <a:pt x="67846" y="4460"/>
                      </a:cubicBezTo>
                      <a:cubicBezTo>
                        <a:pt x="67615" y="4460"/>
                        <a:pt x="67153" y="4237"/>
                        <a:pt x="67153" y="4460"/>
                      </a:cubicBezTo>
                      <a:cubicBezTo>
                        <a:pt x="67153" y="4460"/>
                        <a:pt x="67384" y="4907"/>
                        <a:pt x="67153" y="4907"/>
                      </a:cubicBezTo>
                      <a:cubicBezTo>
                        <a:pt x="66923" y="4907"/>
                        <a:pt x="66461" y="4907"/>
                        <a:pt x="66230" y="4684"/>
                      </a:cubicBezTo>
                      <a:cubicBezTo>
                        <a:pt x="66000" y="4460"/>
                        <a:pt x="66000" y="4237"/>
                        <a:pt x="66000" y="4014"/>
                      </a:cubicBezTo>
                      <a:cubicBezTo>
                        <a:pt x="65769" y="4014"/>
                        <a:pt x="65769" y="3568"/>
                        <a:pt x="65538" y="3568"/>
                      </a:cubicBezTo>
                      <a:cubicBezTo>
                        <a:pt x="65307" y="3568"/>
                        <a:pt x="65076" y="3568"/>
                        <a:pt x="65076" y="3345"/>
                      </a:cubicBezTo>
                      <a:cubicBezTo>
                        <a:pt x="65076" y="3345"/>
                        <a:pt x="65076" y="2676"/>
                        <a:pt x="65076" y="2676"/>
                      </a:cubicBezTo>
                      <a:cubicBezTo>
                        <a:pt x="65076" y="2230"/>
                        <a:pt x="65076" y="2230"/>
                        <a:pt x="65076" y="2230"/>
                      </a:cubicBezTo>
                      <a:cubicBezTo>
                        <a:pt x="65076" y="2230"/>
                        <a:pt x="65076" y="1561"/>
                        <a:pt x="64846" y="1561"/>
                      </a:cubicBezTo>
                      <a:cubicBezTo>
                        <a:pt x="64846" y="1338"/>
                        <a:pt x="64615" y="1115"/>
                        <a:pt x="64615" y="1115"/>
                      </a:cubicBezTo>
                      <a:cubicBezTo>
                        <a:pt x="64615" y="446"/>
                        <a:pt x="64615" y="446"/>
                        <a:pt x="64615" y="446"/>
                      </a:cubicBezTo>
                      <a:cubicBezTo>
                        <a:pt x="64846" y="223"/>
                        <a:pt x="64846" y="223"/>
                        <a:pt x="64846" y="223"/>
                      </a:cubicBezTo>
                      <a:cubicBezTo>
                        <a:pt x="64846" y="223"/>
                        <a:pt x="64846" y="0"/>
                        <a:pt x="65076" y="0"/>
                      </a:cubicBezTo>
                      <a:cubicBezTo>
                        <a:pt x="59769" y="892"/>
                        <a:pt x="59769" y="892"/>
                        <a:pt x="59769" y="892"/>
                      </a:cubicBezTo>
                      <a:cubicBezTo>
                        <a:pt x="57461" y="1115"/>
                        <a:pt x="57461" y="1115"/>
                        <a:pt x="57461" y="1115"/>
                      </a:cubicBezTo>
                      <a:cubicBezTo>
                        <a:pt x="56538" y="2230"/>
                        <a:pt x="56538" y="2230"/>
                        <a:pt x="56538" y="2230"/>
                      </a:cubicBezTo>
                      <a:cubicBezTo>
                        <a:pt x="56076" y="3345"/>
                        <a:pt x="56076" y="3345"/>
                        <a:pt x="56076" y="3345"/>
                      </a:cubicBezTo>
                      <a:cubicBezTo>
                        <a:pt x="56307" y="5130"/>
                        <a:pt x="56307" y="5130"/>
                        <a:pt x="56307" y="5130"/>
                      </a:cubicBezTo>
                      <a:cubicBezTo>
                        <a:pt x="55615" y="6245"/>
                        <a:pt x="55615" y="6245"/>
                        <a:pt x="55615" y="6245"/>
                      </a:cubicBezTo>
                      <a:cubicBezTo>
                        <a:pt x="55615" y="7583"/>
                        <a:pt x="55615" y="7583"/>
                        <a:pt x="55615" y="7583"/>
                      </a:cubicBezTo>
                      <a:cubicBezTo>
                        <a:pt x="55615" y="9591"/>
                        <a:pt x="55615" y="9591"/>
                        <a:pt x="55615" y="9591"/>
                      </a:cubicBezTo>
                      <a:cubicBezTo>
                        <a:pt x="54461" y="10260"/>
                        <a:pt x="54461" y="10260"/>
                        <a:pt x="54461" y="10260"/>
                      </a:cubicBezTo>
                      <a:cubicBezTo>
                        <a:pt x="52846" y="11821"/>
                        <a:pt x="52846" y="11821"/>
                        <a:pt x="52846" y="11821"/>
                      </a:cubicBezTo>
                      <a:cubicBezTo>
                        <a:pt x="50538" y="12713"/>
                        <a:pt x="50538" y="12713"/>
                        <a:pt x="50538" y="12713"/>
                      </a:cubicBezTo>
                      <a:cubicBezTo>
                        <a:pt x="47538" y="13382"/>
                        <a:pt x="47538" y="13382"/>
                        <a:pt x="47538" y="13382"/>
                      </a:cubicBezTo>
                      <a:cubicBezTo>
                        <a:pt x="45230" y="14052"/>
                        <a:pt x="45230" y="14052"/>
                        <a:pt x="45230" y="14052"/>
                      </a:cubicBezTo>
                      <a:cubicBezTo>
                        <a:pt x="43153" y="15167"/>
                        <a:pt x="43153" y="15167"/>
                        <a:pt x="43153" y="15167"/>
                      </a:cubicBezTo>
                      <a:cubicBezTo>
                        <a:pt x="42692" y="16728"/>
                        <a:pt x="42692" y="16728"/>
                        <a:pt x="42692" y="16728"/>
                      </a:cubicBezTo>
                      <a:cubicBezTo>
                        <a:pt x="42461" y="18736"/>
                        <a:pt x="42461" y="18736"/>
                        <a:pt x="42461" y="18736"/>
                      </a:cubicBezTo>
                      <a:cubicBezTo>
                        <a:pt x="40846" y="19405"/>
                        <a:pt x="40846" y="19405"/>
                        <a:pt x="40846" y="19405"/>
                      </a:cubicBezTo>
                      <a:cubicBezTo>
                        <a:pt x="40846" y="19405"/>
                        <a:pt x="40153" y="19851"/>
                        <a:pt x="39692" y="19628"/>
                      </a:cubicBezTo>
                      <a:cubicBezTo>
                        <a:pt x="39000" y="19628"/>
                        <a:pt x="37615" y="19182"/>
                        <a:pt x="37615" y="19182"/>
                      </a:cubicBezTo>
                      <a:cubicBezTo>
                        <a:pt x="37615" y="19182"/>
                        <a:pt x="36000" y="18289"/>
                        <a:pt x="35307" y="18289"/>
                      </a:cubicBezTo>
                      <a:cubicBezTo>
                        <a:pt x="34615" y="18066"/>
                        <a:pt x="33461" y="16951"/>
                        <a:pt x="33461" y="16951"/>
                      </a:cubicBezTo>
                      <a:cubicBezTo>
                        <a:pt x="32307" y="17843"/>
                        <a:pt x="32307" y="17843"/>
                        <a:pt x="32307" y="17843"/>
                      </a:cubicBezTo>
                      <a:cubicBezTo>
                        <a:pt x="32307" y="17843"/>
                        <a:pt x="31615" y="17174"/>
                        <a:pt x="31615" y="16728"/>
                      </a:cubicBezTo>
                      <a:cubicBezTo>
                        <a:pt x="31615" y="16505"/>
                        <a:pt x="31615" y="16505"/>
                        <a:pt x="31615" y="16059"/>
                      </a:cubicBezTo>
                      <a:cubicBezTo>
                        <a:pt x="31615" y="15390"/>
                        <a:pt x="31615" y="14275"/>
                        <a:pt x="31615" y="14275"/>
                      </a:cubicBezTo>
                      <a:cubicBezTo>
                        <a:pt x="30000" y="13605"/>
                        <a:pt x="30000" y="13605"/>
                        <a:pt x="30000" y="13605"/>
                      </a:cubicBezTo>
                      <a:cubicBezTo>
                        <a:pt x="28384" y="13382"/>
                        <a:pt x="28384" y="13382"/>
                        <a:pt x="28384" y="13382"/>
                      </a:cubicBezTo>
                      <a:cubicBezTo>
                        <a:pt x="28384" y="13382"/>
                        <a:pt x="28384" y="13828"/>
                        <a:pt x="27923" y="13382"/>
                      </a:cubicBezTo>
                      <a:cubicBezTo>
                        <a:pt x="27230" y="12936"/>
                        <a:pt x="27230" y="12044"/>
                        <a:pt x="27230" y="12044"/>
                      </a:cubicBezTo>
                      <a:cubicBezTo>
                        <a:pt x="25846" y="11375"/>
                        <a:pt x="25846" y="11375"/>
                        <a:pt x="25846" y="11375"/>
                      </a:cubicBezTo>
                      <a:cubicBezTo>
                        <a:pt x="25384" y="13159"/>
                        <a:pt x="25384" y="13159"/>
                        <a:pt x="25384" y="13159"/>
                      </a:cubicBezTo>
                      <a:cubicBezTo>
                        <a:pt x="27000" y="14498"/>
                        <a:pt x="27000" y="14498"/>
                        <a:pt x="27000" y="14498"/>
                      </a:cubicBezTo>
                      <a:cubicBezTo>
                        <a:pt x="27461" y="15390"/>
                        <a:pt x="27461" y="15390"/>
                        <a:pt x="27461" y="15390"/>
                      </a:cubicBezTo>
                      <a:cubicBezTo>
                        <a:pt x="27000" y="16728"/>
                        <a:pt x="27000" y="16728"/>
                        <a:pt x="27000" y="16728"/>
                      </a:cubicBezTo>
                      <a:cubicBezTo>
                        <a:pt x="27461" y="17843"/>
                        <a:pt x="27461" y="17843"/>
                        <a:pt x="27461" y="17843"/>
                      </a:cubicBezTo>
                      <a:cubicBezTo>
                        <a:pt x="27692" y="18736"/>
                        <a:pt x="27692" y="18736"/>
                        <a:pt x="27692" y="18736"/>
                      </a:cubicBezTo>
                      <a:cubicBezTo>
                        <a:pt x="27692" y="18736"/>
                        <a:pt x="27923" y="18736"/>
                        <a:pt x="27923" y="19405"/>
                      </a:cubicBezTo>
                      <a:cubicBezTo>
                        <a:pt x="27923" y="19851"/>
                        <a:pt x="27692" y="22081"/>
                        <a:pt x="27692" y="22081"/>
                      </a:cubicBezTo>
                      <a:cubicBezTo>
                        <a:pt x="27692" y="23866"/>
                        <a:pt x="27692" y="23866"/>
                        <a:pt x="27692" y="23866"/>
                      </a:cubicBezTo>
                      <a:cubicBezTo>
                        <a:pt x="28384" y="25650"/>
                        <a:pt x="28384" y="25650"/>
                        <a:pt x="28384" y="25650"/>
                      </a:cubicBezTo>
                      <a:cubicBezTo>
                        <a:pt x="28384" y="25650"/>
                        <a:pt x="27230" y="26319"/>
                        <a:pt x="26769" y="26319"/>
                      </a:cubicBezTo>
                      <a:cubicBezTo>
                        <a:pt x="26307" y="26319"/>
                        <a:pt x="25153" y="25873"/>
                        <a:pt x="25153" y="25873"/>
                      </a:cubicBezTo>
                      <a:cubicBezTo>
                        <a:pt x="24692" y="24758"/>
                        <a:pt x="24692" y="24758"/>
                        <a:pt x="24692" y="24758"/>
                      </a:cubicBezTo>
                      <a:cubicBezTo>
                        <a:pt x="21923" y="24981"/>
                        <a:pt x="21923" y="24981"/>
                        <a:pt x="21923" y="24981"/>
                      </a:cubicBezTo>
                      <a:cubicBezTo>
                        <a:pt x="20307" y="24758"/>
                        <a:pt x="20307" y="24758"/>
                        <a:pt x="20307" y="24758"/>
                      </a:cubicBezTo>
                      <a:cubicBezTo>
                        <a:pt x="18923" y="25650"/>
                        <a:pt x="18923" y="25650"/>
                        <a:pt x="18923" y="25650"/>
                      </a:cubicBezTo>
                      <a:cubicBezTo>
                        <a:pt x="18000" y="25427"/>
                        <a:pt x="18000" y="25427"/>
                        <a:pt x="18000" y="25427"/>
                      </a:cubicBezTo>
                      <a:cubicBezTo>
                        <a:pt x="17076" y="24535"/>
                        <a:pt x="17076" y="24535"/>
                        <a:pt x="17076" y="24535"/>
                      </a:cubicBezTo>
                      <a:cubicBezTo>
                        <a:pt x="16846" y="23197"/>
                        <a:pt x="16846" y="23197"/>
                        <a:pt x="16846" y="23197"/>
                      </a:cubicBezTo>
                      <a:cubicBezTo>
                        <a:pt x="16384" y="22081"/>
                        <a:pt x="16384" y="22081"/>
                        <a:pt x="16384" y="22081"/>
                      </a:cubicBezTo>
                      <a:cubicBezTo>
                        <a:pt x="15461" y="20966"/>
                        <a:pt x="15461" y="20966"/>
                        <a:pt x="15461" y="20966"/>
                      </a:cubicBezTo>
                      <a:cubicBezTo>
                        <a:pt x="12461" y="21189"/>
                        <a:pt x="12461" y="21189"/>
                        <a:pt x="12461" y="21189"/>
                      </a:cubicBezTo>
                      <a:cubicBezTo>
                        <a:pt x="11307" y="21412"/>
                        <a:pt x="11307" y="21412"/>
                        <a:pt x="11307" y="21412"/>
                      </a:cubicBezTo>
                      <a:cubicBezTo>
                        <a:pt x="10615" y="22081"/>
                        <a:pt x="10615" y="22081"/>
                        <a:pt x="10615" y="22081"/>
                      </a:cubicBezTo>
                      <a:cubicBezTo>
                        <a:pt x="9230" y="21858"/>
                        <a:pt x="9230" y="21858"/>
                        <a:pt x="9230" y="21858"/>
                      </a:cubicBezTo>
                      <a:cubicBezTo>
                        <a:pt x="8769" y="22527"/>
                        <a:pt x="8769" y="22527"/>
                        <a:pt x="8769" y="22527"/>
                      </a:cubicBezTo>
                      <a:cubicBezTo>
                        <a:pt x="7153" y="22081"/>
                        <a:pt x="7153" y="22081"/>
                        <a:pt x="7153" y="22081"/>
                      </a:cubicBezTo>
                      <a:cubicBezTo>
                        <a:pt x="5538" y="22304"/>
                        <a:pt x="5538" y="22304"/>
                        <a:pt x="5538" y="22304"/>
                      </a:cubicBezTo>
                      <a:cubicBezTo>
                        <a:pt x="4384" y="22081"/>
                        <a:pt x="4384" y="22081"/>
                        <a:pt x="4384" y="22081"/>
                      </a:cubicBezTo>
                      <a:cubicBezTo>
                        <a:pt x="2307" y="22527"/>
                        <a:pt x="2307" y="22527"/>
                        <a:pt x="2307" y="22527"/>
                      </a:cubicBezTo>
                      <a:cubicBezTo>
                        <a:pt x="1153" y="23420"/>
                        <a:pt x="1153" y="23420"/>
                        <a:pt x="1153" y="23420"/>
                      </a:cubicBezTo>
                      <a:cubicBezTo>
                        <a:pt x="0" y="25204"/>
                        <a:pt x="0" y="25204"/>
                        <a:pt x="0" y="25204"/>
                      </a:cubicBezTo>
                      <a:cubicBezTo>
                        <a:pt x="0" y="25204"/>
                        <a:pt x="461" y="25204"/>
                        <a:pt x="923" y="25204"/>
                      </a:cubicBezTo>
                      <a:cubicBezTo>
                        <a:pt x="1153" y="25204"/>
                        <a:pt x="3230" y="25427"/>
                        <a:pt x="3230" y="25427"/>
                      </a:cubicBezTo>
                      <a:cubicBezTo>
                        <a:pt x="3692" y="26096"/>
                        <a:pt x="3692" y="26096"/>
                        <a:pt x="3692" y="26096"/>
                      </a:cubicBezTo>
                      <a:cubicBezTo>
                        <a:pt x="2307" y="26765"/>
                        <a:pt x="2307" y="26765"/>
                        <a:pt x="2307" y="26765"/>
                      </a:cubicBezTo>
                      <a:cubicBezTo>
                        <a:pt x="3461" y="27211"/>
                        <a:pt x="3461" y="27211"/>
                        <a:pt x="3461" y="27211"/>
                      </a:cubicBezTo>
                      <a:cubicBezTo>
                        <a:pt x="3692" y="27657"/>
                        <a:pt x="3692" y="27657"/>
                        <a:pt x="3692" y="27657"/>
                      </a:cubicBezTo>
                      <a:cubicBezTo>
                        <a:pt x="3692" y="28327"/>
                        <a:pt x="3692" y="28327"/>
                        <a:pt x="3692" y="28327"/>
                      </a:cubicBezTo>
                      <a:cubicBezTo>
                        <a:pt x="1153" y="28550"/>
                        <a:pt x="1153" y="28550"/>
                        <a:pt x="1153" y="28550"/>
                      </a:cubicBezTo>
                      <a:cubicBezTo>
                        <a:pt x="1153" y="28550"/>
                        <a:pt x="461" y="28327"/>
                        <a:pt x="461" y="28773"/>
                      </a:cubicBezTo>
                      <a:cubicBezTo>
                        <a:pt x="230" y="29219"/>
                        <a:pt x="1153" y="29442"/>
                        <a:pt x="1153" y="29442"/>
                      </a:cubicBezTo>
                      <a:cubicBezTo>
                        <a:pt x="2307" y="30111"/>
                        <a:pt x="2307" y="30111"/>
                        <a:pt x="2307" y="30111"/>
                      </a:cubicBezTo>
                      <a:cubicBezTo>
                        <a:pt x="2076" y="32342"/>
                        <a:pt x="2076" y="32342"/>
                        <a:pt x="2076" y="32342"/>
                      </a:cubicBezTo>
                      <a:cubicBezTo>
                        <a:pt x="3000" y="32342"/>
                        <a:pt x="3000" y="32342"/>
                        <a:pt x="3000" y="32342"/>
                      </a:cubicBezTo>
                      <a:cubicBezTo>
                        <a:pt x="4384" y="32342"/>
                        <a:pt x="4384" y="32342"/>
                        <a:pt x="4384" y="32342"/>
                      </a:cubicBezTo>
                      <a:cubicBezTo>
                        <a:pt x="4384" y="32342"/>
                        <a:pt x="4615" y="31895"/>
                        <a:pt x="5307" y="31672"/>
                      </a:cubicBezTo>
                      <a:cubicBezTo>
                        <a:pt x="5769" y="31672"/>
                        <a:pt x="6461" y="31672"/>
                        <a:pt x="6461" y="31672"/>
                      </a:cubicBezTo>
                      <a:cubicBezTo>
                        <a:pt x="6461" y="31672"/>
                        <a:pt x="6461" y="31449"/>
                        <a:pt x="6923" y="32565"/>
                      </a:cubicBezTo>
                      <a:cubicBezTo>
                        <a:pt x="7153" y="33457"/>
                        <a:pt x="7153" y="33457"/>
                        <a:pt x="7153" y="33457"/>
                      </a:cubicBezTo>
                      <a:cubicBezTo>
                        <a:pt x="8076" y="33680"/>
                        <a:pt x="8076" y="33680"/>
                        <a:pt x="8076" y="33680"/>
                      </a:cubicBezTo>
                      <a:cubicBezTo>
                        <a:pt x="8538" y="33903"/>
                        <a:pt x="8538" y="33903"/>
                        <a:pt x="8538" y="33903"/>
                      </a:cubicBezTo>
                      <a:cubicBezTo>
                        <a:pt x="8538" y="33903"/>
                        <a:pt x="9461" y="34349"/>
                        <a:pt x="9923" y="34572"/>
                      </a:cubicBezTo>
                      <a:cubicBezTo>
                        <a:pt x="10384" y="34795"/>
                        <a:pt x="11307" y="35687"/>
                        <a:pt x="11307" y="35687"/>
                      </a:cubicBezTo>
                      <a:cubicBezTo>
                        <a:pt x="11769" y="35910"/>
                        <a:pt x="11769" y="35910"/>
                        <a:pt x="11769" y="35910"/>
                      </a:cubicBezTo>
                      <a:cubicBezTo>
                        <a:pt x="11769" y="37026"/>
                        <a:pt x="11769" y="37026"/>
                        <a:pt x="11769" y="37026"/>
                      </a:cubicBezTo>
                      <a:cubicBezTo>
                        <a:pt x="11769" y="37026"/>
                        <a:pt x="12692" y="37249"/>
                        <a:pt x="13384" y="37249"/>
                      </a:cubicBezTo>
                      <a:cubicBezTo>
                        <a:pt x="14076" y="37249"/>
                        <a:pt x="15692" y="37026"/>
                        <a:pt x="15692" y="37026"/>
                      </a:cubicBezTo>
                      <a:cubicBezTo>
                        <a:pt x="16153" y="37918"/>
                        <a:pt x="16153" y="37918"/>
                        <a:pt x="16153" y="37918"/>
                      </a:cubicBezTo>
                      <a:cubicBezTo>
                        <a:pt x="16615" y="37918"/>
                        <a:pt x="18692" y="38587"/>
                        <a:pt x="18692" y="38587"/>
                      </a:cubicBezTo>
                      <a:cubicBezTo>
                        <a:pt x="18000" y="39479"/>
                        <a:pt x="18000" y="39479"/>
                        <a:pt x="18000" y="39479"/>
                      </a:cubicBezTo>
                      <a:cubicBezTo>
                        <a:pt x="17307" y="40148"/>
                        <a:pt x="17307" y="40148"/>
                        <a:pt x="17307" y="40148"/>
                      </a:cubicBezTo>
                      <a:cubicBezTo>
                        <a:pt x="17076" y="40817"/>
                        <a:pt x="17076" y="40817"/>
                        <a:pt x="17076" y="40817"/>
                      </a:cubicBezTo>
                      <a:cubicBezTo>
                        <a:pt x="17076" y="40817"/>
                        <a:pt x="17307" y="40817"/>
                        <a:pt x="18230" y="41040"/>
                      </a:cubicBezTo>
                      <a:cubicBezTo>
                        <a:pt x="19153" y="41263"/>
                        <a:pt x="19846" y="41710"/>
                        <a:pt x="19846" y="41710"/>
                      </a:cubicBezTo>
                      <a:cubicBezTo>
                        <a:pt x="19384" y="42825"/>
                        <a:pt x="19384" y="42825"/>
                        <a:pt x="19384" y="42825"/>
                      </a:cubicBezTo>
                      <a:cubicBezTo>
                        <a:pt x="20538" y="43717"/>
                        <a:pt x="20538" y="43717"/>
                        <a:pt x="20538" y="43717"/>
                      </a:cubicBezTo>
                      <a:cubicBezTo>
                        <a:pt x="20538" y="43717"/>
                        <a:pt x="21000" y="44386"/>
                        <a:pt x="21000" y="44609"/>
                      </a:cubicBezTo>
                      <a:cubicBezTo>
                        <a:pt x="20769" y="44832"/>
                        <a:pt x="20769" y="45278"/>
                        <a:pt x="20769" y="45278"/>
                      </a:cubicBezTo>
                      <a:cubicBezTo>
                        <a:pt x="20076" y="45055"/>
                        <a:pt x="20076" y="45055"/>
                        <a:pt x="20076" y="45055"/>
                      </a:cubicBezTo>
                      <a:cubicBezTo>
                        <a:pt x="20076" y="45055"/>
                        <a:pt x="20076" y="45501"/>
                        <a:pt x="19846" y="45055"/>
                      </a:cubicBezTo>
                      <a:cubicBezTo>
                        <a:pt x="19384" y="44609"/>
                        <a:pt x="19153" y="44163"/>
                        <a:pt x="19153" y="44163"/>
                      </a:cubicBezTo>
                      <a:cubicBezTo>
                        <a:pt x="18923" y="45055"/>
                        <a:pt x="18923" y="45055"/>
                        <a:pt x="18923" y="45055"/>
                      </a:cubicBezTo>
                      <a:cubicBezTo>
                        <a:pt x="18923" y="45055"/>
                        <a:pt x="19153" y="45947"/>
                        <a:pt x="19384" y="46171"/>
                      </a:cubicBezTo>
                      <a:cubicBezTo>
                        <a:pt x="19846" y="46171"/>
                        <a:pt x="19846" y="45947"/>
                        <a:pt x="19846" y="46617"/>
                      </a:cubicBezTo>
                      <a:cubicBezTo>
                        <a:pt x="19846" y="47063"/>
                        <a:pt x="20076" y="48178"/>
                        <a:pt x="20307" y="48401"/>
                      </a:cubicBezTo>
                      <a:cubicBezTo>
                        <a:pt x="20538" y="48847"/>
                        <a:pt x="20538" y="49962"/>
                        <a:pt x="20769" y="50185"/>
                      </a:cubicBezTo>
                      <a:cubicBezTo>
                        <a:pt x="21230" y="50185"/>
                        <a:pt x="21461" y="50408"/>
                        <a:pt x="21461" y="50408"/>
                      </a:cubicBezTo>
                      <a:cubicBezTo>
                        <a:pt x="21923" y="50855"/>
                        <a:pt x="21923" y="50855"/>
                        <a:pt x="21923" y="50855"/>
                      </a:cubicBezTo>
                      <a:cubicBezTo>
                        <a:pt x="23307" y="51970"/>
                        <a:pt x="23307" y="51970"/>
                        <a:pt x="23307" y="51970"/>
                      </a:cubicBezTo>
                      <a:cubicBezTo>
                        <a:pt x="23307" y="51970"/>
                        <a:pt x="24230" y="52639"/>
                        <a:pt x="24692" y="52862"/>
                      </a:cubicBezTo>
                      <a:cubicBezTo>
                        <a:pt x="25153" y="53085"/>
                        <a:pt x="25384" y="53085"/>
                        <a:pt x="25384" y="53085"/>
                      </a:cubicBezTo>
                      <a:cubicBezTo>
                        <a:pt x="26538" y="54200"/>
                        <a:pt x="26538" y="54200"/>
                        <a:pt x="26538" y="54200"/>
                      </a:cubicBezTo>
                      <a:cubicBezTo>
                        <a:pt x="26538" y="54200"/>
                        <a:pt x="27230" y="55315"/>
                        <a:pt x="27000" y="55315"/>
                      </a:cubicBezTo>
                      <a:cubicBezTo>
                        <a:pt x="26769" y="55315"/>
                        <a:pt x="27000" y="55539"/>
                        <a:pt x="26538" y="55539"/>
                      </a:cubicBezTo>
                      <a:cubicBezTo>
                        <a:pt x="25846" y="55539"/>
                        <a:pt x="26076" y="55985"/>
                        <a:pt x="25615" y="55539"/>
                      </a:cubicBezTo>
                      <a:cubicBezTo>
                        <a:pt x="24923" y="55092"/>
                        <a:pt x="24461" y="54423"/>
                        <a:pt x="23769" y="54423"/>
                      </a:cubicBezTo>
                      <a:cubicBezTo>
                        <a:pt x="23076" y="54423"/>
                        <a:pt x="23076" y="54423"/>
                        <a:pt x="23076" y="54423"/>
                      </a:cubicBezTo>
                      <a:cubicBezTo>
                        <a:pt x="24461" y="55539"/>
                        <a:pt x="24461" y="55539"/>
                        <a:pt x="24461" y="55539"/>
                      </a:cubicBezTo>
                      <a:cubicBezTo>
                        <a:pt x="25153" y="55762"/>
                        <a:pt x="25153" y="55762"/>
                        <a:pt x="25153" y="55762"/>
                      </a:cubicBezTo>
                      <a:cubicBezTo>
                        <a:pt x="26076" y="56654"/>
                        <a:pt x="26076" y="56654"/>
                        <a:pt x="26076" y="56654"/>
                      </a:cubicBezTo>
                      <a:cubicBezTo>
                        <a:pt x="26307" y="56654"/>
                        <a:pt x="26307" y="56654"/>
                        <a:pt x="26307" y="56654"/>
                      </a:cubicBezTo>
                      <a:cubicBezTo>
                        <a:pt x="26307" y="56654"/>
                        <a:pt x="26538" y="57100"/>
                        <a:pt x="26538" y="57323"/>
                      </a:cubicBezTo>
                      <a:cubicBezTo>
                        <a:pt x="26538" y="57546"/>
                        <a:pt x="26307" y="58215"/>
                        <a:pt x="26076" y="58438"/>
                      </a:cubicBezTo>
                      <a:cubicBezTo>
                        <a:pt x="26076" y="58884"/>
                        <a:pt x="26076" y="59330"/>
                        <a:pt x="26076" y="59330"/>
                      </a:cubicBezTo>
                      <a:cubicBezTo>
                        <a:pt x="25384" y="57769"/>
                        <a:pt x="25384" y="57769"/>
                        <a:pt x="25384" y="57769"/>
                      </a:cubicBezTo>
                      <a:cubicBezTo>
                        <a:pt x="25384" y="57769"/>
                        <a:pt x="25615" y="57323"/>
                        <a:pt x="25153" y="57100"/>
                      </a:cubicBezTo>
                      <a:cubicBezTo>
                        <a:pt x="24692" y="57100"/>
                        <a:pt x="24230" y="57323"/>
                        <a:pt x="24230" y="57323"/>
                      </a:cubicBezTo>
                      <a:cubicBezTo>
                        <a:pt x="24230" y="57323"/>
                        <a:pt x="24000" y="57769"/>
                        <a:pt x="24230" y="57992"/>
                      </a:cubicBezTo>
                      <a:cubicBezTo>
                        <a:pt x="24692" y="58215"/>
                        <a:pt x="24923" y="58438"/>
                        <a:pt x="24923" y="58661"/>
                      </a:cubicBezTo>
                      <a:cubicBezTo>
                        <a:pt x="25153" y="58884"/>
                        <a:pt x="25153" y="59107"/>
                        <a:pt x="25153" y="59107"/>
                      </a:cubicBezTo>
                      <a:cubicBezTo>
                        <a:pt x="25153" y="59107"/>
                        <a:pt x="25615" y="59107"/>
                        <a:pt x="25615" y="59553"/>
                      </a:cubicBezTo>
                      <a:cubicBezTo>
                        <a:pt x="25615" y="60223"/>
                        <a:pt x="25384" y="60892"/>
                        <a:pt x="25384" y="60892"/>
                      </a:cubicBezTo>
                      <a:cubicBezTo>
                        <a:pt x="25384" y="60892"/>
                        <a:pt x="24923" y="60892"/>
                        <a:pt x="25615" y="61338"/>
                      </a:cubicBezTo>
                      <a:cubicBezTo>
                        <a:pt x="26307" y="61784"/>
                        <a:pt x="26538" y="62007"/>
                        <a:pt x="26769" y="62230"/>
                      </a:cubicBezTo>
                      <a:cubicBezTo>
                        <a:pt x="27000" y="62453"/>
                        <a:pt x="27923" y="63568"/>
                        <a:pt x="27923" y="63568"/>
                      </a:cubicBezTo>
                      <a:cubicBezTo>
                        <a:pt x="28615" y="64460"/>
                        <a:pt x="28615" y="64460"/>
                        <a:pt x="28615" y="64460"/>
                      </a:cubicBezTo>
                      <a:cubicBezTo>
                        <a:pt x="28615" y="64460"/>
                        <a:pt x="28615" y="64907"/>
                        <a:pt x="28615" y="64907"/>
                      </a:cubicBezTo>
                      <a:cubicBezTo>
                        <a:pt x="28384" y="64907"/>
                        <a:pt x="27923" y="64907"/>
                        <a:pt x="27923" y="64907"/>
                      </a:cubicBezTo>
                      <a:cubicBezTo>
                        <a:pt x="27923" y="64907"/>
                        <a:pt x="27692" y="64907"/>
                        <a:pt x="27461" y="64684"/>
                      </a:cubicBezTo>
                      <a:cubicBezTo>
                        <a:pt x="27230" y="64237"/>
                        <a:pt x="26769" y="63568"/>
                        <a:pt x="26769" y="63568"/>
                      </a:cubicBezTo>
                      <a:cubicBezTo>
                        <a:pt x="26307" y="63345"/>
                        <a:pt x="26307" y="63345"/>
                        <a:pt x="26307" y="63345"/>
                      </a:cubicBezTo>
                      <a:cubicBezTo>
                        <a:pt x="25846" y="63568"/>
                        <a:pt x="25846" y="63568"/>
                        <a:pt x="25846" y="63568"/>
                      </a:cubicBezTo>
                      <a:cubicBezTo>
                        <a:pt x="25846" y="63568"/>
                        <a:pt x="25384" y="64460"/>
                        <a:pt x="25384" y="64460"/>
                      </a:cubicBezTo>
                      <a:cubicBezTo>
                        <a:pt x="25384" y="64684"/>
                        <a:pt x="24692" y="66022"/>
                        <a:pt x="24692" y="66022"/>
                      </a:cubicBezTo>
                      <a:cubicBezTo>
                        <a:pt x="24230" y="68698"/>
                        <a:pt x="24230" y="68698"/>
                        <a:pt x="24230" y="68698"/>
                      </a:cubicBezTo>
                      <a:cubicBezTo>
                        <a:pt x="24230" y="68698"/>
                        <a:pt x="24230" y="71821"/>
                        <a:pt x="24000" y="72044"/>
                      </a:cubicBezTo>
                      <a:cubicBezTo>
                        <a:pt x="24000" y="72267"/>
                        <a:pt x="23076" y="74498"/>
                        <a:pt x="23076" y="74498"/>
                      </a:cubicBezTo>
                      <a:cubicBezTo>
                        <a:pt x="23076" y="74498"/>
                        <a:pt x="23076" y="74721"/>
                        <a:pt x="23076" y="75390"/>
                      </a:cubicBezTo>
                      <a:cubicBezTo>
                        <a:pt x="22846" y="76059"/>
                        <a:pt x="22615" y="77174"/>
                        <a:pt x="22615" y="77174"/>
                      </a:cubicBezTo>
                      <a:cubicBezTo>
                        <a:pt x="22615" y="77174"/>
                        <a:pt x="22384" y="78066"/>
                        <a:pt x="22384" y="78513"/>
                      </a:cubicBezTo>
                      <a:cubicBezTo>
                        <a:pt x="22153" y="78959"/>
                        <a:pt x="21461" y="80743"/>
                        <a:pt x="21461" y="80743"/>
                      </a:cubicBezTo>
                      <a:cubicBezTo>
                        <a:pt x="21230" y="82750"/>
                        <a:pt x="21230" y="82750"/>
                        <a:pt x="21230" y="82750"/>
                      </a:cubicBezTo>
                      <a:cubicBezTo>
                        <a:pt x="19384" y="86542"/>
                        <a:pt x="19384" y="86542"/>
                        <a:pt x="19384" y="86542"/>
                      </a:cubicBezTo>
                      <a:cubicBezTo>
                        <a:pt x="18000" y="87657"/>
                        <a:pt x="18000" y="87657"/>
                        <a:pt x="18000" y="87657"/>
                      </a:cubicBezTo>
                      <a:cubicBezTo>
                        <a:pt x="17307" y="88104"/>
                        <a:pt x="17307" y="88104"/>
                        <a:pt x="17307" y="88104"/>
                      </a:cubicBezTo>
                      <a:cubicBezTo>
                        <a:pt x="18000" y="88327"/>
                        <a:pt x="18461" y="88550"/>
                        <a:pt x="18692" y="89219"/>
                      </a:cubicBezTo>
                      <a:cubicBezTo>
                        <a:pt x="19153" y="90334"/>
                        <a:pt x="20076" y="92118"/>
                        <a:pt x="20076" y="92118"/>
                      </a:cubicBezTo>
                      <a:cubicBezTo>
                        <a:pt x="23076" y="93234"/>
                        <a:pt x="23076" y="93234"/>
                        <a:pt x="23076" y="93234"/>
                      </a:cubicBezTo>
                      <a:cubicBezTo>
                        <a:pt x="23076" y="93234"/>
                        <a:pt x="24692" y="94572"/>
                        <a:pt x="24923" y="95018"/>
                      </a:cubicBezTo>
                      <a:cubicBezTo>
                        <a:pt x="25153" y="95241"/>
                        <a:pt x="28615" y="96356"/>
                        <a:pt x="28615" y="96356"/>
                      </a:cubicBezTo>
                      <a:cubicBezTo>
                        <a:pt x="30923" y="98364"/>
                        <a:pt x="30923" y="98364"/>
                        <a:pt x="30923" y="98364"/>
                      </a:cubicBezTo>
                      <a:cubicBezTo>
                        <a:pt x="34384" y="98364"/>
                        <a:pt x="34384" y="98364"/>
                        <a:pt x="34384" y="98364"/>
                      </a:cubicBezTo>
                      <a:cubicBezTo>
                        <a:pt x="36692" y="98810"/>
                        <a:pt x="36692" y="98810"/>
                        <a:pt x="36692" y="98810"/>
                      </a:cubicBezTo>
                      <a:cubicBezTo>
                        <a:pt x="37846" y="97472"/>
                        <a:pt x="37846" y="97472"/>
                        <a:pt x="37846" y="97472"/>
                      </a:cubicBezTo>
                      <a:cubicBezTo>
                        <a:pt x="37846" y="97472"/>
                        <a:pt x="43615" y="100148"/>
                        <a:pt x="43846" y="100148"/>
                      </a:cubicBezTo>
                      <a:cubicBezTo>
                        <a:pt x="44076" y="100148"/>
                        <a:pt x="44076" y="100817"/>
                        <a:pt x="44307" y="101486"/>
                      </a:cubicBezTo>
                      <a:cubicBezTo>
                        <a:pt x="44307" y="101486"/>
                        <a:pt x="44307" y="101486"/>
                        <a:pt x="44307" y="101486"/>
                      </a:cubicBezTo>
                      <a:cubicBezTo>
                        <a:pt x="44307" y="101486"/>
                        <a:pt x="44307" y="101486"/>
                        <a:pt x="44307" y="101486"/>
                      </a:cubicBezTo>
                      <a:cubicBezTo>
                        <a:pt x="44538" y="101486"/>
                        <a:pt x="44538" y="101486"/>
                        <a:pt x="44538" y="101486"/>
                      </a:cubicBezTo>
                      <a:cubicBezTo>
                        <a:pt x="44538" y="101486"/>
                        <a:pt x="44307" y="101263"/>
                        <a:pt x="44307" y="101263"/>
                      </a:cubicBezTo>
                      <a:cubicBezTo>
                        <a:pt x="44307" y="101040"/>
                        <a:pt x="44307" y="101040"/>
                        <a:pt x="44307" y="101040"/>
                      </a:cubicBezTo>
                      <a:cubicBezTo>
                        <a:pt x="44538" y="101040"/>
                        <a:pt x="44538" y="101040"/>
                        <a:pt x="44538" y="101040"/>
                      </a:cubicBezTo>
                      <a:cubicBezTo>
                        <a:pt x="44538" y="101040"/>
                        <a:pt x="44538" y="101040"/>
                        <a:pt x="44538" y="101040"/>
                      </a:cubicBezTo>
                      <a:cubicBezTo>
                        <a:pt x="44538" y="101040"/>
                        <a:pt x="44538" y="101040"/>
                        <a:pt x="44538" y="101040"/>
                      </a:cubicBezTo>
                      <a:cubicBezTo>
                        <a:pt x="44769" y="101040"/>
                        <a:pt x="44769" y="101040"/>
                        <a:pt x="44769" y="101040"/>
                      </a:cubicBezTo>
                      <a:cubicBezTo>
                        <a:pt x="45000" y="100817"/>
                        <a:pt x="45000" y="100817"/>
                        <a:pt x="45000" y="100817"/>
                      </a:cubicBezTo>
                      <a:cubicBezTo>
                        <a:pt x="45000" y="100817"/>
                        <a:pt x="45000" y="100817"/>
                        <a:pt x="45000" y="100817"/>
                      </a:cubicBezTo>
                      <a:cubicBezTo>
                        <a:pt x="45000" y="100594"/>
                        <a:pt x="44769" y="100594"/>
                        <a:pt x="44769" y="100594"/>
                      </a:cubicBezTo>
                      <a:cubicBezTo>
                        <a:pt x="44769" y="100594"/>
                        <a:pt x="45000" y="100594"/>
                        <a:pt x="45000" y="100371"/>
                      </a:cubicBezTo>
                      <a:cubicBezTo>
                        <a:pt x="45000" y="100371"/>
                        <a:pt x="45000" y="100371"/>
                        <a:pt x="45000" y="100371"/>
                      </a:cubicBezTo>
                      <a:cubicBezTo>
                        <a:pt x="45230" y="100371"/>
                        <a:pt x="45230" y="100371"/>
                        <a:pt x="45230" y="100371"/>
                      </a:cubicBezTo>
                      <a:cubicBezTo>
                        <a:pt x="45230" y="100371"/>
                        <a:pt x="45230" y="100371"/>
                        <a:pt x="45230" y="100371"/>
                      </a:cubicBezTo>
                      <a:cubicBezTo>
                        <a:pt x="45230" y="100371"/>
                        <a:pt x="45230" y="100371"/>
                        <a:pt x="45230" y="100371"/>
                      </a:cubicBezTo>
                      <a:cubicBezTo>
                        <a:pt x="45461" y="100371"/>
                        <a:pt x="45461" y="100371"/>
                        <a:pt x="45461" y="100371"/>
                      </a:cubicBezTo>
                      <a:cubicBezTo>
                        <a:pt x="45461" y="100371"/>
                        <a:pt x="45461" y="100371"/>
                        <a:pt x="45461" y="100371"/>
                      </a:cubicBezTo>
                      <a:cubicBezTo>
                        <a:pt x="45692" y="100371"/>
                        <a:pt x="45692" y="100371"/>
                        <a:pt x="45692" y="100371"/>
                      </a:cubicBezTo>
                      <a:cubicBezTo>
                        <a:pt x="45692" y="100371"/>
                        <a:pt x="45692" y="100371"/>
                        <a:pt x="45692" y="100371"/>
                      </a:cubicBezTo>
                      <a:cubicBezTo>
                        <a:pt x="45692" y="100371"/>
                        <a:pt x="45923" y="100371"/>
                        <a:pt x="45923" y="100371"/>
                      </a:cubicBezTo>
                      <a:cubicBezTo>
                        <a:pt x="45923" y="100371"/>
                        <a:pt x="45923" y="100594"/>
                        <a:pt x="45923" y="100594"/>
                      </a:cubicBezTo>
                      <a:cubicBezTo>
                        <a:pt x="45923" y="100594"/>
                        <a:pt x="45923" y="100594"/>
                        <a:pt x="45923" y="100594"/>
                      </a:cubicBezTo>
                      <a:cubicBezTo>
                        <a:pt x="45923" y="100594"/>
                        <a:pt x="46153" y="100594"/>
                        <a:pt x="46153" y="100594"/>
                      </a:cubicBezTo>
                      <a:cubicBezTo>
                        <a:pt x="46153" y="100594"/>
                        <a:pt x="46153" y="100817"/>
                        <a:pt x="46153" y="100817"/>
                      </a:cubicBezTo>
                      <a:cubicBezTo>
                        <a:pt x="46153" y="100817"/>
                        <a:pt x="46384" y="100817"/>
                        <a:pt x="46384" y="100817"/>
                      </a:cubicBezTo>
                      <a:cubicBezTo>
                        <a:pt x="46384" y="100817"/>
                        <a:pt x="46615" y="100817"/>
                        <a:pt x="46615" y="100817"/>
                      </a:cubicBezTo>
                      <a:cubicBezTo>
                        <a:pt x="46615" y="100817"/>
                        <a:pt x="46615" y="100817"/>
                        <a:pt x="46615" y="101040"/>
                      </a:cubicBezTo>
                      <a:cubicBezTo>
                        <a:pt x="46846" y="101040"/>
                        <a:pt x="46846" y="101040"/>
                        <a:pt x="46846" y="101040"/>
                      </a:cubicBezTo>
                      <a:cubicBezTo>
                        <a:pt x="46846" y="100817"/>
                        <a:pt x="47076" y="100817"/>
                        <a:pt x="47076" y="100817"/>
                      </a:cubicBezTo>
                      <a:cubicBezTo>
                        <a:pt x="47076" y="101040"/>
                        <a:pt x="47076" y="101040"/>
                        <a:pt x="47076" y="101040"/>
                      </a:cubicBezTo>
                      <a:cubicBezTo>
                        <a:pt x="47307" y="101040"/>
                        <a:pt x="47307" y="101040"/>
                        <a:pt x="47307" y="101040"/>
                      </a:cubicBezTo>
                      <a:cubicBezTo>
                        <a:pt x="47538" y="101040"/>
                        <a:pt x="47538" y="101040"/>
                        <a:pt x="47538" y="101040"/>
                      </a:cubicBezTo>
                      <a:cubicBezTo>
                        <a:pt x="47538" y="101263"/>
                        <a:pt x="47538" y="101263"/>
                        <a:pt x="47538" y="101263"/>
                      </a:cubicBezTo>
                      <a:cubicBezTo>
                        <a:pt x="47307" y="101263"/>
                        <a:pt x="47307" y="101263"/>
                        <a:pt x="47307" y="101263"/>
                      </a:cubicBezTo>
                      <a:cubicBezTo>
                        <a:pt x="47307" y="101263"/>
                        <a:pt x="47307" y="101263"/>
                        <a:pt x="47307" y="101263"/>
                      </a:cubicBezTo>
                      <a:cubicBezTo>
                        <a:pt x="47307" y="101486"/>
                        <a:pt x="47307" y="101486"/>
                        <a:pt x="47307" y="101486"/>
                      </a:cubicBezTo>
                      <a:cubicBezTo>
                        <a:pt x="47538" y="101486"/>
                        <a:pt x="47538" y="101486"/>
                        <a:pt x="47538" y="101486"/>
                      </a:cubicBezTo>
                      <a:cubicBezTo>
                        <a:pt x="47538" y="101486"/>
                        <a:pt x="47538" y="101486"/>
                        <a:pt x="47538" y="101486"/>
                      </a:cubicBezTo>
                      <a:cubicBezTo>
                        <a:pt x="48000" y="101710"/>
                        <a:pt x="48000" y="101710"/>
                        <a:pt x="48000" y="101710"/>
                      </a:cubicBezTo>
                      <a:cubicBezTo>
                        <a:pt x="47769" y="101710"/>
                        <a:pt x="47769" y="101710"/>
                        <a:pt x="47769" y="101710"/>
                      </a:cubicBezTo>
                      <a:cubicBezTo>
                        <a:pt x="47769" y="101710"/>
                        <a:pt x="47769" y="101710"/>
                        <a:pt x="47769" y="101710"/>
                      </a:cubicBezTo>
                      <a:cubicBezTo>
                        <a:pt x="47769" y="101710"/>
                        <a:pt x="47538" y="101710"/>
                        <a:pt x="47538" y="101710"/>
                      </a:cubicBezTo>
                      <a:cubicBezTo>
                        <a:pt x="47538" y="101710"/>
                        <a:pt x="47307" y="101710"/>
                        <a:pt x="47307" y="101710"/>
                      </a:cubicBezTo>
                      <a:cubicBezTo>
                        <a:pt x="47307" y="101933"/>
                        <a:pt x="47307" y="101933"/>
                        <a:pt x="47307" y="101933"/>
                      </a:cubicBezTo>
                      <a:cubicBezTo>
                        <a:pt x="47307" y="102379"/>
                        <a:pt x="47307" y="102379"/>
                        <a:pt x="47307" y="102379"/>
                      </a:cubicBezTo>
                      <a:cubicBezTo>
                        <a:pt x="47076" y="102379"/>
                        <a:pt x="47076" y="102379"/>
                        <a:pt x="47076" y="102379"/>
                      </a:cubicBezTo>
                      <a:cubicBezTo>
                        <a:pt x="47076" y="102602"/>
                        <a:pt x="47076" y="102602"/>
                        <a:pt x="47076" y="102602"/>
                      </a:cubicBezTo>
                      <a:cubicBezTo>
                        <a:pt x="47076" y="102602"/>
                        <a:pt x="47076" y="102602"/>
                        <a:pt x="47076" y="102602"/>
                      </a:cubicBezTo>
                      <a:cubicBezTo>
                        <a:pt x="47076" y="102602"/>
                        <a:pt x="47076" y="102602"/>
                        <a:pt x="47076" y="102602"/>
                      </a:cubicBezTo>
                      <a:cubicBezTo>
                        <a:pt x="47076" y="102602"/>
                        <a:pt x="47076" y="102602"/>
                        <a:pt x="46846" y="102602"/>
                      </a:cubicBezTo>
                      <a:cubicBezTo>
                        <a:pt x="46846" y="102602"/>
                        <a:pt x="46846" y="102602"/>
                        <a:pt x="46846" y="102602"/>
                      </a:cubicBezTo>
                      <a:cubicBezTo>
                        <a:pt x="46615" y="102379"/>
                        <a:pt x="46615" y="102379"/>
                        <a:pt x="46615" y="102379"/>
                      </a:cubicBezTo>
                      <a:cubicBezTo>
                        <a:pt x="46615" y="102602"/>
                        <a:pt x="46615" y="102602"/>
                        <a:pt x="46615" y="102602"/>
                      </a:cubicBezTo>
                      <a:cubicBezTo>
                        <a:pt x="46615" y="102825"/>
                        <a:pt x="46615" y="102825"/>
                        <a:pt x="46615" y="102825"/>
                      </a:cubicBezTo>
                      <a:cubicBezTo>
                        <a:pt x="46615" y="102825"/>
                        <a:pt x="46615" y="102825"/>
                        <a:pt x="46615" y="102825"/>
                      </a:cubicBezTo>
                      <a:cubicBezTo>
                        <a:pt x="46384" y="102825"/>
                        <a:pt x="46384" y="102825"/>
                        <a:pt x="46384" y="102825"/>
                      </a:cubicBezTo>
                      <a:cubicBezTo>
                        <a:pt x="46153" y="102825"/>
                        <a:pt x="46153" y="102825"/>
                        <a:pt x="46153" y="102825"/>
                      </a:cubicBezTo>
                      <a:cubicBezTo>
                        <a:pt x="45923" y="102825"/>
                        <a:pt x="45923" y="102825"/>
                        <a:pt x="45923" y="102825"/>
                      </a:cubicBezTo>
                      <a:cubicBezTo>
                        <a:pt x="45923" y="102825"/>
                        <a:pt x="45923" y="102825"/>
                        <a:pt x="45923" y="102825"/>
                      </a:cubicBezTo>
                      <a:cubicBezTo>
                        <a:pt x="45692" y="103048"/>
                        <a:pt x="45692" y="103048"/>
                        <a:pt x="45692" y="103048"/>
                      </a:cubicBezTo>
                      <a:cubicBezTo>
                        <a:pt x="45692" y="103048"/>
                        <a:pt x="45692" y="103048"/>
                        <a:pt x="45692" y="103048"/>
                      </a:cubicBezTo>
                      <a:cubicBezTo>
                        <a:pt x="45692" y="103048"/>
                        <a:pt x="45692" y="103048"/>
                        <a:pt x="45692" y="103048"/>
                      </a:cubicBezTo>
                      <a:cubicBezTo>
                        <a:pt x="45692" y="103048"/>
                        <a:pt x="45692" y="103048"/>
                        <a:pt x="45692" y="103048"/>
                      </a:cubicBezTo>
                      <a:cubicBezTo>
                        <a:pt x="45461" y="102825"/>
                        <a:pt x="45461" y="102825"/>
                        <a:pt x="45461" y="102825"/>
                      </a:cubicBezTo>
                      <a:cubicBezTo>
                        <a:pt x="45461" y="103048"/>
                        <a:pt x="45461" y="103048"/>
                        <a:pt x="45461" y="103048"/>
                      </a:cubicBezTo>
                      <a:cubicBezTo>
                        <a:pt x="45461" y="103048"/>
                        <a:pt x="45461" y="103048"/>
                        <a:pt x="45461" y="103048"/>
                      </a:cubicBezTo>
                      <a:cubicBezTo>
                        <a:pt x="45461" y="103048"/>
                        <a:pt x="45461" y="103048"/>
                        <a:pt x="45461" y="103048"/>
                      </a:cubicBezTo>
                      <a:cubicBezTo>
                        <a:pt x="48461" y="103717"/>
                        <a:pt x="48461" y="103717"/>
                        <a:pt x="48461" y="103717"/>
                      </a:cubicBezTo>
                      <a:cubicBezTo>
                        <a:pt x="49153" y="103940"/>
                        <a:pt x="49153" y="104386"/>
                        <a:pt x="49846" y="104832"/>
                      </a:cubicBezTo>
                      <a:cubicBezTo>
                        <a:pt x="51692" y="104163"/>
                        <a:pt x="51692" y="104163"/>
                        <a:pt x="51692" y="104163"/>
                      </a:cubicBezTo>
                      <a:cubicBezTo>
                        <a:pt x="54000" y="105724"/>
                        <a:pt x="54000" y="105724"/>
                        <a:pt x="54000" y="105724"/>
                      </a:cubicBezTo>
                      <a:cubicBezTo>
                        <a:pt x="56076" y="105055"/>
                        <a:pt x="56076" y="105055"/>
                        <a:pt x="56076" y="105055"/>
                      </a:cubicBezTo>
                      <a:cubicBezTo>
                        <a:pt x="58153" y="105055"/>
                        <a:pt x="58153" y="105055"/>
                        <a:pt x="58153" y="105055"/>
                      </a:cubicBezTo>
                      <a:cubicBezTo>
                        <a:pt x="58153" y="104832"/>
                        <a:pt x="59076" y="104832"/>
                        <a:pt x="59769" y="105055"/>
                      </a:cubicBezTo>
                      <a:cubicBezTo>
                        <a:pt x="59769" y="105055"/>
                        <a:pt x="59769" y="105055"/>
                        <a:pt x="59769" y="105055"/>
                      </a:cubicBezTo>
                      <a:close/>
                      <a:moveTo>
                        <a:pt x="44307" y="101710"/>
                      </a:moveTo>
                      <a:cubicBezTo>
                        <a:pt x="44307" y="101710"/>
                        <a:pt x="44307" y="101710"/>
                        <a:pt x="44307" y="101710"/>
                      </a:cubicBezTo>
                      <a:cubicBezTo>
                        <a:pt x="44307" y="101710"/>
                        <a:pt x="44307" y="101710"/>
                        <a:pt x="44307" y="101710"/>
                      </a:cubicBezTo>
                      <a:cubicBezTo>
                        <a:pt x="44307" y="101710"/>
                        <a:pt x="44538" y="101710"/>
                        <a:pt x="44538" y="101710"/>
                      </a:cubicBezTo>
                      <a:cubicBezTo>
                        <a:pt x="44538" y="101710"/>
                        <a:pt x="44538" y="101933"/>
                        <a:pt x="44538" y="101933"/>
                      </a:cubicBezTo>
                      <a:cubicBezTo>
                        <a:pt x="44538" y="101933"/>
                        <a:pt x="44538" y="101933"/>
                        <a:pt x="44538" y="101933"/>
                      </a:cubicBezTo>
                      <a:cubicBezTo>
                        <a:pt x="44538" y="101933"/>
                        <a:pt x="44538" y="101933"/>
                        <a:pt x="44769" y="102156"/>
                      </a:cubicBezTo>
                      <a:cubicBezTo>
                        <a:pt x="44769" y="102156"/>
                        <a:pt x="44538" y="102156"/>
                        <a:pt x="44538" y="102156"/>
                      </a:cubicBezTo>
                      <a:cubicBezTo>
                        <a:pt x="44538" y="102156"/>
                        <a:pt x="44538" y="102156"/>
                        <a:pt x="44538" y="102156"/>
                      </a:cubicBezTo>
                      <a:cubicBezTo>
                        <a:pt x="44307" y="102156"/>
                        <a:pt x="44307" y="102156"/>
                        <a:pt x="44307" y="102156"/>
                      </a:cubicBezTo>
                      <a:cubicBezTo>
                        <a:pt x="44307" y="102156"/>
                        <a:pt x="44307" y="102156"/>
                        <a:pt x="44307" y="102156"/>
                      </a:cubicBezTo>
                      <a:cubicBezTo>
                        <a:pt x="44307" y="101710"/>
                        <a:pt x="44307" y="101710"/>
                        <a:pt x="44307" y="101710"/>
                      </a:cubicBezTo>
                      <a:close/>
                      <a:moveTo>
                        <a:pt x="103846" y="45055"/>
                      </a:moveTo>
                      <a:cubicBezTo>
                        <a:pt x="103846" y="45055"/>
                        <a:pt x="103846" y="45055"/>
                        <a:pt x="103846" y="45055"/>
                      </a:cubicBezTo>
                      <a:cubicBezTo>
                        <a:pt x="103615" y="45055"/>
                        <a:pt x="103615" y="45055"/>
                        <a:pt x="103615" y="45055"/>
                      </a:cubicBezTo>
                      <a:cubicBezTo>
                        <a:pt x="103384" y="44832"/>
                        <a:pt x="103384" y="44832"/>
                        <a:pt x="103384" y="44832"/>
                      </a:cubicBezTo>
                      <a:cubicBezTo>
                        <a:pt x="103384" y="44832"/>
                        <a:pt x="103384" y="44832"/>
                        <a:pt x="103384" y="44832"/>
                      </a:cubicBezTo>
                      <a:cubicBezTo>
                        <a:pt x="103384" y="44832"/>
                        <a:pt x="103384" y="44832"/>
                        <a:pt x="103384" y="44832"/>
                      </a:cubicBezTo>
                      <a:cubicBezTo>
                        <a:pt x="103615" y="44832"/>
                        <a:pt x="103615" y="44609"/>
                        <a:pt x="103615" y="44609"/>
                      </a:cubicBezTo>
                      <a:cubicBezTo>
                        <a:pt x="103615" y="44832"/>
                        <a:pt x="103846" y="44832"/>
                        <a:pt x="103846" y="45055"/>
                      </a:cubicBezTo>
                      <a:close/>
                      <a:moveTo>
                        <a:pt x="113769" y="115985"/>
                      </a:moveTo>
                      <a:cubicBezTo>
                        <a:pt x="113769" y="115985"/>
                        <a:pt x="113769" y="115985"/>
                        <a:pt x="113769" y="115985"/>
                      </a:cubicBezTo>
                      <a:cubicBezTo>
                        <a:pt x="113307" y="116877"/>
                        <a:pt x="113307" y="116877"/>
                        <a:pt x="113307" y="116877"/>
                      </a:cubicBezTo>
                      <a:cubicBezTo>
                        <a:pt x="112846" y="117546"/>
                        <a:pt x="112846" y="117546"/>
                        <a:pt x="112846" y="117546"/>
                      </a:cubicBezTo>
                      <a:cubicBezTo>
                        <a:pt x="114000" y="117992"/>
                        <a:pt x="114000" y="117992"/>
                        <a:pt x="114000" y="117992"/>
                      </a:cubicBezTo>
                      <a:cubicBezTo>
                        <a:pt x="114692" y="118884"/>
                        <a:pt x="114692" y="118884"/>
                        <a:pt x="114692" y="118884"/>
                      </a:cubicBezTo>
                      <a:cubicBezTo>
                        <a:pt x="114692" y="118884"/>
                        <a:pt x="115153" y="119553"/>
                        <a:pt x="115615" y="119553"/>
                      </a:cubicBezTo>
                      <a:cubicBezTo>
                        <a:pt x="116076" y="119553"/>
                        <a:pt x="116769" y="120000"/>
                        <a:pt x="116769" y="120000"/>
                      </a:cubicBezTo>
                      <a:cubicBezTo>
                        <a:pt x="116769" y="120000"/>
                        <a:pt x="117230" y="119330"/>
                        <a:pt x="117230" y="118438"/>
                      </a:cubicBezTo>
                      <a:cubicBezTo>
                        <a:pt x="117461" y="117769"/>
                        <a:pt x="116538" y="116877"/>
                        <a:pt x="117923" y="116654"/>
                      </a:cubicBezTo>
                      <a:cubicBezTo>
                        <a:pt x="119307" y="116654"/>
                        <a:pt x="118384" y="115092"/>
                        <a:pt x="118384" y="115092"/>
                      </a:cubicBezTo>
                      <a:cubicBezTo>
                        <a:pt x="118384" y="113977"/>
                        <a:pt x="118384" y="113977"/>
                        <a:pt x="118384" y="113977"/>
                      </a:cubicBezTo>
                      <a:cubicBezTo>
                        <a:pt x="118153" y="112639"/>
                        <a:pt x="118153" y="112639"/>
                        <a:pt x="118153" y="112639"/>
                      </a:cubicBezTo>
                      <a:cubicBezTo>
                        <a:pt x="118384" y="112193"/>
                        <a:pt x="118384" y="112193"/>
                        <a:pt x="118384" y="112193"/>
                      </a:cubicBezTo>
                      <a:cubicBezTo>
                        <a:pt x="119076" y="111301"/>
                        <a:pt x="119076" y="111301"/>
                        <a:pt x="119076" y="111301"/>
                      </a:cubicBezTo>
                      <a:cubicBezTo>
                        <a:pt x="119769" y="110631"/>
                        <a:pt x="119769" y="110631"/>
                        <a:pt x="119769" y="110631"/>
                      </a:cubicBezTo>
                      <a:cubicBezTo>
                        <a:pt x="119769" y="110631"/>
                        <a:pt x="120000" y="109962"/>
                        <a:pt x="120000" y="109516"/>
                      </a:cubicBezTo>
                      <a:cubicBezTo>
                        <a:pt x="119769" y="109293"/>
                        <a:pt x="119076" y="108178"/>
                        <a:pt x="119076" y="108178"/>
                      </a:cubicBezTo>
                      <a:cubicBezTo>
                        <a:pt x="119769" y="105501"/>
                        <a:pt x="119769" y="105501"/>
                        <a:pt x="119769" y="105501"/>
                      </a:cubicBezTo>
                      <a:cubicBezTo>
                        <a:pt x="119538" y="105055"/>
                        <a:pt x="119538" y="105055"/>
                        <a:pt x="119538" y="105055"/>
                      </a:cubicBezTo>
                      <a:cubicBezTo>
                        <a:pt x="119307" y="104386"/>
                        <a:pt x="119307" y="104386"/>
                        <a:pt x="119307" y="104386"/>
                      </a:cubicBezTo>
                      <a:cubicBezTo>
                        <a:pt x="118846" y="102379"/>
                        <a:pt x="118846" y="102379"/>
                        <a:pt x="118846" y="102379"/>
                      </a:cubicBezTo>
                      <a:cubicBezTo>
                        <a:pt x="118846" y="99702"/>
                        <a:pt x="118846" y="99702"/>
                        <a:pt x="118846" y="99702"/>
                      </a:cubicBezTo>
                      <a:cubicBezTo>
                        <a:pt x="117461" y="100148"/>
                        <a:pt x="117461" y="100148"/>
                        <a:pt x="117461" y="100148"/>
                      </a:cubicBezTo>
                      <a:cubicBezTo>
                        <a:pt x="117923" y="101263"/>
                        <a:pt x="117923" y="101263"/>
                        <a:pt x="117923" y="101263"/>
                      </a:cubicBezTo>
                      <a:cubicBezTo>
                        <a:pt x="117461" y="103271"/>
                        <a:pt x="117461" y="103271"/>
                        <a:pt x="117461" y="103271"/>
                      </a:cubicBezTo>
                      <a:cubicBezTo>
                        <a:pt x="116307" y="103494"/>
                        <a:pt x="116307" y="103494"/>
                        <a:pt x="116307" y="103494"/>
                      </a:cubicBezTo>
                      <a:cubicBezTo>
                        <a:pt x="115846" y="103717"/>
                        <a:pt x="115846" y="103717"/>
                        <a:pt x="115846" y="103717"/>
                      </a:cubicBezTo>
                      <a:cubicBezTo>
                        <a:pt x="115153" y="104386"/>
                        <a:pt x="115153" y="104386"/>
                        <a:pt x="115153" y="104386"/>
                      </a:cubicBezTo>
                      <a:cubicBezTo>
                        <a:pt x="114000" y="104609"/>
                        <a:pt x="114000" y="104609"/>
                        <a:pt x="114000" y="104609"/>
                      </a:cubicBezTo>
                      <a:cubicBezTo>
                        <a:pt x="112846" y="105501"/>
                        <a:pt x="112846" y="105501"/>
                        <a:pt x="112846" y="105501"/>
                      </a:cubicBezTo>
                      <a:cubicBezTo>
                        <a:pt x="111923" y="106617"/>
                        <a:pt x="111923" y="106617"/>
                        <a:pt x="111923" y="106617"/>
                      </a:cubicBezTo>
                      <a:cubicBezTo>
                        <a:pt x="111230" y="107286"/>
                        <a:pt x="111230" y="107286"/>
                        <a:pt x="111230" y="107286"/>
                      </a:cubicBezTo>
                      <a:cubicBezTo>
                        <a:pt x="111230" y="107286"/>
                        <a:pt x="111230" y="107732"/>
                        <a:pt x="111692" y="108178"/>
                      </a:cubicBezTo>
                      <a:cubicBezTo>
                        <a:pt x="112153" y="108847"/>
                        <a:pt x="111000" y="111078"/>
                        <a:pt x="111000" y="111078"/>
                      </a:cubicBezTo>
                      <a:cubicBezTo>
                        <a:pt x="111923" y="111078"/>
                        <a:pt x="111923" y="111078"/>
                        <a:pt x="111923" y="111078"/>
                      </a:cubicBezTo>
                      <a:cubicBezTo>
                        <a:pt x="112153" y="112193"/>
                        <a:pt x="112153" y="112193"/>
                        <a:pt x="112153" y="112193"/>
                      </a:cubicBezTo>
                      <a:cubicBezTo>
                        <a:pt x="111461" y="113308"/>
                        <a:pt x="111461" y="113308"/>
                        <a:pt x="111461" y="113308"/>
                      </a:cubicBezTo>
                      <a:cubicBezTo>
                        <a:pt x="112153" y="113754"/>
                        <a:pt x="112153" y="113754"/>
                        <a:pt x="112153" y="113754"/>
                      </a:cubicBezTo>
                      <a:cubicBezTo>
                        <a:pt x="112846" y="113754"/>
                        <a:pt x="112846" y="113754"/>
                        <a:pt x="112846" y="113754"/>
                      </a:cubicBezTo>
                      <a:cubicBezTo>
                        <a:pt x="112153" y="115092"/>
                        <a:pt x="112153" y="115092"/>
                        <a:pt x="112153" y="115092"/>
                      </a:cubicBezTo>
                      <a:cubicBezTo>
                        <a:pt x="112153" y="115539"/>
                        <a:pt x="112153" y="115539"/>
                        <a:pt x="112153" y="115539"/>
                      </a:cubicBezTo>
                      <a:lnTo>
                        <a:pt x="113769" y="115985"/>
                      </a:lnTo>
                      <a:close/>
                    </a:path>
                  </a:pathLst>
                </a:custGeom>
                <a:solidFill>
                  <a:schemeClr val="bg1">
                    <a:lumMod val="75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1" name="Shape 2043"/>
                <p:cNvSpPr/>
                <p:nvPr/>
              </p:nvSpPr>
              <p:spPr>
                <a:xfrm>
                  <a:off x="5322812" y="2251718"/>
                  <a:ext cx="802583" cy="653100"/>
                </a:xfrm>
                <a:custGeom>
                  <a:avLst/>
                  <a:gdLst/>
                  <a:ahLst/>
                  <a:cxnLst/>
                  <a:rect l="0" t="0" r="0" b="0"/>
                  <a:pathLst>
                    <a:path w="120000" h="120000" extrusionOk="0">
                      <a:moveTo>
                        <a:pt x="52840" y="9355"/>
                      </a:moveTo>
                      <a:cubicBezTo>
                        <a:pt x="53522" y="9355"/>
                        <a:pt x="56590" y="6508"/>
                        <a:pt x="56590" y="6508"/>
                      </a:cubicBezTo>
                      <a:cubicBezTo>
                        <a:pt x="56590" y="6508"/>
                        <a:pt x="58295" y="7322"/>
                        <a:pt x="59318" y="6915"/>
                      </a:cubicBezTo>
                      <a:cubicBezTo>
                        <a:pt x="60340" y="6915"/>
                        <a:pt x="63750" y="6508"/>
                        <a:pt x="63750" y="6508"/>
                      </a:cubicBezTo>
                      <a:cubicBezTo>
                        <a:pt x="63750" y="6508"/>
                        <a:pt x="65454" y="6508"/>
                        <a:pt x="66136" y="6508"/>
                      </a:cubicBezTo>
                      <a:cubicBezTo>
                        <a:pt x="66818" y="6508"/>
                        <a:pt x="69886" y="6101"/>
                        <a:pt x="70568" y="6101"/>
                      </a:cubicBezTo>
                      <a:cubicBezTo>
                        <a:pt x="71250" y="6101"/>
                        <a:pt x="73295" y="5694"/>
                        <a:pt x="73636" y="5288"/>
                      </a:cubicBezTo>
                      <a:cubicBezTo>
                        <a:pt x="74318" y="5288"/>
                        <a:pt x="78409" y="4881"/>
                        <a:pt x="78750" y="4881"/>
                      </a:cubicBezTo>
                      <a:cubicBezTo>
                        <a:pt x="79431" y="4881"/>
                        <a:pt x="85909" y="4067"/>
                        <a:pt x="85909" y="4067"/>
                      </a:cubicBezTo>
                      <a:cubicBezTo>
                        <a:pt x="88636" y="2033"/>
                        <a:pt x="88636" y="2033"/>
                        <a:pt x="88636" y="2033"/>
                      </a:cubicBezTo>
                      <a:cubicBezTo>
                        <a:pt x="91704" y="1220"/>
                        <a:pt x="91704" y="1220"/>
                        <a:pt x="91704" y="1220"/>
                      </a:cubicBezTo>
                      <a:cubicBezTo>
                        <a:pt x="91704" y="1220"/>
                        <a:pt x="92727" y="0"/>
                        <a:pt x="92727" y="406"/>
                      </a:cubicBezTo>
                      <a:cubicBezTo>
                        <a:pt x="93068" y="1220"/>
                        <a:pt x="93750" y="2440"/>
                        <a:pt x="93750" y="2440"/>
                      </a:cubicBezTo>
                      <a:cubicBezTo>
                        <a:pt x="93750" y="2440"/>
                        <a:pt x="97500" y="2440"/>
                        <a:pt x="97500" y="2440"/>
                      </a:cubicBezTo>
                      <a:cubicBezTo>
                        <a:pt x="97500" y="2847"/>
                        <a:pt x="98522" y="5288"/>
                        <a:pt x="98522" y="5288"/>
                      </a:cubicBezTo>
                      <a:cubicBezTo>
                        <a:pt x="99545" y="6508"/>
                        <a:pt x="99545" y="6508"/>
                        <a:pt x="99545" y="6508"/>
                      </a:cubicBezTo>
                      <a:cubicBezTo>
                        <a:pt x="99545" y="6508"/>
                        <a:pt x="99886" y="8542"/>
                        <a:pt x="99886" y="9762"/>
                      </a:cubicBezTo>
                      <a:cubicBezTo>
                        <a:pt x="100227" y="10576"/>
                        <a:pt x="102613" y="15457"/>
                        <a:pt x="102613" y="15457"/>
                      </a:cubicBezTo>
                      <a:cubicBezTo>
                        <a:pt x="104318" y="19932"/>
                        <a:pt x="104318" y="19932"/>
                        <a:pt x="104318" y="19932"/>
                      </a:cubicBezTo>
                      <a:cubicBezTo>
                        <a:pt x="107045" y="24406"/>
                        <a:pt x="107045" y="24406"/>
                        <a:pt x="107045" y="24406"/>
                      </a:cubicBezTo>
                      <a:cubicBezTo>
                        <a:pt x="107386" y="27661"/>
                        <a:pt x="107386" y="27661"/>
                        <a:pt x="107386" y="27661"/>
                      </a:cubicBezTo>
                      <a:cubicBezTo>
                        <a:pt x="107386" y="27661"/>
                        <a:pt x="108409" y="28881"/>
                        <a:pt x="108409" y="29694"/>
                      </a:cubicBezTo>
                      <a:cubicBezTo>
                        <a:pt x="108409" y="30101"/>
                        <a:pt x="108409" y="31322"/>
                        <a:pt x="108409" y="31728"/>
                      </a:cubicBezTo>
                      <a:cubicBezTo>
                        <a:pt x="108750" y="31728"/>
                        <a:pt x="109090" y="33762"/>
                        <a:pt x="108750" y="33762"/>
                      </a:cubicBezTo>
                      <a:cubicBezTo>
                        <a:pt x="108409" y="34169"/>
                        <a:pt x="107045" y="36610"/>
                        <a:pt x="107045" y="36610"/>
                      </a:cubicBezTo>
                      <a:cubicBezTo>
                        <a:pt x="105681" y="37423"/>
                        <a:pt x="105681" y="37423"/>
                        <a:pt x="105681" y="37423"/>
                      </a:cubicBezTo>
                      <a:cubicBezTo>
                        <a:pt x="103977" y="40271"/>
                        <a:pt x="103977" y="40271"/>
                        <a:pt x="103977" y="40271"/>
                      </a:cubicBezTo>
                      <a:cubicBezTo>
                        <a:pt x="102954" y="43932"/>
                        <a:pt x="102954" y="43932"/>
                        <a:pt x="102954" y="43932"/>
                      </a:cubicBezTo>
                      <a:cubicBezTo>
                        <a:pt x="102613" y="45152"/>
                        <a:pt x="102613" y="45152"/>
                        <a:pt x="102613" y="45152"/>
                      </a:cubicBezTo>
                      <a:cubicBezTo>
                        <a:pt x="102613" y="45152"/>
                        <a:pt x="102954" y="46372"/>
                        <a:pt x="103295" y="46372"/>
                      </a:cubicBezTo>
                      <a:cubicBezTo>
                        <a:pt x="103977" y="46372"/>
                        <a:pt x="106363" y="46779"/>
                        <a:pt x="106363" y="46779"/>
                      </a:cubicBezTo>
                      <a:cubicBezTo>
                        <a:pt x="108409" y="48406"/>
                        <a:pt x="108409" y="48406"/>
                        <a:pt x="108409" y="48406"/>
                      </a:cubicBezTo>
                      <a:cubicBezTo>
                        <a:pt x="108409" y="50033"/>
                        <a:pt x="108409" y="50033"/>
                        <a:pt x="108409" y="50033"/>
                      </a:cubicBezTo>
                      <a:cubicBezTo>
                        <a:pt x="108409" y="50033"/>
                        <a:pt x="108750" y="53288"/>
                        <a:pt x="108750" y="53694"/>
                      </a:cubicBezTo>
                      <a:cubicBezTo>
                        <a:pt x="108750" y="53694"/>
                        <a:pt x="108409" y="56542"/>
                        <a:pt x="108409" y="56542"/>
                      </a:cubicBezTo>
                      <a:cubicBezTo>
                        <a:pt x="108409" y="56542"/>
                        <a:pt x="109090" y="58169"/>
                        <a:pt x="109090" y="58576"/>
                      </a:cubicBezTo>
                      <a:cubicBezTo>
                        <a:pt x="109431" y="58983"/>
                        <a:pt x="110113" y="59796"/>
                        <a:pt x="110113" y="60203"/>
                      </a:cubicBezTo>
                      <a:cubicBezTo>
                        <a:pt x="110454" y="60203"/>
                        <a:pt x="110454" y="60610"/>
                        <a:pt x="110454" y="60610"/>
                      </a:cubicBezTo>
                      <a:cubicBezTo>
                        <a:pt x="111136" y="62644"/>
                        <a:pt x="111136" y="62644"/>
                        <a:pt x="111136" y="62644"/>
                      </a:cubicBezTo>
                      <a:cubicBezTo>
                        <a:pt x="111136" y="64271"/>
                        <a:pt x="111136" y="64271"/>
                        <a:pt x="111136" y="64271"/>
                      </a:cubicBezTo>
                      <a:cubicBezTo>
                        <a:pt x="111136" y="64271"/>
                        <a:pt x="111136" y="65491"/>
                        <a:pt x="111818" y="65491"/>
                      </a:cubicBezTo>
                      <a:cubicBezTo>
                        <a:pt x="112500" y="65491"/>
                        <a:pt x="112840" y="65898"/>
                        <a:pt x="112840" y="66711"/>
                      </a:cubicBezTo>
                      <a:cubicBezTo>
                        <a:pt x="112840" y="67525"/>
                        <a:pt x="114545" y="68338"/>
                        <a:pt x="114545" y="68338"/>
                      </a:cubicBezTo>
                      <a:cubicBezTo>
                        <a:pt x="114545" y="68338"/>
                        <a:pt x="114545" y="69966"/>
                        <a:pt x="114886" y="70372"/>
                      </a:cubicBezTo>
                      <a:cubicBezTo>
                        <a:pt x="115568" y="70779"/>
                        <a:pt x="116250" y="71186"/>
                        <a:pt x="117272" y="71186"/>
                      </a:cubicBezTo>
                      <a:cubicBezTo>
                        <a:pt x="118295" y="71593"/>
                        <a:pt x="117954" y="73220"/>
                        <a:pt x="118636" y="73627"/>
                      </a:cubicBezTo>
                      <a:cubicBezTo>
                        <a:pt x="119318" y="74033"/>
                        <a:pt x="120000" y="74847"/>
                        <a:pt x="119318" y="74847"/>
                      </a:cubicBezTo>
                      <a:cubicBezTo>
                        <a:pt x="118977" y="75254"/>
                        <a:pt x="117954" y="75254"/>
                        <a:pt x="117954" y="75254"/>
                      </a:cubicBezTo>
                      <a:cubicBezTo>
                        <a:pt x="117954" y="75254"/>
                        <a:pt x="117613" y="75661"/>
                        <a:pt x="117613" y="76474"/>
                      </a:cubicBezTo>
                      <a:cubicBezTo>
                        <a:pt x="117954" y="76881"/>
                        <a:pt x="117954" y="76881"/>
                        <a:pt x="117954" y="76881"/>
                      </a:cubicBezTo>
                      <a:cubicBezTo>
                        <a:pt x="119318" y="78915"/>
                        <a:pt x="119318" y="78915"/>
                        <a:pt x="119318" y="78915"/>
                      </a:cubicBezTo>
                      <a:cubicBezTo>
                        <a:pt x="119318" y="81355"/>
                        <a:pt x="119318" y="81355"/>
                        <a:pt x="119318" y="81355"/>
                      </a:cubicBezTo>
                      <a:cubicBezTo>
                        <a:pt x="119318" y="81355"/>
                        <a:pt x="119318" y="82169"/>
                        <a:pt x="119318" y="82983"/>
                      </a:cubicBezTo>
                      <a:cubicBezTo>
                        <a:pt x="119318" y="83389"/>
                        <a:pt x="118977" y="84203"/>
                        <a:pt x="118295" y="84203"/>
                      </a:cubicBezTo>
                      <a:cubicBezTo>
                        <a:pt x="117613" y="84203"/>
                        <a:pt x="117613" y="85423"/>
                        <a:pt x="117272" y="85423"/>
                      </a:cubicBezTo>
                      <a:cubicBezTo>
                        <a:pt x="116931" y="85830"/>
                        <a:pt x="116250" y="84610"/>
                        <a:pt x="115909" y="85830"/>
                      </a:cubicBezTo>
                      <a:cubicBezTo>
                        <a:pt x="115568" y="87457"/>
                        <a:pt x="114886" y="88677"/>
                        <a:pt x="114886" y="89084"/>
                      </a:cubicBezTo>
                      <a:cubicBezTo>
                        <a:pt x="114545" y="89491"/>
                        <a:pt x="113522" y="89898"/>
                        <a:pt x="113522" y="90711"/>
                      </a:cubicBezTo>
                      <a:cubicBezTo>
                        <a:pt x="113181" y="91525"/>
                        <a:pt x="113181" y="90711"/>
                        <a:pt x="112500" y="92745"/>
                      </a:cubicBezTo>
                      <a:cubicBezTo>
                        <a:pt x="111818" y="94779"/>
                        <a:pt x="111477" y="95593"/>
                        <a:pt x="111477" y="95593"/>
                      </a:cubicBezTo>
                      <a:cubicBezTo>
                        <a:pt x="108409" y="100474"/>
                        <a:pt x="108409" y="100474"/>
                        <a:pt x="108409" y="100474"/>
                      </a:cubicBezTo>
                      <a:cubicBezTo>
                        <a:pt x="108409" y="100474"/>
                        <a:pt x="106704" y="103728"/>
                        <a:pt x="106704" y="104135"/>
                      </a:cubicBezTo>
                      <a:cubicBezTo>
                        <a:pt x="106704" y="104542"/>
                        <a:pt x="106704" y="106169"/>
                        <a:pt x="106704" y="106169"/>
                      </a:cubicBezTo>
                      <a:cubicBezTo>
                        <a:pt x="108068" y="107796"/>
                        <a:pt x="108068" y="107796"/>
                        <a:pt x="108068" y="107796"/>
                      </a:cubicBezTo>
                      <a:cubicBezTo>
                        <a:pt x="108068" y="109423"/>
                        <a:pt x="108068" y="109423"/>
                        <a:pt x="108068" y="109423"/>
                      </a:cubicBezTo>
                      <a:cubicBezTo>
                        <a:pt x="108068" y="109423"/>
                        <a:pt x="108068" y="110644"/>
                        <a:pt x="108409" y="111050"/>
                      </a:cubicBezTo>
                      <a:cubicBezTo>
                        <a:pt x="108750" y="111050"/>
                        <a:pt x="108750" y="111050"/>
                        <a:pt x="108750" y="111050"/>
                      </a:cubicBezTo>
                      <a:cubicBezTo>
                        <a:pt x="108409" y="112271"/>
                        <a:pt x="108409" y="112271"/>
                        <a:pt x="108409" y="112271"/>
                      </a:cubicBezTo>
                      <a:cubicBezTo>
                        <a:pt x="108409" y="112271"/>
                        <a:pt x="108750" y="113491"/>
                        <a:pt x="109090" y="113491"/>
                      </a:cubicBezTo>
                      <a:cubicBezTo>
                        <a:pt x="109090" y="113491"/>
                        <a:pt x="109772" y="113898"/>
                        <a:pt x="109772" y="113898"/>
                      </a:cubicBezTo>
                      <a:cubicBezTo>
                        <a:pt x="109772" y="113898"/>
                        <a:pt x="110454" y="114711"/>
                        <a:pt x="110454" y="114711"/>
                      </a:cubicBezTo>
                      <a:cubicBezTo>
                        <a:pt x="110795" y="115118"/>
                        <a:pt x="110454" y="115932"/>
                        <a:pt x="110454" y="115932"/>
                      </a:cubicBezTo>
                      <a:cubicBezTo>
                        <a:pt x="110454" y="115932"/>
                        <a:pt x="110454" y="116338"/>
                        <a:pt x="110113" y="116338"/>
                      </a:cubicBezTo>
                      <a:cubicBezTo>
                        <a:pt x="109772" y="116338"/>
                        <a:pt x="109772" y="116338"/>
                        <a:pt x="109090" y="116338"/>
                      </a:cubicBezTo>
                      <a:cubicBezTo>
                        <a:pt x="108750" y="115932"/>
                        <a:pt x="107727" y="115932"/>
                        <a:pt x="107386" y="115932"/>
                      </a:cubicBezTo>
                      <a:cubicBezTo>
                        <a:pt x="107045" y="115932"/>
                        <a:pt x="107045" y="115932"/>
                        <a:pt x="107045" y="115932"/>
                      </a:cubicBezTo>
                      <a:cubicBezTo>
                        <a:pt x="106704" y="115932"/>
                        <a:pt x="106704" y="115932"/>
                        <a:pt x="106363" y="116338"/>
                      </a:cubicBezTo>
                      <a:cubicBezTo>
                        <a:pt x="106363" y="115932"/>
                        <a:pt x="106363" y="115932"/>
                        <a:pt x="106363" y="115932"/>
                      </a:cubicBezTo>
                      <a:cubicBezTo>
                        <a:pt x="106363" y="115525"/>
                        <a:pt x="106363" y="115118"/>
                        <a:pt x="106363" y="115118"/>
                      </a:cubicBezTo>
                      <a:cubicBezTo>
                        <a:pt x="106363" y="115118"/>
                        <a:pt x="105340" y="115118"/>
                        <a:pt x="105340" y="115118"/>
                      </a:cubicBezTo>
                      <a:cubicBezTo>
                        <a:pt x="105000" y="115118"/>
                        <a:pt x="104659" y="115118"/>
                        <a:pt x="104659" y="115118"/>
                      </a:cubicBezTo>
                      <a:cubicBezTo>
                        <a:pt x="104659" y="115118"/>
                        <a:pt x="103977" y="114711"/>
                        <a:pt x="103977" y="114711"/>
                      </a:cubicBezTo>
                      <a:cubicBezTo>
                        <a:pt x="103977" y="114711"/>
                        <a:pt x="103636" y="114711"/>
                        <a:pt x="103636" y="114711"/>
                      </a:cubicBezTo>
                      <a:cubicBezTo>
                        <a:pt x="103636" y="114305"/>
                        <a:pt x="103295" y="114711"/>
                        <a:pt x="103295" y="114711"/>
                      </a:cubicBezTo>
                      <a:cubicBezTo>
                        <a:pt x="102954" y="114711"/>
                        <a:pt x="102954" y="114711"/>
                        <a:pt x="102954" y="114711"/>
                      </a:cubicBezTo>
                      <a:cubicBezTo>
                        <a:pt x="102272" y="114711"/>
                        <a:pt x="102272" y="114711"/>
                        <a:pt x="102272" y="114711"/>
                      </a:cubicBezTo>
                      <a:cubicBezTo>
                        <a:pt x="102272" y="114711"/>
                        <a:pt x="102272" y="114305"/>
                        <a:pt x="102272" y="114305"/>
                      </a:cubicBezTo>
                      <a:cubicBezTo>
                        <a:pt x="102272" y="113898"/>
                        <a:pt x="101931" y="114305"/>
                        <a:pt x="101931" y="114305"/>
                      </a:cubicBezTo>
                      <a:cubicBezTo>
                        <a:pt x="101931" y="114305"/>
                        <a:pt x="101250" y="114305"/>
                        <a:pt x="101250" y="114305"/>
                      </a:cubicBezTo>
                      <a:cubicBezTo>
                        <a:pt x="101250" y="113898"/>
                        <a:pt x="100909" y="113898"/>
                        <a:pt x="100909" y="113898"/>
                      </a:cubicBezTo>
                      <a:cubicBezTo>
                        <a:pt x="100909" y="113898"/>
                        <a:pt x="99886" y="113898"/>
                        <a:pt x="99545" y="113898"/>
                      </a:cubicBezTo>
                      <a:cubicBezTo>
                        <a:pt x="99545" y="113491"/>
                        <a:pt x="99545" y="113491"/>
                        <a:pt x="99545" y="113491"/>
                      </a:cubicBezTo>
                      <a:cubicBezTo>
                        <a:pt x="99545" y="113491"/>
                        <a:pt x="99545" y="113084"/>
                        <a:pt x="99545" y="112677"/>
                      </a:cubicBezTo>
                      <a:cubicBezTo>
                        <a:pt x="99545" y="112677"/>
                        <a:pt x="99204" y="112677"/>
                        <a:pt x="99204" y="112271"/>
                      </a:cubicBezTo>
                      <a:cubicBezTo>
                        <a:pt x="99204" y="112271"/>
                        <a:pt x="98863" y="111864"/>
                        <a:pt x="98863" y="111864"/>
                      </a:cubicBezTo>
                      <a:cubicBezTo>
                        <a:pt x="98863" y="111457"/>
                        <a:pt x="98522" y="111457"/>
                        <a:pt x="98522" y="111050"/>
                      </a:cubicBezTo>
                      <a:cubicBezTo>
                        <a:pt x="98522" y="111050"/>
                        <a:pt x="98181" y="111457"/>
                        <a:pt x="98181" y="111457"/>
                      </a:cubicBezTo>
                      <a:cubicBezTo>
                        <a:pt x="97840" y="111457"/>
                        <a:pt x="97500" y="111050"/>
                        <a:pt x="97500" y="111050"/>
                      </a:cubicBezTo>
                      <a:cubicBezTo>
                        <a:pt x="97159" y="110644"/>
                        <a:pt x="97159" y="110644"/>
                        <a:pt x="97159" y="110644"/>
                      </a:cubicBezTo>
                      <a:cubicBezTo>
                        <a:pt x="97159" y="110644"/>
                        <a:pt x="96818" y="110644"/>
                        <a:pt x="96477" y="110644"/>
                      </a:cubicBezTo>
                      <a:cubicBezTo>
                        <a:pt x="96477" y="110644"/>
                        <a:pt x="96477" y="111457"/>
                        <a:pt x="96477" y="111457"/>
                      </a:cubicBezTo>
                      <a:cubicBezTo>
                        <a:pt x="96477" y="111457"/>
                        <a:pt x="96136" y="111457"/>
                        <a:pt x="95795" y="111050"/>
                      </a:cubicBezTo>
                      <a:cubicBezTo>
                        <a:pt x="95795" y="111050"/>
                        <a:pt x="95454" y="110644"/>
                        <a:pt x="95113" y="110644"/>
                      </a:cubicBezTo>
                      <a:cubicBezTo>
                        <a:pt x="95113" y="110644"/>
                        <a:pt x="94772" y="110644"/>
                        <a:pt x="94431" y="110237"/>
                      </a:cubicBezTo>
                      <a:cubicBezTo>
                        <a:pt x="94431" y="110237"/>
                        <a:pt x="94090" y="110237"/>
                        <a:pt x="94090" y="110237"/>
                      </a:cubicBezTo>
                      <a:cubicBezTo>
                        <a:pt x="94090" y="110237"/>
                        <a:pt x="92727" y="110644"/>
                        <a:pt x="92727" y="110644"/>
                      </a:cubicBezTo>
                      <a:cubicBezTo>
                        <a:pt x="92727" y="110644"/>
                        <a:pt x="92727" y="111050"/>
                        <a:pt x="92386" y="111050"/>
                      </a:cubicBezTo>
                      <a:cubicBezTo>
                        <a:pt x="92386" y="111457"/>
                        <a:pt x="92045" y="111050"/>
                        <a:pt x="92045" y="111050"/>
                      </a:cubicBezTo>
                      <a:cubicBezTo>
                        <a:pt x="92045" y="111050"/>
                        <a:pt x="91704" y="111050"/>
                        <a:pt x="91363" y="111050"/>
                      </a:cubicBezTo>
                      <a:cubicBezTo>
                        <a:pt x="91363" y="111050"/>
                        <a:pt x="91022" y="111050"/>
                        <a:pt x="91022" y="111050"/>
                      </a:cubicBezTo>
                      <a:cubicBezTo>
                        <a:pt x="91022" y="111050"/>
                        <a:pt x="90681" y="110644"/>
                        <a:pt x="90340" y="110644"/>
                      </a:cubicBezTo>
                      <a:cubicBezTo>
                        <a:pt x="90340" y="110644"/>
                        <a:pt x="90000" y="110644"/>
                        <a:pt x="90000" y="110644"/>
                      </a:cubicBezTo>
                      <a:cubicBezTo>
                        <a:pt x="90000" y="110644"/>
                        <a:pt x="89659" y="111050"/>
                        <a:pt x="89659" y="111050"/>
                      </a:cubicBezTo>
                      <a:cubicBezTo>
                        <a:pt x="89318" y="111457"/>
                        <a:pt x="89318" y="111457"/>
                        <a:pt x="89318" y="111457"/>
                      </a:cubicBezTo>
                      <a:cubicBezTo>
                        <a:pt x="89318" y="111864"/>
                        <a:pt x="89318" y="111864"/>
                        <a:pt x="89318" y="111864"/>
                      </a:cubicBezTo>
                      <a:cubicBezTo>
                        <a:pt x="88636" y="111457"/>
                        <a:pt x="88636" y="111457"/>
                        <a:pt x="88636" y="111457"/>
                      </a:cubicBezTo>
                      <a:cubicBezTo>
                        <a:pt x="88636" y="111457"/>
                        <a:pt x="88295" y="111457"/>
                        <a:pt x="87954" y="111457"/>
                      </a:cubicBezTo>
                      <a:cubicBezTo>
                        <a:pt x="87272" y="111864"/>
                        <a:pt x="87613" y="112271"/>
                        <a:pt x="87613" y="112271"/>
                      </a:cubicBezTo>
                      <a:cubicBezTo>
                        <a:pt x="87954" y="112271"/>
                        <a:pt x="88295" y="113084"/>
                        <a:pt x="88295" y="113084"/>
                      </a:cubicBezTo>
                      <a:cubicBezTo>
                        <a:pt x="88295" y="113084"/>
                        <a:pt x="87272" y="113491"/>
                        <a:pt x="87272" y="113491"/>
                      </a:cubicBezTo>
                      <a:cubicBezTo>
                        <a:pt x="86931" y="113898"/>
                        <a:pt x="86931" y="113898"/>
                        <a:pt x="86931" y="114305"/>
                      </a:cubicBezTo>
                      <a:cubicBezTo>
                        <a:pt x="86931" y="114305"/>
                        <a:pt x="86590" y="114711"/>
                        <a:pt x="86590" y="115118"/>
                      </a:cubicBezTo>
                      <a:cubicBezTo>
                        <a:pt x="86590" y="115118"/>
                        <a:pt x="86250" y="114711"/>
                        <a:pt x="85909" y="114711"/>
                      </a:cubicBezTo>
                      <a:cubicBezTo>
                        <a:pt x="85568" y="114711"/>
                        <a:pt x="85568" y="114305"/>
                        <a:pt x="85568" y="114305"/>
                      </a:cubicBezTo>
                      <a:cubicBezTo>
                        <a:pt x="85227" y="114711"/>
                        <a:pt x="85227" y="114711"/>
                        <a:pt x="85227" y="114711"/>
                      </a:cubicBezTo>
                      <a:cubicBezTo>
                        <a:pt x="84886" y="114711"/>
                        <a:pt x="84886" y="114711"/>
                        <a:pt x="84886" y="114711"/>
                      </a:cubicBezTo>
                      <a:cubicBezTo>
                        <a:pt x="84886" y="114711"/>
                        <a:pt x="84545" y="114305"/>
                        <a:pt x="84545" y="113898"/>
                      </a:cubicBezTo>
                      <a:cubicBezTo>
                        <a:pt x="84545" y="113898"/>
                        <a:pt x="84545" y="113898"/>
                        <a:pt x="84545" y="113898"/>
                      </a:cubicBezTo>
                      <a:cubicBezTo>
                        <a:pt x="84204" y="113898"/>
                        <a:pt x="83863" y="113898"/>
                        <a:pt x="83863" y="113491"/>
                      </a:cubicBezTo>
                      <a:cubicBezTo>
                        <a:pt x="83522" y="112677"/>
                        <a:pt x="83522" y="112677"/>
                        <a:pt x="83522" y="112677"/>
                      </a:cubicBezTo>
                      <a:cubicBezTo>
                        <a:pt x="83522" y="112677"/>
                        <a:pt x="82840" y="113084"/>
                        <a:pt x="82840" y="113491"/>
                      </a:cubicBezTo>
                      <a:cubicBezTo>
                        <a:pt x="82500" y="113491"/>
                        <a:pt x="82840" y="113491"/>
                        <a:pt x="82500" y="113084"/>
                      </a:cubicBezTo>
                      <a:cubicBezTo>
                        <a:pt x="82159" y="113084"/>
                        <a:pt x="82159" y="113491"/>
                        <a:pt x="82159" y="113491"/>
                      </a:cubicBezTo>
                      <a:cubicBezTo>
                        <a:pt x="82159" y="113491"/>
                        <a:pt x="82159" y="113491"/>
                        <a:pt x="82159" y="113491"/>
                      </a:cubicBezTo>
                      <a:cubicBezTo>
                        <a:pt x="82159" y="113898"/>
                        <a:pt x="81818" y="113898"/>
                        <a:pt x="81818" y="113898"/>
                      </a:cubicBezTo>
                      <a:cubicBezTo>
                        <a:pt x="81818" y="114305"/>
                        <a:pt x="81477" y="113898"/>
                        <a:pt x="81477" y="113898"/>
                      </a:cubicBezTo>
                      <a:cubicBezTo>
                        <a:pt x="81136" y="113898"/>
                        <a:pt x="80795" y="113898"/>
                        <a:pt x="80795" y="113898"/>
                      </a:cubicBezTo>
                      <a:cubicBezTo>
                        <a:pt x="80795" y="113898"/>
                        <a:pt x="80795" y="113491"/>
                        <a:pt x="80795" y="113491"/>
                      </a:cubicBezTo>
                      <a:cubicBezTo>
                        <a:pt x="80113" y="113898"/>
                        <a:pt x="80113" y="113898"/>
                        <a:pt x="80113" y="113898"/>
                      </a:cubicBezTo>
                      <a:cubicBezTo>
                        <a:pt x="80113" y="113898"/>
                        <a:pt x="80113" y="114305"/>
                        <a:pt x="80113" y="114305"/>
                      </a:cubicBezTo>
                      <a:cubicBezTo>
                        <a:pt x="80113" y="114305"/>
                        <a:pt x="79772" y="114305"/>
                        <a:pt x="79431" y="114711"/>
                      </a:cubicBezTo>
                      <a:cubicBezTo>
                        <a:pt x="78750" y="114711"/>
                        <a:pt x="79090" y="114305"/>
                        <a:pt x="78750" y="114711"/>
                      </a:cubicBezTo>
                      <a:cubicBezTo>
                        <a:pt x="78750" y="114711"/>
                        <a:pt x="78750" y="114711"/>
                        <a:pt x="78750" y="115118"/>
                      </a:cubicBezTo>
                      <a:cubicBezTo>
                        <a:pt x="78750" y="115118"/>
                        <a:pt x="79090" y="115118"/>
                        <a:pt x="78750" y="115525"/>
                      </a:cubicBezTo>
                      <a:cubicBezTo>
                        <a:pt x="78409" y="115932"/>
                        <a:pt x="78409" y="115525"/>
                        <a:pt x="78409" y="115525"/>
                      </a:cubicBezTo>
                      <a:cubicBezTo>
                        <a:pt x="78068" y="115525"/>
                        <a:pt x="77727" y="115932"/>
                        <a:pt x="77727" y="115932"/>
                      </a:cubicBezTo>
                      <a:cubicBezTo>
                        <a:pt x="77727" y="115932"/>
                        <a:pt x="77727" y="116338"/>
                        <a:pt x="77727" y="116338"/>
                      </a:cubicBezTo>
                      <a:cubicBezTo>
                        <a:pt x="77727" y="116338"/>
                        <a:pt x="77386" y="116338"/>
                        <a:pt x="77045" y="116338"/>
                      </a:cubicBezTo>
                      <a:cubicBezTo>
                        <a:pt x="76704" y="116338"/>
                        <a:pt x="77045" y="116745"/>
                        <a:pt x="77045" y="116745"/>
                      </a:cubicBezTo>
                      <a:cubicBezTo>
                        <a:pt x="77045" y="116745"/>
                        <a:pt x="77045" y="117152"/>
                        <a:pt x="76704" y="117559"/>
                      </a:cubicBezTo>
                      <a:cubicBezTo>
                        <a:pt x="76704" y="117559"/>
                        <a:pt x="76704" y="117966"/>
                        <a:pt x="76704" y="118372"/>
                      </a:cubicBezTo>
                      <a:cubicBezTo>
                        <a:pt x="76704" y="118372"/>
                        <a:pt x="76704" y="118372"/>
                        <a:pt x="76704" y="119186"/>
                      </a:cubicBezTo>
                      <a:cubicBezTo>
                        <a:pt x="76704" y="119593"/>
                        <a:pt x="76704" y="119593"/>
                        <a:pt x="76704" y="119593"/>
                      </a:cubicBezTo>
                      <a:cubicBezTo>
                        <a:pt x="76704" y="119593"/>
                        <a:pt x="76363" y="119593"/>
                        <a:pt x="76363" y="119593"/>
                      </a:cubicBezTo>
                      <a:cubicBezTo>
                        <a:pt x="76363" y="119186"/>
                        <a:pt x="76022" y="119593"/>
                        <a:pt x="76022" y="119593"/>
                      </a:cubicBezTo>
                      <a:cubicBezTo>
                        <a:pt x="76022" y="119593"/>
                        <a:pt x="75681" y="119186"/>
                        <a:pt x="75681" y="118779"/>
                      </a:cubicBezTo>
                      <a:cubicBezTo>
                        <a:pt x="75681" y="118779"/>
                        <a:pt x="75340" y="118779"/>
                        <a:pt x="75340" y="118779"/>
                      </a:cubicBezTo>
                      <a:cubicBezTo>
                        <a:pt x="75340" y="118779"/>
                        <a:pt x="74659" y="119186"/>
                        <a:pt x="74659" y="119186"/>
                      </a:cubicBezTo>
                      <a:cubicBezTo>
                        <a:pt x="74659" y="119186"/>
                        <a:pt x="74659" y="119593"/>
                        <a:pt x="74659" y="119593"/>
                      </a:cubicBezTo>
                      <a:cubicBezTo>
                        <a:pt x="74318" y="119593"/>
                        <a:pt x="73636" y="120000"/>
                        <a:pt x="73636" y="120000"/>
                      </a:cubicBezTo>
                      <a:cubicBezTo>
                        <a:pt x="73636" y="120000"/>
                        <a:pt x="73295" y="120000"/>
                        <a:pt x="73295" y="120000"/>
                      </a:cubicBezTo>
                      <a:cubicBezTo>
                        <a:pt x="72954" y="119593"/>
                        <a:pt x="72954" y="119593"/>
                        <a:pt x="72954" y="119593"/>
                      </a:cubicBezTo>
                      <a:cubicBezTo>
                        <a:pt x="72954" y="119186"/>
                        <a:pt x="72954" y="119186"/>
                        <a:pt x="72954" y="119186"/>
                      </a:cubicBezTo>
                      <a:cubicBezTo>
                        <a:pt x="73636" y="118372"/>
                        <a:pt x="73636" y="118372"/>
                        <a:pt x="73636" y="118372"/>
                      </a:cubicBezTo>
                      <a:cubicBezTo>
                        <a:pt x="73295" y="117152"/>
                        <a:pt x="73295" y="117152"/>
                        <a:pt x="73295" y="117152"/>
                      </a:cubicBezTo>
                      <a:cubicBezTo>
                        <a:pt x="72613" y="116338"/>
                        <a:pt x="72613" y="116338"/>
                        <a:pt x="72613" y="116338"/>
                      </a:cubicBezTo>
                      <a:cubicBezTo>
                        <a:pt x="72613" y="115932"/>
                        <a:pt x="72613" y="115932"/>
                        <a:pt x="72613" y="115932"/>
                      </a:cubicBezTo>
                      <a:cubicBezTo>
                        <a:pt x="71590" y="115932"/>
                        <a:pt x="71590" y="115932"/>
                        <a:pt x="71590" y="115932"/>
                      </a:cubicBezTo>
                      <a:cubicBezTo>
                        <a:pt x="70909" y="115525"/>
                        <a:pt x="70909" y="115525"/>
                        <a:pt x="70909" y="115525"/>
                      </a:cubicBezTo>
                      <a:cubicBezTo>
                        <a:pt x="70568" y="115118"/>
                        <a:pt x="70568" y="115118"/>
                        <a:pt x="70568" y="115118"/>
                      </a:cubicBezTo>
                      <a:cubicBezTo>
                        <a:pt x="69545" y="114305"/>
                        <a:pt x="69545" y="114305"/>
                        <a:pt x="69545" y="114305"/>
                      </a:cubicBezTo>
                      <a:cubicBezTo>
                        <a:pt x="68863" y="111864"/>
                        <a:pt x="68863" y="111864"/>
                        <a:pt x="68863" y="111864"/>
                      </a:cubicBezTo>
                      <a:cubicBezTo>
                        <a:pt x="67840" y="111864"/>
                        <a:pt x="67840" y="111864"/>
                        <a:pt x="67840" y="111864"/>
                      </a:cubicBezTo>
                      <a:cubicBezTo>
                        <a:pt x="67840" y="111864"/>
                        <a:pt x="67159" y="112677"/>
                        <a:pt x="67159" y="113084"/>
                      </a:cubicBezTo>
                      <a:cubicBezTo>
                        <a:pt x="67159" y="113491"/>
                        <a:pt x="66477" y="113491"/>
                        <a:pt x="66477" y="113491"/>
                      </a:cubicBezTo>
                      <a:cubicBezTo>
                        <a:pt x="65795" y="114711"/>
                        <a:pt x="65795" y="114711"/>
                        <a:pt x="65795" y="114711"/>
                      </a:cubicBezTo>
                      <a:cubicBezTo>
                        <a:pt x="65795" y="114711"/>
                        <a:pt x="65795" y="116338"/>
                        <a:pt x="65795" y="116745"/>
                      </a:cubicBezTo>
                      <a:cubicBezTo>
                        <a:pt x="65795" y="117152"/>
                        <a:pt x="65113" y="116338"/>
                        <a:pt x="65113" y="116338"/>
                      </a:cubicBezTo>
                      <a:cubicBezTo>
                        <a:pt x="65113" y="116338"/>
                        <a:pt x="64431" y="116745"/>
                        <a:pt x="64090" y="117152"/>
                      </a:cubicBezTo>
                      <a:cubicBezTo>
                        <a:pt x="63750" y="117559"/>
                        <a:pt x="63068" y="117559"/>
                        <a:pt x="63068" y="117559"/>
                      </a:cubicBezTo>
                      <a:cubicBezTo>
                        <a:pt x="63068" y="117559"/>
                        <a:pt x="62727" y="116745"/>
                        <a:pt x="62386" y="116338"/>
                      </a:cubicBezTo>
                      <a:cubicBezTo>
                        <a:pt x="62386" y="116338"/>
                        <a:pt x="62386" y="115932"/>
                        <a:pt x="62386" y="115118"/>
                      </a:cubicBezTo>
                      <a:cubicBezTo>
                        <a:pt x="62386" y="114711"/>
                        <a:pt x="61704" y="115525"/>
                        <a:pt x="61704" y="115525"/>
                      </a:cubicBezTo>
                      <a:cubicBezTo>
                        <a:pt x="61704" y="115525"/>
                        <a:pt x="61704" y="115525"/>
                        <a:pt x="61704" y="115525"/>
                      </a:cubicBezTo>
                      <a:cubicBezTo>
                        <a:pt x="61704" y="115118"/>
                        <a:pt x="61704" y="115118"/>
                        <a:pt x="61704" y="115118"/>
                      </a:cubicBezTo>
                      <a:cubicBezTo>
                        <a:pt x="61363" y="114305"/>
                        <a:pt x="61022" y="113898"/>
                        <a:pt x="61022" y="113898"/>
                      </a:cubicBezTo>
                      <a:cubicBezTo>
                        <a:pt x="61022" y="113898"/>
                        <a:pt x="60681" y="113084"/>
                        <a:pt x="60681" y="112271"/>
                      </a:cubicBezTo>
                      <a:cubicBezTo>
                        <a:pt x="60681" y="111864"/>
                        <a:pt x="59318" y="111050"/>
                        <a:pt x="59318" y="111050"/>
                      </a:cubicBezTo>
                      <a:cubicBezTo>
                        <a:pt x="59318" y="111050"/>
                        <a:pt x="59659" y="111864"/>
                        <a:pt x="58977" y="111050"/>
                      </a:cubicBezTo>
                      <a:cubicBezTo>
                        <a:pt x="58295" y="109830"/>
                        <a:pt x="57613" y="109830"/>
                        <a:pt x="57613" y="109830"/>
                      </a:cubicBezTo>
                      <a:cubicBezTo>
                        <a:pt x="57272" y="106576"/>
                        <a:pt x="57272" y="106576"/>
                        <a:pt x="57272" y="106576"/>
                      </a:cubicBezTo>
                      <a:cubicBezTo>
                        <a:pt x="54545" y="107389"/>
                        <a:pt x="54545" y="107389"/>
                        <a:pt x="54545" y="107389"/>
                      </a:cubicBezTo>
                      <a:cubicBezTo>
                        <a:pt x="54545" y="107389"/>
                        <a:pt x="52840" y="106576"/>
                        <a:pt x="52500" y="106169"/>
                      </a:cubicBezTo>
                      <a:cubicBezTo>
                        <a:pt x="52159" y="105762"/>
                        <a:pt x="51136" y="105355"/>
                        <a:pt x="51136" y="105355"/>
                      </a:cubicBezTo>
                      <a:cubicBezTo>
                        <a:pt x="50113" y="106576"/>
                        <a:pt x="50113" y="106576"/>
                        <a:pt x="50113" y="106576"/>
                      </a:cubicBezTo>
                      <a:cubicBezTo>
                        <a:pt x="49090" y="106576"/>
                        <a:pt x="49090" y="106576"/>
                        <a:pt x="49090" y="106576"/>
                      </a:cubicBezTo>
                      <a:cubicBezTo>
                        <a:pt x="49090" y="106576"/>
                        <a:pt x="47727" y="106169"/>
                        <a:pt x="47386" y="105762"/>
                      </a:cubicBezTo>
                      <a:cubicBezTo>
                        <a:pt x="46704" y="104949"/>
                        <a:pt x="47045" y="104542"/>
                        <a:pt x="46704" y="104542"/>
                      </a:cubicBezTo>
                      <a:cubicBezTo>
                        <a:pt x="46022" y="104542"/>
                        <a:pt x="45681" y="103728"/>
                        <a:pt x="45681" y="103728"/>
                      </a:cubicBezTo>
                      <a:cubicBezTo>
                        <a:pt x="45681" y="103728"/>
                        <a:pt x="46363" y="102508"/>
                        <a:pt x="46704" y="102101"/>
                      </a:cubicBezTo>
                      <a:cubicBezTo>
                        <a:pt x="46704" y="101694"/>
                        <a:pt x="47386" y="102101"/>
                        <a:pt x="47045" y="100881"/>
                      </a:cubicBezTo>
                      <a:cubicBezTo>
                        <a:pt x="46363" y="100067"/>
                        <a:pt x="46022" y="99661"/>
                        <a:pt x="46022" y="99661"/>
                      </a:cubicBezTo>
                      <a:cubicBezTo>
                        <a:pt x="46022" y="99661"/>
                        <a:pt x="46022" y="100474"/>
                        <a:pt x="45340" y="100881"/>
                      </a:cubicBezTo>
                      <a:cubicBezTo>
                        <a:pt x="44659" y="100881"/>
                        <a:pt x="43636" y="101288"/>
                        <a:pt x="43636" y="101288"/>
                      </a:cubicBezTo>
                      <a:cubicBezTo>
                        <a:pt x="39886" y="99254"/>
                        <a:pt x="39886" y="99254"/>
                        <a:pt x="39886" y="99254"/>
                      </a:cubicBezTo>
                      <a:cubicBezTo>
                        <a:pt x="39886" y="99254"/>
                        <a:pt x="38863" y="98847"/>
                        <a:pt x="38522" y="98847"/>
                      </a:cubicBezTo>
                      <a:cubicBezTo>
                        <a:pt x="38181" y="99254"/>
                        <a:pt x="36818" y="98847"/>
                        <a:pt x="36818" y="98847"/>
                      </a:cubicBezTo>
                      <a:cubicBezTo>
                        <a:pt x="37500" y="100474"/>
                        <a:pt x="37500" y="100474"/>
                        <a:pt x="37500" y="100474"/>
                      </a:cubicBezTo>
                      <a:cubicBezTo>
                        <a:pt x="38181" y="102915"/>
                        <a:pt x="38181" y="102915"/>
                        <a:pt x="38181" y="102915"/>
                      </a:cubicBezTo>
                      <a:cubicBezTo>
                        <a:pt x="36136" y="103728"/>
                        <a:pt x="36136" y="103728"/>
                        <a:pt x="36136" y="103728"/>
                      </a:cubicBezTo>
                      <a:cubicBezTo>
                        <a:pt x="35795" y="105762"/>
                        <a:pt x="35795" y="105762"/>
                        <a:pt x="35795" y="105762"/>
                      </a:cubicBezTo>
                      <a:cubicBezTo>
                        <a:pt x="35795" y="105762"/>
                        <a:pt x="33750" y="107389"/>
                        <a:pt x="33750" y="106576"/>
                      </a:cubicBezTo>
                      <a:cubicBezTo>
                        <a:pt x="33409" y="106169"/>
                        <a:pt x="33068" y="104542"/>
                        <a:pt x="33068" y="104542"/>
                      </a:cubicBezTo>
                      <a:cubicBezTo>
                        <a:pt x="33068" y="104542"/>
                        <a:pt x="32727" y="103728"/>
                        <a:pt x="32386" y="103322"/>
                      </a:cubicBezTo>
                      <a:cubicBezTo>
                        <a:pt x="31704" y="102915"/>
                        <a:pt x="31363" y="102508"/>
                        <a:pt x="31363" y="102508"/>
                      </a:cubicBezTo>
                      <a:cubicBezTo>
                        <a:pt x="30340" y="102101"/>
                        <a:pt x="30340" y="102101"/>
                        <a:pt x="30340" y="102101"/>
                      </a:cubicBezTo>
                      <a:cubicBezTo>
                        <a:pt x="30340" y="102101"/>
                        <a:pt x="30000" y="100474"/>
                        <a:pt x="29659" y="100474"/>
                      </a:cubicBezTo>
                      <a:cubicBezTo>
                        <a:pt x="29318" y="100474"/>
                        <a:pt x="28977" y="100474"/>
                        <a:pt x="28977" y="100474"/>
                      </a:cubicBezTo>
                      <a:cubicBezTo>
                        <a:pt x="28977" y="99254"/>
                        <a:pt x="28977" y="99254"/>
                        <a:pt x="28977" y="99254"/>
                      </a:cubicBezTo>
                      <a:cubicBezTo>
                        <a:pt x="29659" y="98033"/>
                        <a:pt x="29659" y="98033"/>
                        <a:pt x="29659" y="98033"/>
                      </a:cubicBezTo>
                      <a:cubicBezTo>
                        <a:pt x="29659" y="98033"/>
                        <a:pt x="30000" y="98440"/>
                        <a:pt x="30000" y="96813"/>
                      </a:cubicBezTo>
                      <a:cubicBezTo>
                        <a:pt x="30340" y="94779"/>
                        <a:pt x="29318" y="94779"/>
                        <a:pt x="29318" y="94779"/>
                      </a:cubicBezTo>
                      <a:cubicBezTo>
                        <a:pt x="28295" y="95186"/>
                        <a:pt x="28295" y="95186"/>
                        <a:pt x="28295" y="95186"/>
                      </a:cubicBezTo>
                      <a:cubicBezTo>
                        <a:pt x="26931" y="96000"/>
                        <a:pt x="26931" y="96000"/>
                        <a:pt x="26931" y="96000"/>
                      </a:cubicBezTo>
                      <a:cubicBezTo>
                        <a:pt x="26250" y="96000"/>
                        <a:pt x="26250" y="96000"/>
                        <a:pt x="26250" y="96000"/>
                      </a:cubicBezTo>
                      <a:cubicBezTo>
                        <a:pt x="25909" y="96000"/>
                        <a:pt x="25227" y="94779"/>
                        <a:pt x="25227" y="94779"/>
                      </a:cubicBezTo>
                      <a:cubicBezTo>
                        <a:pt x="25227" y="94779"/>
                        <a:pt x="25909" y="93559"/>
                        <a:pt x="24886" y="94779"/>
                      </a:cubicBezTo>
                      <a:cubicBezTo>
                        <a:pt x="23863" y="96000"/>
                        <a:pt x="23181" y="94372"/>
                        <a:pt x="23181" y="94372"/>
                      </a:cubicBezTo>
                      <a:cubicBezTo>
                        <a:pt x="22840" y="93966"/>
                        <a:pt x="22840" y="93966"/>
                        <a:pt x="22840" y="93966"/>
                      </a:cubicBezTo>
                      <a:cubicBezTo>
                        <a:pt x="22840" y="93966"/>
                        <a:pt x="22840" y="93966"/>
                        <a:pt x="22500" y="93966"/>
                      </a:cubicBezTo>
                      <a:cubicBezTo>
                        <a:pt x="22159" y="94372"/>
                        <a:pt x="21136" y="94372"/>
                        <a:pt x="21136" y="93966"/>
                      </a:cubicBezTo>
                      <a:cubicBezTo>
                        <a:pt x="20795" y="93152"/>
                        <a:pt x="20113" y="92745"/>
                        <a:pt x="20113" y="92745"/>
                      </a:cubicBezTo>
                      <a:cubicBezTo>
                        <a:pt x="19090" y="93152"/>
                        <a:pt x="19090" y="93152"/>
                        <a:pt x="19090" y="93152"/>
                      </a:cubicBezTo>
                      <a:cubicBezTo>
                        <a:pt x="19090" y="93152"/>
                        <a:pt x="18409" y="93152"/>
                        <a:pt x="18068" y="93152"/>
                      </a:cubicBezTo>
                      <a:cubicBezTo>
                        <a:pt x="18068" y="92745"/>
                        <a:pt x="18068" y="92338"/>
                        <a:pt x="17386" y="91932"/>
                      </a:cubicBezTo>
                      <a:cubicBezTo>
                        <a:pt x="16704" y="91525"/>
                        <a:pt x="16363" y="90305"/>
                        <a:pt x="16363" y="90305"/>
                      </a:cubicBezTo>
                      <a:cubicBezTo>
                        <a:pt x="16363" y="90305"/>
                        <a:pt x="16704" y="89491"/>
                        <a:pt x="16022" y="89491"/>
                      </a:cubicBezTo>
                      <a:cubicBezTo>
                        <a:pt x="15681" y="89491"/>
                        <a:pt x="15000" y="89084"/>
                        <a:pt x="15000" y="89084"/>
                      </a:cubicBezTo>
                      <a:cubicBezTo>
                        <a:pt x="15000" y="89084"/>
                        <a:pt x="13977" y="88271"/>
                        <a:pt x="13977" y="88677"/>
                      </a:cubicBezTo>
                      <a:cubicBezTo>
                        <a:pt x="13636" y="89084"/>
                        <a:pt x="13636" y="89898"/>
                        <a:pt x="13636" y="90305"/>
                      </a:cubicBezTo>
                      <a:cubicBezTo>
                        <a:pt x="13636" y="90305"/>
                        <a:pt x="13977" y="91525"/>
                        <a:pt x="13977" y="91525"/>
                      </a:cubicBezTo>
                      <a:cubicBezTo>
                        <a:pt x="13977" y="91525"/>
                        <a:pt x="12613" y="92338"/>
                        <a:pt x="12272" y="92338"/>
                      </a:cubicBezTo>
                      <a:cubicBezTo>
                        <a:pt x="11931" y="92338"/>
                        <a:pt x="11590" y="92745"/>
                        <a:pt x="11590" y="91932"/>
                      </a:cubicBezTo>
                      <a:cubicBezTo>
                        <a:pt x="11590" y="91525"/>
                        <a:pt x="12272" y="89491"/>
                        <a:pt x="12272" y="89491"/>
                      </a:cubicBezTo>
                      <a:cubicBezTo>
                        <a:pt x="12613" y="89084"/>
                        <a:pt x="12954" y="88677"/>
                        <a:pt x="12954" y="88677"/>
                      </a:cubicBezTo>
                      <a:cubicBezTo>
                        <a:pt x="12954" y="88677"/>
                        <a:pt x="12613" y="87864"/>
                        <a:pt x="12613" y="87457"/>
                      </a:cubicBezTo>
                      <a:cubicBezTo>
                        <a:pt x="12613" y="87050"/>
                        <a:pt x="12272" y="87050"/>
                        <a:pt x="12954" y="85830"/>
                      </a:cubicBezTo>
                      <a:cubicBezTo>
                        <a:pt x="13977" y="84610"/>
                        <a:pt x="13977" y="83796"/>
                        <a:pt x="13977" y="83796"/>
                      </a:cubicBezTo>
                      <a:cubicBezTo>
                        <a:pt x="13977" y="83796"/>
                        <a:pt x="13295" y="82576"/>
                        <a:pt x="12954" y="82169"/>
                      </a:cubicBezTo>
                      <a:cubicBezTo>
                        <a:pt x="12954" y="82169"/>
                        <a:pt x="11931" y="80542"/>
                        <a:pt x="11931" y="80542"/>
                      </a:cubicBezTo>
                      <a:cubicBezTo>
                        <a:pt x="11931" y="80135"/>
                        <a:pt x="11931" y="79322"/>
                        <a:pt x="11931" y="79322"/>
                      </a:cubicBezTo>
                      <a:cubicBezTo>
                        <a:pt x="11931" y="79322"/>
                        <a:pt x="11250" y="78508"/>
                        <a:pt x="10909" y="78508"/>
                      </a:cubicBezTo>
                      <a:cubicBezTo>
                        <a:pt x="10568" y="78508"/>
                        <a:pt x="9545" y="78101"/>
                        <a:pt x="9545" y="78101"/>
                      </a:cubicBezTo>
                      <a:cubicBezTo>
                        <a:pt x="9545" y="76881"/>
                        <a:pt x="9545" y="76881"/>
                        <a:pt x="9545" y="76881"/>
                      </a:cubicBezTo>
                      <a:cubicBezTo>
                        <a:pt x="9545" y="74847"/>
                        <a:pt x="9545" y="74847"/>
                        <a:pt x="9545" y="74847"/>
                      </a:cubicBezTo>
                      <a:cubicBezTo>
                        <a:pt x="8181" y="72813"/>
                        <a:pt x="8181" y="72813"/>
                        <a:pt x="8181" y="72813"/>
                      </a:cubicBezTo>
                      <a:cubicBezTo>
                        <a:pt x="7840" y="71593"/>
                        <a:pt x="7840" y="71593"/>
                        <a:pt x="7840" y="71593"/>
                      </a:cubicBezTo>
                      <a:cubicBezTo>
                        <a:pt x="7840" y="71593"/>
                        <a:pt x="8181" y="70779"/>
                        <a:pt x="8181" y="69966"/>
                      </a:cubicBezTo>
                      <a:cubicBezTo>
                        <a:pt x="8522" y="69559"/>
                        <a:pt x="8863" y="68338"/>
                        <a:pt x="8863" y="68338"/>
                      </a:cubicBezTo>
                      <a:cubicBezTo>
                        <a:pt x="8181" y="66711"/>
                        <a:pt x="8181" y="66711"/>
                        <a:pt x="8181" y="66711"/>
                      </a:cubicBezTo>
                      <a:cubicBezTo>
                        <a:pt x="8181" y="66711"/>
                        <a:pt x="7840" y="66305"/>
                        <a:pt x="8181" y="65898"/>
                      </a:cubicBezTo>
                      <a:cubicBezTo>
                        <a:pt x="8181" y="65491"/>
                        <a:pt x="7840" y="63050"/>
                        <a:pt x="7840" y="63050"/>
                      </a:cubicBezTo>
                      <a:cubicBezTo>
                        <a:pt x="7840" y="63050"/>
                        <a:pt x="7500" y="60610"/>
                        <a:pt x="7159" y="61016"/>
                      </a:cubicBezTo>
                      <a:cubicBezTo>
                        <a:pt x="6477" y="61016"/>
                        <a:pt x="6136" y="59389"/>
                        <a:pt x="6136" y="59389"/>
                      </a:cubicBezTo>
                      <a:cubicBezTo>
                        <a:pt x="6818" y="56542"/>
                        <a:pt x="6818" y="56542"/>
                        <a:pt x="6818" y="56542"/>
                      </a:cubicBezTo>
                      <a:cubicBezTo>
                        <a:pt x="6818" y="56542"/>
                        <a:pt x="7159" y="54508"/>
                        <a:pt x="6136" y="53694"/>
                      </a:cubicBezTo>
                      <a:cubicBezTo>
                        <a:pt x="5113" y="53288"/>
                        <a:pt x="3068" y="52067"/>
                        <a:pt x="2727" y="51661"/>
                      </a:cubicBezTo>
                      <a:cubicBezTo>
                        <a:pt x="2727" y="51661"/>
                        <a:pt x="1704" y="50440"/>
                        <a:pt x="1363" y="50033"/>
                      </a:cubicBezTo>
                      <a:cubicBezTo>
                        <a:pt x="1022" y="50033"/>
                        <a:pt x="681" y="49627"/>
                        <a:pt x="681" y="49627"/>
                      </a:cubicBezTo>
                      <a:cubicBezTo>
                        <a:pt x="1363" y="45966"/>
                        <a:pt x="1363" y="45966"/>
                        <a:pt x="1363" y="45966"/>
                      </a:cubicBezTo>
                      <a:cubicBezTo>
                        <a:pt x="3068" y="44338"/>
                        <a:pt x="3068" y="44338"/>
                        <a:pt x="3068" y="44338"/>
                      </a:cubicBezTo>
                      <a:cubicBezTo>
                        <a:pt x="3068" y="41084"/>
                        <a:pt x="3068" y="41084"/>
                        <a:pt x="3068" y="41084"/>
                      </a:cubicBezTo>
                      <a:cubicBezTo>
                        <a:pt x="3068" y="37423"/>
                        <a:pt x="3068" y="37423"/>
                        <a:pt x="3068" y="37423"/>
                      </a:cubicBezTo>
                      <a:cubicBezTo>
                        <a:pt x="3068" y="37423"/>
                        <a:pt x="3409" y="37016"/>
                        <a:pt x="2386" y="35389"/>
                      </a:cubicBezTo>
                      <a:cubicBezTo>
                        <a:pt x="1704" y="34169"/>
                        <a:pt x="1363" y="32542"/>
                        <a:pt x="1363" y="32542"/>
                      </a:cubicBezTo>
                      <a:cubicBezTo>
                        <a:pt x="1363" y="32135"/>
                        <a:pt x="1022" y="30508"/>
                        <a:pt x="681" y="30101"/>
                      </a:cubicBezTo>
                      <a:cubicBezTo>
                        <a:pt x="681" y="29694"/>
                        <a:pt x="681" y="29288"/>
                        <a:pt x="681" y="28474"/>
                      </a:cubicBezTo>
                      <a:cubicBezTo>
                        <a:pt x="1022" y="28067"/>
                        <a:pt x="0" y="26847"/>
                        <a:pt x="0" y="26847"/>
                      </a:cubicBezTo>
                      <a:cubicBezTo>
                        <a:pt x="0" y="26847"/>
                        <a:pt x="340" y="26033"/>
                        <a:pt x="681" y="26033"/>
                      </a:cubicBezTo>
                      <a:cubicBezTo>
                        <a:pt x="1022" y="26033"/>
                        <a:pt x="1363" y="25627"/>
                        <a:pt x="2045" y="25627"/>
                      </a:cubicBezTo>
                      <a:cubicBezTo>
                        <a:pt x="2727" y="25627"/>
                        <a:pt x="3068" y="24813"/>
                        <a:pt x="3750" y="24813"/>
                      </a:cubicBezTo>
                      <a:cubicBezTo>
                        <a:pt x="4090" y="24406"/>
                        <a:pt x="4090" y="23593"/>
                        <a:pt x="4431" y="23593"/>
                      </a:cubicBezTo>
                      <a:cubicBezTo>
                        <a:pt x="5113" y="23186"/>
                        <a:pt x="5795" y="23593"/>
                        <a:pt x="6818" y="22779"/>
                      </a:cubicBezTo>
                      <a:cubicBezTo>
                        <a:pt x="7840" y="22372"/>
                        <a:pt x="7840" y="21966"/>
                        <a:pt x="8522" y="21152"/>
                      </a:cubicBezTo>
                      <a:cubicBezTo>
                        <a:pt x="8863" y="20745"/>
                        <a:pt x="15340" y="18305"/>
                        <a:pt x="15340" y="18305"/>
                      </a:cubicBezTo>
                      <a:cubicBezTo>
                        <a:pt x="15340" y="18305"/>
                        <a:pt x="17045" y="17084"/>
                        <a:pt x="17727" y="17084"/>
                      </a:cubicBezTo>
                      <a:cubicBezTo>
                        <a:pt x="18068" y="16677"/>
                        <a:pt x="18068" y="16271"/>
                        <a:pt x="18750" y="16271"/>
                      </a:cubicBezTo>
                      <a:cubicBezTo>
                        <a:pt x="19090" y="16677"/>
                        <a:pt x="20454" y="16677"/>
                        <a:pt x="20454" y="16677"/>
                      </a:cubicBezTo>
                      <a:cubicBezTo>
                        <a:pt x="20454" y="16677"/>
                        <a:pt x="20795" y="15457"/>
                        <a:pt x="21136" y="15050"/>
                      </a:cubicBezTo>
                      <a:cubicBezTo>
                        <a:pt x="21477" y="14237"/>
                        <a:pt x="21818" y="13423"/>
                        <a:pt x="21818" y="13016"/>
                      </a:cubicBezTo>
                      <a:cubicBezTo>
                        <a:pt x="22159" y="12203"/>
                        <a:pt x="22500" y="11796"/>
                        <a:pt x="22840" y="11389"/>
                      </a:cubicBezTo>
                      <a:cubicBezTo>
                        <a:pt x="23181" y="10576"/>
                        <a:pt x="23522" y="10169"/>
                        <a:pt x="23522" y="10169"/>
                      </a:cubicBezTo>
                      <a:cubicBezTo>
                        <a:pt x="23863" y="10169"/>
                        <a:pt x="25909" y="8949"/>
                        <a:pt x="26250" y="8949"/>
                      </a:cubicBezTo>
                      <a:cubicBezTo>
                        <a:pt x="26590" y="8542"/>
                        <a:pt x="29318" y="7322"/>
                        <a:pt x="29318" y="6915"/>
                      </a:cubicBezTo>
                      <a:cubicBezTo>
                        <a:pt x="29318" y="6915"/>
                        <a:pt x="30340" y="5288"/>
                        <a:pt x="30340" y="4881"/>
                      </a:cubicBezTo>
                      <a:cubicBezTo>
                        <a:pt x="30340" y="4474"/>
                        <a:pt x="31704" y="4067"/>
                        <a:pt x="31704" y="4067"/>
                      </a:cubicBezTo>
                      <a:cubicBezTo>
                        <a:pt x="32045" y="4067"/>
                        <a:pt x="32045" y="4067"/>
                        <a:pt x="32386" y="3661"/>
                      </a:cubicBezTo>
                      <a:cubicBezTo>
                        <a:pt x="33068" y="3661"/>
                        <a:pt x="36136" y="2033"/>
                        <a:pt x="36136" y="2033"/>
                      </a:cubicBezTo>
                      <a:cubicBezTo>
                        <a:pt x="36136" y="2033"/>
                        <a:pt x="38863" y="813"/>
                        <a:pt x="38863" y="813"/>
                      </a:cubicBezTo>
                      <a:cubicBezTo>
                        <a:pt x="39204" y="1220"/>
                        <a:pt x="40909" y="813"/>
                        <a:pt x="41250" y="813"/>
                      </a:cubicBezTo>
                      <a:cubicBezTo>
                        <a:pt x="41250" y="1220"/>
                        <a:pt x="43295" y="813"/>
                        <a:pt x="43295" y="813"/>
                      </a:cubicBezTo>
                      <a:cubicBezTo>
                        <a:pt x="43295" y="813"/>
                        <a:pt x="43977" y="1220"/>
                        <a:pt x="43977" y="1627"/>
                      </a:cubicBezTo>
                      <a:cubicBezTo>
                        <a:pt x="43977" y="2033"/>
                        <a:pt x="43295" y="2440"/>
                        <a:pt x="43636" y="2847"/>
                      </a:cubicBezTo>
                      <a:cubicBezTo>
                        <a:pt x="43977" y="3254"/>
                        <a:pt x="45340" y="4474"/>
                        <a:pt x="45340" y="4474"/>
                      </a:cubicBezTo>
                      <a:cubicBezTo>
                        <a:pt x="45340" y="4474"/>
                        <a:pt x="45000" y="5694"/>
                        <a:pt x="45000" y="5694"/>
                      </a:cubicBezTo>
                      <a:cubicBezTo>
                        <a:pt x="45000" y="6101"/>
                        <a:pt x="45340" y="6508"/>
                        <a:pt x="45681" y="7322"/>
                      </a:cubicBezTo>
                      <a:cubicBezTo>
                        <a:pt x="46022" y="7728"/>
                        <a:pt x="46704" y="8542"/>
                        <a:pt x="46704" y="8542"/>
                      </a:cubicBezTo>
                      <a:cubicBezTo>
                        <a:pt x="46704" y="8542"/>
                        <a:pt x="46363" y="8949"/>
                        <a:pt x="47727" y="9762"/>
                      </a:cubicBezTo>
                      <a:cubicBezTo>
                        <a:pt x="49090" y="10576"/>
                        <a:pt x="50113" y="9762"/>
                        <a:pt x="50113" y="9762"/>
                      </a:cubicBezTo>
                      <a:cubicBezTo>
                        <a:pt x="50113" y="9762"/>
                        <a:pt x="51136" y="9762"/>
                        <a:pt x="51477" y="9762"/>
                      </a:cubicBezTo>
                      <a:cubicBezTo>
                        <a:pt x="51818" y="9762"/>
                        <a:pt x="52840" y="9355"/>
                        <a:pt x="52840" y="9355"/>
                      </a:cubicBezTo>
                      <a:close/>
                    </a:path>
                  </a:pathLst>
                </a:custGeom>
                <a:solidFill>
                  <a:schemeClr val="bg1">
                    <a:lumMod val="75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2" name="Shape 2044"/>
                <p:cNvSpPr/>
                <p:nvPr/>
              </p:nvSpPr>
              <p:spPr>
                <a:xfrm>
                  <a:off x="3482366" y="2092972"/>
                  <a:ext cx="378203" cy="415512"/>
                </a:xfrm>
                <a:custGeom>
                  <a:avLst/>
                  <a:gdLst/>
                  <a:ahLst/>
                  <a:cxnLst/>
                  <a:rect l="0" t="0" r="0" b="0"/>
                  <a:pathLst>
                    <a:path w="120000" h="120000" extrusionOk="0">
                      <a:moveTo>
                        <a:pt x="95421" y="111063"/>
                      </a:moveTo>
                      <a:cubicBezTo>
                        <a:pt x="92530" y="111063"/>
                        <a:pt x="92530" y="111063"/>
                        <a:pt x="92530" y="111063"/>
                      </a:cubicBezTo>
                      <a:cubicBezTo>
                        <a:pt x="92530" y="111063"/>
                        <a:pt x="91084" y="109148"/>
                        <a:pt x="90361" y="109148"/>
                      </a:cubicBezTo>
                      <a:cubicBezTo>
                        <a:pt x="89638" y="109148"/>
                        <a:pt x="88192" y="108510"/>
                        <a:pt x="88192" y="108510"/>
                      </a:cubicBezTo>
                      <a:cubicBezTo>
                        <a:pt x="87469" y="109787"/>
                        <a:pt x="87469" y="109787"/>
                        <a:pt x="87469" y="109787"/>
                      </a:cubicBezTo>
                      <a:cubicBezTo>
                        <a:pt x="87469" y="109787"/>
                        <a:pt x="86746" y="110425"/>
                        <a:pt x="86024" y="110425"/>
                      </a:cubicBezTo>
                      <a:cubicBezTo>
                        <a:pt x="86024" y="110425"/>
                        <a:pt x="85301" y="109787"/>
                        <a:pt x="85301" y="109787"/>
                      </a:cubicBezTo>
                      <a:cubicBezTo>
                        <a:pt x="85301" y="108510"/>
                        <a:pt x="85301" y="108510"/>
                        <a:pt x="85301" y="108510"/>
                      </a:cubicBezTo>
                      <a:cubicBezTo>
                        <a:pt x="83132" y="108510"/>
                        <a:pt x="83132" y="108510"/>
                        <a:pt x="83132" y="108510"/>
                      </a:cubicBezTo>
                      <a:cubicBezTo>
                        <a:pt x="83132" y="108510"/>
                        <a:pt x="83132" y="110425"/>
                        <a:pt x="82409" y="110425"/>
                      </a:cubicBezTo>
                      <a:cubicBezTo>
                        <a:pt x="81686" y="109787"/>
                        <a:pt x="80963" y="109787"/>
                        <a:pt x="79518" y="109787"/>
                      </a:cubicBezTo>
                      <a:cubicBezTo>
                        <a:pt x="78072" y="109148"/>
                        <a:pt x="75180" y="109787"/>
                        <a:pt x="75180" y="109787"/>
                      </a:cubicBezTo>
                      <a:cubicBezTo>
                        <a:pt x="73734" y="109148"/>
                        <a:pt x="73734" y="109148"/>
                        <a:pt x="73734" y="109148"/>
                      </a:cubicBezTo>
                      <a:cubicBezTo>
                        <a:pt x="71566" y="109148"/>
                        <a:pt x="71566" y="109148"/>
                        <a:pt x="71566" y="109148"/>
                      </a:cubicBezTo>
                      <a:cubicBezTo>
                        <a:pt x="68674" y="109148"/>
                        <a:pt x="68674" y="109148"/>
                        <a:pt x="68674" y="109148"/>
                      </a:cubicBezTo>
                      <a:cubicBezTo>
                        <a:pt x="67951" y="110425"/>
                        <a:pt x="67951" y="110425"/>
                        <a:pt x="67951" y="110425"/>
                      </a:cubicBezTo>
                      <a:cubicBezTo>
                        <a:pt x="68674" y="111063"/>
                        <a:pt x="68674" y="111063"/>
                        <a:pt x="68674" y="111063"/>
                      </a:cubicBezTo>
                      <a:cubicBezTo>
                        <a:pt x="66506" y="112340"/>
                        <a:pt x="66506" y="112340"/>
                        <a:pt x="66506" y="112340"/>
                      </a:cubicBezTo>
                      <a:cubicBezTo>
                        <a:pt x="63614" y="111702"/>
                        <a:pt x="63614" y="111702"/>
                        <a:pt x="63614" y="111702"/>
                      </a:cubicBezTo>
                      <a:cubicBezTo>
                        <a:pt x="62168" y="112978"/>
                        <a:pt x="62168" y="112978"/>
                        <a:pt x="62168" y="112978"/>
                      </a:cubicBezTo>
                      <a:cubicBezTo>
                        <a:pt x="61445" y="111702"/>
                        <a:pt x="61445" y="111702"/>
                        <a:pt x="61445" y="111702"/>
                      </a:cubicBezTo>
                      <a:cubicBezTo>
                        <a:pt x="57108" y="114255"/>
                        <a:pt x="57108" y="114255"/>
                        <a:pt x="57108" y="114255"/>
                      </a:cubicBezTo>
                      <a:cubicBezTo>
                        <a:pt x="57831" y="115531"/>
                        <a:pt x="57831" y="115531"/>
                        <a:pt x="57831" y="115531"/>
                      </a:cubicBezTo>
                      <a:cubicBezTo>
                        <a:pt x="54216" y="116170"/>
                        <a:pt x="54216" y="116170"/>
                        <a:pt x="54216" y="116170"/>
                      </a:cubicBezTo>
                      <a:cubicBezTo>
                        <a:pt x="52048" y="115531"/>
                        <a:pt x="52048" y="115531"/>
                        <a:pt x="52048" y="115531"/>
                      </a:cubicBezTo>
                      <a:cubicBezTo>
                        <a:pt x="52048" y="115531"/>
                        <a:pt x="50602" y="114893"/>
                        <a:pt x="50602" y="114255"/>
                      </a:cubicBezTo>
                      <a:cubicBezTo>
                        <a:pt x="51325" y="113617"/>
                        <a:pt x="51325" y="112978"/>
                        <a:pt x="51325" y="112978"/>
                      </a:cubicBezTo>
                      <a:cubicBezTo>
                        <a:pt x="51325" y="112978"/>
                        <a:pt x="49879" y="112340"/>
                        <a:pt x="49879" y="112978"/>
                      </a:cubicBezTo>
                      <a:cubicBezTo>
                        <a:pt x="49879" y="114255"/>
                        <a:pt x="49156" y="115531"/>
                        <a:pt x="49156" y="115531"/>
                      </a:cubicBezTo>
                      <a:cubicBezTo>
                        <a:pt x="46987" y="116808"/>
                        <a:pt x="46987" y="116808"/>
                        <a:pt x="46987" y="116808"/>
                      </a:cubicBezTo>
                      <a:cubicBezTo>
                        <a:pt x="44096" y="117446"/>
                        <a:pt x="44096" y="117446"/>
                        <a:pt x="44096" y="117446"/>
                      </a:cubicBezTo>
                      <a:cubicBezTo>
                        <a:pt x="43373" y="116808"/>
                        <a:pt x="43373" y="116808"/>
                        <a:pt x="43373" y="116808"/>
                      </a:cubicBezTo>
                      <a:cubicBezTo>
                        <a:pt x="43373" y="118723"/>
                        <a:pt x="43373" y="118723"/>
                        <a:pt x="43373" y="118723"/>
                      </a:cubicBezTo>
                      <a:cubicBezTo>
                        <a:pt x="39759" y="118723"/>
                        <a:pt x="39759" y="118723"/>
                        <a:pt x="39759" y="118723"/>
                      </a:cubicBezTo>
                      <a:cubicBezTo>
                        <a:pt x="37590" y="118723"/>
                        <a:pt x="37590" y="118723"/>
                        <a:pt x="37590" y="118723"/>
                      </a:cubicBezTo>
                      <a:cubicBezTo>
                        <a:pt x="36144" y="120000"/>
                        <a:pt x="36144" y="120000"/>
                        <a:pt x="36144" y="120000"/>
                      </a:cubicBezTo>
                      <a:cubicBezTo>
                        <a:pt x="33975" y="119361"/>
                        <a:pt x="33975" y="119361"/>
                        <a:pt x="33975" y="119361"/>
                      </a:cubicBezTo>
                      <a:cubicBezTo>
                        <a:pt x="30361" y="120000"/>
                        <a:pt x="30361" y="120000"/>
                        <a:pt x="30361" y="120000"/>
                      </a:cubicBezTo>
                      <a:cubicBezTo>
                        <a:pt x="29638" y="118723"/>
                        <a:pt x="29638" y="118723"/>
                        <a:pt x="29638" y="118723"/>
                      </a:cubicBezTo>
                      <a:cubicBezTo>
                        <a:pt x="24578" y="118723"/>
                        <a:pt x="24578" y="118723"/>
                        <a:pt x="24578" y="118723"/>
                      </a:cubicBezTo>
                      <a:cubicBezTo>
                        <a:pt x="22409" y="119361"/>
                        <a:pt x="22409" y="119361"/>
                        <a:pt x="22409" y="119361"/>
                      </a:cubicBezTo>
                      <a:cubicBezTo>
                        <a:pt x="21686" y="118085"/>
                        <a:pt x="21686" y="118085"/>
                        <a:pt x="21686" y="118085"/>
                      </a:cubicBezTo>
                      <a:cubicBezTo>
                        <a:pt x="20963" y="118085"/>
                        <a:pt x="20963" y="118085"/>
                        <a:pt x="20963" y="118085"/>
                      </a:cubicBezTo>
                      <a:cubicBezTo>
                        <a:pt x="20963" y="118085"/>
                        <a:pt x="19518" y="118085"/>
                        <a:pt x="18795" y="118085"/>
                      </a:cubicBezTo>
                      <a:cubicBezTo>
                        <a:pt x="18072" y="118085"/>
                        <a:pt x="13734" y="116808"/>
                        <a:pt x="13734" y="116808"/>
                      </a:cubicBezTo>
                      <a:cubicBezTo>
                        <a:pt x="12289" y="118085"/>
                        <a:pt x="12289" y="118085"/>
                        <a:pt x="12289" y="118085"/>
                      </a:cubicBezTo>
                      <a:cubicBezTo>
                        <a:pt x="12289" y="118085"/>
                        <a:pt x="10120" y="118085"/>
                        <a:pt x="10120" y="117446"/>
                      </a:cubicBezTo>
                      <a:cubicBezTo>
                        <a:pt x="10120" y="117446"/>
                        <a:pt x="10120" y="116808"/>
                        <a:pt x="10843" y="116170"/>
                      </a:cubicBezTo>
                      <a:cubicBezTo>
                        <a:pt x="11566" y="116170"/>
                        <a:pt x="12289" y="116170"/>
                        <a:pt x="13734" y="115531"/>
                      </a:cubicBezTo>
                      <a:cubicBezTo>
                        <a:pt x="15180" y="115531"/>
                        <a:pt x="15903" y="115531"/>
                        <a:pt x="15903" y="115531"/>
                      </a:cubicBezTo>
                      <a:cubicBezTo>
                        <a:pt x="16626" y="114893"/>
                        <a:pt x="16626" y="114893"/>
                        <a:pt x="16626" y="114893"/>
                      </a:cubicBezTo>
                      <a:cubicBezTo>
                        <a:pt x="16626" y="114255"/>
                        <a:pt x="17349" y="113617"/>
                        <a:pt x="15903" y="114255"/>
                      </a:cubicBezTo>
                      <a:cubicBezTo>
                        <a:pt x="15180" y="114255"/>
                        <a:pt x="15180" y="114255"/>
                        <a:pt x="15180" y="114255"/>
                      </a:cubicBezTo>
                      <a:cubicBezTo>
                        <a:pt x="14457" y="114893"/>
                        <a:pt x="13734" y="114893"/>
                        <a:pt x="13012" y="114893"/>
                      </a:cubicBezTo>
                      <a:cubicBezTo>
                        <a:pt x="13012" y="114893"/>
                        <a:pt x="11566" y="114893"/>
                        <a:pt x="11566" y="114893"/>
                      </a:cubicBezTo>
                      <a:cubicBezTo>
                        <a:pt x="11566" y="114893"/>
                        <a:pt x="10843" y="114255"/>
                        <a:pt x="11566" y="114255"/>
                      </a:cubicBezTo>
                      <a:cubicBezTo>
                        <a:pt x="12289" y="113617"/>
                        <a:pt x="12289" y="113617"/>
                        <a:pt x="13012" y="113617"/>
                      </a:cubicBezTo>
                      <a:cubicBezTo>
                        <a:pt x="14457" y="113617"/>
                        <a:pt x="15180" y="112978"/>
                        <a:pt x="16626" y="112978"/>
                      </a:cubicBezTo>
                      <a:cubicBezTo>
                        <a:pt x="18072" y="112978"/>
                        <a:pt x="18795" y="112978"/>
                        <a:pt x="18795" y="112978"/>
                      </a:cubicBezTo>
                      <a:cubicBezTo>
                        <a:pt x="19518" y="112340"/>
                        <a:pt x="20240" y="112340"/>
                        <a:pt x="20240" y="111702"/>
                      </a:cubicBezTo>
                      <a:cubicBezTo>
                        <a:pt x="20240" y="111063"/>
                        <a:pt x="19518" y="110425"/>
                        <a:pt x="19518" y="110425"/>
                      </a:cubicBezTo>
                      <a:cubicBezTo>
                        <a:pt x="19518" y="110425"/>
                        <a:pt x="18795" y="110425"/>
                        <a:pt x="18072" y="111063"/>
                      </a:cubicBezTo>
                      <a:cubicBezTo>
                        <a:pt x="17349" y="111063"/>
                        <a:pt x="16626" y="111702"/>
                        <a:pt x="15903" y="111702"/>
                      </a:cubicBezTo>
                      <a:cubicBezTo>
                        <a:pt x="15903" y="111702"/>
                        <a:pt x="15903" y="111702"/>
                        <a:pt x="15180" y="111702"/>
                      </a:cubicBezTo>
                      <a:cubicBezTo>
                        <a:pt x="14457" y="111702"/>
                        <a:pt x="13012" y="111063"/>
                        <a:pt x="13012" y="111063"/>
                      </a:cubicBezTo>
                      <a:cubicBezTo>
                        <a:pt x="12289" y="111063"/>
                        <a:pt x="11566" y="111063"/>
                        <a:pt x="10843" y="111063"/>
                      </a:cubicBezTo>
                      <a:cubicBezTo>
                        <a:pt x="10120" y="111063"/>
                        <a:pt x="10843" y="111063"/>
                        <a:pt x="9397" y="111063"/>
                      </a:cubicBezTo>
                      <a:cubicBezTo>
                        <a:pt x="7951" y="111702"/>
                        <a:pt x="8674" y="111702"/>
                        <a:pt x="6506" y="111702"/>
                      </a:cubicBezTo>
                      <a:cubicBezTo>
                        <a:pt x="5060" y="111702"/>
                        <a:pt x="2891" y="111063"/>
                        <a:pt x="2891" y="111063"/>
                      </a:cubicBezTo>
                      <a:cubicBezTo>
                        <a:pt x="2891" y="111063"/>
                        <a:pt x="1445" y="111702"/>
                        <a:pt x="2168" y="111063"/>
                      </a:cubicBezTo>
                      <a:cubicBezTo>
                        <a:pt x="3614" y="110425"/>
                        <a:pt x="5060" y="110425"/>
                        <a:pt x="5783" y="109787"/>
                      </a:cubicBezTo>
                      <a:cubicBezTo>
                        <a:pt x="6506" y="109787"/>
                        <a:pt x="7228" y="109787"/>
                        <a:pt x="6506" y="109148"/>
                      </a:cubicBezTo>
                      <a:cubicBezTo>
                        <a:pt x="6506" y="109148"/>
                        <a:pt x="6506" y="109148"/>
                        <a:pt x="6506" y="109148"/>
                      </a:cubicBezTo>
                      <a:cubicBezTo>
                        <a:pt x="7228" y="109148"/>
                        <a:pt x="8674" y="108510"/>
                        <a:pt x="8674" y="108510"/>
                      </a:cubicBezTo>
                      <a:cubicBezTo>
                        <a:pt x="10120" y="107872"/>
                        <a:pt x="10120" y="107872"/>
                        <a:pt x="10120" y="107872"/>
                      </a:cubicBezTo>
                      <a:cubicBezTo>
                        <a:pt x="10120" y="107872"/>
                        <a:pt x="10120" y="107234"/>
                        <a:pt x="11566" y="107234"/>
                      </a:cubicBezTo>
                      <a:cubicBezTo>
                        <a:pt x="13012" y="107234"/>
                        <a:pt x="13012" y="107234"/>
                        <a:pt x="13012" y="106595"/>
                      </a:cubicBezTo>
                      <a:cubicBezTo>
                        <a:pt x="13734" y="106595"/>
                        <a:pt x="13012" y="106595"/>
                        <a:pt x="13734" y="106595"/>
                      </a:cubicBezTo>
                      <a:cubicBezTo>
                        <a:pt x="15180" y="106595"/>
                        <a:pt x="15180" y="105957"/>
                        <a:pt x="15903" y="105957"/>
                      </a:cubicBezTo>
                      <a:cubicBezTo>
                        <a:pt x="17349" y="105957"/>
                        <a:pt x="18072" y="105319"/>
                        <a:pt x="17349" y="105319"/>
                      </a:cubicBezTo>
                      <a:cubicBezTo>
                        <a:pt x="16626" y="105319"/>
                        <a:pt x="16626" y="105319"/>
                        <a:pt x="15180" y="105319"/>
                      </a:cubicBezTo>
                      <a:cubicBezTo>
                        <a:pt x="14457" y="105957"/>
                        <a:pt x="13734" y="105319"/>
                        <a:pt x="13734" y="105957"/>
                      </a:cubicBezTo>
                      <a:cubicBezTo>
                        <a:pt x="13012" y="105957"/>
                        <a:pt x="11566" y="105957"/>
                        <a:pt x="11566" y="105957"/>
                      </a:cubicBezTo>
                      <a:cubicBezTo>
                        <a:pt x="10843" y="105319"/>
                        <a:pt x="10843" y="105319"/>
                        <a:pt x="10120" y="105957"/>
                      </a:cubicBezTo>
                      <a:cubicBezTo>
                        <a:pt x="9397" y="105957"/>
                        <a:pt x="10120" y="106595"/>
                        <a:pt x="8674" y="106595"/>
                      </a:cubicBezTo>
                      <a:cubicBezTo>
                        <a:pt x="7951" y="106595"/>
                        <a:pt x="7228" y="105957"/>
                        <a:pt x="7228" y="105957"/>
                      </a:cubicBezTo>
                      <a:cubicBezTo>
                        <a:pt x="7228" y="105957"/>
                        <a:pt x="5060" y="105957"/>
                        <a:pt x="5060" y="105319"/>
                      </a:cubicBezTo>
                      <a:cubicBezTo>
                        <a:pt x="5060" y="105319"/>
                        <a:pt x="5060" y="104042"/>
                        <a:pt x="5060" y="104042"/>
                      </a:cubicBezTo>
                      <a:cubicBezTo>
                        <a:pt x="5060" y="103404"/>
                        <a:pt x="5783" y="103404"/>
                        <a:pt x="5783" y="103404"/>
                      </a:cubicBezTo>
                      <a:cubicBezTo>
                        <a:pt x="5060" y="102765"/>
                        <a:pt x="5060" y="102765"/>
                        <a:pt x="5060" y="102765"/>
                      </a:cubicBezTo>
                      <a:cubicBezTo>
                        <a:pt x="5060" y="102765"/>
                        <a:pt x="5060" y="102765"/>
                        <a:pt x="4337" y="102765"/>
                      </a:cubicBezTo>
                      <a:cubicBezTo>
                        <a:pt x="4337" y="102765"/>
                        <a:pt x="2891" y="103404"/>
                        <a:pt x="2891" y="103404"/>
                      </a:cubicBezTo>
                      <a:cubicBezTo>
                        <a:pt x="2891" y="103404"/>
                        <a:pt x="2891" y="103404"/>
                        <a:pt x="2168" y="103404"/>
                      </a:cubicBezTo>
                      <a:cubicBezTo>
                        <a:pt x="2168" y="103404"/>
                        <a:pt x="1445" y="103404"/>
                        <a:pt x="1445" y="103404"/>
                      </a:cubicBezTo>
                      <a:cubicBezTo>
                        <a:pt x="1445" y="103404"/>
                        <a:pt x="1445" y="102765"/>
                        <a:pt x="1445" y="102127"/>
                      </a:cubicBezTo>
                      <a:cubicBezTo>
                        <a:pt x="1445" y="102127"/>
                        <a:pt x="1445" y="101489"/>
                        <a:pt x="1445" y="101489"/>
                      </a:cubicBezTo>
                      <a:cubicBezTo>
                        <a:pt x="1445" y="101489"/>
                        <a:pt x="1445" y="101489"/>
                        <a:pt x="1445" y="101489"/>
                      </a:cubicBezTo>
                      <a:cubicBezTo>
                        <a:pt x="1445" y="100851"/>
                        <a:pt x="0" y="100851"/>
                        <a:pt x="1445" y="100212"/>
                      </a:cubicBezTo>
                      <a:cubicBezTo>
                        <a:pt x="2891" y="100212"/>
                        <a:pt x="2891" y="100212"/>
                        <a:pt x="3614" y="100212"/>
                      </a:cubicBezTo>
                      <a:cubicBezTo>
                        <a:pt x="3614" y="100212"/>
                        <a:pt x="4337" y="100212"/>
                        <a:pt x="4337" y="100212"/>
                      </a:cubicBezTo>
                      <a:cubicBezTo>
                        <a:pt x="4337" y="100212"/>
                        <a:pt x="5060" y="99574"/>
                        <a:pt x="5060" y="99574"/>
                      </a:cubicBezTo>
                      <a:cubicBezTo>
                        <a:pt x="4337" y="98936"/>
                        <a:pt x="4337" y="98936"/>
                        <a:pt x="4337" y="98936"/>
                      </a:cubicBezTo>
                      <a:cubicBezTo>
                        <a:pt x="4337" y="98297"/>
                        <a:pt x="4337" y="98297"/>
                        <a:pt x="5060" y="98297"/>
                      </a:cubicBezTo>
                      <a:cubicBezTo>
                        <a:pt x="5783" y="98297"/>
                        <a:pt x="5783" y="97659"/>
                        <a:pt x="6506" y="97659"/>
                      </a:cubicBezTo>
                      <a:cubicBezTo>
                        <a:pt x="6506" y="97659"/>
                        <a:pt x="7228" y="97659"/>
                        <a:pt x="7951" y="97659"/>
                      </a:cubicBezTo>
                      <a:cubicBezTo>
                        <a:pt x="7951" y="97659"/>
                        <a:pt x="7951" y="97021"/>
                        <a:pt x="9397" y="97021"/>
                      </a:cubicBezTo>
                      <a:cubicBezTo>
                        <a:pt x="10120" y="97021"/>
                        <a:pt x="10843" y="97021"/>
                        <a:pt x="11566" y="97021"/>
                      </a:cubicBezTo>
                      <a:cubicBezTo>
                        <a:pt x="11566" y="97021"/>
                        <a:pt x="13012" y="97021"/>
                        <a:pt x="13012" y="97021"/>
                      </a:cubicBezTo>
                      <a:cubicBezTo>
                        <a:pt x="13012" y="97021"/>
                        <a:pt x="14457" y="96382"/>
                        <a:pt x="14457" y="96382"/>
                      </a:cubicBezTo>
                      <a:cubicBezTo>
                        <a:pt x="15180" y="95744"/>
                        <a:pt x="15180" y="95744"/>
                        <a:pt x="15180" y="95744"/>
                      </a:cubicBezTo>
                      <a:cubicBezTo>
                        <a:pt x="15180" y="95744"/>
                        <a:pt x="15180" y="95744"/>
                        <a:pt x="15903" y="95744"/>
                      </a:cubicBezTo>
                      <a:cubicBezTo>
                        <a:pt x="16626" y="95744"/>
                        <a:pt x="16626" y="95744"/>
                        <a:pt x="17349" y="95744"/>
                      </a:cubicBezTo>
                      <a:cubicBezTo>
                        <a:pt x="17349" y="95744"/>
                        <a:pt x="18072" y="95744"/>
                        <a:pt x="18072" y="95744"/>
                      </a:cubicBezTo>
                      <a:cubicBezTo>
                        <a:pt x="18072" y="95106"/>
                        <a:pt x="18072" y="95106"/>
                        <a:pt x="18072" y="94468"/>
                      </a:cubicBezTo>
                      <a:cubicBezTo>
                        <a:pt x="17349" y="94468"/>
                        <a:pt x="17349" y="94468"/>
                        <a:pt x="16626" y="94468"/>
                      </a:cubicBezTo>
                      <a:cubicBezTo>
                        <a:pt x="15903" y="95106"/>
                        <a:pt x="15180" y="95106"/>
                        <a:pt x="15180" y="94468"/>
                      </a:cubicBezTo>
                      <a:cubicBezTo>
                        <a:pt x="15180" y="94468"/>
                        <a:pt x="15180" y="94468"/>
                        <a:pt x="14457" y="94468"/>
                      </a:cubicBezTo>
                      <a:cubicBezTo>
                        <a:pt x="13734" y="94468"/>
                        <a:pt x="13012" y="94468"/>
                        <a:pt x="13012" y="94468"/>
                      </a:cubicBezTo>
                      <a:cubicBezTo>
                        <a:pt x="13012" y="94468"/>
                        <a:pt x="12289" y="94468"/>
                        <a:pt x="11566" y="94468"/>
                      </a:cubicBezTo>
                      <a:cubicBezTo>
                        <a:pt x="10120" y="93829"/>
                        <a:pt x="10120" y="93829"/>
                        <a:pt x="9397" y="93829"/>
                      </a:cubicBezTo>
                      <a:cubicBezTo>
                        <a:pt x="8674" y="93829"/>
                        <a:pt x="7951" y="93829"/>
                        <a:pt x="7951" y="93829"/>
                      </a:cubicBezTo>
                      <a:cubicBezTo>
                        <a:pt x="7951" y="93829"/>
                        <a:pt x="9397" y="93829"/>
                        <a:pt x="7228" y="93191"/>
                      </a:cubicBezTo>
                      <a:cubicBezTo>
                        <a:pt x="5060" y="92553"/>
                        <a:pt x="5060" y="92553"/>
                        <a:pt x="5060" y="92553"/>
                      </a:cubicBezTo>
                      <a:cubicBezTo>
                        <a:pt x="4337" y="92553"/>
                        <a:pt x="4337" y="92553"/>
                        <a:pt x="4337" y="92553"/>
                      </a:cubicBezTo>
                      <a:cubicBezTo>
                        <a:pt x="3614" y="92553"/>
                        <a:pt x="3614" y="93191"/>
                        <a:pt x="2891" y="92553"/>
                      </a:cubicBezTo>
                      <a:cubicBezTo>
                        <a:pt x="2891" y="92553"/>
                        <a:pt x="2168" y="91914"/>
                        <a:pt x="2168" y="91914"/>
                      </a:cubicBezTo>
                      <a:cubicBezTo>
                        <a:pt x="2168" y="91276"/>
                        <a:pt x="2168" y="91276"/>
                        <a:pt x="2891" y="90638"/>
                      </a:cubicBezTo>
                      <a:cubicBezTo>
                        <a:pt x="2891" y="90638"/>
                        <a:pt x="4337" y="90000"/>
                        <a:pt x="4337" y="90000"/>
                      </a:cubicBezTo>
                      <a:cubicBezTo>
                        <a:pt x="4337" y="90638"/>
                        <a:pt x="4337" y="90638"/>
                        <a:pt x="4337" y="90638"/>
                      </a:cubicBezTo>
                      <a:cubicBezTo>
                        <a:pt x="4337" y="90638"/>
                        <a:pt x="4337" y="91276"/>
                        <a:pt x="5060" y="90638"/>
                      </a:cubicBezTo>
                      <a:cubicBezTo>
                        <a:pt x="5060" y="90638"/>
                        <a:pt x="5783" y="89361"/>
                        <a:pt x="5783" y="89361"/>
                      </a:cubicBezTo>
                      <a:cubicBezTo>
                        <a:pt x="5783" y="89361"/>
                        <a:pt x="5060" y="89361"/>
                        <a:pt x="5783" y="88723"/>
                      </a:cubicBezTo>
                      <a:cubicBezTo>
                        <a:pt x="6506" y="88723"/>
                        <a:pt x="6506" y="88723"/>
                        <a:pt x="7228" y="88723"/>
                      </a:cubicBezTo>
                      <a:cubicBezTo>
                        <a:pt x="7228" y="88723"/>
                        <a:pt x="8674" y="88723"/>
                        <a:pt x="9397" y="88723"/>
                      </a:cubicBezTo>
                      <a:cubicBezTo>
                        <a:pt x="9397" y="88085"/>
                        <a:pt x="10843" y="88085"/>
                        <a:pt x="10843" y="88085"/>
                      </a:cubicBezTo>
                      <a:cubicBezTo>
                        <a:pt x="10843" y="88085"/>
                        <a:pt x="11566" y="88723"/>
                        <a:pt x="10843" y="89361"/>
                      </a:cubicBezTo>
                      <a:cubicBezTo>
                        <a:pt x="10843" y="89361"/>
                        <a:pt x="10120" y="89361"/>
                        <a:pt x="10843" y="90000"/>
                      </a:cubicBezTo>
                      <a:cubicBezTo>
                        <a:pt x="11566" y="90000"/>
                        <a:pt x="12289" y="90000"/>
                        <a:pt x="12289" y="90000"/>
                      </a:cubicBezTo>
                      <a:cubicBezTo>
                        <a:pt x="12289" y="90000"/>
                        <a:pt x="13012" y="89361"/>
                        <a:pt x="13012" y="89361"/>
                      </a:cubicBezTo>
                      <a:cubicBezTo>
                        <a:pt x="13734" y="89361"/>
                        <a:pt x="13012" y="88723"/>
                        <a:pt x="13734" y="88723"/>
                      </a:cubicBezTo>
                      <a:cubicBezTo>
                        <a:pt x="14457" y="89361"/>
                        <a:pt x="14457" y="90000"/>
                        <a:pt x="14457" y="90000"/>
                      </a:cubicBezTo>
                      <a:cubicBezTo>
                        <a:pt x="14457" y="90000"/>
                        <a:pt x="14457" y="90000"/>
                        <a:pt x="14457" y="90638"/>
                      </a:cubicBezTo>
                      <a:cubicBezTo>
                        <a:pt x="15180" y="90638"/>
                        <a:pt x="15903" y="90638"/>
                        <a:pt x="15903" y="91276"/>
                      </a:cubicBezTo>
                      <a:cubicBezTo>
                        <a:pt x="15903" y="91276"/>
                        <a:pt x="15180" y="91276"/>
                        <a:pt x="16626" y="91914"/>
                      </a:cubicBezTo>
                      <a:cubicBezTo>
                        <a:pt x="17349" y="91914"/>
                        <a:pt x="18072" y="91914"/>
                        <a:pt x="18072" y="91914"/>
                      </a:cubicBezTo>
                      <a:cubicBezTo>
                        <a:pt x="18072" y="91914"/>
                        <a:pt x="18795" y="91914"/>
                        <a:pt x="18795" y="91276"/>
                      </a:cubicBezTo>
                      <a:cubicBezTo>
                        <a:pt x="18072" y="90638"/>
                        <a:pt x="18072" y="90000"/>
                        <a:pt x="18072" y="90000"/>
                      </a:cubicBezTo>
                      <a:cubicBezTo>
                        <a:pt x="18072" y="90000"/>
                        <a:pt x="18795" y="89361"/>
                        <a:pt x="18795" y="89361"/>
                      </a:cubicBezTo>
                      <a:cubicBezTo>
                        <a:pt x="18795" y="88723"/>
                        <a:pt x="18795" y="87446"/>
                        <a:pt x="18795" y="87446"/>
                      </a:cubicBezTo>
                      <a:cubicBezTo>
                        <a:pt x="18795" y="87446"/>
                        <a:pt x="19518" y="86808"/>
                        <a:pt x="18795" y="86808"/>
                      </a:cubicBezTo>
                      <a:cubicBezTo>
                        <a:pt x="18072" y="86808"/>
                        <a:pt x="18072" y="86170"/>
                        <a:pt x="18072" y="86170"/>
                      </a:cubicBezTo>
                      <a:cubicBezTo>
                        <a:pt x="17349" y="86170"/>
                        <a:pt x="17349" y="85531"/>
                        <a:pt x="17349" y="85531"/>
                      </a:cubicBezTo>
                      <a:cubicBezTo>
                        <a:pt x="19518" y="85531"/>
                        <a:pt x="19518" y="85531"/>
                        <a:pt x="19518" y="85531"/>
                      </a:cubicBezTo>
                      <a:cubicBezTo>
                        <a:pt x="20963" y="85531"/>
                        <a:pt x="20963" y="85531"/>
                        <a:pt x="20963" y="85531"/>
                      </a:cubicBezTo>
                      <a:cubicBezTo>
                        <a:pt x="22409" y="84893"/>
                        <a:pt x="22409" y="84893"/>
                        <a:pt x="22409" y="84893"/>
                      </a:cubicBezTo>
                      <a:cubicBezTo>
                        <a:pt x="22409" y="84893"/>
                        <a:pt x="23132" y="85531"/>
                        <a:pt x="23132" y="84893"/>
                      </a:cubicBezTo>
                      <a:cubicBezTo>
                        <a:pt x="23132" y="84893"/>
                        <a:pt x="23855" y="84255"/>
                        <a:pt x="23855" y="84255"/>
                      </a:cubicBezTo>
                      <a:cubicBezTo>
                        <a:pt x="25301" y="84255"/>
                        <a:pt x="25301" y="84255"/>
                        <a:pt x="25301" y="84255"/>
                      </a:cubicBezTo>
                      <a:cubicBezTo>
                        <a:pt x="25301" y="84255"/>
                        <a:pt x="24578" y="83617"/>
                        <a:pt x="24578" y="83617"/>
                      </a:cubicBezTo>
                      <a:cubicBezTo>
                        <a:pt x="25301" y="83617"/>
                        <a:pt x="25301" y="82340"/>
                        <a:pt x="25301" y="82340"/>
                      </a:cubicBezTo>
                      <a:cubicBezTo>
                        <a:pt x="25301" y="82340"/>
                        <a:pt x="26024" y="81702"/>
                        <a:pt x="26746" y="82340"/>
                      </a:cubicBezTo>
                      <a:cubicBezTo>
                        <a:pt x="26746" y="82340"/>
                        <a:pt x="28192" y="82340"/>
                        <a:pt x="28915" y="82978"/>
                      </a:cubicBezTo>
                      <a:cubicBezTo>
                        <a:pt x="28915" y="82978"/>
                        <a:pt x="29638" y="82978"/>
                        <a:pt x="29638" y="82978"/>
                      </a:cubicBezTo>
                      <a:cubicBezTo>
                        <a:pt x="31084" y="82978"/>
                        <a:pt x="31084" y="82978"/>
                        <a:pt x="31084" y="82978"/>
                      </a:cubicBezTo>
                      <a:cubicBezTo>
                        <a:pt x="31084" y="82978"/>
                        <a:pt x="32530" y="83617"/>
                        <a:pt x="32530" y="83617"/>
                      </a:cubicBezTo>
                      <a:cubicBezTo>
                        <a:pt x="32530" y="83617"/>
                        <a:pt x="33975" y="84255"/>
                        <a:pt x="34698" y="84255"/>
                      </a:cubicBezTo>
                      <a:cubicBezTo>
                        <a:pt x="34698" y="84255"/>
                        <a:pt x="35421" y="83617"/>
                        <a:pt x="35421" y="83617"/>
                      </a:cubicBezTo>
                      <a:cubicBezTo>
                        <a:pt x="35421" y="83617"/>
                        <a:pt x="35421" y="82978"/>
                        <a:pt x="36144" y="83617"/>
                      </a:cubicBezTo>
                      <a:cubicBezTo>
                        <a:pt x="36867" y="83617"/>
                        <a:pt x="37590" y="83617"/>
                        <a:pt x="38313" y="83617"/>
                      </a:cubicBezTo>
                      <a:cubicBezTo>
                        <a:pt x="38313" y="82978"/>
                        <a:pt x="38313" y="82978"/>
                        <a:pt x="39036" y="82978"/>
                      </a:cubicBezTo>
                      <a:cubicBezTo>
                        <a:pt x="39759" y="83617"/>
                        <a:pt x="40481" y="83617"/>
                        <a:pt x="40481" y="83617"/>
                      </a:cubicBezTo>
                      <a:cubicBezTo>
                        <a:pt x="41204" y="83617"/>
                        <a:pt x="42650" y="82978"/>
                        <a:pt x="42650" y="82978"/>
                      </a:cubicBezTo>
                      <a:cubicBezTo>
                        <a:pt x="42650" y="82978"/>
                        <a:pt x="41927" y="82340"/>
                        <a:pt x="42650" y="82978"/>
                      </a:cubicBezTo>
                      <a:cubicBezTo>
                        <a:pt x="43373" y="82978"/>
                        <a:pt x="44096" y="82340"/>
                        <a:pt x="44096" y="82340"/>
                      </a:cubicBezTo>
                      <a:cubicBezTo>
                        <a:pt x="42650" y="81702"/>
                        <a:pt x="42650" y="81702"/>
                        <a:pt x="42650" y="81702"/>
                      </a:cubicBezTo>
                      <a:cubicBezTo>
                        <a:pt x="42650" y="81702"/>
                        <a:pt x="43373" y="80425"/>
                        <a:pt x="43373" y="80425"/>
                      </a:cubicBezTo>
                      <a:cubicBezTo>
                        <a:pt x="43373" y="80425"/>
                        <a:pt x="42650" y="79787"/>
                        <a:pt x="42650" y="79787"/>
                      </a:cubicBezTo>
                      <a:cubicBezTo>
                        <a:pt x="42650" y="79787"/>
                        <a:pt x="41927" y="79787"/>
                        <a:pt x="41927" y="80425"/>
                      </a:cubicBezTo>
                      <a:cubicBezTo>
                        <a:pt x="41927" y="81063"/>
                        <a:pt x="41204" y="81702"/>
                        <a:pt x="40481" y="81702"/>
                      </a:cubicBezTo>
                      <a:cubicBezTo>
                        <a:pt x="40481" y="81702"/>
                        <a:pt x="39759" y="82340"/>
                        <a:pt x="39036" y="82340"/>
                      </a:cubicBezTo>
                      <a:cubicBezTo>
                        <a:pt x="39036" y="82340"/>
                        <a:pt x="38313" y="82978"/>
                        <a:pt x="38313" y="82978"/>
                      </a:cubicBezTo>
                      <a:cubicBezTo>
                        <a:pt x="38313" y="82978"/>
                        <a:pt x="38313" y="83617"/>
                        <a:pt x="36867" y="82978"/>
                      </a:cubicBezTo>
                      <a:cubicBezTo>
                        <a:pt x="36144" y="82340"/>
                        <a:pt x="35421" y="82340"/>
                        <a:pt x="35421" y="82340"/>
                      </a:cubicBezTo>
                      <a:cubicBezTo>
                        <a:pt x="35421" y="82340"/>
                        <a:pt x="35421" y="81702"/>
                        <a:pt x="34698" y="82340"/>
                      </a:cubicBezTo>
                      <a:cubicBezTo>
                        <a:pt x="33253" y="82340"/>
                        <a:pt x="33975" y="82978"/>
                        <a:pt x="33253" y="82340"/>
                      </a:cubicBezTo>
                      <a:cubicBezTo>
                        <a:pt x="32530" y="82340"/>
                        <a:pt x="30361" y="82340"/>
                        <a:pt x="30361" y="81702"/>
                      </a:cubicBezTo>
                      <a:cubicBezTo>
                        <a:pt x="30361" y="81702"/>
                        <a:pt x="29638" y="81063"/>
                        <a:pt x="29638" y="81063"/>
                      </a:cubicBezTo>
                      <a:cubicBezTo>
                        <a:pt x="29638" y="81063"/>
                        <a:pt x="29638" y="79787"/>
                        <a:pt x="29638" y="79787"/>
                      </a:cubicBezTo>
                      <a:cubicBezTo>
                        <a:pt x="28915" y="80425"/>
                        <a:pt x="28192" y="81063"/>
                        <a:pt x="27469" y="81063"/>
                      </a:cubicBezTo>
                      <a:cubicBezTo>
                        <a:pt x="27469" y="81063"/>
                        <a:pt x="26024" y="81063"/>
                        <a:pt x="25301" y="81063"/>
                      </a:cubicBezTo>
                      <a:cubicBezTo>
                        <a:pt x="25301" y="81063"/>
                        <a:pt x="25301" y="81063"/>
                        <a:pt x="24578" y="81063"/>
                      </a:cubicBezTo>
                      <a:cubicBezTo>
                        <a:pt x="23855" y="81063"/>
                        <a:pt x="23132" y="81702"/>
                        <a:pt x="22409" y="81702"/>
                      </a:cubicBezTo>
                      <a:cubicBezTo>
                        <a:pt x="21686" y="81702"/>
                        <a:pt x="21686" y="81063"/>
                        <a:pt x="20963" y="81063"/>
                      </a:cubicBezTo>
                      <a:cubicBezTo>
                        <a:pt x="20240" y="81063"/>
                        <a:pt x="20240" y="81063"/>
                        <a:pt x="20240" y="81063"/>
                      </a:cubicBezTo>
                      <a:cubicBezTo>
                        <a:pt x="20240" y="81063"/>
                        <a:pt x="20240" y="81063"/>
                        <a:pt x="20240" y="81063"/>
                      </a:cubicBezTo>
                      <a:cubicBezTo>
                        <a:pt x="20240" y="81063"/>
                        <a:pt x="20240" y="79787"/>
                        <a:pt x="21686" y="79787"/>
                      </a:cubicBezTo>
                      <a:cubicBezTo>
                        <a:pt x="22409" y="79148"/>
                        <a:pt x="21686" y="79148"/>
                        <a:pt x="23132" y="79148"/>
                      </a:cubicBezTo>
                      <a:cubicBezTo>
                        <a:pt x="24578" y="79148"/>
                        <a:pt x="25301" y="79148"/>
                        <a:pt x="26024" y="78510"/>
                      </a:cubicBezTo>
                      <a:cubicBezTo>
                        <a:pt x="26746" y="77872"/>
                        <a:pt x="26746" y="77234"/>
                        <a:pt x="27469" y="77234"/>
                      </a:cubicBezTo>
                      <a:cubicBezTo>
                        <a:pt x="28192" y="76595"/>
                        <a:pt x="28192" y="75957"/>
                        <a:pt x="28915" y="76595"/>
                      </a:cubicBezTo>
                      <a:cubicBezTo>
                        <a:pt x="30361" y="76595"/>
                        <a:pt x="31807" y="76595"/>
                        <a:pt x="31807" y="76595"/>
                      </a:cubicBezTo>
                      <a:cubicBezTo>
                        <a:pt x="31807" y="76595"/>
                        <a:pt x="31807" y="75957"/>
                        <a:pt x="31807" y="75319"/>
                      </a:cubicBezTo>
                      <a:cubicBezTo>
                        <a:pt x="31807" y="75319"/>
                        <a:pt x="31807" y="75319"/>
                        <a:pt x="31807" y="74680"/>
                      </a:cubicBezTo>
                      <a:cubicBezTo>
                        <a:pt x="32530" y="74680"/>
                        <a:pt x="32530" y="74042"/>
                        <a:pt x="32530" y="74042"/>
                      </a:cubicBezTo>
                      <a:cubicBezTo>
                        <a:pt x="33253" y="74042"/>
                        <a:pt x="33253" y="73404"/>
                        <a:pt x="33975" y="73404"/>
                      </a:cubicBezTo>
                      <a:cubicBezTo>
                        <a:pt x="33975" y="72765"/>
                        <a:pt x="34698" y="72765"/>
                        <a:pt x="34698" y="72127"/>
                      </a:cubicBezTo>
                      <a:cubicBezTo>
                        <a:pt x="35421" y="72127"/>
                        <a:pt x="35421" y="71489"/>
                        <a:pt x="35421" y="71489"/>
                      </a:cubicBezTo>
                      <a:cubicBezTo>
                        <a:pt x="35421" y="71489"/>
                        <a:pt x="33253" y="70851"/>
                        <a:pt x="33253" y="70851"/>
                      </a:cubicBezTo>
                      <a:cubicBezTo>
                        <a:pt x="33975" y="70212"/>
                        <a:pt x="33975" y="70212"/>
                        <a:pt x="33975" y="70212"/>
                      </a:cubicBezTo>
                      <a:cubicBezTo>
                        <a:pt x="36867" y="68297"/>
                        <a:pt x="36867" y="68297"/>
                        <a:pt x="36867" y="68297"/>
                      </a:cubicBezTo>
                      <a:cubicBezTo>
                        <a:pt x="36867" y="68297"/>
                        <a:pt x="37590" y="67021"/>
                        <a:pt x="37590" y="67021"/>
                      </a:cubicBezTo>
                      <a:cubicBezTo>
                        <a:pt x="38313" y="67021"/>
                        <a:pt x="39036" y="66382"/>
                        <a:pt x="39036" y="66382"/>
                      </a:cubicBezTo>
                      <a:cubicBezTo>
                        <a:pt x="39759" y="65106"/>
                        <a:pt x="39759" y="65106"/>
                        <a:pt x="39759" y="65106"/>
                      </a:cubicBezTo>
                      <a:cubicBezTo>
                        <a:pt x="39759" y="65106"/>
                        <a:pt x="39759" y="64468"/>
                        <a:pt x="40481" y="65106"/>
                      </a:cubicBezTo>
                      <a:cubicBezTo>
                        <a:pt x="41204" y="65106"/>
                        <a:pt x="41204" y="65744"/>
                        <a:pt x="41927" y="65744"/>
                      </a:cubicBezTo>
                      <a:cubicBezTo>
                        <a:pt x="42650" y="66382"/>
                        <a:pt x="44819" y="66382"/>
                        <a:pt x="44819" y="66382"/>
                      </a:cubicBezTo>
                      <a:cubicBezTo>
                        <a:pt x="44096" y="65106"/>
                        <a:pt x="44096" y="65106"/>
                        <a:pt x="44096" y="65106"/>
                      </a:cubicBezTo>
                      <a:cubicBezTo>
                        <a:pt x="46987" y="65106"/>
                        <a:pt x="46987" y="65106"/>
                        <a:pt x="46987" y="65106"/>
                      </a:cubicBezTo>
                      <a:cubicBezTo>
                        <a:pt x="46987" y="66382"/>
                        <a:pt x="46987" y="66382"/>
                        <a:pt x="46987" y="66382"/>
                      </a:cubicBezTo>
                      <a:cubicBezTo>
                        <a:pt x="48433" y="65744"/>
                        <a:pt x="48433" y="65744"/>
                        <a:pt x="48433" y="65744"/>
                      </a:cubicBezTo>
                      <a:cubicBezTo>
                        <a:pt x="47710" y="64468"/>
                        <a:pt x="47710" y="64468"/>
                        <a:pt x="47710" y="64468"/>
                      </a:cubicBezTo>
                      <a:cubicBezTo>
                        <a:pt x="47710" y="64468"/>
                        <a:pt x="49156" y="64468"/>
                        <a:pt x="49156" y="64468"/>
                      </a:cubicBezTo>
                      <a:cubicBezTo>
                        <a:pt x="48433" y="64468"/>
                        <a:pt x="46987" y="63191"/>
                        <a:pt x="46987" y="63191"/>
                      </a:cubicBezTo>
                      <a:cubicBezTo>
                        <a:pt x="47710" y="61914"/>
                        <a:pt x="47710" y="61914"/>
                        <a:pt x="47710" y="61914"/>
                      </a:cubicBezTo>
                      <a:cubicBezTo>
                        <a:pt x="46265" y="61914"/>
                        <a:pt x="46265" y="61914"/>
                        <a:pt x="46265" y="61914"/>
                      </a:cubicBezTo>
                      <a:cubicBezTo>
                        <a:pt x="46265" y="61914"/>
                        <a:pt x="43373" y="61914"/>
                        <a:pt x="42650" y="61914"/>
                      </a:cubicBezTo>
                      <a:cubicBezTo>
                        <a:pt x="41927" y="61276"/>
                        <a:pt x="41927" y="61276"/>
                        <a:pt x="41204" y="61276"/>
                      </a:cubicBezTo>
                      <a:cubicBezTo>
                        <a:pt x="40481" y="61276"/>
                        <a:pt x="39759" y="61276"/>
                        <a:pt x="39036" y="61276"/>
                      </a:cubicBezTo>
                      <a:cubicBezTo>
                        <a:pt x="38313" y="61276"/>
                        <a:pt x="37590" y="61276"/>
                        <a:pt x="36867" y="61276"/>
                      </a:cubicBezTo>
                      <a:cubicBezTo>
                        <a:pt x="36867" y="61276"/>
                        <a:pt x="36144" y="61276"/>
                        <a:pt x="35421" y="61276"/>
                      </a:cubicBezTo>
                      <a:cubicBezTo>
                        <a:pt x="35421" y="60638"/>
                        <a:pt x="36144" y="60000"/>
                        <a:pt x="35421" y="60000"/>
                      </a:cubicBezTo>
                      <a:cubicBezTo>
                        <a:pt x="34698" y="60000"/>
                        <a:pt x="33975" y="58723"/>
                        <a:pt x="33253" y="59361"/>
                      </a:cubicBezTo>
                      <a:cubicBezTo>
                        <a:pt x="33253" y="59361"/>
                        <a:pt x="33253" y="59361"/>
                        <a:pt x="32530" y="59361"/>
                      </a:cubicBezTo>
                      <a:cubicBezTo>
                        <a:pt x="32530" y="60000"/>
                        <a:pt x="31807" y="60000"/>
                        <a:pt x="31807" y="60000"/>
                      </a:cubicBezTo>
                      <a:cubicBezTo>
                        <a:pt x="31084" y="59361"/>
                        <a:pt x="31084" y="60000"/>
                        <a:pt x="31807" y="59361"/>
                      </a:cubicBezTo>
                      <a:cubicBezTo>
                        <a:pt x="31807" y="58723"/>
                        <a:pt x="31084" y="57446"/>
                        <a:pt x="31807" y="57446"/>
                      </a:cubicBezTo>
                      <a:cubicBezTo>
                        <a:pt x="32530" y="58085"/>
                        <a:pt x="32530" y="58085"/>
                        <a:pt x="33253" y="58085"/>
                      </a:cubicBezTo>
                      <a:cubicBezTo>
                        <a:pt x="33253" y="58085"/>
                        <a:pt x="33975" y="58085"/>
                        <a:pt x="33975" y="58085"/>
                      </a:cubicBezTo>
                      <a:cubicBezTo>
                        <a:pt x="33975" y="57446"/>
                        <a:pt x="34698" y="56170"/>
                        <a:pt x="34698" y="56170"/>
                      </a:cubicBezTo>
                      <a:cubicBezTo>
                        <a:pt x="34698" y="56170"/>
                        <a:pt x="36867" y="56808"/>
                        <a:pt x="36144" y="56170"/>
                      </a:cubicBezTo>
                      <a:cubicBezTo>
                        <a:pt x="35421" y="55531"/>
                        <a:pt x="33975" y="54893"/>
                        <a:pt x="33975" y="54893"/>
                      </a:cubicBezTo>
                      <a:cubicBezTo>
                        <a:pt x="33975" y="54893"/>
                        <a:pt x="33253" y="54893"/>
                        <a:pt x="33253" y="55531"/>
                      </a:cubicBezTo>
                      <a:cubicBezTo>
                        <a:pt x="32530" y="56170"/>
                        <a:pt x="33253" y="56170"/>
                        <a:pt x="32530" y="56808"/>
                      </a:cubicBezTo>
                      <a:cubicBezTo>
                        <a:pt x="31807" y="56808"/>
                        <a:pt x="31807" y="56808"/>
                        <a:pt x="31084" y="56808"/>
                      </a:cubicBezTo>
                      <a:cubicBezTo>
                        <a:pt x="31084" y="56808"/>
                        <a:pt x="31084" y="56808"/>
                        <a:pt x="30361" y="56808"/>
                      </a:cubicBezTo>
                      <a:cubicBezTo>
                        <a:pt x="30361" y="56808"/>
                        <a:pt x="28915" y="56808"/>
                        <a:pt x="28915" y="56170"/>
                      </a:cubicBezTo>
                      <a:cubicBezTo>
                        <a:pt x="28915" y="56170"/>
                        <a:pt x="28915" y="56170"/>
                        <a:pt x="28915" y="55531"/>
                      </a:cubicBezTo>
                      <a:cubicBezTo>
                        <a:pt x="28915" y="54893"/>
                        <a:pt x="28915" y="54255"/>
                        <a:pt x="30361" y="54255"/>
                      </a:cubicBezTo>
                      <a:cubicBezTo>
                        <a:pt x="31084" y="54255"/>
                        <a:pt x="31084" y="54893"/>
                        <a:pt x="31084" y="54255"/>
                      </a:cubicBezTo>
                      <a:cubicBezTo>
                        <a:pt x="31084" y="54255"/>
                        <a:pt x="31084" y="53617"/>
                        <a:pt x="30361" y="53617"/>
                      </a:cubicBezTo>
                      <a:cubicBezTo>
                        <a:pt x="30361" y="52978"/>
                        <a:pt x="30361" y="52978"/>
                        <a:pt x="29638" y="52978"/>
                      </a:cubicBezTo>
                      <a:cubicBezTo>
                        <a:pt x="28915" y="52978"/>
                        <a:pt x="27469" y="53617"/>
                        <a:pt x="27469" y="53617"/>
                      </a:cubicBezTo>
                      <a:cubicBezTo>
                        <a:pt x="27469" y="53617"/>
                        <a:pt x="28192" y="53617"/>
                        <a:pt x="26746" y="53617"/>
                      </a:cubicBezTo>
                      <a:cubicBezTo>
                        <a:pt x="26024" y="52978"/>
                        <a:pt x="26746" y="52978"/>
                        <a:pt x="26024" y="52340"/>
                      </a:cubicBezTo>
                      <a:cubicBezTo>
                        <a:pt x="26024" y="51702"/>
                        <a:pt x="26024" y="51702"/>
                        <a:pt x="25301" y="51702"/>
                      </a:cubicBezTo>
                      <a:cubicBezTo>
                        <a:pt x="25301" y="51702"/>
                        <a:pt x="25301" y="51702"/>
                        <a:pt x="24578" y="51702"/>
                      </a:cubicBezTo>
                      <a:cubicBezTo>
                        <a:pt x="23855" y="51063"/>
                        <a:pt x="23132" y="51063"/>
                        <a:pt x="23132" y="50425"/>
                      </a:cubicBezTo>
                      <a:cubicBezTo>
                        <a:pt x="23132" y="49787"/>
                        <a:pt x="23132" y="49148"/>
                        <a:pt x="23855" y="49787"/>
                      </a:cubicBezTo>
                      <a:cubicBezTo>
                        <a:pt x="24578" y="49787"/>
                        <a:pt x="23855" y="49148"/>
                        <a:pt x="24578" y="49787"/>
                      </a:cubicBezTo>
                      <a:cubicBezTo>
                        <a:pt x="26024" y="50425"/>
                        <a:pt x="26024" y="50425"/>
                        <a:pt x="26024" y="50425"/>
                      </a:cubicBezTo>
                      <a:cubicBezTo>
                        <a:pt x="26024" y="50425"/>
                        <a:pt x="26746" y="50425"/>
                        <a:pt x="26024" y="49787"/>
                      </a:cubicBezTo>
                      <a:cubicBezTo>
                        <a:pt x="26024" y="49148"/>
                        <a:pt x="25301" y="48510"/>
                        <a:pt x="25301" y="48510"/>
                      </a:cubicBezTo>
                      <a:cubicBezTo>
                        <a:pt x="25301" y="48510"/>
                        <a:pt x="24578" y="48510"/>
                        <a:pt x="24578" y="47872"/>
                      </a:cubicBezTo>
                      <a:cubicBezTo>
                        <a:pt x="24578" y="47234"/>
                        <a:pt x="24578" y="47234"/>
                        <a:pt x="23855" y="46595"/>
                      </a:cubicBezTo>
                      <a:cubicBezTo>
                        <a:pt x="23855" y="46595"/>
                        <a:pt x="24578" y="46595"/>
                        <a:pt x="24578" y="46595"/>
                      </a:cubicBezTo>
                      <a:cubicBezTo>
                        <a:pt x="25301" y="46595"/>
                        <a:pt x="24578" y="46595"/>
                        <a:pt x="25301" y="46595"/>
                      </a:cubicBezTo>
                      <a:cubicBezTo>
                        <a:pt x="26746" y="46595"/>
                        <a:pt x="26024" y="46595"/>
                        <a:pt x="26746" y="46595"/>
                      </a:cubicBezTo>
                      <a:cubicBezTo>
                        <a:pt x="26746" y="46595"/>
                        <a:pt x="27469" y="46595"/>
                        <a:pt x="27469" y="46595"/>
                      </a:cubicBezTo>
                      <a:cubicBezTo>
                        <a:pt x="27469" y="47234"/>
                        <a:pt x="28192" y="45957"/>
                        <a:pt x="28192" y="45957"/>
                      </a:cubicBezTo>
                      <a:cubicBezTo>
                        <a:pt x="28192" y="45957"/>
                        <a:pt x="27469" y="45319"/>
                        <a:pt x="28192" y="45319"/>
                      </a:cubicBezTo>
                      <a:cubicBezTo>
                        <a:pt x="28915" y="45319"/>
                        <a:pt x="28915" y="45957"/>
                        <a:pt x="29638" y="45957"/>
                      </a:cubicBezTo>
                      <a:cubicBezTo>
                        <a:pt x="31084" y="45957"/>
                        <a:pt x="31084" y="46595"/>
                        <a:pt x="31807" y="46595"/>
                      </a:cubicBezTo>
                      <a:cubicBezTo>
                        <a:pt x="31807" y="45957"/>
                        <a:pt x="32530" y="46595"/>
                        <a:pt x="32530" y="45957"/>
                      </a:cubicBezTo>
                      <a:cubicBezTo>
                        <a:pt x="31807" y="45319"/>
                        <a:pt x="31807" y="45957"/>
                        <a:pt x="31807" y="45319"/>
                      </a:cubicBezTo>
                      <a:cubicBezTo>
                        <a:pt x="31084" y="44680"/>
                        <a:pt x="31084" y="45319"/>
                        <a:pt x="31084" y="44042"/>
                      </a:cubicBezTo>
                      <a:cubicBezTo>
                        <a:pt x="31807" y="43404"/>
                        <a:pt x="31807" y="42765"/>
                        <a:pt x="31807" y="42765"/>
                      </a:cubicBezTo>
                      <a:cubicBezTo>
                        <a:pt x="31807" y="42127"/>
                        <a:pt x="31807" y="42127"/>
                        <a:pt x="31807" y="42127"/>
                      </a:cubicBezTo>
                      <a:cubicBezTo>
                        <a:pt x="33253" y="40851"/>
                        <a:pt x="33253" y="40851"/>
                        <a:pt x="33253" y="40851"/>
                      </a:cubicBezTo>
                      <a:cubicBezTo>
                        <a:pt x="33253" y="40851"/>
                        <a:pt x="33975" y="40851"/>
                        <a:pt x="34698" y="40851"/>
                      </a:cubicBezTo>
                      <a:cubicBezTo>
                        <a:pt x="36144" y="40851"/>
                        <a:pt x="36867" y="41489"/>
                        <a:pt x="37590" y="41489"/>
                      </a:cubicBezTo>
                      <a:cubicBezTo>
                        <a:pt x="39036" y="41489"/>
                        <a:pt x="39759" y="41489"/>
                        <a:pt x="39759" y="41489"/>
                      </a:cubicBezTo>
                      <a:cubicBezTo>
                        <a:pt x="39036" y="40851"/>
                        <a:pt x="39036" y="40851"/>
                        <a:pt x="39036" y="40851"/>
                      </a:cubicBezTo>
                      <a:cubicBezTo>
                        <a:pt x="39036" y="40851"/>
                        <a:pt x="39036" y="40851"/>
                        <a:pt x="39036" y="40212"/>
                      </a:cubicBezTo>
                      <a:cubicBezTo>
                        <a:pt x="39759" y="40212"/>
                        <a:pt x="39759" y="40212"/>
                        <a:pt x="40481" y="40212"/>
                      </a:cubicBezTo>
                      <a:cubicBezTo>
                        <a:pt x="40481" y="40212"/>
                        <a:pt x="41204" y="38936"/>
                        <a:pt x="41204" y="38936"/>
                      </a:cubicBezTo>
                      <a:cubicBezTo>
                        <a:pt x="40481" y="38297"/>
                        <a:pt x="40481" y="38297"/>
                        <a:pt x="39759" y="37659"/>
                      </a:cubicBezTo>
                      <a:cubicBezTo>
                        <a:pt x="38313" y="37659"/>
                        <a:pt x="36144" y="37659"/>
                        <a:pt x="36144" y="37659"/>
                      </a:cubicBezTo>
                      <a:cubicBezTo>
                        <a:pt x="36144" y="37659"/>
                        <a:pt x="35421" y="37659"/>
                        <a:pt x="34698" y="37659"/>
                      </a:cubicBezTo>
                      <a:cubicBezTo>
                        <a:pt x="33975" y="37659"/>
                        <a:pt x="32530" y="37659"/>
                        <a:pt x="32530" y="37021"/>
                      </a:cubicBezTo>
                      <a:cubicBezTo>
                        <a:pt x="31807" y="37021"/>
                        <a:pt x="31807" y="37021"/>
                        <a:pt x="31807" y="35744"/>
                      </a:cubicBezTo>
                      <a:cubicBezTo>
                        <a:pt x="31807" y="35106"/>
                        <a:pt x="31084" y="35106"/>
                        <a:pt x="31084" y="35106"/>
                      </a:cubicBezTo>
                      <a:cubicBezTo>
                        <a:pt x="31807" y="33829"/>
                        <a:pt x="31807" y="33829"/>
                        <a:pt x="31807" y="33829"/>
                      </a:cubicBezTo>
                      <a:cubicBezTo>
                        <a:pt x="31807" y="33829"/>
                        <a:pt x="31084" y="33191"/>
                        <a:pt x="31084" y="33191"/>
                      </a:cubicBezTo>
                      <a:cubicBezTo>
                        <a:pt x="30361" y="33191"/>
                        <a:pt x="30361" y="33191"/>
                        <a:pt x="30361" y="33191"/>
                      </a:cubicBezTo>
                      <a:cubicBezTo>
                        <a:pt x="29638" y="33191"/>
                        <a:pt x="30361" y="33191"/>
                        <a:pt x="28915" y="32553"/>
                      </a:cubicBezTo>
                      <a:cubicBezTo>
                        <a:pt x="27469" y="32553"/>
                        <a:pt x="26746" y="31914"/>
                        <a:pt x="26746" y="31914"/>
                      </a:cubicBezTo>
                      <a:cubicBezTo>
                        <a:pt x="26746" y="31276"/>
                        <a:pt x="26746" y="31276"/>
                        <a:pt x="28192" y="31276"/>
                      </a:cubicBezTo>
                      <a:cubicBezTo>
                        <a:pt x="28915" y="31276"/>
                        <a:pt x="29638" y="31276"/>
                        <a:pt x="30361" y="31276"/>
                      </a:cubicBezTo>
                      <a:cubicBezTo>
                        <a:pt x="31084" y="31914"/>
                        <a:pt x="32530" y="31276"/>
                        <a:pt x="32530" y="31276"/>
                      </a:cubicBezTo>
                      <a:cubicBezTo>
                        <a:pt x="32530" y="31276"/>
                        <a:pt x="31807" y="31276"/>
                        <a:pt x="33253" y="31914"/>
                      </a:cubicBezTo>
                      <a:cubicBezTo>
                        <a:pt x="34698" y="32553"/>
                        <a:pt x="33975" y="32553"/>
                        <a:pt x="34698" y="32553"/>
                      </a:cubicBezTo>
                      <a:cubicBezTo>
                        <a:pt x="35421" y="32553"/>
                        <a:pt x="36144" y="31914"/>
                        <a:pt x="35421" y="31914"/>
                      </a:cubicBezTo>
                      <a:cubicBezTo>
                        <a:pt x="35421" y="31276"/>
                        <a:pt x="36144" y="31276"/>
                        <a:pt x="35421" y="31276"/>
                      </a:cubicBezTo>
                      <a:cubicBezTo>
                        <a:pt x="34698" y="30638"/>
                        <a:pt x="34698" y="30638"/>
                        <a:pt x="34698" y="30638"/>
                      </a:cubicBezTo>
                      <a:cubicBezTo>
                        <a:pt x="34698" y="30638"/>
                        <a:pt x="34698" y="30638"/>
                        <a:pt x="34698" y="30000"/>
                      </a:cubicBezTo>
                      <a:cubicBezTo>
                        <a:pt x="34698" y="29361"/>
                        <a:pt x="35421" y="28723"/>
                        <a:pt x="35421" y="28723"/>
                      </a:cubicBezTo>
                      <a:cubicBezTo>
                        <a:pt x="36144" y="28723"/>
                        <a:pt x="36144" y="28723"/>
                        <a:pt x="36144" y="28085"/>
                      </a:cubicBezTo>
                      <a:cubicBezTo>
                        <a:pt x="36144" y="28085"/>
                        <a:pt x="36144" y="27446"/>
                        <a:pt x="36144" y="27446"/>
                      </a:cubicBezTo>
                      <a:cubicBezTo>
                        <a:pt x="36144" y="26808"/>
                        <a:pt x="36867" y="26170"/>
                        <a:pt x="36867" y="26170"/>
                      </a:cubicBezTo>
                      <a:cubicBezTo>
                        <a:pt x="36867" y="26170"/>
                        <a:pt x="36144" y="25531"/>
                        <a:pt x="36144" y="25531"/>
                      </a:cubicBezTo>
                      <a:cubicBezTo>
                        <a:pt x="36144" y="25531"/>
                        <a:pt x="34698" y="25531"/>
                        <a:pt x="34698" y="26170"/>
                      </a:cubicBezTo>
                      <a:cubicBezTo>
                        <a:pt x="34698" y="26170"/>
                        <a:pt x="34698" y="26170"/>
                        <a:pt x="34698" y="26808"/>
                      </a:cubicBezTo>
                      <a:cubicBezTo>
                        <a:pt x="33975" y="26808"/>
                        <a:pt x="33975" y="26808"/>
                        <a:pt x="33253" y="26808"/>
                      </a:cubicBezTo>
                      <a:cubicBezTo>
                        <a:pt x="33253" y="27446"/>
                        <a:pt x="33253" y="27446"/>
                        <a:pt x="33253" y="27446"/>
                      </a:cubicBezTo>
                      <a:cubicBezTo>
                        <a:pt x="33253" y="28085"/>
                        <a:pt x="32530" y="28723"/>
                        <a:pt x="32530" y="28723"/>
                      </a:cubicBezTo>
                      <a:cubicBezTo>
                        <a:pt x="32530" y="28723"/>
                        <a:pt x="31807" y="27446"/>
                        <a:pt x="31807" y="26808"/>
                      </a:cubicBezTo>
                      <a:cubicBezTo>
                        <a:pt x="31807" y="26808"/>
                        <a:pt x="32530" y="26170"/>
                        <a:pt x="33253" y="26170"/>
                      </a:cubicBezTo>
                      <a:cubicBezTo>
                        <a:pt x="33975" y="26170"/>
                        <a:pt x="33975" y="26170"/>
                        <a:pt x="33975" y="25531"/>
                      </a:cubicBezTo>
                      <a:cubicBezTo>
                        <a:pt x="33975" y="25531"/>
                        <a:pt x="33975" y="25531"/>
                        <a:pt x="33975" y="24893"/>
                      </a:cubicBezTo>
                      <a:cubicBezTo>
                        <a:pt x="33975" y="24255"/>
                        <a:pt x="33975" y="24255"/>
                        <a:pt x="33975" y="24255"/>
                      </a:cubicBezTo>
                      <a:cubicBezTo>
                        <a:pt x="34698" y="23617"/>
                        <a:pt x="35421" y="22978"/>
                        <a:pt x="36144" y="22978"/>
                      </a:cubicBezTo>
                      <a:cubicBezTo>
                        <a:pt x="36144" y="22978"/>
                        <a:pt x="35421" y="21702"/>
                        <a:pt x="36867" y="22978"/>
                      </a:cubicBezTo>
                      <a:cubicBezTo>
                        <a:pt x="37590" y="23617"/>
                        <a:pt x="37590" y="23617"/>
                        <a:pt x="38313" y="24255"/>
                      </a:cubicBezTo>
                      <a:cubicBezTo>
                        <a:pt x="39036" y="24255"/>
                        <a:pt x="40481" y="24893"/>
                        <a:pt x="40481" y="24255"/>
                      </a:cubicBezTo>
                      <a:cubicBezTo>
                        <a:pt x="40481" y="24255"/>
                        <a:pt x="40481" y="23617"/>
                        <a:pt x="40481" y="22978"/>
                      </a:cubicBezTo>
                      <a:cubicBezTo>
                        <a:pt x="40481" y="22978"/>
                        <a:pt x="39759" y="22978"/>
                        <a:pt x="40481" y="22340"/>
                      </a:cubicBezTo>
                      <a:cubicBezTo>
                        <a:pt x="40481" y="22340"/>
                        <a:pt x="40481" y="22340"/>
                        <a:pt x="41204" y="22340"/>
                      </a:cubicBezTo>
                      <a:cubicBezTo>
                        <a:pt x="42650" y="22978"/>
                        <a:pt x="41927" y="22978"/>
                        <a:pt x="42650" y="23617"/>
                      </a:cubicBezTo>
                      <a:cubicBezTo>
                        <a:pt x="44096" y="24255"/>
                        <a:pt x="44096" y="24255"/>
                        <a:pt x="44096" y="24255"/>
                      </a:cubicBezTo>
                      <a:cubicBezTo>
                        <a:pt x="44819" y="24255"/>
                        <a:pt x="44819" y="24255"/>
                        <a:pt x="45542" y="24255"/>
                      </a:cubicBezTo>
                      <a:cubicBezTo>
                        <a:pt x="46265" y="24255"/>
                        <a:pt x="45542" y="23617"/>
                        <a:pt x="46987" y="24893"/>
                      </a:cubicBezTo>
                      <a:cubicBezTo>
                        <a:pt x="47710" y="25531"/>
                        <a:pt x="47710" y="25531"/>
                        <a:pt x="48433" y="25531"/>
                      </a:cubicBezTo>
                      <a:cubicBezTo>
                        <a:pt x="49156" y="26170"/>
                        <a:pt x="50602" y="25531"/>
                        <a:pt x="50602" y="25531"/>
                      </a:cubicBezTo>
                      <a:cubicBezTo>
                        <a:pt x="50602" y="25531"/>
                        <a:pt x="50602" y="24893"/>
                        <a:pt x="51325" y="26170"/>
                      </a:cubicBezTo>
                      <a:cubicBezTo>
                        <a:pt x="52048" y="27446"/>
                        <a:pt x="52771" y="27446"/>
                        <a:pt x="52771" y="27446"/>
                      </a:cubicBezTo>
                      <a:cubicBezTo>
                        <a:pt x="52771" y="28085"/>
                        <a:pt x="53493" y="28723"/>
                        <a:pt x="53493" y="28723"/>
                      </a:cubicBezTo>
                      <a:cubicBezTo>
                        <a:pt x="53493" y="28723"/>
                        <a:pt x="53493" y="28723"/>
                        <a:pt x="53493" y="29361"/>
                      </a:cubicBezTo>
                      <a:cubicBezTo>
                        <a:pt x="53493" y="29361"/>
                        <a:pt x="53493" y="30000"/>
                        <a:pt x="54216" y="30000"/>
                      </a:cubicBezTo>
                      <a:cubicBezTo>
                        <a:pt x="54216" y="30000"/>
                        <a:pt x="54939" y="30000"/>
                        <a:pt x="54939" y="30000"/>
                      </a:cubicBezTo>
                      <a:cubicBezTo>
                        <a:pt x="54939" y="30000"/>
                        <a:pt x="55662" y="29361"/>
                        <a:pt x="55662" y="29361"/>
                      </a:cubicBezTo>
                      <a:cubicBezTo>
                        <a:pt x="55662" y="29361"/>
                        <a:pt x="57108" y="28723"/>
                        <a:pt x="57108" y="28723"/>
                      </a:cubicBezTo>
                      <a:cubicBezTo>
                        <a:pt x="57108" y="28723"/>
                        <a:pt x="57108" y="28085"/>
                        <a:pt x="58554" y="28723"/>
                      </a:cubicBezTo>
                      <a:cubicBezTo>
                        <a:pt x="59277" y="28723"/>
                        <a:pt x="60722" y="29361"/>
                        <a:pt x="60722" y="29361"/>
                      </a:cubicBezTo>
                      <a:cubicBezTo>
                        <a:pt x="60722" y="29361"/>
                        <a:pt x="60722" y="30000"/>
                        <a:pt x="60722" y="30000"/>
                      </a:cubicBezTo>
                      <a:cubicBezTo>
                        <a:pt x="61445" y="30000"/>
                        <a:pt x="63614" y="30000"/>
                        <a:pt x="63614" y="30000"/>
                      </a:cubicBezTo>
                      <a:cubicBezTo>
                        <a:pt x="64337" y="30638"/>
                        <a:pt x="64337" y="30638"/>
                        <a:pt x="64337" y="30638"/>
                      </a:cubicBezTo>
                      <a:cubicBezTo>
                        <a:pt x="64337" y="30638"/>
                        <a:pt x="65060" y="31276"/>
                        <a:pt x="65060" y="31276"/>
                      </a:cubicBezTo>
                      <a:cubicBezTo>
                        <a:pt x="65060" y="31914"/>
                        <a:pt x="65783" y="33191"/>
                        <a:pt x="65783" y="33191"/>
                      </a:cubicBezTo>
                      <a:cubicBezTo>
                        <a:pt x="67951" y="33829"/>
                        <a:pt x="67951" y="33829"/>
                        <a:pt x="67951" y="33829"/>
                      </a:cubicBezTo>
                      <a:cubicBezTo>
                        <a:pt x="66506" y="31914"/>
                        <a:pt x="66506" y="31914"/>
                        <a:pt x="66506" y="31914"/>
                      </a:cubicBezTo>
                      <a:cubicBezTo>
                        <a:pt x="66506" y="31914"/>
                        <a:pt x="65060" y="30638"/>
                        <a:pt x="66506" y="30638"/>
                      </a:cubicBezTo>
                      <a:cubicBezTo>
                        <a:pt x="67951" y="30638"/>
                        <a:pt x="68674" y="30000"/>
                        <a:pt x="68674" y="30000"/>
                      </a:cubicBezTo>
                      <a:cubicBezTo>
                        <a:pt x="68674" y="29361"/>
                        <a:pt x="68674" y="29361"/>
                        <a:pt x="68674" y="29361"/>
                      </a:cubicBezTo>
                      <a:cubicBezTo>
                        <a:pt x="66506" y="29361"/>
                        <a:pt x="66506" y="29361"/>
                        <a:pt x="66506" y="29361"/>
                      </a:cubicBezTo>
                      <a:cubicBezTo>
                        <a:pt x="66506" y="29361"/>
                        <a:pt x="66506" y="28085"/>
                        <a:pt x="66506" y="28085"/>
                      </a:cubicBezTo>
                      <a:cubicBezTo>
                        <a:pt x="67228" y="28085"/>
                        <a:pt x="67951" y="26808"/>
                        <a:pt x="69397" y="26808"/>
                      </a:cubicBezTo>
                      <a:cubicBezTo>
                        <a:pt x="70843" y="26808"/>
                        <a:pt x="72289" y="26170"/>
                        <a:pt x="72289" y="26170"/>
                      </a:cubicBezTo>
                      <a:cubicBezTo>
                        <a:pt x="72289" y="26170"/>
                        <a:pt x="72289" y="25531"/>
                        <a:pt x="73734" y="25531"/>
                      </a:cubicBezTo>
                      <a:cubicBezTo>
                        <a:pt x="75180" y="25531"/>
                        <a:pt x="75903" y="25531"/>
                        <a:pt x="76626" y="25531"/>
                      </a:cubicBezTo>
                      <a:cubicBezTo>
                        <a:pt x="77349" y="25531"/>
                        <a:pt x="77349" y="25531"/>
                        <a:pt x="77349" y="24893"/>
                      </a:cubicBezTo>
                      <a:cubicBezTo>
                        <a:pt x="77349" y="24255"/>
                        <a:pt x="76626" y="24255"/>
                        <a:pt x="78072" y="23617"/>
                      </a:cubicBezTo>
                      <a:cubicBezTo>
                        <a:pt x="78795" y="23617"/>
                        <a:pt x="79518" y="22978"/>
                        <a:pt x="79518" y="22978"/>
                      </a:cubicBezTo>
                      <a:cubicBezTo>
                        <a:pt x="80240" y="20425"/>
                        <a:pt x="80240" y="20425"/>
                        <a:pt x="80240" y="20425"/>
                      </a:cubicBezTo>
                      <a:cubicBezTo>
                        <a:pt x="77349" y="21702"/>
                        <a:pt x="77349" y="21702"/>
                        <a:pt x="77349" y="21702"/>
                      </a:cubicBezTo>
                      <a:cubicBezTo>
                        <a:pt x="77349" y="21702"/>
                        <a:pt x="77349" y="20425"/>
                        <a:pt x="76626" y="20425"/>
                      </a:cubicBezTo>
                      <a:cubicBezTo>
                        <a:pt x="75903" y="20425"/>
                        <a:pt x="73734" y="21702"/>
                        <a:pt x="73734" y="21702"/>
                      </a:cubicBezTo>
                      <a:cubicBezTo>
                        <a:pt x="73734" y="21702"/>
                        <a:pt x="73734" y="21063"/>
                        <a:pt x="73012" y="21063"/>
                      </a:cubicBezTo>
                      <a:cubicBezTo>
                        <a:pt x="73012" y="20425"/>
                        <a:pt x="73012" y="20425"/>
                        <a:pt x="72289" y="20425"/>
                      </a:cubicBezTo>
                      <a:cubicBezTo>
                        <a:pt x="71566" y="20425"/>
                        <a:pt x="72289" y="20425"/>
                        <a:pt x="70843" y="19787"/>
                      </a:cubicBezTo>
                      <a:cubicBezTo>
                        <a:pt x="69397" y="19148"/>
                        <a:pt x="68674" y="17872"/>
                        <a:pt x="68674" y="17872"/>
                      </a:cubicBezTo>
                      <a:cubicBezTo>
                        <a:pt x="68674" y="17872"/>
                        <a:pt x="69397" y="17872"/>
                        <a:pt x="67951" y="17872"/>
                      </a:cubicBezTo>
                      <a:cubicBezTo>
                        <a:pt x="67228" y="17234"/>
                        <a:pt x="67228" y="17234"/>
                        <a:pt x="67228" y="17234"/>
                      </a:cubicBezTo>
                      <a:cubicBezTo>
                        <a:pt x="66506" y="16595"/>
                        <a:pt x="66506" y="16595"/>
                        <a:pt x="67951" y="15957"/>
                      </a:cubicBezTo>
                      <a:cubicBezTo>
                        <a:pt x="68674" y="15319"/>
                        <a:pt x="67951" y="15319"/>
                        <a:pt x="69397" y="14680"/>
                      </a:cubicBezTo>
                      <a:cubicBezTo>
                        <a:pt x="70120" y="14042"/>
                        <a:pt x="69397" y="13404"/>
                        <a:pt x="70843" y="14042"/>
                      </a:cubicBezTo>
                      <a:cubicBezTo>
                        <a:pt x="73012" y="14680"/>
                        <a:pt x="73012" y="14680"/>
                        <a:pt x="73734" y="15319"/>
                      </a:cubicBezTo>
                      <a:cubicBezTo>
                        <a:pt x="74457" y="15319"/>
                        <a:pt x="77349" y="15319"/>
                        <a:pt x="75903" y="14680"/>
                      </a:cubicBezTo>
                      <a:cubicBezTo>
                        <a:pt x="75180" y="14042"/>
                        <a:pt x="73734" y="13404"/>
                        <a:pt x="73734" y="12765"/>
                      </a:cubicBezTo>
                      <a:cubicBezTo>
                        <a:pt x="73734" y="12765"/>
                        <a:pt x="72289" y="12765"/>
                        <a:pt x="73734" y="12765"/>
                      </a:cubicBezTo>
                      <a:cubicBezTo>
                        <a:pt x="74457" y="12765"/>
                        <a:pt x="75180" y="12127"/>
                        <a:pt x="75903" y="12765"/>
                      </a:cubicBezTo>
                      <a:cubicBezTo>
                        <a:pt x="75903" y="12765"/>
                        <a:pt x="74457" y="12765"/>
                        <a:pt x="76626" y="12765"/>
                      </a:cubicBezTo>
                      <a:cubicBezTo>
                        <a:pt x="78795" y="12765"/>
                        <a:pt x="79518" y="12765"/>
                        <a:pt x="78072" y="12127"/>
                      </a:cubicBezTo>
                      <a:cubicBezTo>
                        <a:pt x="77349" y="11489"/>
                        <a:pt x="77349" y="11489"/>
                        <a:pt x="76626" y="10851"/>
                      </a:cubicBezTo>
                      <a:cubicBezTo>
                        <a:pt x="76626" y="10212"/>
                        <a:pt x="75903" y="10212"/>
                        <a:pt x="76626" y="10212"/>
                      </a:cubicBezTo>
                      <a:cubicBezTo>
                        <a:pt x="76626" y="9574"/>
                        <a:pt x="76626" y="10212"/>
                        <a:pt x="77349" y="9574"/>
                      </a:cubicBezTo>
                      <a:cubicBezTo>
                        <a:pt x="77349" y="8936"/>
                        <a:pt x="77349" y="8297"/>
                        <a:pt x="77349" y="8297"/>
                      </a:cubicBezTo>
                      <a:cubicBezTo>
                        <a:pt x="77349" y="8297"/>
                        <a:pt x="76626" y="8297"/>
                        <a:pt x="77349" y="7659"/>
                      </a:cubicBezTo>
                      <a:cubicBezTo>
                        <a:pt x="78795" y="6382"/>
                        <a:pt x="78795" y="6382"/>
                        <a:pt x="79518" y="6382"/>
                      </a:cubicBezTo>
                      <a:cubicBezTo>
                        <a:pt x="79518" y="6382"/>
                        <a:pt x="80240" y="5744"/>
                        <a:pt x="80963" y="5744"/>
                      </a:cubicBezTo>
                      <a:cubicBezTo>
                        <a:pt x="80963" y="5106"/>
                        <a:pt x="81686" y="3829"/>
                        <a:pt x="81686" y="3829"/>
                      </a:cubicBezTo>
                      <a:cubicBezTo>
                        <a:pt x="83855" y="3829"/>
                        <a:pt x="83855" y="3829"/>
                        <a:pt x="83855" y="3829"/>
                      </a:cubicBezTo>
                      <a:cubicBezTo>
                        <a:pt x="83855" y="3829"/>
                        <a:pt x="84578" y="3829"/>
                        <a:pt x="84578" y="3829"/>
                      </a:cubicBezTo>
                      <a:cubicBezTo>
                        <a:pt x="84578" y="4468"/>
                        <a:pt x="84578" y="3191"/>
                        <a:pt x="84578" y="3191"/>
                      </a:cubicBezTo>
                      <a:cubicBezTo>
                        <a:pt x="84578" y="3191"/>
                        <a:pt x="85301" y="3191"/>
                        <a:pt x="85301" y="3191"/>
                      </a:cubicBezTo>
                      <a:cubicBezTo>
                        <a:pt x="86024" y="3829"/>
                        <a:pt x="86024" y="3829"/>
                        <a:pt x="86024" y="3829"/>
                      </a:cubicBezTo>
                      <a:cubicBezTo>
                        <a:pt x="86746" y="4468"/>
                        <a:pt x="87469" y="3829"/>
                        <a:pt x="87469" y="3829"/>
                      </a:cubicBezTo>
                      <a:cubicBezTo>
                        <a:pt x="87469" y="3829"/>
                        <a:pt x="88192" y="3191"/>
                        <a:pt x="88915" y="3191"/>
                      </a:cubicBezTo>
                      <a:cubicBezTo>
                        <a:pt x="89638" y="3191"/>
                        <a:pt x="90361" y="3191"/>
                        <a:pt x="90361" y="3191"/>
                      </a:cubicBezTo>
                      <a:cubicBezTo>
                        <a:pt x="90361" y="3829"/>
                        <a:pt x="90361" y="3829"/>
                        <a:pt x="90361" y="4468"/>
                      </a:cubicBezTo>
                      <a:cubicBezTo>
                        <a:pt x="91084" y="4468"/>
                        <a:pt x="91807" y="5106"/>
                        <a:pt x="91807" y="5106"/>
                      </a:cubicBezTo>
                      <a:cubicBezTo>
                        <a:pt x="91807" y="5106"/>
                        <a:pt x="93253" y="5106"/>
                        <a:pt x="93253" y="4468"/>
                      </a:cubicBezTo>
                      <a:cubicBezTo>
                        <a:pt x="93253" y="4468"/>
                        <a:pt x="92530" y="4468"/>
                        <a:pt x="93975" y="3829"/>
                      </a:cubicBezTo>
                      <a:cubicBezTo>
                        <a:pt x="95421" y="2553"/>
                        <a:pt x="96144" y="2553"/>
                        <a:pt x="96144" y="2553"/>
                      </a:cubicBezTo>
                      <a:cubicBezTo>
                        <a:pt x="96144" y="2553"/>
                        <a:pt x="96144" y="1914"/>
                        <a:pt x="96867" y="1914"/>
                      </a:cubicBezTo>
                      <a:cubicBezTo>
                        <a:pt x="97590" y="2553"/>
                        <a:pt x="97590" y="1914"/>
                        <a:pt x="97590" y="2553"/>
                      </a:cubicBezTo>
                      <a:cubicBezTo>
                        <a:pt x="97590" y="2553"/>
                        <a:pt x="98313" y="3191"/>
                        <a:pt x="98313" y="3191"/>
                      </a:cubicBezTo>
                      <a:cubicBezTo>
                        <a:pt x="98313" y="3191"/>
                        <a:pt x="98313" y="5106"/>
                        <a:pt x="98313" y="5106"/>
                      </a:cubicBezTo>
                      <a:cubicBezTo>
                        <a:pt x="98313" y="5744"/>
                        <a:pt x="98313" y="5744"/>
                        <a:pt x="98313" y="5744"/>
                      </a:cubicBezTo>
                      <a:cubicBezTo>
                        <a:pt x="98313" y="5744"/>
                        <a:pt x="98313" y="6382"/>
                        <a:pt x="98313" y="6382"/>
                      </a:cubicBezTo>
                      <a:cubicBezTo>
                        <a:pt x="98313" y="7021"/>
                        <a:pt x="99036" y="8297"/>
                        <a:pt x="99036" y="8297"/>
                      </a:cubicBezTo>
                      <a:cubicBezTo>
                        <a:pt x="99036" y="8297"/>
                        <a:pt x="99036" y="8297"/>
                        <a:pt x="99036" y="8297"/>
                      </a:cubicBezTo>
                      <a:cubicBezTo>
                        <a:pt x="98313" y="8936"/>
                        <a:pt x="98313" y="8297"/>
                        <a:pt x="98313" y="8936"/>
                      </a:cubicBezTo>
                      <a:cubicBezTo>
                        <a:pt x="97590" y="9574"/>
                        <a:pt x="98313" y="9574"/>
                        <a:pt x="97590" y="10212"/>
                      </a:cubicBezTo>
                      <a:cubicBezTo>
                        <a:pt x="97590" y="10212"/>
                        <a:pt x="96867" y="10212"/>
                        <a:pt x="96867" y="10212"/>
                      </a:cubicBezTo>
                      <a:cubicBezTo>
                        <a:pt x="96867" y="10212"/>
                        <a:pt x="97590" y="10851"/>
                        <a:pt x="97590" y="10851"/>
                      </a:cubicBezTo>
                      <a:cubicBezTo>
                        <a:pt x="97590" y="10851"/>
                        <a:pt x="97590" y="10851"/>
                        <a:pt x="98313" y="10851"/>
                      </a:cubicBezTo>
                      <a:cubicBezTo>
                        <a:pt x="98313" y="10851"/>
                        <a:pt x="98313" y="10212"/>
                        <a:pt x="99036" y="10212"/>
                      </a:cubicBezTo>
                      <a:cubicBezTo>
                        <a:pt x="99036" y="10851"/>
                        <a:pt x="99036" y="9574"/>
                        <a:pt x="99036" y="9574"/>
                      </a:cubicBezTo>
                      <a:cubicBezTo>
                        <a:pt x="99036" y="9574"/>
                        <a:pt x="99036" y="9574"/>
                        <a:pt x="99759" y="8936"/>
                      </a:cubicBezTo>
                      <a:cubicBezTo>
                        <a:pt x="99759" y="8936"/>
                        <a:pt x="100481" y="8297"/>
                        <a:pt x="100481" y="7659"/>
                      </a:cubicBezTo>
                      <a:cubicBezTo>
                        <a:pt x="100481" y="7659"/>
                        <a:pt x="99759" y="7021"/>
                        <a:pt x="99759" y="7021"/>
                      </a:cubicBezTo>
                      <a:cubicBezTo>
                        <a:pt x="99759" y="7021"/>
                        <a:pt x="99036" y="5744"/>
                        <a:pt x="99036" y="5106"/>
                      </a:cubicBezTo>
                      <a:cubicBezTo>
                        <a:pt x="99036" y="5106"/>
                        <a:pt x="99036" y="5106"/>
                        <a:pt x="99036" y="4468"/>
                      </a:cubicBezTo>
                      <a:cubicBezTo>
                        <a:pt x="99759" y="4468"/>
                        <a:pt x="99759" y="3829"/>
                        <a:pt x="99759" y="3829"/>
                      </a:cubicBezTo>
                      <a:cubicBezTo>
                        <a:pt x="100481" y="3191"/>
                        <a:pt x="101204" y="2553"/>
                        <a:pt x="101204" y="2553"/>
                      </a:cubicBezTo>
                      <a:cubicBezTo>
                        <a:pt x="101204" y="2553"/>
                        <a:pt x="102650" y="2553"/>
                        <a:pt x="103373" y="2553"/>
                      </a:cubicBezTo>
                      <a:cubicBezTo>
                        <a:pt x="103373" y="2553"/>
                        <a:pt x="102650" y="1914"/>
                        <a:pt x="104096" y="2553"/>
                      </a:cubicBezTo>
                      <a:cubicBezTo>
                        <a:pt x="104819" y="3191"/>
                        <a:pt x="104819" y="3191"/>
                        <a:pt x="104819" y="3191"/>
                      </a:cubicBezTo>
                      <a:cubicBezTo>
                        <a:pt x="104819" y="3829"/>
                        <a:pt x="104096" y="3829"/>
                        <a:pt x="105542" y="3829"/>
                      </a:cubicBezTo>
                      <a:cubicBezTo>
                        <a:pt x="106265" y="3829"/>
                        <a:pt x="106987" y="3829"/>
                        <a:pt x="106265" y="3829"/>
                      </a:cubicBezTo>
                      <a:cubicBezTo>
                        <a:pt x="105542" y="3191"/>
                        <a:pt x="105542" y="2553"/>
                        <a:pt x="104819" y="2553"/>
                      </a:cubicBezTo>
                      <a:cubicBezTo>
                        <a:pt x="104819" y="2553"/>
                        <a:pt x="104096" y="1914"/>
                        <a:pt x="104096" y="1914"/>
                      </a:cubicBezTo>
                      <a:cubicBezTo>
                        <a:pt x="104096" y="1276"/>
                        <a:pt x="104096" y="0"/>
                        <a:pt x="104819" y="638"/>
                      </a:cubicBezTo>
                      <a:cubicBezTo>
                        <a:pt x="105542" y="638"/>
                        <a:pt x="104819" y="0"/>
                        <a:pt x="105542" y="638"/>
                      </a:cubicBezTo>
                      <a:cubicBezTo>
                        <a:pt x="106987" y="1914"/>
                        <a:pt x="107710" y="2553"/>
                        <a:pt x="107710" y="2553"/>
                      </a:cubicBezTo>
                      <a:cubicBezTo>
                        <a:pt x="107710" y="3191"/>
                        <a:pt x="108433" y="3191"/>
                        <a:pt x="108433" y="3191"/>
                      </a:cubicBezTo>
                      <a:cubicBezTo>
                        <a:pt x="108433" y="3829"/>
                        <a:pt x="108433" y="3829"/>
                        <a:pt x="108433" y="3829"/>
                      </a:cubicBezTo>
                      <a:cubicBezTo>
                        <a:pt x="109156" y="4468"/>
                        <a:pt x="109879" y="5106"/>
                        <a:pt x="109879" y="5106"/>
                      </a:cubicBezTo>
                      <a:cubicBezTo>
                        <a:pt x="109879" y="5106"/>
                        <a:pt x="109879" y="5106"/>
                        <a:pt x="110602" y="5106"/>
                      </a:cubicBezTo>
                      <a:cubicBezTo>
                        <a:pt x="110602" y="5744"/>
                        <a:pt x="112048" y="6382"/>
                        <a:pt x="112048" y="6382"/>
                      </a:cubicBezTo>
                      <a:cubicBezTo>
                        <a:pt x="112048" y="6382"/>
                        <a:pt x="112771" y="7021"/>
                        <a:pt x="112771" y="7021"/>
                      </a:cubicBezTo>
                      <a:cubicBezTo>
                        <a:pt x="112048" y="7659"/>
                        <a:pt x="112048" y="8297"/>
                        <a:pt x="112048" y="8297"/>
                      </a:cubicBezTo>
                      <a:cubicBezTo>
                        <a:pt x="110602" y="10212"/>
                        <a:pt x="110602" y="10212"/>
                        <a:pt x="110602" y="10212"/>
                      </a:cubicBezTo>
                      <a:cubicBezTo>
                        <a:pt x="109879" y="11489"/>
                        <a:pt x="109879" y="11489"/>
                        <a:pt x="109879" y="11489"/>
                      </a:cubicBezTo>
                      <a:cubicBezTo>
                        <a:pt x="109879" y="12127"/>
                        <a:pt x="109879" y="12127"/>
                        <a:pt x="109879" y="12127"/>
                      </a:cubicBezTo>
                      <a:cubicBezTo>
                        <a:pt x="109156" y="12765"/>
                        <a:pt x="109156" y="13404"/>
                        <a:pt x="109156" y="13404"/>
                      </a:cubicBezTo>
                      <a:cubicBezTo>
                        <a:pt x="109156" y="13404"/>
                        <a:pt x="108433" y="14042"/>
                        <a:pt x="106987" y="14042"/>
                      </a:cubicBezTo>
                      <a:cubicBezTo>
                        <a:pt x="105542" y="13404"/>
                        <a:pt x="104096" y="14680"/>
                        <a:pt x="104096" y="14680"/>
                      </a:cubicBezTo>
                      <a:cubicBezTo>
                        <a:pt x="104096" y="14680"/>
                        <a:pt x="100481" y="14042"/>
                        <a:pt x="99759" y="14042"/>
                      </a:cubicBezTo>
                      <a:cubicBezTo>
                        <a:pt x="99036" y="14042"/>
                        <a:pt x="99036" y="16595"/>
                        <a:pt x="99036" y="17234"/>
                      </a:cubicBezTo>
                      <a:cubicBezTo>
                        <a:pt x="99036" y="17872"/>
                        <a:pt x="97590" y="18510"/>
                        <a:pt x="95421" y="18510"/>
                      </a:cubicBezTo>
                      <a:cubicBezTo>
                        <a:pt x="93253" y="19148"/>
                        <a:pt x="94698" y="19148"/>
                        <a:pt x="93975" y="21063"/>
                      </a:cubicBezTo>
                      <a:cubicBezTo>
                        <a:pt x="93253" y="23617"/>
                        <a:pt x="92530" y="21702"/>
                        <a:pt x="91084" y="21063"/>
                      </a:cubicBezTo>
                      <a:cubicBezTo>
                        <a:pt x="89638" y="21063"/>
                        <a:pt x="89638" y="21063"/>
                        <a:pt x="87469" y="21063"/>
                      </a:cubicBezTo>
                      <a:cubicBezTo>
                        <a:pt x="85301" y="21702"/>
                        <a:pt x="86746" y="22978"/>
                        <a:pt x="86746" y="22978"/>
                      </a:cubicBezTo>
                      <a:cubicBezTo>
                        <a:pt x="86746" y="22978"/>
                        <a:pt x="88192" y="24255"/>
                        <a:pt x="88915" y="24255"/>
                      </a:cubicBezTo>
                      <a:cubicBezTo>
                        <a:pt x="90361" y="24893"/>
                        <a:pt x="88915" y="26170"/>
                        <a:pt x="88915" y="26170"/>
                      </a:cubicBezTo>
                      <a:cubicBezTo>
                        <a:pt x="88915" y="26170"/>
                        <a:pt x="88192" y="27446"/>
                        <a:pt x="87469" y="27446"/>
                      </a:cubicBezTo>
                      <a:cubicBezTo>
                        <a:pt x="86746" y="26808"/>
                        <a:pt x="83132" y="26808"/>
                        <a:pt x="83132" y="26808"/>
                      </a:cubicBezTo>
                      <a:cubicBezTo>
                        <a:pt x="79518" y="28723"/>
                        <a:pt x="79518" y="28723"/>
                        <a:pt x="79518" y="28723"/>
                      </a:cubicBezTo>
                      <a:cubicBezTo>
                        <a:pt x="79518" y="28723"/>
                        <a:pt x="80240" y="31276"/>
                        <a:pt x="82409" y="33829"/>
                      </a:cubicBezTo>
                      <a:cubicBezTo>
                        <a:pt x="84578" y="36382"/>
                        <a:pt x="82409" y="34468"/>
                        <a:pt x="82409" y="34468"/>
                      </a:cubicBezTo>
                      <a:cubicBezTo>
                        <a:pt x="82409" y="34468"/>
                        <a:pt x="83132" y="36382"/>
                        <a:pt x="83132" y="37659"/>
                      </a:cubicBezTo>
                      <a:cubicBezTo>
                        <a:pt x="83132" y="38936"/>
                        <a:pt x="83132" y="38297"/>
                        <a:pt x="83855" y="38297"/>
                      </a:cubicBezTo>
                      <a:cubicBezTo>
                        <a:pt x="84578" y="38297"/>
                        <a:pt x="86024" y="38297"/>
                        <a:pt x="86024" y="38297"/>
                      </a:cubicBezTo>
                      <a:cubicBezTo>
                        <a:pt x="86024" y="38297"/>
                        <a:pt x="88915" y="42127"/>
                        <a:pt x="88915" y="42127"/>
                      </a:cubicBezTo>
                      <a:cubicBezTo>
                        <a:pt x="89638" y="42127"/>
                        <a:pt x="93253" y="41489"/>
                        <a:pt x="93253" y="41489"/>
                      </a:cubicBezTo>
                      <a:cubicBezTo>
                        <a:pt x="93253" y="41489"/>
                        <a:pt x="96144" y="40851"/>
                        <a:pt x="97590" y="40851"/>
                      </a:cubicBezTo>
                      <a:cubicBezTo>
                        <a:pt x="99036" y="40212"/>
                        <a:pt x="97590" y="38936"/>
                        <a:pt x="97590" y="38936"/>
                      </a:cubicBezTo>
                      <a:cubicBezTo>
                        <a:pt x="99036" y="35744"/>
                        <a:pt x="99036" y="35744"/>
                        <a:pt x="99036" y="35744"/>
                      </a:cubicBezTo>
                      <a:cubicBezTo>
                        <a:pt x="103373" y="35106"/>
                        <a:pt x="103373" y="35106"/>
                        <a:pt x="103373" y="35106"/>
                      </a:cubicBezTo>
                      <a:cubicBezTo>
                        <a:pt x="105542" y="38936"/>
                        <a:pt x="105542" y="38936"/>
                        <a:pt x="105542" y="38936"/>
                      </a:cubicBezTo>
                      <a:cubicBezTo>
                        <a:pt x="104819" y="41489"/>
                        <a:pt x="104819" y="41489"/>
                        <a:pt x="104819" y="41489"/>
                      </a:cubicBezTo>
                      <a:cubicBezTo>
                        <a:pt x="108433" y="44680"/>
                        <a:pt x="108433" y="44680"/>
                        <a:pt x="108433" y="44680"/>
                      </a:cubicBezTo>
                      <a:cubicBezTo>
                        <a:pt x="109156" y="47872"/>
                        <a:pt x="109156" y="47872"/>
                        <a:pt x="109156" y="47872"/>
                      </a:cubicBezTo>
                      <a:cubicBezTo>
                        <a:pt x="109156" y="47872"/>
                        <a:pt x="112771" y="48510"/>
                        <a:pt x="113493" y="49148"/>
                      </a:cubicBezTo>
                      <a:cubicBezTo>
                        <a:pt x="114216" y="49148"/>
                        <a:pt x="116385" y="48510"/>
                        <a:pt x="116385" y="48510"/>
                      </a:cubicBezTo>
                      <a:cubicBezTo>
                        <a:pt x="119277" y="51702"/>
                        <a:pt x="119277" y="51702"/>
                        <a:pt x="119277" y="51702"/>
                      </a:cubicBezTo>
                      <a:cubicBezTo>
                        <a:pt x="119999" y="51063"/>
                        <a:pt x="119999" y="51063"/>
                        <a:pt x="119999" y="51063"/>
                      </a:cubicBezTo>
                      <a:cubicBezTo>
                        <a:pt x="119999" y="51702"/>
                        <a:pt x="119999" y="51702"/>
                        <a:pt x="119999" y="51702"/>
                      </a:cubicBezTo>
                      <a:cubicBezTo>
                        <a:pt x="119999" y="51702"/>
                        <a:pt x="119999" y="52978"/>
                        <a:pt x="119277" y="52978"/>
                      </a:cubicBezTo>
                      <a:cubicBezTo>
                        <a:pt x="117831" y="52340"/>
                        <a:pt x="117108" y="52340"/>
                        <a:pt x="117108" y="52340"/>
                      </a:cubicBezTo>
                      <a:cubicBezTo>
                        <a:pt x="114939" y="51063"/>
                        <a:pt x="114939" y="51063"/>
                        <a:pt x="114939" y="51063"/>
                      </a:cubicBezTo>
                      <a:cubicBezTo>
                        <a:pt x="114216" y="51702"/>
                        <a:pt x="114216" y="51702"/>
                        <a:pt x="114216" y="51702"/>
                      </a:cubicBezTo>
                      <a:cubicBezTo>
                        <a:pt x="112048" y="54255"/>
                        <a:pt x="112048" y="54255"/>
                        <a:pt x="112048" y="54255"/>
                      </a:cubicBezTo>
                      <a:cubicBezTo>
                        <a:pt x="113493" y="54893"/>
                        <a:pt x="113493" y="54893"/>
                        <a:pt x="113493" y="54893"/>
                      </a:cubicBezTo>
                      <a:cubicBezTo>
                        <a:pt x="114939" y="56170"/>
                        <a:pt x="114939" y="56170"/>
                        <a:pt x="114939" y="56170"/>
                      </a:cubicBezTo>
                      <a:cubicBezTo>
                        <a:pt x="114939" y="58085"/>
                        <a:pt x="114939" y="58085"/>
                        <a:pt x="114939" y="58085"/>
                      </a:cubicBezTo>
                      <a:cubicBezTo>
                        <a:pt x="114939" y="60638"/>
                        <a:pt x="114939" y="60638"/>
                        <a:pt x="114939" y="60638"/>
                      </a:cubicBezTo>
                      <a:cubicBezTo>
                        <a:pt x="113493" y="62553"/>
                        <a:pt x="113493" y="62553"/>
                        <a:pt x="113493" y="62553"/>
                      </a:cubicBezTo>
                      <a:cubicBezTo>
                        <a:pt x="113493" y="62553"/>
                        <a:pt x="114216" y="63829"/>
                        <a:pt x="114216" y="64468"/>
                      </a:cubicBezTo>
                      <a:cubicBezTo>
                        <a:pt x="114216" y="64468"/>
                        <a:pt x="115662" y="65744"/>
                        <a:pt x="115662" y="65744"/>
                      </a:cubicBezTo>
                      <a:cubicBezTo>
                        <a:pt x="117108" y="67021"/>
                        <a:pt x="117108" y="67021"/>
                        <a:pt x="117108" y="67021"/>
                      </a:cubicBezTo>
                      <a:cubicBezTo>
                        <a:pt x="115662" y="70212"/>
                        <a:pt x="115662" y="70212"/>
                        <a:pt x="115662" y="70212"/>
                      </a:cubicBezTo>
                      <a:cubicBezTo>
                        <a:pt x="114216" y="71489"/>
                        <a:pt x="114216" y="71489"/>
                        <a:pt x="114216" y="71489"/>
                      </a:cubicBezTo>
                      <a:cubicBezTo>
                        <a:pt x="114216" y="72765"/>
                        <a:pt x="114216" y="72765"/>
                        <a:pt x="114216" y="72765"/>
                      </a:cubicBezTo>
                      <a:cubicBezTo>
                        <a:pt x="114216" y="72765"/>
                        <a:pt x="115662" y="73404"/>
                        <a:pt x="114939" y="73404"/>
                      </a:cubicBezTo>
                      <a:cubicBezTo>
                        <a:pt x="114216" y="73404"/>
                        <a:pt x="112771" y="73404"/>
                        <a:pt x="112771" y="73404"/>
                      </a:cubicBezTo>
                      <a:cubicBezTo>
                        <a:pt x="112771" y="73404"/>
                        <a:pt x="112771" y="74042"/>
                        <a:pt x="112771" y="74680"/>
                      </a:cubicBezTo>
                      <a:cubicBezTo>
                        <a:pt x="112771" y="74680"/>
                        <a:pt x="113493" y="75957"/>
                        <a:pt x="113493" y="75957"/>
                      </a:cubicBezTo>
                      <a:cubicBezTo>
                        <a:pt x="113493" y="75957"/>
                        <a:pt x="114216" y="75957"/>
                        <a:pt x="114216" y="76595"/>
                      </a:cubicBezTo>
                      <a:cubicBezTo>
                        <a:pt x="114216" y="77234"/>
                        <a:pt x="113493" y="78510"/>
                        <a:pt x="113493" y="78510"/>
                      </a:cubicBezTo>
                      <a:cubicBezTo>
                        <a:pt x="113493" y="78510"/>
                        <a:pt x="112771" y="81063"/>
                        <a:pt x="112771" y="81063"/>
                      </a:cubicBezTo>
                      <a:cubicBezTo>
                        <a:pt x="113493" y="81063"/>
                        <a:pt x="113493" y="82340"/>
                        <a:pt x="113493" y="82340"/>
                      </a:cubicBezTo>
                      <a:cubicBezTo>
                        <a:pt x="113493" y="84893"/>
                        <a:pt x="113493" y="84893"/>
                        <a:pt x="113493" y="84893"/>
                      </a:cubicBezTo>
                      <a:cubicBezTo>
                        <a:pt x="112771" y="86808"/>
                        <a:pt x="112771" y="86808"/>
                        <a:pt x="112771" y="86808"/>
                      </a:cubicBezTo>
                      <a:cubicBezTo>
                        <a:pt x="113493" y="88085"/>
                        <a:pt x="113493" y="88085"/>
                        <a:pt x="113493" y="88085"/>
                      </a:cubicBezTo>
                      <a:cubicBezTo>
                        <a:pt x="111325" y="89361"/>
                        <a:pt x="111325" y="89361"/>
                        <a:pt x="111325" y="89361"/>
                      </a:cubicBezTo>
                      <a:cubicBezTo>
                        <a:pt x="110602" y="90638"/>
                        <a:pt x="110602" y="90638"/>
                        <a:pt x="110602" y="90638"/>
                      </a:cubicBezTo>
                      <a:cubicBezTo>
                        <a:pt x="110602" y="90638"/>
                        <a:pt x="109156" y="91276"/>
                        <a:pt x="109156" y="91914"/>
                      </a:cubicBezTo>
                      <a:cubicBezTo>
                        <a:pt x="109156" y="91914"/>
                        <a:pt x="108433" y="92553"/>
                        <a:pt x="108433" y="93191"/>
                      </a:cubicBezTo>
                      <a:cubicBezTo>
                        <a:pt x="108433" y="93829"/>
                        <a:pt x="107710" y="94468"/>
                        <a:pt x="107710" y="94468"/>
                      </a:cubicBezTo>
                      <a:cubicBezTo>
                        <a:pt x="106987" y="95106"/>
                        <a:pt x="105542" y="96382"/>
                        <a:pt x="105542" y="96382"/>
                      </a:cubicBezTo>
                      <a:cubicBezTo>
                        <a:pt x="104819" y="97659"/>
                        <a:pt x="104819" y="97659"/>
                        <a:pt x="104819" y="97659"/>
                      </a:cubicBezTo>
                      <a:cubicBezTo>
                        <a:pt x="104819" y="97659"/>
                        <a:pt x="105542" y="98936"/>
                        <a:pt x="105542" y="98936"/>
                      </a:cubicBezTo>
                      <a:cubicBezTo>
                        <a:pt x="105542" y="99574"/>
                        <a:pt x="105542" y="99574"/>
                        <a:pt x="105542" y="99574"/>
                      </a:cubicBezTo>
                      <a:cubicBezTo>
                        <a:pt x="104096" y="100851"/>
                        <a:pt x="104096" y="100851"/>
                        <a:pt x="104096" y="100851"/>
                      </a:cubicBezTo>
                      <a:cubicBezTo>
                        <a:pt x="100481" y="103404"/>
                        <a:pt x="100481" y="103404"/>
                        <a:pt x="100481" y="103404"/>
                      </a:cubicBezTo>
                      <a:cubicBezTo>
                        <a:pt x="100481" y="103404"/>
                        <a:pt x="100481" y="104042"/>
                        <a:pt x="99759" y="104680"/>
                      </a:cubicBezTo>
                      <a:cubicBezTo>
                        <a:pt x="99759" y="105957"/>
                        <a:pt x="99036" y="105957"/>
                        <a:pt x="99036" y="105957"/>
                      </a:cubicBezTo>
                      <a:cubicBezTo>
                        <a:pt x="99036" y="105957"/>
                        <a:pt x="98313" y="105957"/>
                        <a:pt x="97590" y="105957"/>
                      </a:cubicBezTo>
                      <a:cubicBezTo>
                        <a:pt x="97590" y="105957"/>
                        <a:pt x="96867" y="105319"/>
                        <a:pt x="96867" y="105319"/>
                      </a:cubicBezTo>
                      <a:cubicBezTo>
                        <a:pt x="96867" y="106595"/>
                        <a:pt x="96867" y="106595"/>
                        <a:pt x="96867" y="106595"/>
                      </a:cubicBezTo>
                      <a:cubicBezTo>
                        <a:pt x="96867" y="106595"/>
                        <a:pt x="96867" y="107234"/>
                        <a:pt x="97590" y="107234"/>
                      </a:cubicBezTo>
                      <a:cubicBezTo>
                        <a:pt x="98313" y="107872"/>
                        <a:pt x="98313" y="108510"/>
                        <a:pt x="99036" y="108510"/>
                      </a:cubicBezTo>
                      <a:cubicBezTo>
                        <a:pt x="99036" y="109148"/>
                        <a:pt x="99759" y="109787"/>
                        <a:pt x="99759" y="109787"/>
                      </a:cubicBezTo>
                      <a:cubicBezTo>
                        <a:pt x="98313" y="111063"/>
                        <a:pt x="98313" y="111063"/>
                        <a:pt x="98313" y="111063"/>
                      </a:cubicBezTo>
                      <a:cubicBezTo>
                        <a:pt x="98313" y="111702"/>
                        <a:pt x="98313" y="111702"/>
                        <a:pt x="98313" y="111702"/>
                      </a:cubicBezTo>
                      <a:cubicBezTo>
                        <a:pt x="96867" y="111702"/>
                        <a:pt x="96867" y="111702"/>
                        <a:pt x="96867" y="111702"/>
                      </a:cubicBezTo>
                      <a:cubicBezTo>
                        <a:pt x="96144" y="111063"/>
                        <a:pt x="96144" y="111063"/>
                        <a:pt x="96144" y="111063"/>
                      </a:cubicBezTo>
                      <a:cubicBezTo>
                        <a:pt x="96144" y="111063"/>
                        <a:pt x="95421" y="111063"/>
                        <a:pt x="95421" y="11106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3" name="Shape 2045"/>
                <p:cNvSpPr/>
                <p:nvPr/>
              </p:nvSpPr>
              <p:spPr>
                <a:xfrm>
                  <a:off x="3117355" y="3610126"/>
                  <a:ext cx="405690" cy="613681"/>
                </a:xfrm>
                <a:custGeom>
                  <a:avLst/>
                  <a:gdLst/>
                  <a:ahLst/>
                  <a:cxnLst/>
                  <a:rect l="0" t="0" r="0" b="0"/>
                  <a:pathLst>
                    <a:path w="120000" h="120000" extrusionOk="0">
                      <a:moveTo>
                        <a:pt x="49887" y="3884"/>
                      </a:moveTo>
                      <a:cubicBezTo>
                        <a:pt x="49887" y="3884"/>
                        <a:pt x="52584" y="2589"/>
                        <a:pt x="52584" y="2589"/>
                      </a:cubicBezTo>
                      <a:cubicBezTo>
                        <a:pt x="52584" y="2589"/>
                        <a:pt x="53258" y="2158"/>
                        <a:pt x="53258" y="2158"/>
                      </a:cubicBezTo>
                      <a:cubicBezTo>
                        <a:pt x="53932" y="2158"/>
                        <a:pt x="54606" y="2158"/>
                        <a:pt x="55280" y="2158"/>
                      </a:cubicBezTo>
                      <a:cubicBezTo>
                        <a:pt x="55280" y="2158"/>
                        <a:pt x="55955" y="1726"/>
                        <a:pt x="55955" y="1726"/>
                      </a:cubicBezTo>
                      <a:cubicBezTo>
                        <a:pt x="56629" y="1294"/>
                        <a:pt x="56629" y="1294"/>
                        <a:pt x="56629" y="1294"/>
                      </a:cubicBezTo>
                      <a:cubicBezTo>
                        <a:pt x="57977" y="863"/>
                        <a:pt x="57977" y="863"/>
                        <a:pt x="57977" y="863"/>
                      </a:cubicBezTo>
                      <a:cubicBezTo>
                        <a:pt x="59325" y="863"/>
                        <a:pt x="59325" y="863"/>
                        <a:pt x="59325" y="863"/>
                      </a:cubicBezTo>
                      <a:cubicBezTo>
                        <a:pt x="59325" y="863"/>
                        <a:pt x="60000" y="863"/>
                        <a:pt x="60000" y="863"/>
                      </a:cubicBezTo>
                      <a:cubicBezTo>
                        <a:pt x="60000" y="863"/>
                        <a:pt x="62696" y="431"/>
                        <a:pt x="62696" y="431"/>
                      </a:cubicBezTo>
                      <a:cubicBezTo>
                        <a:pt x="62696" y="431"/>
                        <a:pt x="63370" y="863"/>
                        <a:pt x="64044" y="863"/>
                      </a:cubicBezTo>
                      <a:cubicBezTo>
                        <a:pt x="64044" y="863"/>
                        <a:pt x="65393" y="863"/>
                        <a:pt x="65393" y="863"/>
                      </a:cubicBezTo>
                      <a:cubicBezTo>
                        <a:pt x="66067" y="863"/>
                        <a:pt x="67415" y="431"/>
                        <a:pt x="67415" y="431"/>
                      </a:cubicBezTo>
                      <a:cubicBezTo>
                        <a:pt x="70112" y="0"/>
                        <a:pt x="70112" y="0"/>
                        <a:pt x="70112" y="0"/>
                      </a:cubicBezTo>
                      <a:cubicBezTo>
                        <a:pt x="70786" y="863"/>
                        <a:pt x="70786" y="863"/>
                        <a:pt x="70786" y="863"/>
                      </a:cubicBezTo>
                      <a:cubicBezTo>
                        <a:pt x="70786" y="863"/>
                        <a:pt x="70786" y="1726"/>
                        <a:pt x="70786" y="1726"/>
                      </a:cubicBezTo>
                      <a:cubicBezTo>
                        <a:pt x="70786" y="1726"/>
                        <a:pt x="70786" y="2158"/>
                        <a:pt x="71460" y="2158"/>
                      </a:cubicBezTo>
                      <a:cubicBezTo>
                        <a:pt x="72134" y="2158"/>
                        <a:pt x="72134" y="2158"/>
                        <a:pt x="72134" y="2158"/>
                      </a:cubicBezTo>
                      <a:cubicBezTo>
                        <a:pt x="72134" y="2589"/>
                        <a:pt x="72134" y="3884"/>
                        <a:pt x="72134" y="3884"/>
                      </a:cubicBezTo>
                      <a:cubicBezTo>
                        <a:pt x="70112" y="4316"/>
                        <a:pt x="70112" y="4316"/>
                        <a:pt x="70112" y="4316"/>
                      </a:cubicBezTo>
                      <a:cubicBezTo>
                        <a:pt x="70112" y="4316"/>
                        <a:pt x="69438" y="4316"/>
                        <a:pt x="69438" y="4748"/>
                      </a:cubicBezTo>
                      <a:cubicBezTo>
                        <a:pt x="69438" y="4748"/>
                        <a:pt x="68089" y="5179"/>
                        <a:pt x="68089" y="5179"/>
                      </a:cubicBezTo>
                      <a:cubicBezTo>
                        <a:pt x="68089" y="5611"/>
                        <a:pt x="67415" y="5611"/>
                        <a:pt x="68089" y="6043"/>
                      </a:cubicBezTo>
                      <a:cubicBezTo>
                        <a:pt x="68089" y="6474"/>
                        <a:pt x="68764" y="6906"/>
                        <a:pt x="68764" y="6906"/>
                      </a:cubicBezTo>
                      <a:cubicBezTo>
                        <a:pt x="68764" y="7769"/>
                        <a:pt x="68764" y="7769"/>
                        <a:pt x="68764" y="7769"/>
                      </a:cubicBezTo>
                      <a:cubicBezTo>
                        <a:pt x="68764" y="7769"/>
                        <a:pt x="68764" y="8201"/>
                        <a:pt x="69438" y="8201"/>
                      </a:cubicBezTo>
                      <a:cubicBezTo>
                        <a:pt x="69438" y="8633"/>
                        <a:pt x="70112" y="8201"/>
                        <a:pt x="70786" y="8201"/>
                      </a:cubicBezTo>
                      <a:cubicBezTo>
                        <a:pt x="72134" y="8201"/>
                        <a:pt x="72808" y="7769"/>
                        <a:pt x="73483" y="7769"/>
                      </a:cubicBezTo>
                      <a:cubicBezTo>
                        <a:pt x="73483" y="7769"/>
                        <a:pt x="74157" y="7769"/>
                        <a:pt x="74157" y="7769"/>
                      </a:cubicBezTo>
                      <a:cubicBezTo>
                        <a:pt x="74831" y="7338"/>
                        <a:pt x="76179" y="6906"/>
                        <a:pt x="76179" y="6906"/>
                      </a:cubicBezTo>
                      <a:cubicBezTo>
                        <a:pt x="76179" y="6906"/>
                        <a:pt x="76179" y="6043"/>
                        <a:pt x="76853" y="6474"/>
                      </a:cubicBezTo>
                      <a:cubicBezTo>
                        <a:pt x="76853" y="6474"/>
                        <a:pt x="76853" y="7338"/>
                        <a:pt x="76853" y="7338"/>
                      </a:cubicBezTo>
                      <a:cubicBezTo>
                        <a:pt x="76853" y="7338"/>
                        <a:pt x="76179" y="8201"/>
                        <a:pt x="76179" y="8201"/>
                      </a:cubicBezTo>
                      <a:cubicBezTo>
                        <a:pt x="76853" y="8633"/>
                        <a:pt x="77528" y="8201"/>
                        <a:pt x="77528" y="8201"/>
                      </a:cubicBezTo>
                      <a:cubicBezTo>
                        <a:pt x="78202" y="7769"/>
                        <a:pt x="78876" y="7769"/>
                        <a:pt x="78876" y="7769"/>
                      </a:cubicBezTo>
                      <a:cubicBezTo>
                        <a:pt x="80224" y="7769"/>
                        <a:pt x="80224" y="7769"/>
                        <a:pt x="80224" y="7769"/>
                      </a:cubicBezTo>
                      <a:cubicBezTo>
                        <a:pt x="80224" y="7769"/>
                        <a:pt x="81573" y="7769"/>
                        <a:pt x="81573" y="7769"/>
                      </a:cubicBezTo>
                      <a:cubicBezTo>
                        <a:pt x="81573" y="7769"/>
                        <a:pt x="82247" y="8201"/>
                        <a:pt x="82921" y="8201"/>
                      </a:cubicBezTo>
                      <a:cubicBezTo>
                        <a:pt x="82921" y="8633"/>
                        <a:pt x="84943" y="9064"/>
                        <a:pt x="84943" y="9064"/>
                      </a:cubicBezTo>
                      <a:cubicBezTo>
                        <a:pt x="84269" y="9928"/>
                        <a:pt x="84269" y="9928"/>
                        <a:pt x="84269" y="9928"/>
                      </a:cubicBezTo>
                      <a:cubicBezTo>
                        <a:pt x="84269" y="9928"/>
                        <a:pt x="83595" y="10791"/>
                        <a:pt x="84269" y="10791"/>
                      </a:cubicBezTo>
                      <a:cubicBezTo>
                        <a:pt x="84269" y="10791"/>
                        <a:pt x="84943" y="10359"/>
                        <a:pt x="84943" y="10359"/>
                      </a:cubicBezTo>
                      <a:cubicBezTo>
                        <a:pt x="85617" y="10359"/>
                        <a:pt x="86292" y="9928"/>
                        <a:pt x="86292" y="9928"/>
                      </a:cubicBezTo>
                      <a:cubicBezTo>
                        <a:pt x="86292" y="9928"/>
                        <a:pt x="86292" y="9496"/>
                        <a:pt x="86292" y="9496"/>
                      </a:cubicBezTo>
                      <a:cubicBezTo>
                        <a:pt x="86292" y="9928"/>
                        <a:pt x="87640" y="10359"/>
                        <a:pt x="87640" y="10359"/>
                      </a:cubicBezTo>
                      <a:cubicBezTo>
                        <a:pt x="87640" y="10359"/>
                        <a:pt x="88314" y="11223"/>
                        <a:pt x="88314" y="11223"/>
                      </a:cubicBezTo>
                      <a:cubicBezTo>
                        <a:pt x="88314" y="11223"/>
                        <a:pt x="89662" y="10791"/>
                        <a:pt x="89662" y="10791"/>
                      </a:cubicBezTo>
                      <a:cubicBezTo>
                        <a:pt x="89662" y="10791"/>
                        <a:pt x="89662" y="10791"/>
                        <a:pt x="90337" y="10791"/>
                      </a:cubicBezTo>
                      <a:cubicBezTo>
                        <a:pt x="91011" y="10791"/>
                        <a:pt x="91011" y="10791"/>
                        <a:pt x="91011" y="10791"/>
                      </a:cubicBezTo>
                      <a:cubicBezTo>
                        <a:pt x="91685" y="11223"/>
                        <a:pt x="93707" y="11223"/>
                        <a:pt x="93707" y="11223"/>
                      </a:cubicBezTo>
                      <a:cubicBezTo>
                        <a:pt x="95730" y="10359"/>
                        <a:pt x="95730" y="10359"/>
                        <a:pt x="95730" y="10359"/>
                      </a:cubicBezTo>
                      <a:cubicBezTo>
                        <a:pt x="96404" y="9064"/>
                        <a:pt x="96404" y="9064"/>
                        <a:pt x="96404" y="9064"/>
                      </a:cubicBezTo>
                      <a:cubicBezTo>
                        <a:pt x="96404" y="8633"/>
                        <a:pt x="96404" y="8633"/>
                        <a:pt x="96404" y="8633"/>
                      </a:cubicBezTo>
                      <a:cubicBezTo>
                        <a:pt x="96404" y="8633"/>
                        <a:pt x="97752" y="8201"/>
                        <a:pt x="97752" y="8201"/>
                      </a:cubicBezTo>
                      <a:cubicBezTo>
                        <a:pt x="97752" y="8201"/>
                        <a:pt x="98426" y="8201"/>
                        <a:pt x="98426" y="8633"/>
                      </a:cubicBezTo>
                      <a:cubicBezTo>
                        <a:pt x="98426" y="8633"/>
                        <a:pt x="99775" y="9496"/>
                        <a:pt x="99775" y="9496"/>
                      </a:cubicBezTo>
                      <a:cubicBezTo>
                        <a:pt x="99775" y="9496"/>
                        <a:pt x="101123" y="9496"/>
                        <a:pt x="101123" y="9496"/>
                      </a:cubicBezTo>
                      <a:cubicBezTo>
                        <a:pt x="101797" y="9496"/>
                        <a:pt x="101797" y="9064"/>
                        <a:pt x="102471" y="9496"/>
                      </a:cubicBezTo>
                      <a:cubicBezTo>
                        <a:pt x="102471" y="9928"/>
                        <a:pt x="102471" y="10359"/>
                        <a:pt x="103146" y="10359"/>
                      </a:cubicBezTo>
                      <a:cubicBezTo>
                        <a:pt x="103146" y="10359"/>
                        <a:pt x="103820" y="10359"/>
                        <a:pt x="103820" y="10359"/>
                      </a:cubicBezTo>
                      <a:cubicBezTo>
                        <a:pt x="104494" y="10791"/>
                        <a:pt x="105842" y="10791"/>
                        <a:pt x="105842" y="10791"/>
                      </a:cubicBezTo>
                      <a:cubicBezTo>
                        <a:pt x="106516" y="9928"/>
                        <a:pt x="106516" y="9928"/>
                        <a:pt x="106516" y="9928"/>
                      </a:cubicBezTo>
                      <a:cubicBezTo>
                        <a:pt x="106516" y="9928"/>
                        <a:pt x="106516" y="9496"/>
                        <a:pt x="107191" y="9928"/>
                      </a:cubicBezTo>
                      <a:cubicBezTo>
                        <a:pt x="107865" y="9928"/>
                        <a:pt x="107865" y="10791"/>
                        <a:pt x="107865" y="10791"/>
                      </a:cubicBezTo>
                      <a:cubicBezTo>
                        <a:pt x="107865" y="10791"/>
                        <a:pt x="108539" y="11223"/>
                        <a:pt x="108539" y="11223"/>
                      </a:cubicBezTo>
                      <a:cubicBezTo>
                        <a:pt x="108539" y="11223"/>
                        <a:pt x="110561" y="11654"/>
                        <a:pt x="110561" y="11654"/>
                      </a:cubicBezTo>
                      <a:cubicBezTo>
                        <a:pt x="110561" y="11654"/>
                        <a:pt x="111910" y="11223"/>
                        <a:pt x="111910" y="11223"/>
                      </a:cubicBezTo>
                      <a:cubicBezTo>
                        <a:pt x="112584" y="11223"/>
                        <a:pt x="112584" y="12086"/>
                        <a:pt x="112584" y="12086"/>
                      </a:cubicBezTo>
                      <a:cubicBezTo>
                        <a:pt x="112584" y="12086"/>
                        <a:pt x="112584" y="12517"/>
                        <a:pt x="112584" y="12517"/>
                      </a:cubicBezTo>
                      <a:cubicBezTo>
                        <a:pt x="111910" y="12949"/>
                        <a:pt x="111910" y="12949"/>
                        <a:pt x="112584" y="12949"/>
                      </a:cubicBezTo>
                      <a:cubicBezTo>
                        <a:pt x="112584" y="13381"/>
                        <a:pt x="113258" y="13812"/>
                        <a:pt x="113258" y="13812"/>
                      </a:cubicBezTo>
                      <a:cubicBezTo>
                        <a:pt x="113258" y="13812"/>
                        <a:pt x="112584" y="14676"/>
                        <a:pt x="112584" y="14676"/>
                      </a:cubicBezTo>
                      <a:cubicBezTo>
                        <a:pt x="112584" y="15107"/>
                        <a:pt x="111910" y="15539"/>
                        <a:pt x="111910" y="15539"/>
                      </a:cubicBezTo>
                      <a:cubicBezTo>
                        <a:pt x="111235" y="15971"/>
                        <a:pt x="111235" y="15971"/>
                        <a:pt x="111235" y="15971"/>
                      </a:cubicBezTo>
                      <a:cubicBezTo>
                        <a:pt x="111235" y="16402"/>
                        <a:pt x="111235" y="16402"/>
                        <a:pt x="111235" y="16402"/>
                      </a:cubicBezTo>
                      <a:cubicBezTo>
                        <a:pt x="111235" y="16834"/>
                        <a:pt x="111235" y="16834"/>
                        <a:pt x="111235" y="16834"/>
                      </a:cubicBezTo>
                      <a:cubicBezTo>
                        <a:pt x="111235" y="16834"/>
                        <a:pt x="111235" y="17266"/>
                        <a:pt x="111235" y="17266"/>
                      </a:cubicBezTo>
                      <a:cubicBezTo>
                        <a:pt x="110561" y="17266"/>
                        <a:pt x="111235" y="18129"/>
                        <a:pt x="111235" y="18129"/>
                      </a:cubicBezTo>
                      <a:cubicBezTo>
                        <a:pt x="111910" y="18561"/>
                        <a:pt x="111910" y="18561"/>
                        <a:pt x="111910" y="18561"/>
                      </a:cubicBezTo>
                      <a:cubicBezTo>
                        <a:pt x="111910" y="18561"/>
                        <a:pt x="113258" y="18129"/>
                        <a:pt x="113258" y="18129"/>
                      </a:cubicBezTo>
                      <a:cubicBezTo>
                        <a:pt x="113258" y="18129"/>
                        <a:pt x="115280" y="18561"/>
                        <a:pt x="115280" y="18561"/>
                      </a:cubicBezTo>
                      <a:cubicBezTo>
                        <a:pt x="115280" y="18561"/>
                        <a:pt x="116629" y="18992"/>
                        <a:pt x="116629" y="19424"/>
                      </a:cubicBezTo>
                      <a:cubicBezTo>
                        <a:pt x="117303" y="19424"/>
                        <a:pt x="118651" y="20287"/>
                        <a:pt x="118651" y="20287"/>
                      </a:cubicBezTo>
                      <a:cubicBezTo>
                        <a:pt x="120000" y="21582"/>
                        <a:pt x="120000" y="21582"/>
                        <a:pt x="120000" y="21582"/>
                      </a:cubicBezTo>
                      <a:cubicBezTo>
                        <a:pt x="118651" y="22446"/>
                        <a:pt x="118651" y="22446"/>
                        <a:pt x="118651" y="22446"/>
                      </a:cubicBezTo>
                      <a:cubicBezTo>
                        <a:pt x="117303" y="23741"/>
                        <a:pt x="117303" y="23741"/>
                        <a:pt x="117303" y="23741"/>
                      </a:cubicBezTo>
                      <a:cubicBezTo>
                        <a:pt x="115955" y="24172"/>
                        <a:pt x="115955" y="24172"/>
                        <a:pt x="115955" y="24172"/>
                      </a:cubicBezTo>
                      <a:cubicBezTo>
                        <a:pt x="115955" y="24172"/>
                        <a:pt x="115280" y="25035"/>
                        <a:pt x="115280" y="25035"/>
                      </a:cubicBezTo>
                      <a:cubicBezTo>
                        <a:pt x="115280" y="25035"/>
                        <a:pt x="113932" y="25467"/>
                        <a:pt x="113932" y="25467"/>
                      </a:cubicBezTo>
                      <a:cubicBezTo>
                        <a:pt x="113258" y="25467"/>
                        <a:pt x="113258" y="25467"/>
                        <a:pt x="113258" y="25467"/>
                      </a:cubicBezTo>
                      <a:cubicBezTo>
                        <a:pt x="111235" y="26762"/>
                        <a:pt x="111235" y="26762"/>
                        <a:pt x="111235" y="26762"/>
                      </a:cubicBezTo>
                      <a:cubicBezTo>
                        <a:pt x="109887" y="27194"/>
                        <a:pt x="109887" y="27194"/>
                        <a:pt x="109887" y="27194"/>
                      </a:cubicBezTo>
                      <a:cubicBezTo>
                        <a:pt x="108539" y="27625"/>
                        <a:pt x="108539" y="27625"/>
                        <a:pt x="108539" y="27625"/>
                      </a:cubicBezTo>
                      <a:cubicBezTo>
                        <a:pt x="107865" y="27625"/>
                        <a:pt x="107865" y="27625"/>
                        <a:pt x="107865" y="27625"/>
                      </a:cubicBezTo>
                      <a:cubicBezTo>
                        <a:pt x="106516" y="28489"/>
                        <a:pt x="106516" y="28489"/>
                        <a:pt x="106516" y="28489"/>
                      </a:cubicBezTo>
                      <a:cubicBezTo>
                        <a:pt x="105168" y="28057"/>
                        <a:pt x="105168" y="28057"/>
                        <a:pt x="105168" y="28057"/>
                      </a:cubicBezTo>
                      <a:cubicBezTo>
                        <a:pt x="103146" y="28489"/>
                        <a:pt x="103146" y="28489"/>
                        <a:pt x="103146" y="28489"/>
                      </a:cubicBezTo>
                      <a:cubicBezTo>
                        <a:pt x="103146" y="28920"/>
                        <a:pt x="103146" y="28920"/>
                        <a:pt x="103146" y="28920"/>
                      </a:cubicBezTo>
                      <a:cubicBezTo>
                        <a:pt x="100449" y="29784"/>
                        <a:pt x="100449" y="29784"/>
                        <a:pt x="100449" y="29784"/>
                      </a:cubicBezTo>
                      <a:cubicBezTo>
                        <a:pt x="99775" y="31079"/>
                        <a:pt x="99775" y="31079"/>
                        <a:pt x="99775" y="31079"/>
                      </a:cubicBezTo>
                      <a:cubicBezTo>
                        <a:pt x="99775" y="31079"/>
                        <a:pt x="98426" y="31079"/>
                        <a:pt x="98426" y="31510"/>
                      </a:cubicBezTo>
                      <a:cubicBezTo>
                        <a:pt x="97752" y="31510"/>
                        <a:pt x="97078" y="31942"/>
                        <a:pt x="97078" y="31942"/>
                      </a:cubicBezTo>
                      <a:cubicBezTo>
                        <a:pt x="95730" y="31510"/>
                        <a:pt x="95730" y="31510"/>
                        <a:pt x="95730" y="31510"/>
                      </a:cubicBezTo>
                      <a:cubicBezTo>
                        <a:pt x="95056" y="31942"/>
                        <a:pt x="95056" y="31942"/>
                        <a:pt x="95056" y="31942"/>
                      </a:cubicBezTo>
                      <a:cubicBezTo>
                        <a:pt x="95056" y="32805"/>
                        <a:pt x="95056" y="32805"/>
                        <a:pt x="95056" y="32805"/>
                      </a:cubicBezTo>
                      <a:cubicBezTo>
                        <a:pt x="95730" y="32805"/>
                        <a:pt x="95730" y="32805"/>
                        <a:pt x="95730" y="32805"/>
                      </a:cubicBezTo>
                      <a:cubicBezTo>
                        <a:pt x="95730" y="32805"/>
                        <a:pt x="95730" y="33669"/>
                        <a:pt x="95730" y="33669"/>
                      </a:cubicBezTo>
                      <a:cubicBezTo>
                        <a:pt x="95730" y="34100"/>
                        <a:pt x="95730" y="34964"/>
                        <a:pt x="95730" y="34964"/>
                      </a:cubicBezTo>
                      <a:cubicBezTo>
                        <a:pt x="97078" y="35395"/>
                        <a:pt x="97078" y="35395"/>
                        <a:pt x="97078" y="35395"/>
                      </a:cubicBezTo>
                      <a:cubicBezTo>
                        <a:pt x="97078" y="35395"/>
                        <a:pt x="97078" y="36690"/>
                        <a:pt x="96404" y="36690"/>
                      </a:cubicBezTo>
                      <a:cubicBezTo>
                        <a:pt x="96404" y="36690"/>
                        <a:pt x="95056" y="37122"/>
                        <a:pt x="95056" y="37122"/>
                      </a:cubicBezTo>
                      <a:cubicBezTo>
                        <a:pt x="95056" y="37553"/>
                        <a:pt x="95056" y="37553"/>
                        <a:pt x="95056" y="37553"/>
                      </a:cubicBezTo>
                      <a:cubicBezTo>
                        <a:pt x="95730" y="38417"/>
                        <a:pt x="95730" y="38417"/>
                        <a:pt x="95730" y="38417"/>
                      </a:cubicBezTo>
                      <a:cubicBezTo>
                        <a:pt x="95730" y="38417"/>
                        <a:pt x="95730" y="39712"/>
                        <a:pt x="95056" y="39712"/>
                      </a:cubicBezTo>
                      <a:cubicBezTo>
                        <a:pt x="95056" y="40143"/>
                        <a:pt x="94382" y="41007"/>
                        <a:pt x="94382" y="41007"/>
                      </a:cubicBezTo>
                      <a:cubicBezTo>
                        <a:pt x="93707" y="41438"/>
                        <a:pt x="93707" y="41438"/>
                        <a:pt x="93707" y="41438"/>
                      </a:cubicBezTo>
                      <a:cubicBezTo>
                        <a:pt x="93033" y="42302"/>
                        <a:pt x="93033" y="42302"/>
                        <a:pt x="93033" y="42302"/>
                      </a:cubicBezTo>
                      <a:cubicBezTo>
                        <a:pt x="93707" y="42733"/>
                        <a:pt x="93707" y="42733"/>
                        <a:pt x="93707" y="42733"/>
                      </a:cubicBezTo>
                      <a:cubicBezTo>
                        <a:pt x="93707" y="44028"/>
                        <a:pt x="93707" y="44028"/>
                        <a:pt x="93707" y="44028"/>
                      </a:cubicBezTo>
                      <a:cubicBezTo>
                        <a:pt x="92359" y="44460"/>
                        <a:pt x="92359" y="44460"/>
                        <a:pt x="92359" y="44460"/>
                      </a:cubicBezTo>
                      <a:cubicBezTo>
                        <a:pt x="91685" y="45755"/>
                        <a:pt x="91685" y="45755"/>
                        <a:pt x="91685" y="45755"/>
                      </a:cubicBezTo>
                      <a:cubicBezTo>
                        <a:pt x="92359" y="46187"/>
                        <a:pt x="92359" y="46187"/>
                        <a:pt x="92359" y="46187"/>
                      </a:cubicBezTo>
                      <a:cubicBezTo>
                        <a:pt x="93033" y="47050"/>
                        <a:pt x="93033" y="47050"/>
                        <a:pt x="93033" y="47050"/>
                      </a:cubicBezTo>
                      <a:cubicBezTo>
                        <a:pt x="92359" y="47913"/>
                        <a:pt x="92359" y="47913"/>
                        <a:pt x="92359" y="47913"/>
                      </a:cubicBezTo>
                      <a:cubicBezTo>
                        <a:pt x="91685" y="48345"/>
                        <a:pt x="91685" y="48345"/>
                        <a:pt x="91685" y="48345"/>
                      </a:cubicBezTo>
                      <a:cubicBezTo>
                        <a:pt x="91011" y="48345"/>
                        <a:pt x="91011" y="48345"/>
                        <a:pt x="91011" y="48345"/>
                      </a:cubicBezTo>
                      <a:cubicBezTo>
                        <a:pt x="89662" y="49208"/>
                        <a:pt x="89662" y="49208"/>
                        <a:pt x="89662" y="49208"/>
                      </a:cubicBezTo>
                      <a:cubicBezTo>
                        <a:pt x="88314" y="49208"/>
                        <a:pt x="88314" y="49208"/>
                        <a:pt x="88314" y="49208"/>
                      </a:cubicBezTo>
                      <a:cubicBezTo>
                        <a:pt x="87640" y="49208"/>
                        <a:pt x="87640" y="49208"/>
                        <a:pt x="87640" y="49208"/>
                      </a:cubicBezTo>
                      <a:cubicBezTo>
                        <a:pt x="86292" y="50071"/>
                        <a:pt x="86292" y="50071"/>
                        <a:pt x="86292" y="50071"/>
                      </a:cubicBezTo>
                      <a:cubicBezTo>
                        <a:pt x="85617" y="50071"/>
                        <a:pt x="85617" y="50071"/>
                        <a:pt x="85617" y="50071"/>
                      </a:cubicBezTo>
                      <a:cubicBezTo>
                        <a:pt x="84943" y="50503"/>
                        <a:pt x="84943" y="50503"/>
                        <a:pt x="84943" y="50503"/>
                      </a:cubicBezTo>
                      <a:cubicBezTo>
                        <a:pt x="84943" y="51366"/>
                        <a:pt x="84943" y="51366"/>
                        <a:pt x="84943" y="51366"/>
                      </a:cubicBezTo>
                      <a:cubicBezTo>
                        <a:pt x="84943" y="51366"/>
                        <a:pt x="84943" y="51798"/>
                        <a:pt x="84943" y="51798"/>
                      </a:cubicBezTo>
                      <a:cubicBezTo>
                        <a:pt x="85617" y="51798"/>
                        <a:pt x="85617" y="52230"/>
                        <a:pt x="85617" y="52230"/>
                      </a:cubicBezTo>
                      <a:cubicBezTo>
                        <a:pt x="86292" y="53093"/>
                        <a:pt x="86292" y="53093"/>
                        <a:pt x="86292" y="53093"/>
                      </a:cubicBezTo>
                      <a:cubicBezTo>
                        <a:pt x="86966" y="53956"/>
                        <a:pt x="86966" y="53956"/>
                        <a:pt x="86966" y="53956"/>
                      </a:cubicBezTo>
                      <a:cubicBezTo>
                        <a:pt x="87640" y="55251"/>
                        <a:pt x="87640" y="55251"/>
                        <a:pt x="87640" y="55251"/>
                      </a:cubicBezTo>
                      <a:cubicBezTo>
                        <a:pt x="87640" y="55251"/>
                        <a:pt x="86966" y="56115"/>
                        <a:pt x="86966" y="56115"/>
                      </a:cubicBezTo>
                      <a:cubicBezTo>
                        <a:pt x="86966" y="56115"/>
                        <a:pt x="86292" y="56978"/>
                        <a:pt x="86292" y="56978"/>
                      </a:cubicBezTo>
                      <a:cubicBezTo>
                        <a:pt x="85617" y="57841"/>
                        <a:pt x="85617" y="57841"/>
                        <a:pt x="85617" y="57841"/>
                      </a:cubicBezTo>
                      <a:cubicBezTo>
                        <a:pt x="84943" y="58705"/>
                        <a:pt x="84943" y="58705"/>
                        <a:pt x="84943" y="58705"/>
                      </a:cubicBezTo>
                      <a:cubicBezTo>
                        <a:pt x="84269" y="59136"/>
                        <a:pt x="84269" y="59136"/>
                        <a:pt x="84269" y="59136"/>
                      </a:cubicBezTo>
                      <a:cubicBezTo>
                        <a:pt x="82921" y="59136"/>
                        <a:pt x="82921" y="59136"/>
                        <a:pt x="82921" y="59136"/>
                      </a:cubicBezTo>
                      <a:cubicBezTo>
                        <a:pt x="82921" y="59568"/>
                        <a:pt x="82921" y="59568"/>
                        <a:pt x="82921" y="59568"/>
                      </a:cubicBezTo>
                      <a:cubicBezTo>
                        <a:pt x="82247" y="60431"/>
                        <a:pt x="82247" y="60431"/>
                        <a:pt x="82247" y="60431"/>
                      </a:cubicBezTo>
                      <a:cubicBezTo>
                        <a:pt x="82247" y="60863"/>
                        <a:pt x="82247" y="60863"/>
                        <a:pt x="82247" y="60863"/>
                      </a:cubicBezTo>
                      <a:cubicBezTo>
                        <a:pt x="81573" y="60863"/>
                        <a:pt x="81573" y="60863"/>
                        <a:pt x="81573" y="60863"/>
                      </a:cubicBezTo>
                      <a:cubicBezTo>
                        <a:pt x="81573" y="61726"/>
                        <a:pt x="81573" y="61726"/>
                        <a:pt x="81573" y="61726"/>
                      </a:cubicBezTo>
                      <a:cubicBezTo>
                        <a:pt x="80898" y="62158"/>
                        <a:pt x="80898" y="62158"/>
                        <a:pt x="80898" y="62158"/>
                      </a:cubicBezTo>
                      <a:cubicBezTo>
                        <a:pt x="80898" y="62158"/>
                        <a:pt x="80224" y="62158"/>
                        <a:pt x="80224" y="62158"/>
                      </a:cubicBezTo>
                      <a:cubicBezTo>
                        <a:pt x="79550" y="62158"/>
                        <a:pt x="78876" y="62589"/>
                        <a:pt x="78876" y="62589"/>
                      </a:cubicBezTo>
                      <a:cubicBezTo>
                        <a:pt x="78876" y="62589"/>
                        <a:pt x="77528" y="62589"/>
                        <a:pt x="77528" y="62158"/>
                      </a:cubicBezTo>
                      <a:cubicBezTo>
                        <a:pt x="77528" y="62158"/>
                        <a:pt x="76853" y="62589"/>
                        <a:pt x="76179" y="62158"/>
                      </a:cubicBezTo>
                      <a:cubicBezTo>
                        <a:pt x="76179" y="62158"/>
                        <a:pt x="75505" y="61726"/>
                        <a:pt x="75505" y="61726"/>
                      </a:cubicBezTo>
                      <a:cubicBezTo>
                        <a:pt x="74831" y="61726"/>
                        <a:pt x="74831" y="61726"/>
                        <a:pt x="74831" y="61726"/>
                      </a:cubicBezTo>
                      <a:cubicBezTo>
                        <a:pt x="73483" y="61726"/>
                        <a:pt x="73483" y="61726"/>
                        <a:pt x="73483" y="61726"/>
                      </a:cubicBezTo>
                      <a:cubicBezTo>
                        <a:pt x="71460" y="61726"/>
                        <a:pt x="71460" y="61726"/>
                        <a:pt x="71460" y="61726"/>
                      </a:cubicBezTo>
                      <a:cubicBezTo>
                        <a:pt x="70112" y="61726"/>
                        <a:pt x="70112" y="61726"/>
                        <a:pt x="70112" y="61726"/>
                      </a:cubicBezTo>
                      <a:cubicBezTo>
                        <a:pt x="70112" y="61294"/>
                        <a:pt x="70112" y="61294"/>
                        <a:pt x="70112" y="61294"/>
                      </a:cubicBezTo>
                      <a:cubicBezTo>
                        <a:pt x="69438" y="61726"/>
                        <a:pt x="69438" y="61726"/>
                        <a:pt x="69438" y="61726"/>
                      </a:cubicBezTo>
                      <a:cubicBezTo>
                        <a:pt x="68764" y="60863"/>
                        <a:pt x="68764" y="60863"/>
                        <a:pt x="68764" y="60863"/>
                      </a:cubicBezTo>
                      <a:cubicBezTo>
                        <a:pt x="67415" y="60863"/>
                        <a:pt x="67415" y="60863"/>
                        <a:pt x="67415" y="60863"/>
                      </a:cubicBezTo>
                      <a:cubicBezTo>
                        <a:pt x="66067" y="60863"/>
                        <a:pt x="66067" y="60863"/>
                        <a:pt x="66067" y="60863"/>
                      </a:cubicBezTo>
                      <a:cubicBezTo>
                        <a:pt x="66067" y="60863"/>
                        <a:pt x="66067" y="61294"/>
                        <a:pt x="66741" y="61726"/>
                      </a:cubicBezTo>
                      <a:cubicBezTo>
                        <a:pt x="66741" y="61726"/>
                        <a:pt x="67415" y="62589"/>
                        <a:pt x="67415" y="62589"/>
                      </a:cubicBezTo>
                      <a:cubicBezTo>
                        <a:pt x="67415" y="62589"/>
                        <a:pt x="67415" y="63453"/>
                        <a:pt x="67415" y="63453"/>
                      </a:cubicBezTo>
                      <a:cubicBezTo>
                        <a:pt x="67415" y="63453"/>
                        <a:pt x="68764" y="64316"/>
                        <a:pt x="68764" y="64316"/>
                      </a:cubicBezTo>
                      <a:cubicBezTo>
                        <a:pt x="68764" y="64748"/>
                        <a:pt x="68764" y="64748"/>
                        <a:pt x="68764" y="64748"/>
                      </a:cubicBezTo>
                      <a:cubicBezTo>
                        <a:pt x="68764" y="64748"/>
                        <a:pt x="69438" y="65611"/>
                        <a:pt x="69438" y="65611"/>
                      </a:cubicBezTo>
                      <a:cubicBezTo>
                        <a:pt x="69438" y="65611"/>
                        <a:pt x="70786" y="66043"/>
                        <a:pt x="70786" y="66043"/>
                      </a:cubicBezTo>
                      <a:cubicBezTo>
                        <a:pt x="70786" y="66906"/>
                        <a:pt x="70786" y="66906"/>
                        <a:pt x="70786" y="66906"/>
                      </a:cubicBezTo>
                      <a:cubicBezTo>
                        <a:pt x="70112" y="67338"/>
                        <a:pt x="70112" y="67338"/>
                        <a:pt x="70112" y="67338"/>
                      </a:cubicBezTo>
                      <a:cubicBezTo>
                        <a:pt x="69438" y="67769"/>
                        <a:pt x="69438" y="67769"/>
                        <a:pt x="69438" y="67769"/>
                      </a:cubicBezTo>
                      <a:cubicBezTo>
                        <a:pt x="70112" y="68633"/>
                        <a:pt x="70112" y="68633"/>
                        <a:pt x="70112" y="68633"/>
                      </a:cubicBezTo>
                      <a:cubicBezTo>
                        <a:pt x="70112" y="69496"/>
                        <a:pt x="70112" y="69496"/>
                        <a:pt x="70112" y="69496"/>
                      </a:cubicBezTo>
                      <a:cubicBezTo>
                        <a:pt x="70786" y="69928"/>
                        <a:pt x="70786" y="69928"/>
                        <a:pt x="70786" y="69928"/>
                      </a:cubicBezTo>
                      <a:cubicBezTo>
                        <a:pt x="70786" y="70359"/>
                        <a:pt x="70786" y="70359"/>
                        <a:pt x="70786" y="70359"/>
                      </a:cubicBezTo>
                      <a:cubicBezTo>
                        <a:pt x="70112" y="70791"/>
                        <a:pt x="70112" y="70791"/>
                        <a:pt x="70112" y="70791"/>
                      </a:cubicBezTo>
                      <a:cubicBezTo>
                        <a:pt x="70112" y="71654"/>
                        <a:pt x="70112" y="71654"/>
                        <a:pt x="70112" y="71654"/>
                      </a:cubicBezTo>
                      <a:cubicBezTo>
                        <a:pt x="70786" y="72517"/>
                        <a:pt x="70786" y="72517"/>
                        <a:pt x="70786" y="72517"/>
                      </a:cubicBezTo>
                      <a:cubicBezTo>
                        <a:pt x="71460" y="73381"/>
                        <a:pt x="71460" y="73381"/>
                        <a:pt x="71460" y="73381"/>
                      </a:cubicBezTo>
                      <a:cubicBezTo>
                        <a:pt x="72808" y="73381"/>
                        <a:pt x="72808" y="73381"/>
                        <a:pt x="72808" y="73381"/>
                      </a:cubicBezTo>
                      <a:cubicBezTo>
                        <a:pt x="72808" y="74244"/>
                        <a:pt x="72808" y="74244"/>
                        <a:pt x="72808" y="74244"/>
                      </a:cubicBezTo>
                      <a:cubicBezTo>
                        <a:pt x="72134" y="74676"/>
                        <a:pt x="72134" y="74676"/>
                        <a:pt x="72134" y="74676"/>
                      </a:cubicBezTo>
                      <a:cubicBezTo>
                        <a:pt x="72134" y="74676"/>
                        <a:pt x="72134" y="75107"/>
                        <a:pt x="72134" y="75107"/>
                      </a:cubicBezTo>
                      <a:cubicBezTo>
                        <a:pt x="72808" y="75107"/>
                        <a:pt x="73483" y="75539"/>
                        <a:pt x="73483" y="75539"/>
                      </a:cubicBezTo>
                      <a:cubicBezTo>
                        <a:pt x="74831" y="75107"/>
                        <a:pt x="74831" y="75107"/>
                        <a:pt x="74831" y="75107"/>
                      </a:cubicBezTo>
                      <a:cubicBezTo>
                        <a:pt x="74831" y="75107"/>
                        <a:pt x="75505" y="75107"/>
                        <a:pt x="75505" y="75107"/>
                      </a:cubicBezTo>
                      <a:cubicBezTo>
                        <a:pt x="75505" y="75539"/>
                        <a:pt x="76179" y="76402"/>
                        <a:pt x="76179" y="76402"/>
                      </a:cubicBezTo>
                      <a:cubicBezTo>
                        <a:pt x="76853" y="76834"/>
                        <a:pt x="76853" y="76834"/>
                        <a:pt x="76853" y="76834"/>
                      </a:cubicBezTo>
                      <a:cubicBezTo>
                        <a:pt x="76853" y="77697"/>
                        <a:pt x="76853" y="77697"/>
                        <a:pt x="76853" y="77697"/>
                      </a:cubicBezTo>
                      <a:cubicBezTo>
                        <a:pt x="75505" y="78561"/>
                        <a:pt x="75505" y="78561"/>
                        <a:pt x="75505" y="78561"/>
                      </a:cubicBezTo>
                      <a:cubicBezTo>
                        <a:pt x="74157" y="79424"/>
                        <a:pt x="74157" y="79424"/>
                        <a:pt x="74157" y="79424"/>
                      </a:cubicBezTo>
                      <a:cubicBezTo>
                        <a:pt x="73483" y="79856"/>
                        <a:pt x="73483" y="79856"/>
                        <a:pt x="73483" y="79856"/>
                      </a:cubicBezTo>
                      <a:cubicBezTo>
                        <a:pt x="73483" y="80719"/>
                        <a:pt x="73483" y="80719"/>
                        <a:pt x="73483" y="80719"/>
                      </a:cubicBezTo>
                      <a:cubicBezTo>
                        <a:pt x="72808" y="81151"/>
                        <a:pt x="72808" y="81151"/>
                        <a:pt x="72808" y="81151"/>
                      </a:cubicBezTo>
                      <a:cubicBezTo>
                        <a:pt x="71460" y="81582"/>
                        <a:pt x="71460" y="81582"/>
                        <a:pt x="71460" y="81582"/>
                      </a:cubicBezTo>
                      <a:cubicBezTo>
                        <a:pt x="70112" y="82014"/>
                        <a:pt x="70112" y="82014"/>
                        <a:pt x="70112" y="82014"/>
                      </a:cubicBezTo>
                      <a:cubicBezTo>
                        <a:pt x="69438" y="82014"/>
                        <a:pt x="69438" y="82014"/>
                        <a:pt x="69438" y="82014"/>
                      </a:cubicBezTo>
                      <a:cubicBezTo>
                        <a:pt x="68764" y="82446"/>
                        <a:pt x="68764" y="82446"/>
                        <a:pt x="68764" y="82446"/>
                      </a:cubicBezTo>
                      <a:cubicBezTo>
                        <a:pt x="66741" y="82877"/>
                        <a:pt x="66741" y="82877"/>
                        <a:pt x="66741" y="82877"/>
                      </a:cubicBezTo>
                      <a:cubicBezTo>
                        <a:pt x="66067" y="82877"/>
                        <a:pt x="66067" y="82877"/>
                        <a:pt x="66067" y="82877"/>
                      </a:cubicBezTo>
                      <a:cubicBezTo>
                        <a:pt x="64719" y="84604"/>
                        <a:pt x="64719" y="84604"/>
                        <a:pt x="64719" y="84604"/>
                      </a:cubicBezTo>
                      <a:cubicBezTo>
                        <a:pt x="64719" y="84604"/>
                        <a:pt x="64719" y="85467"/>
                        <a:pt x="64719" y="85467"/>
                      </a:cubicBezTo>
                      <a:cubicBezTo>
                        <a:pt x="64719" y="85467"/>
                        <a:pt x="65393" y="85899"/>
                        <a:pt x="65393" y="85899"/>
                      </a:cubicBezTo>
                      <a:cubicBezTo>
                        <a:pt x="65393" y="85899"/>
                        <a:pt x="64044" y="86762"/>
                        <a:pt x="64044" y="86762"/>
                      </a:cubicBezTo>
                      <a:cubicBezTo>
                        <a:pt x="64044" y="86762"/>
                        <a:pt x="62696" y="87194"/>
                        <a:pt x="62696" y="87194"/>
                      </a:cubicBezTo>
                      <a:cubicBezTo>
                        <a:pt x="62022" y="88057"/>
                        <a:pt x="62022" y="88057"/>
                        <a:pt x="62022" y="88057"/>
                      </a:cubicBezTo>
                      <a:cubicBezTo>
                        <a:pt x="62696" y="88489"/>
                        <a:pt x="62696" y="88489"/>
                        <a:pt x="62696" y="88489"/>
                      </a:cubicBezTo>
                      <a:cubicBezTo>
                        <a:pt x="61348" y="88489"/>
                        <a:pt x="61348" y="88489"/>
                        <a:pt x="61348" y="88489"/>
                      </a:cubicBezTo>
                      <a:cubicBezTo>
                        <a:pt x="62022" y="89352"/>
                        <a:pt x="62022" y="89352"/>
                        <a:pt x="62022" y="89352"/>
                      </a:cubicBezTo>
                      <a:cubicBezTo>
                        <a:pt x="61348" y="89784"/>
                        <a:pt x="61348" y="89784"/>
                        <a:pt x="61348" y="89784"/>
                      </a:cubicBezTo>
                      <a:cubicBezTo>
                        <a:pt x="62022" y="90215"/>
                        <a:pt x="62022" y="90215"/>
                        <a:pt x="62022" y="90215"/>
                      </a:cubicBezTo>
                      <a:cubicBezTo>
                        <a:pt x="62022" y="90215"/>
                        <a:pt x="62696" y="91510"/>
                        <a:pt x="62696" y="91510"/>
                      </a:cubicBezTo>
                      <a:cubicBezTo>
                        <a:pt x="62696" y="91942"/>
                        <a:pt x="63370" y="92374"/>
                        <a:pt x="63370" y="92374"/>
                      </a:cubicBezTo>
                      <a:cubicBezTo>
                        <a:pt x="63370" y="92374"/>
                        <a:pt x="64044" y="92805"/>
                        <a:pt x="64044" y="92805"/>
                      </a:cubicBezTo>
                      <a:cubicBezTo>
                        <a:pt x="64044" y="93237"/>
                        <a:pt x="64044" y="93669"/>
                        <a:pt x="64044" y="94100"/>
                      </a:cubicBezTo>
                      <a:cubicBezTo>
                        <a:pt x="64044" y="94532"/>
                        <a:pt x="64719" y="95395"/>
                        <a:pt x="64719" y="95395"/>
                      </a:cubicBezTo>
                      <a:cubicBezTo>
                        <a:pt x="65393" y="96258"/>
                        <a:pt x="65393" y="96258"/>
                        <a:pt x="65393" y="96258"/>
                      </a:cubicBezTo>
                      <a:cubicBezTo>
                        <a:pt x="65393" y="96258"/>
                        <a:pt x="65393" y="96690"/>
                        <a:pt x="65393" y="96690"/>
                      </a:cubicBezTo>
                      <a:cubicBezTo>
                        <a:pt x="66067" y="96690"/>
                        <a:pt x="67415" y="96690"/>
                        <a:pt x="67415" y="96690"/>
                      </a:cubicBezTo>
                      <a:cubicBezTo>
                        <a:pt x="67415" y="96690"/>
                        <a:pt x="68764" y="96690"/>
                        <a:pt x="68764" y="96690"/>
                      </a:cubicBezTo>
                      <a:cubicBezTo>
                        <a:pt x="68764" y="96690"/>
                        <a:pt x="69438" y="96258"/>
                        <a:pt x="70112" y="96690"/>
                      </a:cubicBezTo>
                      <a:cubicBezTo>
                        <a:pt x="70112" y="96690"/>
                        <a:pt x="70112" y="97122"/>
                        <a:pt x="70112" y="97122"/>
                      </a:cubicBezTo>
                      <a:cubicBezTo>
                        <a:pt x="70112" y="97122"/>
                        <a:pt x="70112" y="97553"/>
                        <a:pt x="70112" y="97553"/>
                      </a:cubicBezTo>
                      <a:cubicBezTo>
                        <a:pt x="67415" y="99280"/>
                        <a:pt x="67415" y="99280"/>
                        <a:pt x="67415" y="99280"/>
                      </a:cubicBezTo>
                      <a:cubicBezTo>
                        <a:pt x="67415" y="100575"/>
                        <a:pt x="67415" y="100575"/>
                        <a:pt x="67415" y="100575"/>
                      </a:cubicBezTo>
                      <a:cubicBezTo>
                        <a:pt x="67415" y="100575"/>
                        <a:pt x="66741" y="100575"/>
                        <a:pt x="66741" y="100575"/>
                      </a:cubicBezTo>
                      <a:cubicBezTo>
                        <a:pt x="66067" y="100575"/>
                        <a:pt x="65393" y="100575"/>
                        <a:pt x="65393" y="100575"/>
                      </a:cubicBezTo>
                      <a:cubicBezTo>
                        <a:pt x="64044" y="99712"/>
                        <a:pt x="64044" y="99712"/>
                        <a:pt x="64044" y="99712"/>
                      </a:cubicBezTo>
                      <a:cubicBezTo>
                        <a:pt x="62696" y="100143"/>
                        <a:pt x="62696" y="100143"/>
                        <a:pt x="62696" y="100143"/>
                      </a:cubicBezTo>
                      <a:cubicBezTo>
                        <a:pt x="62696" y="100575"/>
                        <a:pt x="62696" y="100575"/>
                        <a:pt x="62696" y="100575"/>
                      </a:cubicBezTo>
                      <a:cubicBezTo>
                        <a:pt x="62696" y="100575"/>
                        <a:pt x="61348" y="100575"/>
                        <a:pt x="61348" y="100575"/>
                      </a:cubicBezTo>
                      <a:cubicBezTo>
                        <a:pt x="61348" y="100575"/>
                        <a:pt x="59325" y="100575"/>
                        <a:pt x="59325" y="100575"/>
                      </a:cubicBezTo>
                      <a:cubicBezTo>
                        <a:pt x="58651" y="101007"/>
                        <a:pt x="58651" y="101007"/>
                        <a:pt x="58651" y="101007"/>
                      </a:cubicBezTo>
                      <a:cubicBezTo>
                        <a:pt x="57977" y="102733"/>
                        <a:pt x="57977" y="102733"/>
                        <a:pt x="57977" y="102733"/>
                      </a:cubicBezTo>
                      <a:cubicBezTo>
                        <a:pt x="56629" y="103597"/>
                        <a:pt x="56629" y="103597"/>
                        <a:pt x="56629" y="103597"/>
                      </a:cubicBezTo>
                      <a:cubicBezTo>
                        <a:pt x="55280" y="104028"/>
                        <a:pt x="55280" y="104028"/>
                        <a:pt x="55280" y="104028"/>
                      </a:cubicBezTo>
                      <a:cubicBezTo>
                        <a:pt x="53932" y="104892"/>
                        <a:pt x="53932" y="104892"/>
                        <a:pt x="53932" y="104892"/>
                      </a:cubicBezTo>
                      <a:cubicBezTo>
                        <a:pt x="51910" y="105323"/>
                        <a:pt x="51910" y="105323"/>
                        <a:pt x="51910" y="105323"/>
                      </a:cubicBezTo>
                      <a:cubicBezTo>
                        <a:pt x="51910" y="105323"/>
                        <a:pt x="51235" y="105755"/>
                        <a:pt x="51235" y="105755"/>
                      </a:cubicBezTo>
                      <a:cubicBezTo>
                        <a:pt x="51235" y="106187"/>
                        <a:pt x="50561" y="107482"/>
                        <a:pt x="50561" y="107482"/>
                      </a:cubicBezTo>
                      <a:cubicBezTo>
                        <a:pt x="50561" y="107482"/>
                        <a:pt x="49213" y="107913"/>
                        <a:pt x="49213" y="108345"/>
                      </a:cubicBezTo>
                      <a:cubicBezTo>
                        <a:pt x="49213" y="108345"/>
                        <a:pt x="47865" y="108776"/>
                        <a:pt x="47865" y="108776"/>
                      </a:cubicBezTo>
                      <a:cubicBezTo>
                        <a:pt x="47865" y="108776"/>
                        <a:pt x="47865" y="109640"/>
                        <a:pt x="47865" y="109640"/>
                      </a:cubicBezTo>
                      <a:cubicBezTo>
                        <a:pt x="47865" y="109640"/>
                        <a:pt x="48539" y="110503"/>
                        <a:pt x="48539" y="110503"/>
                      </a:cubicBezTo>
                      <a:cubicBezTo>
                        <a:pt x="48539" y="111798"/>
                        <a:pt x="48539" y="111798"/>
                        <a:pt x="48539" y="111798"/>
                      </a:cubicBezTo>
                      <a:cubicBezTo>
                        <a:pt x="48539" y="112661"/>
                        <a:pt x="48539" y="112661"/>
                        <a:pt x="48539" y="112661"/>
                      </a:cubicBezTo>
                      <a:cubicBezTo>
                        <a:pt x="49213" y="113525"/>
                        <a:pt x="49213" y="113525"/>
                        <a:pt x="49213" y="113525"/>
                      </a:cubicBezTo>
                      <a:cubicBezTo>
                        <a:pt x="48539" y="114388"/>
                        <a:pt x="48539" y="114388"/>
                        <a:pt x="48539" y="114388"/>
                      </a:cubicBezTo>
                      <a:cubicBezTo>
                        <a:pt x="47865" y="115683"/>
                        <a:pt x="47865" y="115683"/>
                        <a:pt x="47865" y="115683"/>
                      </a:cubicBezTo>
                      <a:cubicBezTo>
                        <a:pt x="47865" y="116115"/>
                        <a:pt x="47865" y="116115"/>
                        <a:pt x="47865" y="116115"/>
                      </a:cubicBezTo>
                      <a:cubicBezTo>
                        <a:pt x="47865" y="116978"/>
                        <a:pt x="47865" y="116978"/>
                        <a:pt x="47865" y="116978"/>
                      </a:cubicBezTo>
                      <a:cubicBezTo>
                        <a:pt x="47865" y="118705"/>
                        <a:pt x="47865" y="118705"/>
                        <a:pt x="47865" y="118705"/>
                      </a:cubicBezTo>
                      <a:cubicBezTo>
                        <a:pt x="45842" y="118273"/>
                        <a:pt x="45842" y="118273"/>
                        <a:pt x="45842" y="118273"/>
                      </a:cubicBezTo>
                      <a:cubicBezTo>
                        <a:pt x="43820" y="118273"/>
                        <a:pt x="43820" y="118273"/>
                        <a:pt x="43820" y="118273"/>
                      </a:cubicBezTo>
                      <a:cubicBezTo>
                        <a:pt x="41797" y="118705"/>
                        <a:pt x="41797" y="118705"/>
                        <a:pt x="41797" y="118705"/>
                      </a:cubicBezTo>
                      <a:cubicBezTo>
                        <a:pt x="39101" y="119568"/>
                        <a:pt x="39101" y="119568"/>
                        <a:pt x="39101" y="119568"/>
                      </a:cubicBezTo>
                      <a:cubicBezTo>
                        <a:pt x="35056" y="120000"/>
                        <a:pt x="35056" y="120000"/>
                        <a:pt x="35056" y="120000"/>
                      </a:cubicBezTo>
                      <a:cubicBezTo>
                        <a:pt x="31685" y="120000"/>
                        <a:pt x="31685" y="120000"/>
                        <a:pt x="31685" y="120000"/>
                      </a:cubicBezTo>
                      <a:cubicBezTo>
                        <a:pt x="29662" y="119568"/>
                        <a:pt x="29662" y="119568"/>
                        <a:pt x="29662" y="119568"/>
                      </a:cubicBezTo>
                      <a:cubicBezTo>
                        <a:pt x="28314" y="119136"/>
                        <a:pt x="28314" y="119136"/>
                        <a:pt x="28314" y="119136"/>
                      </a:cubicBezTo>
                      <a:cubicBezTo>
                        <a:pt x="26966" y="118273"/>
                        <a:pt x="26966" y="118273"/>
                        <a:pt x="26966" y="118273"/>
                      </a:cubicBezTo>
                      <a:cubicBezTo>
                        <a:pt x="24943" y="116978"/>
                        <a:pt x="24943" y="116978"/>
                        <a:pt x="24943" y="116978"/>
                      </a:cubicBezTo>
                      <a:cubicBezTo>
                        <a:pt x="22921" y="116978"/>
                        <a:pt x="22921" y="116978"/>
                        <a:pt x="22921" y="116978"/>
                      </a:cubicBezTo>
                      <a:cubicBezTo>
                        <a:pt x="21573" y="116546"/>
                        <a:pt x="21573" y="116546"/>
                        <a:pt x="21573" y="116546"/>
                      </a:cubicBezTo>
                      <a:cubicBezTo>
                        <a:pt x="20224" y="116115"/>
                        <a:pt x="20224" y="116115"/>
                        <a:pt x="20224" y="116115"/>
                      </a:cubicBezTo>
                      <a:cubicBezTo>
                        <a:pt x="18876" y="115683"/>
                        <a:pt x="18876" y="115683"/>
                        <a:pt x="18876" y="115683"/>
                      </a:cubicBezTo>
                      <a:cubicBezTo>
                        <a:pt x="17528" y="115683"/>
                        <a:pt x="17528" y="115683"/>
                        <a:pt x="17528" y="115683"/>
                      </a:cubicBezTo>
                      <a:cubicBezTo>
                        <a:pt x="14831" y="114820"/>
                        <a:pt x="14831" y="114820"/>
                        <a:pt x="14831" y="114820"/>
                      </a:cubicBezTo>
                      <a:cubicBezTo>
                        <a:pt x="12134" y="113956"/>
                        <a:pt x="12134" y="113956"/>
                        <a:pt x="12134" y="113956"/>
                      </a:cubicBezTo>
                      <a:cubicBezTo>
                        <a:pt x="10786" y="114388"/>
                        <a:pt x="10786" y="114388"/>
                        <a:pt x="10786" y="114388"/>
                      </a:cubicBezTo>
                      <a:cubicBezTo>
                        <a:pt x="10786" y="114820"/>
                        <a:pt x="10786" y="114820"/>
                        <a:pt x="10786" y="114820"/>
                      </a:cubicBezTo>
                      <a:cubicBezTo>
                        <a:pt x="8764" y="114388"/>
                        <a:pt x="8764" y="114388"/>
                        <a:pt x="8764" y="114388"/>
                      </a:cubicBezTo>
                      <a:cubicBezTo>
                        <a:pt x="7415" y="114388"/>
                        <a:pt x="7415" y="114388"/>
                        <a:pt x="7415" y="114388"/>
                      </a:cubicBezTo>
                      <a:cubicBezTo>
                        <a:pt x="6067" y="114388"/>
                        <a:pt x="6067" y="114388"/>
                        <a:pt x="6067" y="114388"/>
                      </a:cubicBezTo>
                      <a:cubicBezTo>
                        <a:pt x="3370" y="114820"/>
                        <a:pt x="3370" y="114820"/>
                        <a:pt x="3370" y="114820"/>
                      </a:cubicBezTo>
                      <a:cubicBezTo>
                        <a:pt x="1348" y="115251"/>
                        <a:pt x="1348" y="115251"/>
                        <a:pt x="1348" y="115251"/>
                      </a:cubicBezTo>
                      <a:cubicBezTo>
                        <a:pt x="0" y="114820"/>
                        <a:pt x="0" y="114820"/>
                        <a:pt x="0" y="114820"/>
                      </a:cubicBezTo>
                      <a:cubicBezTo>
                        <a:pt x="1348" y="113956"/>
                        <a:pt x="1348" y="113956"/>
                        <a:pt x="1348" y="113956"/>
                      </a:cubicBezTo>
                      <a:cubicBezTo>
                        <a:pt x="2696" y="112661"/>
                        <a:pt x="2696" y="112661"/>
                        <a:pt x="2696" y="112661"/>
                      </a:cubicBezTo>
                      <a:cubicBezTo>
                        <a:pt x="4044" y="112230"/>
                        <a:pt x="4044" y="112230"/>
                        <a:pt x="4044" y="112230"/>
                      </a:cubicBezTo>
                      <a:cubicBezTo>
                        <a:pt x="4719" y="110935"/>
                        <a:pt x="4719" y="110935"/>
                        <a:pt x="4719" y="110935"/>
                      </a:cubicBezTo>
                      <a:cubicBezTo>
                        <a:pt x="6741" y="110071"/>
                        <a:pt x="6741" y="110071"/>
                        <a:pt x="6741" y="110071"/>
                      </a:cubicBezTo>
                      <a:cubicBezTo>
                        <a:pt x="6741" y="108776"/>
                        <a:pt x="6741" y="108776"/>
                        <a:pt x="6741" y="108776"/>
                      </a:cubicBezTo>
                      <a:cubicBezTo>
                        <a:pt x="8089" y="107050"/>
                        <a:pt x="8089" y="107050"/>
                        <a:pt x="8089" y="107050"/>
                      </a:cubicBezTo>
                      <a:cubicBezTo>
                        <a:pt x="8089" y="107050"/>
                        <a:pt x="9438" y="107050"/>
                        <a:pt x="9438" y="106618"/>
                      </a:cubicBezTo>
                      <a:cubicBezTo>
                        <a:pt x="10112" y="105755"/>
                        <a:pt x="10112" y="105323"/>
                        <a:pt x="10786" y="104892"/>
                      </a:cubicBezTo>
                      <a:cubicBezTo>
                        <a:pt x="10786" y="104460"/>
                        <a:pt x="11460" y="104460"/>
                        <a:pt x="11460" y="104028"/>
                      </a:cubicBezTo>
                      <a:cubicBezTo>
                        <a:pt x="11460" y="103597"/>
                        <a:pt x="10786" y="102302"/>
                        <a:pt x="10786" y="102302"/>
                      </a:cubicBezTo>
                      <a:cubicBezTo>
                        <a:pt x="10786" y="102302"/>
                        <a:pt x="12134" y="100575"/>
                        <a:pt x="12134" y="100575"/>
                      </a:cubicBezTo>
                      <a:cubicBezTo>
                        <a:pt x="12808" y="100143"/>
                        <a:pt x="12808" y="98417"/>
                        <a:pt x="12808" y="98417"/>
                      </a:cubicBezTo>
                      <a:cubicBezTo>
                        <a:pt x="12808" y="98417"/>
                        <a:pt x="13483" y="97553"/>
                        <a:pt x="14157" y="97122"/>
                      </a:cubicBezTo>
                      <a:cubicBezTo>
                        <a:pt x="14157" y="96690"/>
                        <a:pt x="14157" y="95395"/>
                        <a:pt x="14157" y="95395"/>
                      </a:cubicBezTo>
                      <a:cubicBezTo>
                        <a:pt x="12808" y="94100"/>
                        <a:pt x="12808" y="94100"/>
                        <a:pt x="12808" y="94100"/>
                      </a:cubicBezTo>
                      <a:cubicBezTo>
                        <a:pt x="14157" y="92374"/>
                        <a:pt x="14157" y="92374"/>
                        <a:pt x="14157" y="92374"/>
                      </a:cubicBezTo>
                      <a:cubicBezTo>
                        <a:pt x="16179" y="90215"/>
                        <a:pt x="16179" y="90215"/>
                        <a:pt x="16179" y="90215"/>
                      </a:cubicBezTo>
                      <a:cubicBezTo>
                        <a:pt x="18202" y="88057"/>
                        <a:pt x="18202" y="88057"/>
                        <a:pt x="18202" y="88057"/>
                      </a:cubicBezTo>
                      <a:cubicBezTo>
                        <a:pt x="18876" y="85899"/>
                        <a:pt x="18876" y="85899"/>
                        <a:pt x="18876" y="85899"/>
                      </a:cubicBezTo>
                      <a:cubicBezTo>
                        <a:pt x="18876" y="85899"/>
                        <a:pt x="18876" y="85035"/>
                        <a:pt x="18876" y="84604"/>
                      </a:cubicBezTo>
                      <a:cubicBezTo>
                        <a:pt x="18876" y="84604"/>
                        <a:pt x="18876" y="83741"/>
                        <a:pt x="18876" y="83741"/>
                      </a:cubicBezTo>
                      <a:cubicBezTo>
                        <a:pt x="18876" y="83741"/>
                        <a:pt x="18876" y="82877"/>
                        <a:pt x="18876" y="82877"/>
                      </a:cubicBezTo>
                      <a:cubicBezTo>
                        <a:pt x="18876" y="82877"/>
                        <a:pt x="18202" y="82014"/>
                        <a:pt x="18202" y="82014"/>
                      </a:cubicBezTo>
                      <a:cubicBezTo>
                        <a:pt x="17528" y="80719"/>
                        <a:pt x="17528" y="80719"/>
                        <a:pt x="17528" y="80719"/>
                      </a:cubicBezTo>
                      <a:cubicBezTo>
                        <a:pt x="16853" y="81151"/>
                        <a:pt x="16853" y="81151"/>
                        <a:pt x="16853" y="81151"/>
                      </a:cubicBezTo>
                      <a:cubicBezTo>
                        <a:pt x="16853" y="81151"/>
                        <a:pt x="16179" y="81582"/>
                        <a:pt x="15505" y="81151"/>
                      </a:cubicBezTo>
                      <a:cubicBezTo>
                        <a:pt x="15505" y="81151"/>
                        <a:pt x="12808" y="81151"/>
                        <a:pt x="12808" y="81151"/>
                      </a:cubicBezTo>
                      <a:cubicBezTo>
                        <a:pt x="11460" y="81582"/>
                        <a:pt x="11460" y="81582"/>
                        <a:pt x="11460" y="81582"/>
                      </a:cubicBezTo>
                      <a:cubicBezTo>
                        <a:pt x="9438" y="81151"/>
                        <a:pt x="9438" y="81151"/>
                        <a:pt x="9438" y="81151"/>
                      </a:cubicBezTo>
                      <a:cubicBezTo>
                        <a:pt x="9438" y="81151"/>
                        <a:pt x="8764" y="81582"/>
                        <a:pt x="8089" y="81582"/>
                      </a:cubicBezTo>
                      <a:cubicBezTo>
                        <a:pt x="8089" y="81582"/>
                        <a:pt x="7415" y="81582"/>
                        <a:pt x="7415" y="81151"/>
                      </a:cubicBezTo>
                      <a:cubicBezTo>
                        <a:pt x="7415" y="81151"/>
                        <a:pt x="9438" y="79856"/>
                        <a:pt x="9438" y="79856"/>
                      </a:cubicBezTo>
                      <a:cubicBezTo>
                        <a:pt x="9438" y="79856"/>
                        <a:pt x="9438" y="79856"/>
                        <a:pt x="9438" y="79424"/>
                      </a:cubicBezTo>
                      <a:cubicBezTo>
                        <a:pt x="9438" y="78992"/>
                        <a:pt x="9438" y="78129"/>
                        <a:pt x="9438" y="78129"/>
                      </a:cubicBezTo>
                      <a:cubicBezTo>
                        <a:pt x="9438" y="77697"/>
                        <a:pt x="8764" y="76402"/>
                        <a:pt x="8764" y="76402"/>
                      </a:cubicBezTo>
                      <a:cubicBezTo>
                        <a:pt x="8764" y="76402"/>
                        <a:pt x="8089" y="75971"/>
                        <a:pt x="8764" y="75539"/>
                      </a:cubicBezTo>
                      <a:cubicBezTo>
                        <a:pt x="8764" y="75107"/>
                        <a:pt x="9438" y="75107"/>
                        <a:pt x="9438" y="75107"/>
                      </a:cubicBezTo>
                      <a:cubicBezTo>
                        <a:pt x="8089" y="74676"/>
                        <a:pt x="8089" y="74676"/>
                        <a:pt x="8089" y="74676"/>
                      </a:cubicBezTo>
                      <a:cubicBezTo>
                        <a:pt x="8089" y="74676"/>
                        <a:pt x="8089" y="74676"/>
                        <a:pt x="7415" y="74676"/>
                      </a:cubicBezTo>
                      <a:cubicBezTo>
                        <a:pt x="6741" y="75107"/>
                        <a:pt x="6067" y="75107"/>
                        <a:pt x="6067" y="75107"/>
                      </a:cubicBezTo>
                      <a:cubicBezTo>
                        <a:pt x="5393" y="74244"/>
                        <a:pt x="5393" y="74244"/>
                        <a:pt x="5393" y="74244"/>
                      </a:cubicBezTo>
                      <a:cubicBezTo>
                        <a:pt x="5393" y="74244"/>
                        <a:pt x="4719" y="74676"/>
                        <a:pt x="4719" y="74244"/>
                      </a:cubicBezTo>
                      <a:cubicBezTo>
                        <a:pt x="4044" y="74244"/>
                        <a:pt x="2696" y="73812"/>
                        <a:pt x="2696" y="73812"/>
                      </a:cubicBezTo>
                      <a:cubicBezTo>
                        <a:pt x="2696" y="73812"/>
                        <a:pt x="2696" y="72949"/>
                        <a:pt x="2696" y="72949"/>
                      </a:cubicBezTo>
                      <a:cubicBezTo>
                        <a:pt x="3370" y="72517"/>
                        <a:pt x="3370" y="72517"/>
                        <a:pt x="3370" y="72086"/>
                      </a:cubicBezTo>
                      <a:cubicBezTo>
                        <a:pt x="3370" y="71654"/>
                        <a:pt x="3370" y="71223"/>
                        <a:pt x="4044" y="70791"/>
                      </a:cubicBezTo>
                      <a:cubicBezTo>
                        <a:pt x="4044" y="70359"/>
                        <a:pt x="4719" y="69928"/>
                        <a:pt x="5393" y="69928"/>
                      </a:cubicBezTo>
                      <a:cubicBezTo>
                        <a:pt x="6067" y="69496"/>
                        <a:pt x="6067" y="69496"/>
                        <a:pt x="6067" y="69496"/>
                      </a:cubicBezTo>
                      <a:cubicBezTo>
                        <a:pt x="7415" y="67769"/>
                        <a:pt x="7415" y="67769"/>
                        <a:pt x="7415" y="67769"/>
                      </a:cubicBezTo>
                      <a:cubicBezTo>
                        <a:pt x="7415" y="67769"/>
                        <a:pt x="7415" y="66906"/>
                        <a:pt x="7415" y="66906"/>
                      </a:cubicBezTo>
                      <a:cubicBezTo>
                        <a:pt x="7415" y="66906"/>
                        <a:pt x="8089" y="66043"/>
                        <a:pt x="8089" y="65611"/>
                      </a:cubicBezTo>
                      <a:cubicBezTo>
                        <a:pt x="8089" y="65611"/>
                        <a:pt x="8764" y="64748"/>
                        <a:pt x="8764" y="64748"/>
                      </a:cubicBezTo>
                      <a:cubicBezTo>
                        <a:pt x="8764" y="64748"/>
                        <a:pt x="9438" y="64316"/>
                        <a:pt x="9438" y="63884"/>
                      </a:cubicBezTo>
                      <a:cubicBezTo>
                        <a:pt x="10112" y="63884"/>
                        <a:pt x="11460" y="63021"/>
                        <a:pt x="11460" y="63021"/>
                      </a:cubicBezTo>
                      <a:cubicBezTo>
                        <a:pt x="11460" y="63021"/>
                        <a:pt x="12134" y="61726"/>
                        <a:pt x="12134" y="61726"/>
                      </a:cubicBezTo>
                      <a:cubicBezTo>
                        <a:pt x="12134" y="61726"/>
                        <a:pt x="12808" y="60431"/>
                        <a:pt x="12808" y="60431"/>
                      </a:cubicBezTo>
                      <a:cubicBezTo>
                        <a:pt x="12134" y="59568"/>
                        <a:pt x="12134" y="59568"/>
                        <a:pt x="12134" y="59568"/>
                      </a:cubicBezTo>
                      <a:cubicBezTo>
                        <a:pt x="11460" y="59136"/>
                        <a:pt x="11460" y="59136"/>
                        <a:pt x="11460" y="59136"/>
                      </a:cubicBezTo>
                      <a:cubicBezTo>
                        <a:pt x="12808" y="58705"/>
                        <a:pt x="12808" y="58705"/>
                        <a:pt x="12808" y="58705"/>
                      </a:cubicBezTo>
                      <a:cubicBezTo>
                        <a:pt x="12808" y="58705"/>
                        <a:pt x="12808" y="58705"/>
                        <a:pt x="13483" y="58705"/>
                      </a:cubicBezTo>
                      <a:cubicBezTo>
                        <a:pt x="14157" y="58705"/>
                        <a:pt x="14831" y="58273"/>
                        <a:pt x="14831" y="58273"/>
                      </a:cubicBezTo>
                      <a:cubicBezTo>
                        <a:pt x="15505" y="58273"/>
                        <a:pt x="16853" y="57841"/>
                        <a:pt x="16853" y="57841"/>
                      </a:cubicBezTo>
                      <a:cubicBezTo>
                        <a:pt x="16853" y="57410"/>
                        <a:pt x="17528" y="57410"/>
                        <a:pt x="17528" y="57410"/>
                      </a:cubicBezTo>
                      <a:cubicBezTo>
                        <a:pt x="18202" y="57410"/>
                        <a:pt x="19550" y="56978"/>
                        <a:pt x="19550" y="56978"/>
                      </a:cubicBezTo>
                      <a:cubicBezTo>
                        <a:pt x="19550" y="56978"/>
                        <a:pt x="20224" y="56546"/>
                        <a:pt x="20224" y="56546"/>
                      </a:cubicBezTo>
                      <a:cubicBezTo>
                        <a:pt x="20224" y="56115"/>
                        <a:pt x="20224" y="56115"/>
                        <a:pt x="20224" y="56115"/>
                      </a:cubicBezTo>
                      <a:cubicBezTo>
                        <a:pt x="21573" y="55683"/>
                        <a:pt x="21573" y="55683"/>
                        <a:pt x="21573" y="55683"/>
                      </a:cubicBezTo>
                      <a:cubicBezTo>
                        <a:pt x="21573" y="55683"/>
                        <a:pt x="22247" y="55251"/>
                        <a:pt x="22247" y="54820"/>
                      </a:cubicBezTo>
                      <a:cubicBezTo>
                        <a:pt x="22247" y="54820"/>
                        <a:pt x="22921" y="53956"/>
                        <a:pt x="22921" y="53956"/>
                      </a:cubicBezTo>
                      <a:cubicBezTo>
                        <a:pt x="22921" y="53525"/>
                        <a:pt x="24943" y="52230"/>
                        <a:pt x="24943" y="52230"/>
                      </a:cubicBezTo>
                      <a:cubicBezTo>
                        <a:pt x="27640" y="49208"/>
                        <a:pt x="27640" y="49208"/>
                        <a:pt x="27640" y="49208"/>
                      </a:cubicBezTo>
                      <a:cubicBezTo>
                        <a:pt x="33707" y="43165"/>
                        <a:pt x="33707" y="43165"/>
                        <a:pt x="33707" y="43165"/>
                      </a:cubicBezTo>
                      <a:cubicBezTo>
                        <a:pt x="33033" y="42302"/>
                        <a:pt x="33033" y="42302"/>
                        <a:pt x="33033" y="42302"/>
                      </a:cubicBezTo>
                      <a:cubicBezTo>
                        <a:pt x="35056" y="40143"/>
                        <a:pt x="35056" y="40143"/>
                        <a:pt x="35056" y="40143"/>
                      </a:cubicBezTo>
                      <a:cubicBezTo>
                        <a:pt x="38426" y="36690"/>
                        <a:pt x="38426" y="36690"/>
                        <a:pt x="38426" y="36690"/>
                      </a:cubicBezTo>
                      <a:cubicBezTo>
                        <a:pt x="41797" y="31942"/>
                        <a:pt x="41797" y="31942"/>
                        <a:pt x="41797" y="31942"/>
                      </a:cubicBezTo>
                      <a:cubicBezTo>
                        <a:pt x="43820" y="29352"/>
                        <a:pt x="43820" y="29352"/>
                        <a:pt x="43820" y="29352"/>
                      </a:cubicBezTo>
                      <a:cubicBezTo>
                        <a:pt x="46516" y="26330"/>
                        <a:pt x="46516" y="26330"/>
                        <a:pt x="46516" y="26330"/>
                      </a:cubicBezTo>
                      <a:cubicBezTo>
                        <a:pt x="47865" y="23741"/>
                        <a:pt x="47865" y="23741"/>
                        <a:pt x="47865" y="23741"/>
                      </a:cubicBezTo>
                      <a:cubicBezTo>
                        <a:pt x="47865" y="20719"/>
                        <a:pt x="47865" y="20719"/>
                        <a:pt x="47865" y="20719"/>
                      </a:cubicBezTo>
                      <a:cubicBezTo>
                        <a:pt x="47865" y="18561"/>
                        <a:pt x="47865" y="18561"/>
                        <a:pt x="47865" y="18561"/>
                      </a:cubicBezTo>
                      <a:cubicBezTo>
                        <a:pt x="47865" y="16834"/>
                        <a:pt x="47865" y="16834"/>
                        <a:pt x="47865" y="16834"/>
                      </a:cubicBezTo>
                      <a:cubicBezTo>
                        <a:pt x="47865" y="15971"/>
                        <a:pt x="47865" y="15971"/>
                        <a:pt x="47865" y="15971"/>
                      </a:cubicBezTo>
                      <a:cubicBezTo>
                        <a:pt x="47865" y="15107"/>
                        <a:pt x="47865" y="15107"/>
                        <a:pt x="47865" y="15107"/>
                      </a:cubicBezTo>
                      <a:cubicBezTo>
                        <a:pt x="47191" y="13812"/>
                        <a:pt x="47191" y="13812"/>
                        <a:pt x="47191" y="13812"/>
                      </a:cubicBezTo>
                      <a:cubicBezTo>
                        <a:pt x="48539" y="12949"/>
                        <a:pt x="48539" y="12949"/>
                        <a:pt x="48539" y="12949"/>
                      </a:cubicBezTo>
                      <a:cubicBezTo>
                        <a:pt x="48539" y="12086"/>
                        <a:pt x="48539" y="12086"/>
                        <a:pt x="48539" y="12086"/>
                      </a:cubicBezTo>
                      <a:cubicBezTo>
                        <a:pt x="48539" y="11223"/>
                        <a:pt x="48539" y="11223"/>
                        <a:pt x="48539" y="11223"/>
                      </a:cubicBezTo>
                      <a:cubicBezTo>
                        <a:pt x="48539" y="10359"/>
                        <a:pt x="48539" y="10359"/>
                        <a:pt x="48539" y="10359"/>
                      </a:cubicBezTo>
                      <a:cubicBezTo>
                        <a:pt x="49213" y="9496"/>
                        <a:pt x="49213" y="9496"/>
                        <a:pt x="49213" y="9496"/>
                      </a:cubicBezTo>
                      <a:cubicBezTo>
                        <a:pt x="48539" y="8201"/>
                        <a:pt x="48539" y="8201"/>
                        <a:pt x="48539" y="8201"/>
                      </a:cubicBezTo>
                      <a:cubicBezTo>
                        <a:pt x="49213" y="7338"/>
                        <a:pt x="49213" y="7338"/>
                        <a:pt x="49213" y="7338"/>
                      </a:cubicBezTo>
                      <a:cubicBezTo>
                        <a:pt x="48539" y="6906"/>
                        <a:pt x="48539" y="6906"/>
                        <a:pt x="48539" y="6906"/>
                      </a:cubicBezTo>
                      <a:cubicBezTo>
                        <a:pt x="49213" y="5611"/>
                        <a:pt x="49213" y="5611"/>
                        <a:pt x="49213" y="5611"/>
                      </a:cubicBezTo>
                      <a:cubicBezTo>
                        <a:pt x="49213" y="4748"/>
                        <a:pt x="49213" y="4748"/>
                        <a:pt x="49213" y="4748"/>
                      </a:cubicBezTo>
                      <a:lnTo>
                        <a:pt x="49887" y="388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4" name="Shape 2046"/>
                <p:cNvSpPr/>
                <p:nvPr/>
              </p:nvSpPr>
              <p:spPr>
                <a:xfrm>
                  <a:off x="4704932" y="2283682"/>
                  <a:ext cx="711330" cy="913063"/>
                </a:xfrm>
                <a:custGeom>
                  <a:avLst/>
                  <a:gdLst/>
                  <a:ahLst/>
                  <a:cxnLst/>
                  <a:rect l="0" t="0" r="0" b="0"/>
                  <a:pathLst>
                    <a:path w="120000" h="120000" extrusionOk="0">
                      <a:moveTo>
                        <a:pt x="105769" y="94430"/>
                      </a:moveTo>
                      <a:cubicBezTo>
                        <a:pt x="105769" y="94430"/>
                        <a:pt x="105769" y="94430"/>
                        <a:pt x="105769" y="94430"/>
                      </a:cubicBezTo>
                      <a:cubicBezTo>
                        <a:pt x="105769" y="95302"/>
                        <a:pt x="105769" y="95302"/>
                        <a:pt x="105769" y="95302"/>
                      </a:cubicBezTo>
                      <a:cubicBezTo>
                        <a:pt x="106153" y="96755"/>
                        <a:pt x="106153" y="96755"/>
                        <a:pt x="106153" y="96755"/>
                      </a:cubicBezTo>
                      <a:cubicBezTo>
                        <a:pt x="106153" y="97627"/>
                        <a:pt x="106153" y="97627"/>
                        <a:pt x="106153" y="97627"/>
                      </a:cubicBezTo>
                      <a:cubicBezTo>
                        <a:pt x="106153" y="97627"/>
                        <a:pt x="105769" y="98208"/>
                        <a:pt x="105384" y="98208"/>
                      </a:cubicBezTo>
                      <a:cubicBezTo>
                        <a:pt x="105384" y="98208"/>
                        <a:pt x="105000" y="98498"/>
                        <a:pt x="104615" y="98498"/>
                      </a:cubicBezTo>
                      <a:cubicBezTo>
                        <a:pt x="104230" y="98208"/>
                        <a:pt x="103846" y="97917"/>
                        <a:pt x="103846" y="97917"/>
                      </a:cubicBezTo>
                      <a:cubicBezTo>
                        <a:pt x="101538" y="97917"/>
                        <a:pt x="101538" y="97917"/>
                        <a:pt x="101538" y="97917"/>
                      </a:cubicBezTo>
                      <a:cubicBezTo>
                        <a:pt x="101538" y="97917"/>
                        <a:pt x="101538" y="98498"/>
                        <a:pt x="101538" y="98789"/>
                      </a:cubicBezTo>
                      <a:cubicBezTo>
                        <a:pt x="101153" y="99370"/>
                        <a:pt x="101153" y="99370"/>
                        <a:pt x="101153" y="99370"/>
                      </a:cubicBezTo>
                      <a:cubicBezTo>
                        <a:pt x="101153" y="100823"/>
                        <a:pt x="101153" y="100823"/>
                        <a:pt x="101153" y="100823"/>
                      </a:cubicBezTo>
                      <a:cubicBezTo>
                        <a:pt x="99230" y="102276"/>
                        <a:pt x="99230" y="102276"/>
                        <a:pt x="99230" y="102276"/>
                      </a:cubicBezTo>
                      <a:cubicBezTo>
                        <a:pt x="98846" y="102276"/>
                        <a:pt x="98846" y="102276"/>
                        <a:pt x="98846" y="102276"/>
                      </a:cubicBezTo>
                      <a:cubicBezTo>
                        <a:pt x="98846" y="102276"/>
                        <a:pt x="98461" y="102566"/>
                        <a:pt x="98461" y="102566"/>
                      </a:cubicBezTo>
                      <a:cubicBezTo>
                        <a:pt x="98461" y="102566"/>
                        <a:pt x="96538" y="103147"/>
                        <a:pt x="96538" y="103147"/>
                      </a:cubicBezTo>
                      <a:cubicBezTo>
                        <a:pt x="95769" y="103728"/>
                        <a:pt x="95769" y="103728"/>
                        <a:pt x="95769" y="103728"/>
                      </a:cubicBezTo>
                      <a:cubicBezTo>
                        <a:pt x="95384" y="103728"/>
                        <a:pt x="95384" y="103728"/>
                        <a:pt x="95384" y="103728"/>
                      </a:cubicBezTo>
                      <a:cubicBezTo>
                        <a:pt x="95384" y="103728"/>
                        <a:pt x="94230" y="104309"/>
                        <a:pt x="93461" y="104891"/>
                      </a:cubicBezTo>
                      <a:cubicBezTo>
                        <a:pt x="92307" y="105472"/>
                        <a:pt x="92307" y="105472"/>
                        <a:pt x="92307" y="105472"/>
                      </a:cubicBezTo>
                      <a:cubicBezTo>
                        <a:pt x="92307" y="105472"/>
                        <a:pt x="92307" y="105472"/>
                        <a:pt x="92307" y="105472"/>
                      </a:cubicBezTo>
                      <a:cubicBezTo>
                        <a:pt x="92307" y="105472"/>
                        <a:pt x="92307" y="105472"/>
                        <a:pt x="92307" y="105472"/>
                      </a:cubicBezTo>
                      <a:cubicBezTo>
                        <a:pt x="93076" y="106924"/>
                        <a:pt x="93076" y="106924"/>
                        <a:pt x="93076" y="106924"/>
                      </a:cubicBezTo>
                      <a:cubicBezTo>
                        <a:pt x="94230" y="107796"/>
                        <a:pt x="94230" y="107796"/>
                        <a:pt x="94230" y="107796"/>
                      </a:cubicBezTo>
                      <a:cubicBezTo>
                        <a:pt x="95384" y="109249"/>
                        <a:pt x="95384" y="109249"/>
                        <a:pt x="95384" y="109249"/>
                      </a:cubicBezTo>
                      <a:cubicBezTo>
                        <a:pt x="95384" y="110121"/>
                        <a:pt x="95384" y="110121"/>
                        <a:pt x="95384" y="110121"/>
                      </a:cubicBezTo>
                      <a:cubicBezTo>
                        <a:pt x="95384" y="110121"/>
                        <a:pt x="94615" y="110702"/>
                        <a:pt x="94615" y="110702"/>
                      </a:cubicBezTo>
                      <a:cubicBezTo>
                        <a:pt x="94615" y="110992"/>
                        <a:pt x="94230" y="111573"/>
                        <a:pt x="94615" y="111573"/>
                      </a:cubicBezTo>
                      <a:cubicBezTo>
                        <a:pt x="95000" y="111573"/>
                        <a:pt x="96538" y="111864"/>
                        <a:pt x="96538" y="111864"/>
                      </a:cubicBezTo>
                      <a:cubicBezTo>
                        <a:pt x="96538" y="111864"/>
                        <a:pt x="96923" y="111864"/>
                        <a:pt x="96923" y="111864"/>
                      </a:cubicBezTo>
                      <a:cubicBezTo>
                        <a:pt x="97307" y="111864"/>
                        <a:pt x="97307" y="112154"/>
                        <a:pt x="97307" y="112154"/>
                      </a:cubicBezTo>
                      <a:cubicBezTo>
                        <a:pt x="97307" y="113317"/>
                        <a:pt x="97307" y="113317"/>
                        <a:pt x="97307" y="113317"/>
                      </a:cubicBezTo>
                      <a:cubicBezTo>
                        <a:pt x="97307" y="113317"/>
                        <a:pt x="97307" y="113607"/>
                        <a:pt x="97307" y="114769"/>
                      </a:cubicBezTo>
                      <a:cubicBezTo>
                        <a:pt x="97307" y="115932"/>
                        <a:pt x="96923" y="115641"/>
                        <a:pt x="96923" y="115641"/>
                      </a:cubicBezTo>
                      <a:cubicBezTo>
                        <a:pt x="96923" y="115641"/>
                        <a:pt x="95000" y="115060"/>
                        <a:pt x="95000" y="115060"/>
                      </a:cubicBezTo>
                      <a:cubicBezTo>
                        <a:pt x="95000" y="115060"/>
                        <a:pt x="94230" y="114479"/>
                        <a:pt x="94230" y="114479"/>
                      </a:cubicBezTo>
                      <a:cubicBezTo>
                        <a:pt x="93846" y="114188"/>
                        <a:pt x="93846" y="113898"/>
                        <a:pt x="93846" y="113607"/>
                      </a:cubicBezTo>
                      <a:cubicBezTo>
                        <a:pt x="93846" y="113317"/>
                        <a:pt x="94230" y="112736"/>
                        <a:pt x="94230" y="112736"/>
                      </a:cubicBezTo>
                      <a:cubicBezTo>
                        <a:pt x="94230" y="112736"/>
                        <a:pt x="92692" y="112445"/>
                        <a:pt x="92692" y="112445"/>
                      </a:cubicBezTo>
                      <a:cubicBezTo>
                        <a:pt x="92692" y="112445"/>
                        <a:pt x="91538" y="112445"/>
                        <a:pt x="91153" y="112445"/>
                      </a:cubicBezTo>
                      <a:cubicBezTo>
                        <a:pt x="90769" y="112445"/>
                        <a:pt x="90384" y="113026"/>
                        <a:pt x="90384" y="113026"/>
                      </a:cubicBezTo>
                      <a:cubicBezTo>
                        <a:pt x="90000" y="113317"/>
                        <a:pt x="89615" y="113026"/>
                        <a:pt x="89230" y="113026"/>
                      </a:cubicBezTo>
                      <a:cubicBezTo>
                        <a:pt x="89230" y="113026"/>
                        <a:pt x="88846" y="112445"/>
                        <a:pt x="88846" y="112445"/>
                      </a:cubicBezTo>
                      <a:cubicBezTo>
                        <a:pt x="88461" y="112445"/>
                        <a:pt x="86923" y="112154"/>
                        <a:pt x="86538" y="112154"/>
                      </a:cubicBezTo>
                      <a:cubicBezTo>
                        <a:pt x="86538" y="112154"/>
                        <a:pt x="85769" y="112154"/>
                        <a:pt x="85000" y="112154"/>
                      </a:cubicBezTo>
                      <a:cubicBezTo>
                        <a:pt x="84615" y="112445"/>
                        <a:pt x="85000" y="112445"/>
                        <a:pt x="85384" y="113317"/>
                      </a:cubicBezTo>
                      <a:cubicBezTo>
                        <a:pt x="85384" y="114188"/>
                        <a:pt x="85000" y="113607"/>
                        <a:pt x="84615" y="113607"/>
                      </a:cubicBezTo>
                      <a:cubicBezTo>
                        <a:pt x="84230" y="113607"/>
                        <a:pt x="84230" y="113607"/>
                        <a:pt x="83461" y="113607"/>
                      </a:cubicBezTo>
                      <a:cubicBezTo>
                        <a:pt x="82692" y="113607"/>
                        <a:pt x="82307" y="113607"/>
                        <a:pt x="81538" y="113607"/>
                      </a:cubicBezTo>
                      <a:cubicBezTo>
                        <a:pt x="81153" y="113898"/>
                        <a:pt x="81153" y="113898"/>
                        <a:pt x="81153" y="114188"/>
                      </a:cubicBezTo>
                      <a:cubicBezTo>
                        <a:pt x="80769" y="114479"/>
                        <a:pt x="80000" y="114479"/>
                        <a:pt x="79615" y="114479"/>
                      </a:cubicBezTo>
                      <a:cubicBezTo>
                        <a:pt x="79230" y="114479"/>
                        <a:pt x="77692" y="114479"/>
                        <a:pt x="77692" y="114479"/>
                      </a:cubicBezTo>
                      <a:cubicBezTo>
                        <a:pt x="77307" y="114479"/>
                        <a:pt x="76923" y="115060"/>
                        <a:pt x="76538" y="115351"/>
                      </a:cubicBezTo>
                      <a:cubicBezTo>
                        <a:pt x="76538" y="115351"/>
                        <a:pt x="75000" y="115351"/>
                        <a:pt x="75000" y="115351"/>
                      </a:cubicBezTo>
                      <a:cubicBezTo>
                        <a:pt x="74615" y="115641"/>
                        <a:pt x="74615" y="115641"/>
                        <a:pt x="74230" y="115932"/>
                      </a:cubicBezTo>
                      <a:cubicBezTo>
                        <a:pt x="73461" y="116222"/>
                        <a:pt x="73461" y="116222"/>
                        <a:pt x="73076" y="116803"/>
                      </a:cubicBezTo>
                      <a:cubicBezTo>
                        <a:pt x="72307" y="117384"/>
                        <a:pt x="72692" y="117094"/>
                        <a:pt x="71153" y="116803"/>
                      </a:cubicBezTo>
                      <a:cubicBezTo>
                        <a:pt x="70000" y="116803"/>
                        <a:pt x="70769" y="117094"/>
                        <a:pt x="70384" y="117094"/>
                      </a:cubicBezTo>
                      <a:cubicBezTo>
                        <a:pt x="70000" y="117094"/>
                        <a:pt x="69615" y="117384"/>
                        <a:pt x="69230" y="117675"/>
                      </a:cubicBezTo>
                      <a:cubicBezTo>
                        <a:pt x="69230" y="117966"/>
                        <a:pt x="68461" y="117384"/>
                        <a:pt x="68076" y="117384"/>
                      </a:cubicBezTo>
                      <a:cubicBezTo>
                        <a:pt x="67692" y="117675"/>
                        <a:pt x="67692" y="117094"/>
                        <a:pt x="67692" y="116222"/>
                      </a:cubicBezTo>
                      <a:cubicBezTo>
                        <a:pt x="67307" y="115641"/>
                        <a:pt x="66538" y="115641"/>
                        <a:pt x="66538" y="115641"/>
                      </a:cubicBezTo>
                      <a:cubicBezTo>
                        <a:pt x="66538" y="115641"/>
                        <a:pt x="65769" y="115641"/>
                        <a:pt x="65769" y="115351"/>
                      </a:cubicBezTo>
                      <a:cubicBezTo>
                        <a:pt x="65769" y="115060"/>
                        <a:pt x="64230" y="115060"/>
                        <a:pt x="63846" y="115060"/>
                      </a:cubicBezTo>
                      <a:cubicBezTo>
                        <a:pt x="63846" y="115060"/>
                        <a:pt x="62692" y="115060"/>
                        <a:pt x="62692" y="115060"/>
                      </a:cubicBezTo>
                      <a:cubicBezTo>
                        <a:pt x="62692" y="115060"/>
                        <a:pt x="61538" y="115060"/>
                        <a:pt x="61538" y="115351"/>
                      </a:cubicBezTo>
                      <a:cubicBezTo>
                        <a:pt x="61538" y="115351"/>
                        <a:pt x="61153" y="115351"/>
                        <a:pt x="60384" y="115641"/>
                      </a:cubicBezTo>
                      <a:cubicBezTo>
                        <a:pt x="59230" y="115932"/>
                        <a:pt x="60000" y="115641"/>
                        <a:pt x="60000" y="116222"/>
                      </a:cubicBezTo>
                      <a:cubicBezTo>
                        <a:pt x="60384" y="116513"/>
                        <a:pt x="60384" y="116803"/>
                        <a:pt x="60384" y="116803"/>
                      </a:cubicBezTo>
                      <a:cubicBezTo>
                        <a:pt x="60769" y="117094"/>
                        <a:pt x="60384" y="116803"/>
                        <a:pt x="60384" y="117384"/>
                      </a:cubicBezTo>
                      <a:cubicBezTo>
                        <a:pt x="60000" y="117966"/>
                        <a:pt x="60000" y="117675"/>
                        <a:pt x="60000" y="118256"/>
                      </a:cubicBezTo>
                      <a:cubicBezTo>
                        <a:pt x="59615" y="118547"/>
                        <a:pt x="59615" y="118256"/>
                        <a:pt x="59230" y="119128"/>
                      </a:cubicBezTo>
                      <a:cubicBezTo>
                        <a:pt x="58846" y="119709"/>
                        <a:pt x="59230" y="119128"/>
                        <a:pt x="58846" y="119709"/>
                      </a:cubicBezTo>
                      <a:cubicBezTo>
                        <a:pt x="58461" y="120000"/>
                        <a:pt x="57692" y="119709"/>
                        <a:pt x="56923" y="119418"/>
                      </a:cubicBezTo>
                      <a:cubicBezTo>
                        <a:pt x="56538" y="119418"/>
                        <a:pt x="56923" y="119128"/>
                        <a:pt x="56923" y="118547"/>
                      </a:cubicBezTo>
                      <a:cubicBezTo>
                        <a:pt x="57307" y="117966"/>
                        <a:pt x="56923" y="118256"/>
                        <a:pt x="56923" y="117966"/>
                      </a:cubicBezTo>
                      <a:cubicBezTo>
                        <a:pt x="56923" y="117675"/>
                        <a:pt x="56538" y="117966"/>
                        <a:pt x="55769" y="118256"/>
                      </a:cubicBezTo>
                      <a:cubicBezTo>
                        <a:pt x="55384" y="118256"/>
                        <a:pt x="55384" y="117675"/>
                        <a:pt x="55769" y="117094"/>
                      </a:cubicBezTo>
                      <a:cubicBezTo>
                        <a:pt x="55769" y="116513"/>
                        <a:pt x="55384" y="116803"/>
                        <a:pt x="55384" y="116513"/>
                      </a:cubicBezTo>
                      <a:cubicBezTo>
                        <a:pt x="55384" y="116513"/>
                        <a:pt x="55000" y="116222"/>
                        <a:pt x="54615" y="116222"/>
                      </a:cubicBezTo>
                      <a:cubicBezTo>
                        <a:pt x="54230" y="116222"/>
                        <a:pt x="53846" y="115932"/>
                        <a:pt x="53846" y="115932"/>
                      </a:cubicBezTo>
                      <a:cubicBezTo>
                        <a:pt x="53461" y="115641"/>
                        <a:pt x="52692" y="115060"/>
                        <a:pt x="52307" y="114769"/>
                      </a:cubicBezTo>
                      <a:cubicBezTo>
                        <a:pt x="51538" y="114479"/>
                        <a:pt x="50769" y="114769"/>
                        <a:pt x="50769" y="114769"/>
                      </a:cubicBezTo>
                      <a:cubicBezTo>
                        <a:pt x="50769" y="114769"/>
                        <a:pt x="50000" y="115351"/>
                        <a:pt x="49230" y="115932"/>
                      </a:cubicBezTo>
                      <a:cubicBezTo>
                        <a:pt x="49230" y="115932"/>
                        <a:pt x="49230" y="116222"/>
                        <a:pt x="49230" y="116222"/>
                      </a:cubicBezTo>
                      <a:cubicBezTo>
                        <a:pt x="48846" y="116222"/>
                        <a:pt x="48846" y="116222"/>
                        <a:pt x="48846" y="115932"/>
                      </a:cubicBezTo>
                      <a:cubicBezTo>
                        <a:pt x="48846" y="115932"/>
                        <a:pt x="48461" y="115641"/>
                        <a:pt x="48461" y="115641"/>
                      </a:cubicBezTo>
                      <a:cubicBezTo>
                        <a:pt x="48461" y="115641"/>
                        <a:pt x="48461" y="115060"/>
                        <a:pt x="48076" y="115060"/>
                      </a:cubicBezTo>
                      <a:cubicBezTo>
                        <a:pt x="48076" y="115060"/>
                        <a:pt x="47692" y="115060"/>
                        <a:pt x="47307" y="114769"/>
                      </a:cubicBezTo>
                      <a:cubicBezTo>
                        <a:pt x="46923" y="114769"/>
                        <a:pt x="46538" y="114479"/>
                        <a:pt x="46538" y="114479"/>
                      </a:cubicBezTo>
                      <a:cubicBezTo>
                        <a:pt x="46153" y="114479"/>
                        <a:pt x="45384" y="113898"/>
                        <a:pt x="45384" y="113898"/>
                      </a:cubicBezTo>
                      <a:cubicBezTo>
                        <a:pt x="45384" y="113898"/>
                        <a:pt x="45384" y="113898"/>
                        <a:pt x="45000" y="113898"/>
                      </a:cubicBezTo>
                      <a:cubicBezTo>
                        <a:pt x="45000" y="113898"/>
                        <a:pt x="44615" y="113607"/>
                        <a:pt x="44615" y="113607"/>
                      </a:cubicBezTo>
                      <a:cubicBezTo>
                        <a:pt x="44230" y="113607"/>
                        <a:pt x="44230" y="113607"/>
                        <a:pt x="44230" y="113607"/>
                      </a:cubicBezTo>
                      <a:cubicBezTo>
                        <a:pt x="44230" y="113607"/>
                        <a:pt x="44230" y="113607"/>
                        <a:pt x="44230" y="113607"/>
                      </a:cubicBezTo>
                      <a:cubicBezTo>
                        <a:pt x="43846" y="113607"/>
                        <a:pt x="43846" y="113607"/>
                        <a:pt x="43461" y="113317"/>
                      </a:cubicBezTo>
                      <a:cubicBezTo>
                        <a:pt x="42692" y="113317"/>
                        <a:pt x="43076" y="113317"/>
                        <a:pt x="42307" y="113317"/>
                      </a:cubicBezTo>
                      <a:cubicBezTo>
                        <a:pt x="41923" y="113317"/>
                        <a:pt x="41538" y="113317"/>
                        <a:pt x="41538" y="113317"/>
                      </a:cubicBezTo>
                      <a:cubicBezTo>
                        <a:pt x="41538" y="113317"/>
                        <a:pt x="41153" y="113026"/>
                        <a:pt x="40384" y="113026"/>
                      </a:cubicBezTo>
                      <a:cubicBezTo>
                        <a:pt x="40000" y="113317"/>
                        <a:pt x="39230" y="113607"/>
                        <a:pt x="38846" y="113607"/>
                      </a:cubicBezTo>
                      <a:cubicBezTo>
                        <a:pt x="38846" y="113607"/>
                        <a:pt x="38461" y="113317"/>
                        <a:pt x="38461" y="113317"/>
                      </a:cubicBezTo>
                      <a:cubicBezTo>
                        <a:pt x="38461" y="113317"/>
                        <a:pt x="38461" y="113026"/>
                        <a:pt x="38461" y="113026"/>
                      </a:cubicBezTo>
                      <a:cubicBezTo>
                        <a:pt x="38461" y="113026"/>
                        <a:pt x="38076" y="112736"/>
                        <a:pt x="37692" y="112445"/>
                      </a:cubicBezTo>
                      <a:cubicBezTo>
                        <a:pt x="37692" y="112445"/>
                        <a:pt x="37307" y="112445"/>
                        <a:pt x="37307" y="112445"/>
                      </a:cubicBezTo>
                      <a:cubicBezTo>
                        <a:pt x="37307" y="112445"/>
                        <a:pt x="37307" y="112445"/>
                        <a:pt x="37307" y="112736"/>
                      </a:cubicBezTo>
                      <a:cubicBezTo>
                        <a:pt x="37307" y="113026"/>
                        <a:pt x="38076" y="113026"/>
                        <a:pt x="37307" y="113026"/>
                      </a:cubicBezTo>
                      <a:cubicBezTo>
                        <a:pt x="36923" y="112736"/>
                        <a:pt x="36538" y="112736"/>
                        <a:pt x="36538" y="112736"/>
                      </a:cubicBezTo>
                      <a:cubicBezTo>
                        <a:pt x="35384" y="113026"/>
                        <a:pt x="35384" y="113026"/>
                        <a:pt x="35384" y="113026"/>
                      </a:cubicBezTo>
                      <a:cubicBezTo>
                        <a:pt x="35769" y="112736"/>
                        <a:pt x="35769" y="112736"/>
                        <a:pt x="35769" y="112736"/>
                      </a:cubicBezTo>
                      <a:cubicBezTo>
                        <a:pt x="35769" y="112736"/>
                        <a:pt x="36153" y="112736"/>
                        <a:pt x="36153" y="112736"/>
                      </a:cubicBezTo>
                      <a:cubicBezTo>
                        <a:pt x="36153" y="112445"/>
                        <a:pt x="36153" y="112445"/>
                        <a:pt x="36153" y="112445"/>
                      </a:cubicBezTo>
                      <a:cubicBezTo>
                        <a:pt x="36153" y="112445"/>
                        <a:pt x="36153" y="112154"/>
                        <a:pt x="36153" y="112154"/>
                      </a:cubicBezTo>
                      <a:cubicBezTo>
                        <a:pt x="36538" y="112154"/>
                        <a:pt x="36923" y="111864"/>
                        <a:pt x="36538" y="111864"/>
                      </a:cubicBezTo>
                      <a:cubicBezTo>
                        <a:pt x="36153" y="111864"/>
                        <a:pt x="35769" y="111864"/>
                        <a:pt x="35769" y="111864"/>
                      </a:cubicBezTo>
                      <a:cubicBezTo>
                        <a:pt x="35769" y="111573"/>
                        <a:pt x="35769" y="111573"/>
                        <a:pt x="35769" y="111573"/>
                      </a:cubicBezTo>
                      <a:cubicBezTo>
                        <a:pt x="35769" y="111573"/>
                        <a:pt x="35384" y="111283"/>
                        <a:pt x="35384" y="111283"/>
                      </a:cubicBezTo>
                      <a:cubicBezTo>
                        <a:pt x="35384" y="111573"/>
                        <a:pt x="35384" y="111864"/>
                        <a:pt x="35384" y="111864"/>
                      </a:cubicBezTo>
                      <a:cubicBezTo>
                        <a:pt x="35000" y="111864"/>
                        <a:pt x="35000" y="111864"/>
                        <a:pt x="35000" y="111573"/>
                      </a:cubicBezTo>
                      <a:cubicBezTo>
                        <a:pt x="35000" y="111283"/>
                        <a:pt x="35000" y="111283"/>
                        <a:pt x="35000" y="111283"/>
                      </a:cubicBezTo>
                      <a:cubicBezTo>
                        <a:pt x="34615" y="111283"/>
                        <a:pt x="34230" y="111283"/>
                        <a:pt x="34230" y="111283"/>
                      </a:cubicBezTo>
                      <a:cubicBezTo>
                        <a:pt x="34230" y="111283"/>
                        <a:pt x="34615" y="111573"/>
                        <a:pt x="33846" y="111573"/>
                      </a:cubicBezTo>
                      <a:cubicBezTo>
                        <a:pt x="33461" y="111573"/>
                        <a:pt x="33076" y="111864"/>
                        <a:pt x="32692" y="111864"/>
                      </a:cubicBezTo>
                      <a:cubicBezTo>
                        <a:pt x="32307" y="112154"/>
                        <a:pt x="32307" y="112445"/>
                        <a:pt x="32307" y="112445"/>
                      </a:cubicBezTo>
                      <a:cubicBezTo>
                        <a:pt x="32307" y="112736"/>
                        <a:pt x="31538" y="112736"/>
                        <a:pt x="31538" y="113026"/>
                      </a:cubicBezTo>
                      <a:cubicBezTo>
                        <a:pt x="31923" y="113026"/>
                        <a:pt x="31538" y="113026"/>
                        <a:pt x="32307" y="113317"/>
                      </a:cubicBezTo>
                      <a:cubicBezTo>
                        <a:pt x="32692" y="113317"/>
                        <a:pt x="32692" y="113317"/>
                        <a:pt x="33076" y="113317"/>
                      </a:cubicBezTo>
                      <a:cubicBezTo>
                        <a:pt x="33461" y="113607"/>
                        <a:pt x="33846" y="113317"/>
                        <a:pt x="33846" y="113317"/>
                      </a:cubicBezTo>
                      <a:cubicBezTo>
                        <a:pt x="33846" y="113317"/>
                        <a:pt x="33846" y="113317"/>
                        <a:pt x="34230" y="113607"/>
                      </a:cubicBezTo>
                      <a:cubicBezTo>
                        <a:pt x="34230" y="113607"/>
                        <a:pt x="34615" y="113317"/>
                        <a:pt x="34615" y="113607"/>
                      </a:cubicBezTo>
                      <a:cubicBezTo>
                        <a:pt x="34615" y="113898"/>
                        <a:pt x="35000" y="114188"/>
                        <a:pt x="34615" y="114188"/>
                      </a:cubicBezTo>
                      <a:cubicBezTo>
                        <a:pt x="34230" y="114188"/>
                        <a:pt x="33846" y="114479"/>
                        <a:pt x="33846" y="114188"/>
                      </a:cubicBezTo>
                      <a:cubicBezTo>
                        <a:pt x="33846" y="114188"/>
                        <a:pt x="33846" y="113898"/>
                        <a:pt x="33461" y="113898"/>
                      </a:cubicBezTo>
                      <a:cubicBezTo>
                        <a:pt x="33461" y="113898"/>
                        <a:pt x="33076" y="113898"/>
                        <a:pt x="33076" y="113898"/>
                      </a:cubicBezTo>
                      <a:cubicBezTo>
                        <a:pt x="32692" y="114479"/>
                        <a:pt x="32692" y="114479"/>
                        <a:pt x="32692" y="114479"/>
                      </a:cubicBezTo>
                      <a:cubicBezTo>
                        <a:pt x="32692" y="114479"/>
                        <a:pt x="32692" y="114769"/>
                        <a:pt x="32307" y="114769"/>
                      </a:cubicBezTo>
                      <a:cubicBezTo>
                        <a:pt x="31923" y="114769"/>
                        <a:pt x="32307" y="114769"/>
                        <a:pt x="31538" y="114769"/>
                      </a:cubicBezTo>
                      <a:cubicBezTo>
                        <a:pt x="30769" y="114769"/>
                        <a:pt x="30769" y="114479"/>
                        <a:pt x="30384" y="114479"/>
                      </a:cubicBezTo>
                      <a:cubicBezTo>
                        <a:pt x="30384" y="114479"/>
                        <a:pt x="30384" y="114479"/>
                        <a:pt x="30000" y="114479"/>
                      </a:cubicBezTo>
                      <a:cubicBezTo>
                        <a:pt x="30000" y="114479"/>
                        <a:pt x="29230" y="113898"/>
                        <a:pt x="28846" y="114479"/>
                      </a:cubicBezTo>
                      <a:cubicBezTo>
                        <a:pt x="28461" y="114769"/>
                        <a:pt x="28076" y="115060"/>
                        <a:pt x="28076" y="115060"/>
                      </a:cubicBezTo>
                      <a:cubicBezTo>
                        <a:pt x="26923" y="115060"/>
                        <a:pt x="26923" y="115060"/>
                        <a:pt x="26923" y="115060"/>
                      </a:cubicBezTo>
                      <a:cubicBezTo>
                        <a:pt x="26923" y="115060"/>
                        <a:pt x="26538" y="115060"/>
                        <a:pt x="26153" y="115060"/>
                      </a:cubicBezTo>
                      <a:cubicBezTo>
                        <a:pt x="25769" y="115060"/>
                        <a:pt x="25384" y="115060"/>
                        <a:pt x="25384" y="115060"/>
                      </a:cubicBezTo>
                      <a:cubicBezTo>
                        <a:pt x="25000" y="115351"/>
                        <a:pt x="24615" y="114479"/>
                        <a:pt x="24615" y="114479"/>
                      </a:cubicBezTo>
                      <a:cubicBezTo>
                        <a:pt x="24615" y="114479"/>
                        <a:pt x="25000" y="113898"/>
                        <a:pt x="23846" y="114479"/>
                      </a:cubicBezTo>
                      <a:cubicBezTo>
                        <a:pt x="22692" y="115060"/>
                        <a:pt x="22307" y="115060"/>
                        <a:pt x="22307" y="115060"/>
                      </a:cubicBezTo>
                      <a:cubicBezTo>
                        <a:pt x="22307" y="115060"/>
                        <a:pt x="21923" y="115060"/>
                        <a:pt x="21923" y="115351"/>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538" y="115060"/>
                        <a:pt x="21538" y="115060"/>
                        <a:pt x="21538" y="114769"/>
                      </a:cubicBezTo>
                      <a:cubicBezTo>
                        <a:pt x="21538" y="114769"/>
                        <a:pt x="21538" y="114769"/>
                        <a:pt x="21538" y="114769"/>
                      </a:cubicBezTo>
                      <a:cubicBezTo>
                        <a:pt x="21538" y="114769"/>
                        <a:pt x="21153" y="114769"/>
                        <a:pt x="21153" y="114479"/>
                      </a:cubicBezTo>
                      <a:cubicBezTo>
                        <a:pt x="20384" y="113898"/>
                        <a:pt x="19230" y="112736"/>
                        <a:pt x="19230" y="112736"/>
                      </a:cubicBezTo>
                      <a:cubicBezTo>
                        <a:pt x="20000" y="111573"/>
                        <a:pt x="20000" y="111573"/>
                        <a:pt x="20000" y="111573"/>
                      </a:cubicBezTo>
                      <a:cubicBezTo>
                        <a:pt x="20000" y="111573"/>
                        <a:pt x="20384" y="109539"/>
                        <a:pt x="20384" y="108958"/>
                      </a:cubicBezTo>
                      <a:cubicBezTo>
                        <a:pt x="20384" y="108668"/>
                        <a:pt x="20384" y="106924"/>
                        <a:pt x="20384" y="106924"/>
                      </a:cubicBezTo>
                      <a:cubicBezTo>
                        <a:pt x="20384" y="106924"/>
                        <a:pt x="18846" y="106634"/>
                        <a:pt x="20000" y="105762"/>
                      </a:cubicBezTo>
                      <a:cubicBezTo>
                        <a:pt x="21153" y="104600"/>
                        <a:pt x="22307" y="103147"/>
                        <a:pt x="22307" y="103147"/>
                      </a:cubicBezTo>
                      <a:cubicBezTo>
                        <a:pt x="22307" y="100242"/>
                        <a:pt x="22307" y="100242"/>
                        <a:pt x="22307" y="100242"/>
                      </a:cubicBezTo>
                      <a:cubicBezTo>
                        <a:pt x="22307" y="100242"/>
                        <a:pt x="21153" y="99370"/>
                        <a:pt x="22692" y="98789"/>
                      </a:cubicBezTo>
                      <a:cubicBezTo>
                        <a:pt x="24230" y="97917"/>
                        <a:pt x="26923" y="95302"/>
                        <a:pt x="26923" y="95302"/>
                      </a:cubicBezTo>
                      <a:cubicBezTo>
                        <a:pt x="29615" y="92978"/>
                        <a:pt x="29615" y="92978"/>
                        <a:pt x="29615" y="92978"/>
                      </a:cubicBezTo>
                      <a:cubicBezTo>
                        <a:pt x="25000" y="92106"/>
                        <a:pt x="25000" y="92106"/>
                        <a:pt x="25000" y="92106"/>
                      </a:cubicBezTo>
                      <a:cubicBezTo>
                        <a:pt x="22307" y="91815"/>
                        <a:pt x="22307" y="91815"/>
                        <a:pt x="22307" y="91815"/>
                      </a:cubicBezTo>
                      <a:cubicBezTo>
                        <a:pt x="20384" y="90944"/>
                        <a:pt x="20384" y="90944"/>
                        <a:pt x="20384" y="90944"/>
                      </a:cubicBezTo>
                      <a:cubicBezTo>
                        <a:pt x="19230" y="89491"/>
                        <a:pt x="19230" y="89491"/>
                        <a:pt x="19230" y="89491"/>
                      </a:cubicBezTo>
                      <a:cubicBezTo>
                        <a:pt x="18076" y="90072"/>
                        <a:pt x="18076" y="90072"/>
                        <a:pt x="18076" y="90072"/>
                      </a:cubicBezTo>
                      <a:cubicBezTo>
                        <a:pt x="16923" y="90653"/>
                        <a:pt x="16923" y="90653"/>
                        <a:pt x="16923" y="90653"/>
                      </a:cubicBezTo>
                      <a:cubicBezTo>
                        <a:pt x="14230" y="90363"/>
                        <a:pt x="14230" y="90363"/>
                        <a:pt x="14230" y="90363"/>
                      </a:cubicBezTo>
                      <a:cubicBezTo>
                        <a:pt x="12307" y="88910"/>
                        <a:pt x="12307" y="88910"/>
                        <a:pt x="12307" y="88910"/>
                      </a:cubicBezTo>
                      <a:cubicBezTo>
                        <a:pt x="10769" y="89782"/>
                        <a:pt x="10769" y="89782"/>
                        <a:pt x="10769" y="89782"/>
                      </a:cubicBezTo>
                      <a:cubicBezTo>
                        <a:pt x="9230" y="88910"/>
                        <a:pt x="9230" y="88910"/>
                        <a:pt x="9230" y="88910"/>
                      </a:cubicBezTo>
                      <a:cubicBezTo>
                        <a:pt x="8076" y="87457"/>
                        <a:pt x="8076" y="87457"/>
                        <a:pt x="8076" y="87457"/>
                      </a:cubicBezTo>
                      <a:cubicBezTo>
                        <a:pt x="7692" y="86295"/>
                        <a:pt x="7692" y="86295"/>
                        <a:pt x="7692" y="86295"/>
                      </a:cubicBezTo>
                      <a:cubicBezTo>
                        <a:pt x="5769" y="84842"/>
                        <a:pt x="5769" y="84842"/>
                        <a:pt x="5769" y="84842"/>
                      </a:cubicBezTo>
                      <a:cubicBezTo>
                        <a:pt x="5000" y="84842"/>
                        <a:pt x="5000" y="84842"/>
                        <a:pt x="5000" y="84842"/>
                      </a:cubicBezTo>
                      <a:cubicBezTo>
                        <a:pt x="5000" y="84552"/>
                        <a:pt x="5000" y="84552"/>
                        <a:pt x="5000" y="84552"/>
                      </a:cubicBezTo>
                      <a:cubicBezTo>
                        <a:pt x="4615" y="82808"/>
                        <a:pt x="4615" y="82808"/>
                        <a:pt x="4615" y="82808"/>
                      </a:cubicBezTo>
                      <a:cubicBezTo>
                        <a:pt x="5769" y="82227"/>
                        <a:pt x="5769" y="82227"/>
                        <a:pt x="5769" y="82227"/>
                      </a:cubicBezTo>
                      <a:cubicBezTo>
                        <a:pt x="6538" y="81355"/>
                        <a:pt x="6538" y="81355"/>
                        <a:pt x="6538" y="81355"/>
                      </a:cubicBezTo>
                      <a:cubicBezTo>
                        <a:pt x="7307" y="80484"/>
                        <a:pt x="7307" y="80484"/>
                        <a:pt x="7307" y="80484"/>
                      </a:cubicBezTo>
                      <a:cubicBezTo>
                        <a:pt x="6923" y="79322"/>
                        <a:pt x="6923" y="79322"/>
                        <a:pt x="6923" y="79322"/>
                      </a:cubicBezTo>
                      <a:cubicBezTo>
                        <a:pt x="6923" y="79322"/>
                        <a:pt x="5384" y="79322"/>
                        <a:pt x="5000" y="79031"/>
                      </a:cubicBezTo>
                      <a:cubicBezTo>
                        <a:pt x="4615" y="79031"/>
                        <a:pt x="3461" y="78450"/>
                        <a:pt x="3461" y="78450"/>
                      </a:cubicBezTo>
                      <a:cubicBezTo>
                        <a:pt x="3076" y="76997"/>
                        <a:pt x="3076" y="76997"/>
                        <a:pt x="3076" y="76997"/>
                      </a:cubicBezTo>
                      <a:cubicBezTo>
                        <a:pt x="2307" y="76125"/>
                        <a:pt x="2307" y="76125"/>
                        <a:pt x="2307" y="76125"/>
                      </a:cubicBezTo>
                      <a:cubicBezTo>
                        <a:pt x="1923" y="74673"/>
                        <a:pt x="1923" y="74673"/>
                        <a:pt x="1923" y="74673"/>
                      </a:cubicBezTo>
                      <a:cubicBezTo>
                        <a:pt x="2307" y="73220"/>
                        <a:pt x="2307" y="73220"/>
                        <a:pt x="2307" y="73220"/>
                      </a:cubicBezTo>
                      <a:cubicBezTo>
                        <a:pt x="2307" y="73220"/>
                        <a:pt x="2307" y="73220"/>
                        <a:pt x="2307" y="73220"/>
                      </a:cubicBezTo>
                      <a:cubicBezTo>
                        <a:pt x="2307" y="73220"/>
                        <a:pt x="2307" y="73220"/>
                        <a:pt x="2307" y="73220"/>
                      </a:cubicBezTo>
                      <a:cubicBezTo>
                        <a:pt x="2692" y="73220"/>
                        <a:pt x="2692" y="73220"/>
                        <a:pt x="2692" y="73220"/>
                      </a:cubicBezTo>
                      <a:cubicBezTo>
                        <a:pt x="3076" y="72639"/>
                        <a:pt x="3076" y="72639"/>
                        <a:pt x="3076" y="72639"/>
                      </a:cubicBezTo>
                      <a:cubicBezTo>
                        <a:pt x="3076" y="72348"/>
                        <a:pt x="3076" y="72348"/>
                        <a:pt x="3076" y="72348"/>
                      </a:cubicBezTo>
                      <a:cubicBezTo>
                        <a:pt x="3076" y="72348"/>
                        <a:pt x="3461" y="72058"/>
                        <a:pt x="3846" y="72058"/>
                      </a:cubicBezTo>
                      <a:cubicBezTo>
                        <a:pt x="3846" y="72058"/>
                        <a:pt x="4230" y="72058"/>
                        <a:pt x="4230" y="72058"/>
                      </a:cubicBezTo>
                      <a:cubicBezTo>
                        <a:pt x="4615" y="72058"/>
                        <a:pt x="4615" y="71186"/>
                        <a:pt x="4615" y="71186"/>
                      </a:cubicBezTo>
                      <a:cubicBezTo>
                        <a:pt x="5384" y="71186"/>
                        <a:pt x="5384" y="71186"/>
                        <a:pt x="5384" y="71186"/>
                      </a:cubicBezTo>
                      <a:cubicBezTo>
                        <a:pt x="5384" y="71186"/>
                        <a:pt x="5769" y="70895"/>
                        <a:pt x="5769" y="70895"/>
                      </a:cubicBezTo>
                      <a:cubicBezTo>
                        <a:pt x="5769" y="70605"/>
                        <a:pt x="5769" y="70314"/>
                        <a:pt x="5769" y="70314"/>
                      </a:cubicBezTo>
                      <a:cubicBezTo>
                        <a:pt x="5769" y="70314"/>
                        <a:pt x="6153" y="69733"/>
                        <a:pt x="6153" y="69443"/>
                      </a:cubicBezTo>
                      <a:cubicBezTo>
                        <a:pt x="6153" y="69152"/>
                        <a:pt x="5769" y="68861"/>
                        <a:pt x="5769" y="68861"/>
                      </a:cubicBezTo>
                      <a:cubicBezTo>
                        <a:pt x="5769" y="68861"/>
                        <a:pt x="5384" y="68280"/>
                        <a:pt x="5000" y="68280"/>
                      </a:cubicBezTo>
                      <a:cubicBezTo>
                        <a:pt x="5000" y="68280"/>
                        <a:pt x="4230" y="68280"/>
                        <a:pt x="4230" y="68280"/>
                      </a:cubicBezTo>
                      <a:cubicBezTo>
                        <a:pt x="3846" y="68280"/>
                        <a:pt x="3461" y="67699"/>
                        <a:pt x="3461" y="67699"/>
                      </a:cubicBezTo>
                      <a:cubicBezTo>
                        <a:pt x="3461" y="67699"/>
                        <a:pt x="3846" y="67409"/>
                        <a:pt x="3846" y="67118"/>
                      </a:cubicBezTo>
                      <a:cubicBezTo>
                        <a:pt x="4230" y="67118"/>
                        <a:pt x="4230" y="66246"/>
                        <a:pt x="4230" y="66246"/>
                      </a:cubicBezTo>
                      <a:cubicBezTo>
                        <a:pt x="4230" y="66246"/>
                        <a:pt x="3846" y="65956"/>
                        <a:pt x="3461" y="65956"/>
                      </a:cubicBezTo>
                      <a:cubicBezTo>
                        <a:pt x="3461" y="65956"/>
                        <a:pt x="2692" y="65956"/>
                        <a:pt x="2692" y="65956"/>
                      </a:cubicBezTo>
                      <a:cubicBezTo>
                        <a:pt x="2692" y="65084"/>
                        <a:pt x="2692" y="65084"/>
                        <a:pt x="2692" y="65084"/>
                      </a:cubicBezTo>
                      <a:cubicBezTo>
                        <a:pt x="2692" y="65084"/>
                        <a:pt x="1923" y="64794"/>
                        <a:pt x="1538" y="64794"/>
                      </a:cubicBezTo>
                      <a:cubicBezTo>
                        <a:pt x="1538" y="64794"/>
                        <a:pt x="1538" y="64503"/>
                        <a:pt x="1153" y="64503"/>
                      </a:cubicBezTo>
                      <a:cubicBezTo>
                        <a:pt x="1538" y="64503"/>
                        <a:pt x="1538" y="64503"/>
                        <a:pt x="1538" y="64503"/>
                      </a:cubicBezTo>
                      <a:cubicBezTo>
                        <a:pt x="1538" y="64503"/>
                        <a:pt x="1538" y="64503"/>
                        <a:pt x="1538" y="64503"/>
                      </a:cubicBezTo>
                      <a:cubicBezTo>
                        <a:pt x="1538" y="64213"/>
                        <a:pt x="1153" y="63922"/>
                        <a:pt x="1153" y="63631"/>
                      </a:cubicBezTo>
                      <a:cubicBezTo>
                        <a:pt x="1153" y="63631"/>
                        <a:pt x="1538" y="63631"/>
                        <a:pt x="1538" y="63631"/>
                      </a:cubicBezTo>
                      <a:cubicBezTo>
                        <a:pt x="1538" y="63631"/>
                        <a:pt x="1538" y="63341"/>
                        <a:pt x="1923" y="63050"/>
                      </a:cubicBezTo>
                      <a:cubicBezTo>
                        <a:pt x="1923" y="63050"/>
                        <a:pt x="1923" y="63050"/>
                        <a:pt x="2307" y="63050"/>
                      </a:cubicBezTo>
                      <a:cubicBezTo>
                        <a:pt x="2307" y="63050"/>
                        <a:pt x="2307" y="62760"/>
                        <a:pt x="2692" y="62760"/>
                      </a:cubicBezTo>
                      <a:cubicBezTo>
                        <a:pt x="2692" y="62469"/>
                        <a:pt x="2692" y="61888"/>
                        <a:pt x="2692" y="61888"/>
                      </a:cubicBezTo>
                      <a:cubicBezTo>
                        <a:pt x="2692" y="61888"/>
                        <a:pt x="2692" y="61888"/>
                        <a:pt x="2307" y="61598"/>
                      </a:cubicBezTo>
                      <a:cubicBezTo>
                        <a:pt x="1923" y="61598"/>
                        <a:pt x="1923" y="61598"/>
                        <a:pt x="1923" y="61307"/>
                      </a:cubicBezTo>
                      <a:cubicBezTo>
                        <a:pt x="1538" y="61307"/>
                        <a:pt x="1923" y="61016"/>
                        <a:pt x="1923" y="61016"/>
                      </a:cubicBezTo>
                      <a:cubicBezTo>
                        <a:pt x="1923" y="61016"/>
                        <a:pt x="1153" y="60726"/>
                        <a:pt x="1153" y="60726"/>
                      </a:cubicBezTo>
                      <a:cubicBezTo>
                        <a:pt x="1153" y="60726"/>
                        <a:pt x="384" y="60726"/>
                        <a:pt x="384" y="60726"/>
                      </a:cubicBezTo>
                      <a:cubicBezTo>
                        <a:pt x="384" y="60726"/>
                        <a:pt x="384" y="60726"/>
                        <a:pt x="384" y="60726"/>
                      </a:cubicBezTo>
                      <a:cubicBezTo>
                        <a:pt x="384" y="60145"/>
                        <a:pt x="384" y="60145"/>
                        <a:pt x="384" y="60145"/>
                      </a:cubicBezTo>
                      <a:cubicBezTo>
                        <a:pt x="0" y="59564"/>
                        <a:pt x="0" y="59564"/>
                        <a:pt x="0" y="59564"/>
                      </a:cubicBezTo>
                      <a:cubicBezTo>
                        <a:pt x="384" y="59273"/>
                        <a:pt x="384" y="59273"/>
                        <a:pt x="384" y="59273"/>
                      </a:cubicBezTo>
                      <a:cubicBezTo>
                        <a:pt x="1153" y="59854"/>
                        <a:pt x="1153" y="59854"/>
                        <a:pt x="1153" y="59854"/>
                      </a:cubicBezTo>
                      <a:cubicBezTo>
                        <a:pt x="1153" y="59854"/>
                        <a:pt x="1153" y="59564"/>
                        <a:pt x="1153" y="59273"/>
                      </a:cubicBezTo>
                      <a:cubicBezTo>
                        <a:pt x="1538" y="59273"/>
                        <a:pt x="1923" y="58692"/>
                        <a:pt x="1923" y="58692"/>
                      </a:cubicBezTo>
                      <a:cubicBezTo>
                        <a:pt x="2692" y="58692"/>
                        <a:pt x="2692" y="58692"/>
                        <a:pt x="2692" y="58692"/>
                      </a:cubicBezTo>
                      <a:cubicBezTo>
                        <a:pt x="2692" y="58692"/>
                        <a:pt x="4230" y="58692"/>
                        <a:pt x="4230" y="58692"/>
                      </a:cubicBezTo>
                      <a:cubicBezTo>
                        <a:pt x="4615" y="58401"/>
                        <a:pt x="3846" y="57820"/>
                        <a:pt x="3846" y="57820"/>
                      </a:cubicBezTo>
                      <a:cubicBezTo>
                        <a:pt x="3846" y="57820"/>
                        <a:pt x="3076" y="58401"/>
                        <a:pt x="3076" y="58401"/>
                      </a:cubicBezTo>
                      <a:cubicBezTo>
                        <a:pt x="2692" y="58401"/>
                        <a:pt x="2692" y="57530"/>
                        <a:pt x="2692" y="57530"/>
                      </a:cubicBezTo>
                      <a:cubicBezTo>
                        <a:pt x="2692" y="56949"/>
                        <a:pt x="2692" y="56949"/>
                        <a:pt x="2692" y="56949"/>
                      </a:cubicBezTo>
                      <a:cubicBezTo>
                        <a:pt x="3461" y="56658"/>
                        <a:pt x="3461" y="56658"/>
                        <a:pt x="3461" y="56658"/>
                      </a:cubicBezTo>
                      <a:cubicBezTo>
                        <a:pt x="3846" y="56077"/>
                        <a:pt x="3846" y="56077"/>
                        <a:pt x="3846" y="56077"/>
                      </a:cubicBezTo>
                      <a:cubicBezTo>
                        <a:pt x="3846" y="56077"/>
                        <a:pt x="4615" y="55496"/>
                        <a:pt x="4615" y="55496"/>
                      </a:cubicBezTo>
                      <a:cubicBezTo>
                        <a:pt x="5000" y="55205"/>
                        <a:pt x="4615" y="54624"/>
                        <a:pt x="4615" y="54624"/>
                      </a:cubicBezTo>
                      <a:cubicBezTo>
                        <a:pt x="5000" y="53753"/>
                        <a:pt x="5000" y="53753"/>
                        <a:pt x="5000" y="53753"/>
                      </a:cubicBezTo>
                      <a:cubicBezTo>
                        <a:pt x="4230" y="52881"/>
                        <a:pt x="4230" y="52881"/>
                        <a:pt x="4230" y="52881"/>
                      </a:cubicBezTo>
                      <a:cubicBezTo>
                        <a:pt x="4230" y="52009"/>
                        <a:pt x="4230" y="52009"/>
                        <a:pt x="4230" y="52009"/>
                      </a:cubicBezTo>
                      <a:cubicBezTo>
                        <a:pt x="3461" y="51138"/>
                        <a:pt x="3461" y="51138"/>
                        <a:pt x="3461" y="51138"/>
                      </a:cubicBezTo>
                      <a:cubicBezTo>
                        <a:pt x="3461" y="50847"/>
                        <a:pt x="3461" y="50847"/>
                        <a:pt x="3461" y="50847"/>
                      </a:cubicBezTo>
                      <a:cubicBezTo>
                        <a:pt x="3076" y="50266"/>
                        <a:pt x="3076" y="50266"/>
                        <a:pt x="3076" y="50266"/>
                      </a:cubicBezTo>
                      <a:cubicBezTo>
                        <a:pt x="3076" y="49685"/>
                        <a:pt x="3076" y="49685"/>
                        <a:pt x="3076" y="49685"/>
                      </a:cubicBezTo>
                      <a:cubicBezTo>
                        <a:pt x="3076" y="49685"/>
                        <a:pt x="2307" y="49104"/>
                        <a:pt x="1923" y="49104"/>
                      </a:cubicBezTo>
                      <a:cubicBezTo>
                        <a:pt x="1538" y="49104"/>
                        <a:pt x="1923" y="48813"/>
                        <a:pt x="1923" y="48813"/>
                      </a:cubicBezTo>
                      <a:cubicBezTo>
                        <a:pt x="1923" y="48232"/>
                        <a:pt x="1923" y="48232"/>
                        <a:pt x="1923" y="48232"/>
                      </a:cubicBezTo>
                      <a:cubicBezTo>
                        <a:pt x="1923" y="47360"/>
                        <a:pt x="1923" y="47360"/>
                        <a:pt x="1923" y="47360"/>
                      </a:cubicBezTo>
                      <a:cubicBezTo>
                        <a:pt x="3846" y="47651"/>
                        <a:pt x="3846" y="47651"/>
                        <a:pt x="3846" y="47651"/>
                      </a:cubicBezTo>
                      <a:cubicBezTo>
                        <a:pt x="4615" y="47651"/>
                        <a:pt x="4615" y="47651"/>
                        <a:pt x="4615" y="47651"/>
                      </a:cubicBezTo>
                      <a:cubicBezTo>
                        <a:pt x="3461" y="47070"/>
                        <a:pt x="3461" y="47070"/>
                        <a:pt x="3461" y="47070"/>
                      </a:cubicBezTo>
                      <a:cubicBezTo>
                        <a:pt x="4615" y="46779"/>
                        <a:pt x="4615" y="46779"/>
                        <a:pt x="4615" y="46779"/>
                      </a:cubicBezTo>
                      <a:cubicBezTo>
                        <a:pt x="5384" y="47360"/>
                        <a:pt x="5384" y="47360"/>
                        <a:pt x="5384" y="47360"/>
                      </a:cubicBezTo>
                      <a:cubicBezTo>
                        <a:pt x="6538" y="47651"/>
                        <a:pt x="6538" y="47651"/>
                        <a:pt x="6538" y="47651"/>
                      </a:cubicBezTo>
                      <a:cubicBezTo>
                        <a:pt x="6923" y="48232"/>
                        <a:pt x="6923" y="48232"/>
                        <a:pt x="6923" y="48232"/>
                      </a:cubicBezTo>
                      <a:cubicBezTo>
                        <a:pt x="7307" y="47651"/>
                        <a:pt x="7307" y="47651"/>
                        <a:pt x="7307" y="47651"/>
                      </a:cubicBezTo>
                      <a:cubicBezTo>
                        <a:pt x="8461" y="47651"/>
                        <a:pt x="8461" y="47651"/>
                        <a:pt x="8461" y="47651"/>
                      </a:cubicBezTo>
                      <a:cubicBezTo>
                        <a:pt x="8846" y="47651"/>
                        <a:pt x="8846" y="47651"/>
                        <a:pt x="8846" y="47651"/>
                      </a:cubicBezTo>
                      <a:cubicBezTo>
                        <a:pt x="10000" y="47360"/>
                        <a:pt x="10000" y="47360"/>
                        <a:pt x="10000" y="47360"/>
                      </a:cubicBezTo>
                      <a:cubicBezTo>
                        <a:pt x="11153" y="47360"/>
                        <a:pt x="11153" y="47360"/>
                        <a:pt x="11153" y="47360"/>
                      </a:cubicBezTo>
                      <a:cubicBezTo>
                        <a:pt x="11538" y="46779"/>
                        <a:pt x="11538" y="46779"/>
                        <a:pt x="11538" y="46779"/>
                      </a:cubicBezTo>
                      <a:cubicBezTo>
                        <a:pt x="12307" y="46489"/>
                        <a:pt x="12307" y="46489"/>
                        <a:pt x="12307" y="46489"/>
                      </a:cubicBezTo>
                      <a:cubicBezTo>
                        <a:pt x="12692" y="46198"/>
                        <a:pt x="12692" y="46198"/>
                        <a:pt x="12692" y="46198"/>
                      </a:cubicBezTo>
                      <a:cubicBezTo>
                        <a:pt x="11538" y="45617"/>
                        <a:pt x="11538" y="45617"/>
                        <a:pt x="11538" y="45617"/>
                      </a:cubicBezTo>
                      <a:cubicBezTo>
                        <a:pt x="10769" y="44745"/>
                        <a:pt x="10769" y="44745"/>
                        <a:pt x="10769" y="44745"/>
                      </a:cubicBezTo>
                      <a:cubicBezTo>
                        <a:pt x="11538" y="44745"/>
                        <a:pt x="11538" y="44745"/>
                        <a:pt x="11538" y="44745"/>
                      </a:cubicBezTo>
                      <a:cubicBezTo>
                        <a:pt x="11538" y="43874"/>
                        <a:pt x="11538" y="43874"/>
                        <a:pt x="11538" y="43874"/>
                      </a:cubicBezTo>
                      <a:cubicBezTo>
                        <a:pt x="11538" y="43874"/>
                        <a:pt x="13076" y="44164"/>
                        <a:pt x="13076" y="44164"/>
                      </a:cubicBezTo>
                      <a:cubicBezTo>
                        <a:pt x="13076" y="43874"/>
                        <a:pt x="13076" y="43874"/>
                        <a:pt x="13461" y="43583"/>
                      </a:cubicBezTo>
                      <a:cubicBezTo>
                        <a:pt x="13846" y="43583"/>
                        <a:pt x="14615" y="43292"/>
                        <a:pt x="14615" y="43292"/>
                      </a:cubicBezTo>
                      <a:cubicBezTo>
                        <a:pt x="15000" y="42711"/>
                        <a:pt x="15000" y="42711"/>
                        <a:pt x="15000" y="42711"/>
                      </a:cubicBezTo>
                      <a:cubicBezTo>
                        <a:pt x="15000" y="42711"/>
                        <a:pt x="15769" y="42421"/>
                        <a:pt x="15769" y="42421"/>
                      </a:cubicBezTo>
                      <a:cubicBezTo>
                        <a:pt x="16153" y="42421"/>
                        <a:pt x="15769" y="42130"/>
                        <a:pt x="15769" y="41840"/>
                      </a:cubicBezTo>
                      <a:cubicBezTo>
                        <a:pt x="15769" y="41549"/>
                        <a:pt x="15769" y="40968"/>
                        <a:pt x="15769" y="40968"/>
                      </a:cubicBezTo>
                      <a:cubicBezTo>
                        <a:pt x="16153" y="40387"/>
                        <a:pt x="16153" y="40387"/>
                        <a:pt x="16153" y="40387"/>
                      </a:cubicBezTo>
                      <a:cubicBezTo>
                        <a:pt x="15384" y="39225"/>
                        <a:pt x="15384" y="39225"/>
                        <a:pt x="15384" y="39225"/>
                      </a:cubicBezTo>
                      <a:cubicBezTo>
                        <a:pt x="14230" y="39515"/>
                        <a:pt x="14230" y="39515"/>
                        <a:pt x="14230" y="39515"/>
                      </a:cubicBezTo>
                      <a:cubicBezTo>
                        <a:pt x="13461" y="38934"/>
                        <a:pt x="13461" y="38934"/>
                        <a:pt x="13461" y="38934"/>
                      </a:cubicBezTo>
                      <a:cubicBezTo>
                        <a:pt x="13461" y="38934"/>
                        <a:pt x="12307" y="38934"/>
                        <a:pt x="12307" y="38644"/>
                      </a:cubicBezTo>
                      <a:cubicBezTo>
                        <a:pt x="11923" y="38353"/>
                        <a:pt x="11538" y="37772"/>
                        <a:pt x="11538" y="37772"/>
                      </a:cubicBezTo>
                      <a:cubicBezTo>
                        <a:pt x="11538" y="37191"/>
                        <a:pt x="11538" y="37191"/>
                        <a:pt x="11538" y="37191"/>
                      </a:cubicBezTo>
                      <a:cubicBezTo>
                        <a:pt x="12692" y="37191"/>
                        <a:pt x="12692" y="37191"/>
                        <a:pt x="12692" y="37191"/>
                      </a:cubicBezTo>
                      <a:cubicBezTo>
                        <a:pt x="11923" y="36900"/>
                        <a:pt x="11923" y="36900"/>
                        <a:pt x="11923" y="36900"/>
                      </a:cubicBezTo>
                      <a:cubicBezTo>
                        <a:pt x="11923" y="36029"/>
                        <a:pt x="11923" y="36029"/>
                        <a:pt x="11923" y="36029"/>
                      </a:cubicBezTo>
                      <a:cubicBezTo>
                        <a:pt x="13461" y="35738"/>
                        <a:pt x="13461" y="35738"/>
                        <a:pt x="13461" y="35738"/>
                      </a:cubicBezTo>
                      <a:cubicBezTo>
                        <a:pt x="13461" y="35738"/>
                        <a:pt x="15384" y="36319"/>
                        <a:pt x="15769" y="36319"/>
                      </a:cubicBezTo>
                      <a:cubicBezTo>
                        <a:pt x="16153" y="36610"/>
                        <a:pt x="16153" y="35447"/>
                        <a:pt x="16153" y="35447"/>
                      </a:cubicBezTo>
                      <a:cubicBezTo>
                        <a:pt x="16538" y="33995"/>
                        <a:pt x="16538" y="33995"/>
                        <a:pt x="16538" y="33995"/>
                      </a:cubicBezTo>
                      <a:cubicBezTo>
                        <a:pt x="16538" y="33995"/>
                        <a:pt x="16153" y="32832"/>
                        <a:pt x="16538" y="32542"/>
                      </a:cubicBezTo>
                      <a:cubicBezTo>
                        <a:pt x="16923" y="32542"/>
                        <a:pt x="18076" y="30799"/>
                        <a:pt x="18076" y="30799"/>
                      </a:cubicBezTo>
                      <a:cubicBezTo>
                        <a:pt x="18076" y="30799"/>
                        <a:pt x="18076" y="29055"/>
                        <a:pt x="18076" y="28765"/>
                      </a:cubicBezTo>
                      <a:cubicBezTo>
                        <a:pt x="18076" y="28474"/>
                        <a:pt x="18076" y="27312"/>
                        <a:pt x="18076" y="27312"/>
                      </a:cubicBezTo>
                      <a:cubicBezTo>
                        <a:pt x="18076" y="27021"/>
                        <a:pt x="18076" y="27021"/>
                        <a:pt x="18076" y="27021"/>
                      </a:cubicBezTo>
                      <a:cubicBezTo>
                        <a:pt x="18076" y="27021"/>
                        <a:pt x="16923" y="26731"/>
                        <a:pt x="16538" y="26731"/>
                      </a:cubicBezTo>
                      <a:cubicBezTo>
                        <a:pt x="16538" y="26440"/>
                        <a:pt x="16923" y="25859"/>
                        <a:pt x="16923" y="25859"/>
                      </a:cubicBezTo>
                      <a:cubicBezTo>
                        <a:pt x="15000" y="25569"/>
                        <a:pt x="15000" y="25569"/>
                        <a:pt x="15000" y="25569"/>
                      </a:cubicBezTo>
                      <a:cubicBezTo>
                        <a:pt x="15384" y="24697"/>
                        <a:pt x="15769" y="23244"/>
                        <a:pt x="16153" y="23244"/>
                      </a:cubicBezTo>
                      <a:cubicBezTo>
                        <a:pt x="16538" y="22953"/>
                        <a:pt x="17307" y="22372"/>
                        <a:pt x="17307" y="22372"/>
                      </a:cubicBezTo>
                      <a:cubicBezTo>
                        <a:pt x="17307" y="21210"/>
                        <a:pt x="17307" y="21210"/>
                        <a:pt x="17307" y="21210"/>
                      </a:cubicBezTo>
                      <a:cubicBezTo>
                        <a:pt x="16538" y="20338"/>
                        <a:pt x="16538" y="20338"/>
                        <a:pt x="16538" y="20338"/>
                      </a:cubicBezTo>
                      <a:cubicBezTo>
                        <a:pt x="17307" y="19467"/>
                        <a:pt x="17307" y="19467"/>
                        <a:pt x="17307" y="19467"/>
                      </a:cubicBezTo>
                      <a:cubicBezTo>
                        <a:pt x="17307" y="19467"/>
                        <a:pt x="18846" y="18886"/>
                        <a:pt x="18846" y="18886"/>
                      </a:cubicBezTo>
                      <a:cubicBezTo>
                        <a:pt x="19230" y="18886"/>
                        <a:pt x="21538" y="18886"/>
                        <a:pt x="21538" y="18886"/>
                      </a:cubicBezTo>
                      <a:cubicBezTo>
                        <a:pt x="23076" y="18305"/>
                        <a:pt x="23076" y="18305"/>
                        <a:pt x="23076" y="18305"/>
                      </a:cubicBezTo>
                      <a:cubicBezTo>
                        <a:pt x="25384" y="18305"/>
                        <a:pt x="25384" y="18305"/>
                        <a:pt x="25384" y="18305"/>
                      </a:cubicBezTo>
                      <a:cubicBezTo>
                        <a:pt x="26923" y="18014"/>
                        <a:pt x="26923" y="18014"/>
                        <a:pt x="26923" y="18014"/>
                      </a:cubicBezTo>
                      <a:cubicBezTo>
                        <a:pt x="28076" y="18595"/>
                        <a:pt x="28076" y="18595"/>
                        <a:pt x="28076" y="18595"/>
                      </a:cubicBezTo>
                      <a:cubicBezTo>
                        <a:pt x="28076" y="18595"/>
                        <a:pt x="28846" y="19176"/>
                        <a:pt x="28846" y="19467"/>
                      </a:cubicBezTo>
                      <a:cubicBezTo>
                        <a:pt x="28846" y="19467"/>
                        <a:pt x="29615" y="20048"/>
                        <a:pt x="29615" y="20338"/>
                      </a:cubicBezTo>
                      <a:cubicBezTo>
                        <a:pt x="29230" y="20338"/>
                        <a:pt x="30000" y="21210"/>
                        <a:pt x="30000" y="21210"/>
                      </a:cubicBezTo>
                      <a:cubicBezTo>
                        <a:pt x="30000" y="21210"/>
                        <a:pt x="29615" y="21791"/>
                        <a:pt x="29615" y="22082"/>
                      </a:cubicBezTo>
                      <a:cubicBezTo>
                        <a:pt x="29615" y="22082"/>
                        <a:pt x="30000" y="23244"/>
                        <a:pt x="30000" y="23244"/>
                      </a:cubicBezTo>
                      <a:cubicBezTo>
                        <a:pt x="30000" y="23535"/>
                        <a:pt x="30769" y="23825"/>
                        <a:pt x="30769" y="23825"/>
                      </a:cubicBezTo>
                      <a:cubicBezTo>
                        <a:pt x="31538" y="23535"/>
                        <a:pt x="31538" y="23535"/>
                        <a:pt x="31538" y="23535"/>
                      </a:cubicBezTo>
                      <a:cubicBezTo>
                        <a:pt x="31923" y="22953"/>
                        <a:pt x="31923" y="22953"/>
                        <a:pt x="31923" y="22953"/>
                      </a:cubicBezTo>
                      <a:cubicBezTo>
                        <a:pt x="31153" y="22082"/>
                        <a:pt x="31153" y="22082"/>
                        <a:pt x="31153" y="22082"/>
                      </a:cubicBezTo>
                      <a:cubicBezTo>
                        <a:pt x="30769" y="22082"/>
                        <a:pt x="30769" y="22082"/>
                        <a:pt x="30769" y="22082"/>
                      </a:cubicBezTo>
                      <a:cubicBezTo>
                        <a:pt x="31153" y="20920"/>
                        <a:pt x="31153" y="20920"/>
                        <a:pt x="31153" y="20920"/>
                      </a:cubicBezTo>
                      <a:cubicBezTo>
                        <a:pt x="31153" y="20920"/>
                        <a:pt x="31923" y="20629"/>
                        <a:pt x="32307" y="20920"/>
                      </a:cubicBezTo>
                      <a:cubicBezTo>
                        <a:pt x="32692" y="20920"/>
                        <a:pt x="33846" y="21791"/>
                        <a:pt x="33846" y="21791"/>
                      </a:cubicBezTo>
                      <a:cubicBezTo>
                        <a:pt x="34615" y="22082"/>
                        <a:pt x="34615" y="22082"/>
                        <a:pt x="34615" y="22082"/>
                      </a:cubicBezTo>
                      <a:cubicBezTo>
                        <a:pt x="34615" y="22082"/>
                        <a:pt x="35769" y="21501"/>
                        <a:pt x="35769" y="21501"/>
                      </a:cubicBezTo>
                      <a:cubicBezTo>
                        <a:pt x="35769" y="21501"/>
                        <a:pt x="34615" y="20338"/>
                        <a:pt x="34615" y="20338"/>
                      </a:cubicBezTo>
                      <a:cubicBezTo>
                        <a:pt x="35000" y="18886"/>
                        <a:pt x="35000" y="18886"/>
                        <a:pt x="35000" y="18886"/>
                      </a:cubicBezTo>
                      <a:cubicBezTo>
                        <a:pt x="35384" y="17723"/>
                        <a:pt x="35384" y="17723"/>
                        <a:pt x="35384" y="17723"/>
                      </a:cubicBezTo>
                      <a:cubicBezTo>
                        <a:pt x="36923" y="16852"/>
                        <a:pt x="36923" y="16852"/>
                        <a:pt x="36923" y="16852"/>
                      </a:cubicBezTo>
                      <a:cubicBezTo>
                        <a:pt x="38076" y="17433"/>
                        <a:pt x="38076" y="17433"/>
                        <a:pt x="38076" y="17433"/>
                      </a:cubicBezTo>
                      <a:cubicBezTo>
                        <a:pt x="40000" y="17433"/>
                        <a:pt x="40000" y="17433"/>
                        <a:pt x="40000" y="17433"/>
                      </a:cubicBezTo>
                      <a:cubicBezTo>
                        <a:pt x="41923" y="17433"/>
                        <a:pt x="41923" y="17433"/>
                        <a:pt x="41923" y="17433"/>
                      </a:cubicBezTo>
                      <a:cubicBezTo>
                        <a:pt x="43076" y="17142"/>
                        <a:pt x="43076" y="17142"/>
                        <a:pt x="43076" y="17142"/>
                      </a:cubicBezTo>
                      <a:cubicBezTo>
                        <a:pt x="44615" y="17142"/>
                        <a:pt x="44615" y="17142"/>
                        <a:pt x="44615" y="17142"/>
                      </a:cubicBezTo>
                      <a:cubicBezTo>
                        <a:pt x="44615" y="17142"/>
                        <a:pt x="43846" y="16561"/>
                        <a:pt x="43846" y="16561"/>
                      </a:cubicBezTo>
                      <a:cubicBezTo>
                        <a:pt x="43461" y="16561"/>
                        <a:pt x="42692" y="15980"/>
                        <a:pt x="42692" y="15980"/>
                      </a:cubicBezTo>
                      <a:cubicBezTo>
                        <a:pt x="42692" y="15980"/>
                        <a:pt x="42307" y="16561"/>
                        <a:pt x="42307" y="16561"/>
                      </a:cubicBezTo>
                      <a:cubicBezTo>
                        <a:pt x="41923" y="16852"/>
                        <a:pt x="40769" y="16852"/>
                        <a:pt x="40769" y="16561"/>
                      </a:cubicBezTo>
                      <a:cubicBezTo>
                        <a:pt x="40384" y="16561"/>
                        <a:pt x="40000" y="15690"/>
                        <a:pt x="40000" y="15690"/>
                      </a:cubicBezTo>
                      <a:cubicBezTo>
                        <a:pt x="40000" y="14818"/>
                        <a:pt x="40000" y="14818"/>
                        <a:pt x="40000" y="14818"/>
                      </a:cubicBezTo>
                      <a:cubicBezTo>
                        <a:pt x="40769" y="14527"/>
                        <a:pt x="40769" y="14527"/>
                        <a:pt x="40769" y="14527"/>
                      </a:cubicBezTo>
                      <a:cubicBezTo>
                        <a:pt x="39615" y="13656"/>
                        <a:pt x="39615" y="13656"/>
                        <a:pt x="39615" y="13656"/>
                      </a:cubicBezTo>
                      <a:cubicBezTo>
                        <a:pt x="39615" y="13656"/>
                        <a:pt x="39615" y="12784"/>
                        <a:pt x="40000" y="12493"/>
                      </a:cubicBezTo>
                      <a:cubicBezTo>
                        <a:pt x="40384" y="12493"/>
                        <a:pt x="40384" y="11912"/>
                        <a:pt x="40384" y="11912"/>
                      </a:cubicBezTo>
                      <a:cubicBezTo>
                        <a:pt x="39230" y="11912"/>
                        <a:pt x="39230" y="11912"/>
                        <a:pt x="39230" y="11912"/>
                      </a:cubicBezTo>
                      <a:cubicBezTo>
                        <a:pt x="39230" y="11912"/>
                        <a:pt x="38846" y="11912"/>
                        <a:pt x="38846" y="11331"/>
                      </a:cubicBezTo>
                      <a:cubicBezTo>
                        <a:pt x="39230" y="10750"/>
                        <a:pt x="39230" y="10460"/>
                        <a:pt x="39230" y="10460"/>
                      </a:cubicBezTo>
                      <a:cubicBezTo>
                        <a:pt x="37692" y="10460"/>
                        <a:pt x="37692" y="10460"/>
                        <a:pt x="37692" y="10460"/>
                      </a:cubicBezTo>
                      <a:cubicBezTo>
                        <a:pt x="36923" y="10460"/>
                        <a:pt x="36923" y="10460"/>
                        <a:pt x="36923" y="10460"/>
                      </a:cubicBezTo>
                      <a:cubicBezTo>
                        <a:pt x="35769" y="9588"/>
                        <a:pt x="35769" y="9588"/>
                        <a:pt x="35769" y="9588"/>
                      </a:cubicBezTo>
                      <a:cubicBezTo>
                        <a:pt x="36153" y="8716"/>
                        <a:pt x="36153" y="8716"/>
                        <a:pt x="36153" y="8716"/>
                      </a:cubicBezTo>
                      <a:cubicBezTo>
                        <a:pt x="38461" y="8426"/>
                        <a:pt x="38461" y="8426"/>
                        <a:pt x="38461" y="8426"/>
                      </a:cubicBezTo>
                      <a:cubicBezTo>
                        <a:pt x="41153" y="7554"/>
                        <a:pt x="41153" y="7554"/>
                        <a:pt x="41153" y="7554"/>
                      </a:cubicBezTo>
                      <a:cubicBezTo>
                        <a:pt x="40769" y="6973"/>
                        <a:pt x="40769" y="6973"/>
                        <a:pt x="40769" y="6973"/>
                      </a:cubicBezTo>
                      <a:cubicBezTo>
                        <a:pt x="40000" y="7263"/>
                        <a:pt x="40000" y="7263"/>
                        <a:pt x="40000" y="7263"/>
                      </a:cubicBezTo>
                      <a:cubicBezTo>
                        <a:pt x="40000" y="7263"/>
                        <a:pt x="39615" y="7554"/>
                        <a:pt x="39615" y="7554"/>
                      </a:cubicBezTo>
                      <a:cubicBezTo>
                        <a:pt x="39230" y="7554"/>
                        <a:pt x="38461" y="7554"/>
                        <a:pt x="38461" y="7554"/>
                      </a:cubicBezTo>
                      <a:cubicBezTo>
                        <a:pt x="38461" y="6973"/>
                        <a:pt x="38461" y="6973"/>
                        <a:pt x="38461" y="6973"/>
                      </a:cubicBezTo>
                      <a:cubicBezTo>
                        <a:pt x="39615" y="6973"/>
                        <a:pt x="39615" y="6973"/>
                        <a:pt x="39615" y="6973"/>
                      </a:cubicBezTo>
                      <a:cubicBezTo>
                        <a:pt x="40384" y="6682"/>
                        <a:pt x="40384" y="6682"/>
                        <a:pt x="40384" y="6682"/>
                      </a:cubicBezTo>
                      <a:cubicBezTo>
                        <a:pt x="39615" y="6392"/>
                        <a:pt x="39615" y="6392"/>
                        <a:pt x="39615" y="6392"/>
                      </a:cubicBezTo>
                      <a:cubicBezTo>
                        <a:pt x="38461" y="5230"/>
                        <a:pt x="38461" y="5230"/>
                        <a:pt x="38461" y="5230"/>
                      </a:cubicBezTo>
                      <a:cubicBezTo>
                        <a:pt x="38076" y="4358"/>
                        <a:pt x="38076" y="4358"/>
                        <a:pt x="38076" y="4358"/>
                      </a:cubicBezTo>
                      <a:cubicBezTo>
                        <a:pt x="37307" y="4067"/>
                        <a:pt x="37307" y="4067"/>
                        <a:pt x="37307" y="4067"/>
                      </a:cubicBezTo>
                      <a:cubicBezTo>
                        <a:pt x="36538" y="3486"/>
                        <a:pt x="36538" y="3486"/>
                        <a:pt x="36538" y="3486"/>
                      </a:cubicBezTo>
                      <a:cubicBezTo>
                        <a:pt x="36538" y="2615"/>
                        <a:pt x="36538" y="2615"/>
                        <a:pt x="36538" y="2615"/>
                      </a:cubicBezTo>
                      <a:cubicBezTo>
                        <a:pt x="36153" y="290"/>
                        <a:pt x="36153" y="290"/>
                        <a:pt x="36153" y="290"/>
                      </a:cubicBezTo>
                      <a:cubicBezTo>
                        <a:pt x="37307" y="290"/>
                        <a:pt x="37307" y="290"/>
                        <a:pt x="37307" y="290"/>
                      </a:cubicBezTo>
                      <a:cubicBezTo>
                        <a:pt x="38076" y="0"/>
                        <a:pt x="38076" y="0"/>
                        <a:pt x="38076" y="0"/>
                      </a:cubicBezTo>
                      <a:cubicBezTo>
                        <a:pt x="38076" y="0"/>
                        <a:pt x="40000" y="581"/>
                        <a:pt x="40384" y="581"/>
                      </a:cubicBezTo>
                      <a:cubicBezTo>
                        <a:pt x="40769" y="581"/>
                        <a:pt x="41538" y="871"/>
                        <a:pt x="41538" y="871"/>
                      </a:cubicBezTo>
                      <a:cubicBezTo>
                        <a:pt x="43076" y="1452"/>
                        <a:pt x="43076" y="1452"/>
                        <a:pt x="43076" y="1452"/>
                      </a:cubicBezTo>
                      <a:cubicBezTo>
                        <a:pt x="44230" y="1743"/>
                        <a:pt x="44230" y="1743"/>
                        <a:pt x="44230" y="1743"/>
                      </a:cubicBezTo>
                      <a:cubicBezTo>
                        <a:pt x="44230" y="1743"/>
                        <a:pt x="44615" y="1743"/>
                        <a:pt x="44615" y="1743"/>
                      </a:cubicBezTo>
                      <a:cubicBezTo>
                        <a:pt x="45000" y="1743"/>
                        <a:pt x="45769" y="1452"/>
                        <a:pt x="45769" y="1452"/>
                      </a:cubicBezTo>
                      <a:cubicBezTo>
                        <a:pt x="45769" y="1452"/>
                        <a:pt x="46923" y="871"/>
                        <a:pt x="47307" y="871"/>
                      </a:cubicBezTo>
                      <a:cubicBezTo>
                        <a:pt x="47307" y="581"/>
                        <a:pt x="47692" y="581"/>
                        <a:pt x="47692" y="581"/>
                      </a:cubicBezTo>
                      <a:cubicBezTo>
                        <a:pt x="48461" y="1743"/>
                        <a:pt x="48461" y="1743"/>
                        <a:pt x="48461" y="1743"/>
                      </a:cubicBezTo>
                      <a:cubicBezTo>
                        <a:pt x="49230" y="1162"/>
                        <a:pt x="49230" y="1162"/>
                        <a:pt x="49230" y="1162"/>
                      </a:cubicBezTo>
                      <a:cubicBezTo>
                        <a:pt x="49615" y="581"/>
                        <a:pt x="49615" y="581"/>
                        <a:pt x="49615" y="581"/>
                      </a:cubicBezTo>
                      <a:cubicBezTo>
                        <a:pt x="52692" y="3196"/>
                        <a:pt x="52692" y="3196"/>
                        <a:pt x="52692" y="3196"/>
                      </a:cubicBezTo>
                      <a:cubicBezTo>
                        <a:pt x="53076" y="4358"/>
                        <a:pt x="53076" y="4358"/>
                        <a:pt x="53076" y="4358"/>
                      </a:cubicBezTo>
                      <a:cubicBezTo>
                        <a:pt x="53076" y="4358"/>
                        <a:pt x="53076" y="5230"/>
                        <a:pt x="53076" y="5230"/>
                      </a:cubicBezTo>
                      <a:cubicBezTo>
                        <a:pt x="52692" y="5230"/>
                        <a:pt x="52307" y="6392"/>
                        <a:pt x="52307" y="6392"/>
                      </a:cubicBezTo>
                      <a:cubicBezTo>
                        <a:pt x="52307" y="7263"/>
                        <a:pt x="52307" y="7263"/>
                        <a:pt x="52307" y="7263"/>
                      </a:cubicBezTo>
                      <a:cubicBezTo>
                        <a:pt x="53076" y="7554"/>
                        <a:pt x="53076" y="7554"/>
                        <a:pt x="53076" y="7554"/>
                      </a:cubicBezTo>
                      <a:cubicBezTo>
                        <a:pt x="54230" y="7554"/>
                        <a:pt x="54230" y="7554"/>
                        <a:pt x="54230" y="7554"/>
                      </a:cubicBezTo>
                      <a:cubicBezTo>
                        <a:pt x="55000" y="8135"/>
                        <a:pt x="55000" y="8135"/>
                        <a:pt x="55000" y="8135"/>
                      </a:cubicBezTo>
                      <a:cubicBezTo>
                        <a:pt x="55384" y="8426"/>
                        <a:pt x="55384" y="8426"/>
                        <a:pt x="55384" y="8426"/>
                      </a:cubicBezTo>
                      <a:cubicBezTo>
                        <a:pt x="56538" y="8426"/>
                        <a:pt x="56538" y="8426"/>
                        <a:pt x="56538" y="8426"/>
                      </a:cubicBezTo>
                      <a:cubicBezTo>
                        <a:pt x="56923" y="8135"/>
                        <a:pt x="56923" y="8135"/>
                        <a:pt x="56923" y="8135"/>
                      </a:cubicBezTo>
                      <a:cubicBezTo>
                        <a:pt x="58461" y="8426"/>
                        <a:pt x="58461" y="8426"/>
                        <a:pt x="58461" y="8426"/>
                      </a:cubicBezTo>
                      <a:cubicBezTo>
                        <a:pt x="59615" y="9007"/>
                        <a:pt x="59615" y="9007"/>
                        <a:pt x="59615" y="9007"/>
                      </a:cubicBezTo>
                      <a:cubicBezTo>
                        <a:pt x="60769" y="9588"/>
                        <a:pt x="60769" y="9588"/>
                        <a:pt x="60769" y="9588"/>
                      </a:cubicBezTo>
                      <a:cubicBezTo>
                        <a:pt x="62692" y="10169"/>
                        <a:pt x="62692" y="10169"/>
                        <a:pt x="62692" y="10169"/>
                      </a:cubicBezTo>
                      <a:cubicBezTo>
                        <a:pt x="63076" y="9297"/>
                        <a:pt x="63076" y="9297"/>
                        <a:pt x="63076" y="9297"/>
                      </a:cubicBezTo>
                      <a:cubicBezTo>
                        <a:pt x="63461" y="9007"/>
                        <a:pt x="63461" y="9007"/>
                        <a:pt x="63461" y="9007"/>
                      </a:cubicBezTo>
                      <a:cubicBezTo>
                        <a:pt x="64615" y="9007"/>
                        <a:pt x="64615" y="9007"/>
                        <a:pt x="64615" y="9007"/>
                      </a:cubicBezTo>
                      <a:cubicBezTo>
                        <a:pt x="65384" y="8716"/>
                        <a:pt x="65384" y="8716"/>
                        <a:pt x="65384" y="8716"/>
                      </a:cubicBezTo>
                      <a:cubicBezTo>
                        <a:pt x="65769" y="8426"/>
                        <a:pt x="65769" y="8426"/>
                        <a:pt x="65769" y="8426"/>
                      </a:cubicBezTo>
                      <a:cubicBezTo>
                        <a:pt x="64615" y="7554"/>
                        <a:pt x="64615" y="7554"/>
                        <a:pt x="64615" y="7554"/>
                      </a:cubicBezTo>
                      <a:cubicBezTo>
                        <a:pt x="64615" y="6682"/>
                        <a:pt x="64615" y="6682"/>
                        <a:pt x="64615" y="6682"/>
                      </a:cubicBezTo>
                      <a:cubicBezTo>
                        <a:pt x="64615" y="6682"/>
                        <a:pt x="65384" y="6101"/>
                        <a:pt x="65384" y="6101"/>
                      </a:cubicBezTo>
                      <a:cubicBezTo>
                        <a:pt x="65769" y="6101"/>
                        <a:pt x="67307" y="6392"/>
                        <a:pt x="67307" y="6392"/>
                      </a:cubicBezTo>
                      <a:cubicBezTo>
                        <a:pt x="67692" y="7263"/>
                        <a:pt x="67692" y="7263"/>
                        <a:pt x="67692" y="7263"/>
                      </a:cubicBezTo>
                      <a:cubicBezTo>
                        <a:pt x="68076" y="8135"/>
                        <a:pt x="68076" y="8135"/>
                        <a:pt x="68076" y="8135"/>
                      </a:cubicBezTo>
                      <a:cubicBezTo>
                        <a:pt x="66538" y="8426"/>
                        <a:pt x="66538" y="8426"/>
                        <a:pt x="66538" y="8426"/>
                      </a:cubicBezTo>
                      <a:cubicBezTo>
                        <a:pt x="66153" y="9007"/>
                        <a:pt x="66153" y="9007"/>
                        <a:pt x="66153" y="9007"/>
                      </a:cubicBezTo>
                      <a:cubicBezTo>
                        <a:pt x="66153" y="10169"/>
                        <a:pt x="66153" y="10169"/>
                        <a:pt x="66153" y="10169"/>
                      </a:cubicBezTo>
                      <a:cubicBezTo>
                        <a:pt x="66153" y="11331"/>
                        <a:pt x="66153" y="11331"/>
                        <a:pt x="66153" y="11331"/>
                      </a:cubicBezTo>
                      <a:cubicBezTo>
                        <a:pt x="66153" y="11331"/>
                        <a:pt x="66153" y="11912"/>
                        <a:pt x="65769" y="11912"/>
                      </a:cubicBezTo>
                      <a:cubicBezTo>
                        <a:pt x="65384" y="12203"/>
                        <a:pt x="64615" y="12203"/>
                        <a:pt x="64615" y="12203"/>
                      </a:cubicBezTo>
                      <a:cubicBezTo>
                        <a:pt x="64615" y="12784"/>
                        <a:pt x="64615" y="12784"/>
                        <a:pt x="64615" y="12784"/>
                      </a:cubicBezTo>
                      <a:cubicBezTo>
                        <a:pt x="63461" y="13365"/>
                        <a:pt x="63461" y="13365"/>
                        <a:pt x="63461" y="13365"/>
                      </a:cubicBezTo>
                      <a:cubicBezTo>
                        <a:pt x="62307" y="13365"/>
                        <a:pt x="62307" y="13365"/>
                        <a:pt x="62307" y="13365"/>
                      </a:cubicBezTo>
                      <a:cubicBezTo>
                        <a:pt x="61923" y="13656"/>
                        <a:pt x="61923" y="13656"/>
                        <a:pt x="61923" y="13656"/>
                      </a:cubicBezTo>
                      <a:cubicBezTo>
                        <a:pt x="62307" y="14527"/>
                        <a:pt x="62307" y="14527"/>
                        <a:pt x="62307" y="14527"/>
                      </a:cubicBezTo>
                      <a:cubicBezTo>
                        <a:pt x="63076" y="15108"/>
                        <a:pt x="63076" y="15108"/>
                        <a:pt x="63076" y="15108"/>
                      </a:cubicBezTo>
                      <a:cubicBezTo>
                        <a:pt x="64230" y="15399"/>
                        <a:pt x="64230" y="15399"/>
                        <a:pt x="64230" y="15399"/>
                      </a:cubicBezTo>
                      <a:cubicBezTo>
                        <a:pt x="65000" y="15108"/>
                        <a:pt x="65000" y="15108"/>
                        <a:pt x="65000" y="15108"/>
                      </a:cubicBezTo>
                      <a:cubicBezTo>
                        <a:pt x="65384" y="14527"/>
                        <a:pt x="65384" y="14527"/>
                        <a:pt x="65384" y="14527"/>
                      </a:cubicBezTo>
                      <a:cubicBezTo>
                        <a:pt x="66538" y="14237"/>
                        <a:pt x="66538" y="14237"/>
                        <a:pt x="66538" y="14237"/>
                      </a:cubicBezTo>
                      <a:cubicBezTo>
                        <a:pt x="68076" y="14818"/>
                        <a:pt x="68076" y="14818"/>
                        <a:pt x="68076" y="14818"/>
                      </a:cubicBezTo>
                      <a:cubicBezTo>
                        <a:pt x="68461" y="15399"/>
                        <a:pt x="68461" y="15399"/>
                        <a:pt x="68461" y="15399"/>
                      </a:cubicBezTo>
                      <a:cubicBezTo>
                        <a:pt x="68461" y="15399"/>
                        <a:pt x="70000" y="15399"/>
                        <a:pt x="70000" y="15399"/>
                      </a:cubicBezTo>
                      <a:cubicBezTo>
                        <a:pt x="70000" y="15399"/>
                        <a:pt x="70384" y="14527"/>
                        <a:pt x="70384" y="14527"/>
                      </a:cubicBezTo>
                      <a:cubicBezTo>
                        <a:pt x="70384" y="14527"/>
                        <a:pt x="70769" y="13946"/>
                        <a:pt x="71153" y="13946"/>
                      </a:cubicBezTo>
                      <a:cubicBezTo>
                        <a:pt x="71538" y="13946"/>
                        <a:pt x="71923" y="13365"/>
                        <a:pt x="72307" y="13365"/>
                      </a:cubicBezTo>
                      <a:cubicBezTo>
                        <a:pt x="72307" y="13075"/>
                        <a:pt x="72692" y="12493"/>
                        <a:pt x="72692" y="12493"/>
                      </a:cubicBezTo>
                      <a:cubicBezTo>
                        <a:pt x="72692" y="12493"/>
                        <a:pt x="73461" y="12203"/>
                        <a:pt x="73846" y="12203"/>
                      </a:cubicBezTo>
                      <a:cubicBezTo>
                        <a:pt x="74230" y="12203"/>
                        <a:pt x="76538" y="11912"/>
                        <a:pt x="76538" y="11912"/>
                      </a:cubicBezTo>
                      <a:cubicBezTo>
                        <a:pt x="76538" y="11912"/>
                        <a:pt x="78076" y="11622"/>
                        <a:pt x="78461" y="11331"/>
                      </a:cubicBezTo>
                      <a:cubicBezTo>
                        <a:pt x="78461" y="11331"/>
                        <a:pt x="80000" y="10460"/>
                        <a:pt x="80000" y="10460"/>
                      </a:cubicBezTo>
                      <a:cubicBezTo>
                        <a:pt x="80384" y="9588"/>
                        <a:pt x="80384" y="9588"/>
                        <a:pt x="80384" y="9588"/>
                      </a:cubicBezTo>
                      <a:cubicBezTo>
                        <a:pt x="81538" y="8716"/>
                        <a:pt x="81538" y="8716"/>
                        <a:pt x="81538" y="8716"/>
                      </a:cubicBezTo>
                      <a:cubicBezTo>
                        <a:pt x="81538" y="8716"/>
                        <a:pt x="81923" y="8716"/>
                        <a:pt x="81923" y="8426"/>
                      </a:cubicBezTo>
                      <a:cubicBezTo>
                        <a:pt x="81923" y="8135"/>
                        <a:pt x="82307" y="7263"/>
                        <a:pt x="82307" y="7263"/>
                      </a:cubicBezTo>
                      <a:cubicBezTo>
                        <a:pt x="83076" y="6973"/>
                        <a:pt x="83076" y="6973"/>
                        <a:pt x="83076" y="6973"/>
                      </a:cubicBezTo>
                      <a:cubicBezTo>
                        <a:pt x="83076" y="6973"/>
                        <a:pt x="83846" y="7263"/>
                        <a:pt x="83846" y="7554"/>
                      </a:cubicBezTo>
                      <a:cubicBezTo>
                        <a:pt x="83846" y="7554"/>
                        <a:pt x="83461" y="8135"/>
                        <a:pt x="83461" y="8135"/>
                      </a:cubicBezTo>
                      <a:cubicBezTo>
                        <a:pt x="83461" y="8135"/>
                        <a:pt x="82692" y="8426"/>
                        <a:pt x="82307" y="8716"/>
                      </a:cubicBezTo>
                      <a:cubicBezTo>
                        <a:pt x="82307" y="8716"/>
                        <a:pt x="82307" y="9297"/>
                        <a:pt x="82307" y="9297"/>
                      </a:cubicBezTo>
                      <a:cubicBezTo>
                        <a:pt x="83076" y="8716"/>
                        <a:pt x="83076" y="8716"/>
                        <a:pt x="83076" y="8716"/>
                      </a:cubicBezTo>
                      <a:cubicBezTo>
                        <a:pt x="83076" y="8716"/>
                        <a:pt x="83461" y="8426"/>
                        <a:pt x="83461" y="8426"/>
                      </a:cubicBezTo>
                      <a:cubicBezTo>
                        <a:pt x="83461" y="8426"/>
                        <a:pt x="85000" y="8135"/>
                        <a:pt x="85000" y="8135"/>
                      </a:cubicBezTo>
                      <a:cubicBezTo>
                        <a:pt x="85000" y="8135"/>
                        <a:pt x="85769" y="8426"/>
                        <a:pt x="85769" y="8426"/>
                      </a:cubicBezTo>
                      <a:cubicBezTo>
                        <a:pt x="85769" y="8426"/>
                        <a:pt x="86538" y="8716"/>
                        <a:pt x="86538" y="8716"/>
                      </a:cubicBezTo>
                      <a:cubicBezTo>
                        <a:pt x="88076" y="8426"/>
                        <a:pt x="88076" y="8426"/>
                        <a:pt x="88076" y="8426"/>
                      </a:cubicBezTo>
                      <a:cubicBezTo>
                        <a:pt x="88076" y="7845"/>
                        <a:pt x="88076" y="7845"/>
                        <a:pt x="88076" y="7845"/>
                      </a:cubicBezTo>
                      <a:cubicBezTo>
                        <a:pt x="88076" y="7845"/>
                        <a:pt x="88076" y="7554"/>
                        <a:pt x="88461" y="7554"/>
                      </a:cubicBezTo>
                      <a:cubicBezTo>
                        <a:pt x="88846" y="7263"/>
                        <a:pt x="89615" y="6973"/>
                        <a:pt x="89615" y="6973"/>
                      </a:cubicBezTo>
                      <a:cubicBezTo>
                        <a:pt x="89615" y="6973"/>
                        <a:pt x="89615" y="6392"/>
                        <a:pt x="89615" y="6101"/>
                      </a:cubicBezTo>
                      <a:cubicBezTo>
                        <a:pt x="89615" y="6101"/>
                        <a:pt x="90000" y="5520"/>
                        <a:pt x="90000" y="5520"/>
                      </a:cubicBezTo>
                      <a:cubicBezTo>
                        <a:pt x="90000" y="5520"/>
                        <a:pt x="90000" y="5520"/>
                        <a:pt x="90000" y="5520"/>
                      </a:cubicBezTo>
                      <a:cubicBezTo>
                        <a:pt x="90000" y="5520"/>
                        <a:pt x="90769" y="5230"/>
                        <a:pt x="90769" y="5230"/>
                      </a:cubicBezTo>
                      <a:cubicBezTo>
                        <a:pt x="90769" y="5230"/>
                        <a:pt x="91153" y="4358"/>
                        <a:pt x="91153" y="4358"/>
                      </a:cubicBezTo>
                      <a:cubicBezTo>
                        <a:pt x="91153" y="4358"/>
                        <a:pt x="91153" y="4067"/>
                        <a:pt x="91538" y="4067"/>
                      </a:cubicBezTo>
                      <a:cubicBezTo>
                        <a:pt x="91538" y="4067"/>
                        <a:pt x="92307" y="3486"/>
                        <a:pt x="92307" y="3486"/>
                      </a:cubicBezTo>
                      <a:cubicBezTo>
                        <a:pt x="92692" y="3196"/>
                        <a:pt x="92692" y="3196"/>
                        <a:pt x="93076" y="3196"/>
                      </a:cubicBezTo>
                      <a:cubicBezTo>
                        <a:pt x="93076" y="3196"/>
                        <a:pt x="93461" y="3777"/>
                        <a:pt x="93461" y="3777"/>
                      </a:cubicBezTo>
                      <a:cubicBezTo>
                        <a:pt x="93461" y="3777"/>
                        <a:pt x="93461" y="4067"/>
                        <a:pt x="93076" y="4358"/>
                      </a:cubicBezTo>
                      <a:cubicBezTo>
                        <a:pt x="92692" y="4358"/>
                        <a:pt x="92307" y="4648"/>
                        <a:pt x="92307" y="4648"/>
                      </a:cubicBezTo>
                      <a:cubicBezTo>
                        <a:pt x="92307" y="4648"/>
                        <a:pt x="93076" y="5230"/>
                        <a:pt x="93076" y="5230"/>
                      </a:cubicBezTo>
                      <a:cubicBezTo>
                        <a:pt x="93076" y="5230"/>
                        <a:pt x="93461" y="5520"/>
                        <a:pt x="93461" y="5520"/>
                      </a:cubicBezTo>
                      <a:cubicBezTo>
                        <a:pt x="93461" y="5811"/>
                        <a:pt x="93076" y="6101"/>
                        <a:pt x="93076" y="6101"/>
                      </a:cubicBezTo>
                      <a:cubicBezTo>
                        <a:pt x="93461" y="6101"/>
                        <a:pt x="94615" y="5811"/>
                        <a:pt x="94615" y="5811"/>
                      </a:cubicBezTo>
                      <a:cubicBezTo>
                        <a:pt x="94615" y="5811"/>
                        <a:pt x="94615" y="5230"/>
                        <a:pt x="94615" y="5230"/>
                      </a:cubicBezTo>
                      <a:cubicBezTo>
                        <a:pt x="94615" y="5230"/>
                        <a:pt x="95384" y="4648"/>
                        <a:pt x="95384" y="4648"/>
                      </a:cubicBezTo>
                      <a:cubicBezTo>
                        <a:pt x="95769" y="4648"/>
                        <a:pt x="96538" y="4939"/>
                        <a:pt x="96538" y="4939"/>
                      </a:cubicBezTo>
                      <a:cubicBezTo>
                        <a:pt x="96538" y="4939"/>
                        <a:pt x="96538" y="5230"/>
                        <a:pt x="96538" y="5520"/>
                      </a:cubicBezTo>
                      <a:cubicBezTo>
                        <a:pt x="96153" y="5520"/>
                        <a:pt x="95384" y="6101"/>
                        <a:pt x="95384" y="6101"/>
                      </a:cubicBezTo>
                      <a:cubicBezTo>
                        <a:pt x="95384" y="6392"/>
                        <a:pt x="95000" y="6392"/>
                        <a:pt x="95384" y="6392"/>
                      </a:cubicBezTo>
                      <a:cubicBezTo>
                        <a:pt x="95384" y="6682"/>
                        <a:pt x="96153" y="7263"/>
                        <a:pt x="96153" y="7263"/>
                      </a:cubicBezTo>
                      <a:cubicBezTo>
                        <a:pt x="97307" y="7845"/>
                        <a:pt x="97307" y="7845"/>
                        <a:pt x="97307" y="7845"/>
                      </a:cubicBezTo>
                      <a:cubicBezTo>
                        <a:pt x="97307" y="7845"/>
                        <a:pt x="97307" y="8135"/>
                        <a:pt x="97307" y="8426"/>
                      </a:cubicBezTo>
                      <a:cubicBezTo>
                        <a:pt x="97307" y="8426"/>
                        <a:pt x="95384" y="8426"/>
                        <a:pt x="95384" y="8426"/>
                      </a:cubicBezTo>
                      <a:cubicBezTo>
                        <a:pt x="95384" y="8426"/>
                        <a:pt x="95384" y="8426"/>
                        <a:pt x="95000" y="8716"/>
                      </a:cubicBezTo>
                      <a:cubicBezTo>
                        <a:pt x="95000" y="8716"/>
                        <a:pt x="94615" y="9007"/>
                        <a:pt x="93846" y="9297"/>
                      </a:cubicBezTo>
                      <a:cubicBezTo>
                        <a:pt x="93076" y="9297"/>
                        <a:pt x="93076" y="9297"/>
                        <a:pt x="93076" y="9588"/>
                      </a:cubicBezTo>
                      <a:cubicBezTo>
                        <a:pt x="93076" y="9878"/>
                        <a:pt x="92692" y="10169"/>
                        <a:pt x="93076" y="10460"/>
                      </a:cubicBezTo>
                      <a:cubicBezTo>
                        <a:pt x="93461" y="10750"/>
                        <a:pt x="94230" y="11041"/>
                        <a:pt x="94230" y="11041"/>
                      </a:cubicBezTo>
                      <a:cubicBezTo>
                        <a:pt x="94230" y="11041"/>
                        <a:pt x="96153" y="11622"/>
                        <a:pt x="96153" y="11331"/>
                      </a:cubicBezTo>
                      <a:cubicBezTo>
                        <a:pt x="96153" y="11331"/>
                        <a:pt x="98846" y="11331"/>
                        <a:pt x="98846" y="11331"/>
                      </a:cubicBezTo>
                      <a:cubicBezTo>
                        <a:pt x="100000" y="11331"/>
                        <a:pt x="100000" y="11331"/>
                        <a:pt x="100000" y="11331"/>
                      </a:cubicBezTo>
                      <a:cubicBezTo>
                        <a:pt x="100000" y="11331"/>
                        <a:pt x="100384" y="11912"/>
                        <a:pt x="100769" y="12203"/>
                      </a:cubicBezTo>
                      <a:cubicBezTo>
                        <a:pt x="100769" y="12203"/>
                        <a:pt x="102307" y="13075"/>
                        <a:pt x="102307" y="13075"/>
                      </a:cubicBezTo>
                      <a:cubicBezTo>
                        <a:pt x="103076" y="13075"/>
                        <a:pt x="103076" y="13075"/>
                        <a:pt x="103076" y="13075"/>
                      </a:cubicBezTo>
                      <a:cubicBezTo>
                        <a:pt x="103461" y="14237"/>
                        <a:pt x="103461" y="14237"/>
                        <a:pt x="103461" y="14237"/>
                      </a:cubicBezTo>
                      <a:cubicBezTo>
                        <a:pt x="103076" y="15108"/>
                        <a:pt x="103076" y="15108"/>
                        <a:pt x="103076" y="15108"/>
                      </a:cubicBezTo>
                      <a:cubicBezTo>
                        <a:pt x="101923" y="15399"/>
                        <a:pt x="101923" y="15399"/>
                        <a:pt x="101923" y="15399"/>
                      </a:cubicBezTo>
                      <a:cubicBezTo>
                        <a:pt x="100384" y="16271"/>
                        <a:pt x="100384" y="16271"/>
                        <a:pt x="100384" y="16271"/>
                      </a:cubicBezTo>
                      <a:cubicBezTo>
                        <a:pt x="99615" y="15980"/>
                        <a:pt x="99615" y="15980"/>
                        <a:pt x="99615" y="15980"/>
                      </a:cubicBezTo>
                      <a:cubicBezTo>
                        <a:pt x="99615" y="15980"/>
                        <a:pt x="100384" y="16561"/>
                        <a:pt x="100769" y="16561"/>
                      </a:cubicBezTo>
                      <a:cubicBezTo>
                        <a:pt x="101153" y="16561"/>
                        <a:pt x="101538" y="16852"/>
                        <a:pt x="101538" y="16852"/>
                      </a:cubicBezTo>
                      <a:cubicBezTo>
                        <a:pt x="101923" y="16852"/>
                        <a:pt x="103461" y="16852"/>
                        <a:pt x="105000" y="16852"/>
                      </a:cubicBezTo>
                      <a:cubicBezTo>
                        <a:pt x="105000" y="17142"/>
                        <a:pt x="105000" y="17142"/>
                        <a:pt x="105000" y="17433"/>
                      </a:cubicBezTo>
                      <a:cubicBezTo>
                        <a:pt x="105384" y="17723"/>
                        <a:pt x="105769" y="18886"/>
                        <a:pt x="105769" y="19176"/>
                      </a:cubicBezTo>
                      <a:cubicBezTo>
                        <a:pt x="105769" y="19176"/>
                        <a:pt x="106153" y="20338"/>
                        <a:pt x="106923" y="21210"/>
                      </a:cubicBezTo>
                      <a:cubicBezTo>
                        <a:pt x="108076" y="22372"/>
                        <a:pt x="107692" y="22663"/>
                        <a:pt x="107692" y="22663"/>
                      </a:cubicBezTo>
                      <a:cubicBezTo>
                        <a:pt x="107692" y="25278"/>
                        <a:pt x="107692" y="25278"/>
                        <a:pt x="107692" y="25278"/>
                      </a:cubicBezTo>
                      <a:cubicBezTo>
                        <a:pt x="107692" y="27602"/>
                        <a:pt x="107692" y="27602"/>
                        <a:pt x="107692" y="27602"/>
                      </a:cubicBezTo>
                      <a:cubicBezTo>
                        <a:pt x="105769" y="28765"/>
                        <a:pt x="105769" y="28765"/>
                        <a:pt x="105769" y="28765"/>
                      </a:cubicBezTo>
                      <a:cubicBezTo>
                        <a:pt x="105000" y="31380"/>
                        <a:pt x="105000" y="31380"/>
                        <a:pt x="105000" y="31380"/>
                      </a:cubicBezTo>
                      <a:cubicBezTo>
                        <a:pt x="105000" y="31380"/>
                        <a:pt x="105384" y="31670"/>
                        <a:pt x="105769" y="31670"/>
                      </a:cubicBezTo>
                      <a:cubicBezTo>
                        <a:pt x="106153" y="31961"/>
                        <a:pt x="107307" y="32832"/>
                        <a:pt x="107307" y="32832"/>
                      </a:cubicBezTo>
                      <a:cubicBezTo>
                        <a:pt x="107692" y="33123"/>
                        <a:pt x="110000" y="33995"/>
                        <a:pt x="111153" y="34285"/>
                      </a:cubicBezTo>
                      <a:cubicBezTo>
                        <a:pt x="112307" y="34866"/>
                        <a:pt x="111923" y="36319"/>
                        <a:pt x="111923" y="36319"/>
                      </a:cubicBezTo>
                      <a:cubicBezTo>
                        <a:pt x="111153" y="38353"/>
                        <a:pt x="111153" y="38353"/>
                        <a:pt x="111153" y="38353"/>
                      </a:cubicBezTo>
                      <a:cubicBezTo>
                        <a:pt x="111153" y="38353"/>
                        <a:pt x="111538" y="39515"/>
                        <a:pt x="112307" y="39515"/>
                      </a:cubicBezTo>
                      <a:cubicBezTo>
                        <a:pt x="112692" y="39225"/>
                        <a:pt x="113076" y="40968"/>
                        <a:pt x="113076" y="40968"/>
                      </a:cubicBezTo>
                      <a:cubicBezTo>
                        <a:pt x="113076" y="40968"/>
                        <a:pt x="113461" y="42711"/>
                        <a:pt x="113461" y="43002"/>
                      </a:cubicBezTo>
                      <a:cubicBezTo>
                        <a:pt x="113076" y="43292"/>
                        <a:pt x="113461" y="43583"/>
                        <a:pt x="113461" y="43583"/>
                      </a:cubicBezTo>
                      <a:cubicBezTo>
                        <a:pt x="114230" y="44745"/>
                        <a:pt x="114230" y="44745"/>
                        <a:pt x="114230" y="44745"/>
                      </a:cubicBezTo>
                      <a:cubicBezTo>
                        <a:pt x="114230" y="44745"/>
                        <a:pt x="113846" y="45617"/>
                        <a:pt x="113461" y="45907"/>
                      </a:cubicBezTo>
                      <a:cubicBezTo>
                        <a:pt x="113461" y="46489"/>
                        <a:pt x="113076" y="47070"/>
                        <a:pt x="113076" y="47070"/>
                      </a:cubicBezTo>
                      <a:cubicBezTo>
                        <a:pt x="113461" y="47941"/>
                        <a:pt x="113461" y="47941"/>
                        <a:pt x="113461" y="47941"/>
                      </a:cubicBezTo>
                      <a:cubicBezTo>
                        <a:pt x="115000" y="49394"/>
                        <a:pt x="115000" y="49394"/>
                        <a:pt x="115000" y="49394"/>
                      </a:cubicBezTo>
                      <a:cubicBezTo>
                        <a:pt x="115000" y="50847"/>
                        <a:pt x="115000" y="50847"/>
                        <a:pt x="115000" y="50847"/>
                      </a:cubicBezTo>
                      <a:cubicBezTo>
                        <a:pt x="115000" y="51719"/>
                        <a:pt x="115000" y="51719"/>
                        <a:pt x="115000" y="51719"/>
                      </a:cubicBezTo>
                      <a:cubicBezTo>
                        <a:pt x="115000" y="51719"/>
                        <a:pt x="116153" y="52009"/>
                        <a:pt x="116538" y="52009"/>
                      </a:cubicBezTo>
                      <a:cubicBezTo>
                        <a:pt x="116923" y="52009"/>
                        <a:pt x="117692" y="52590"/>
                        <a:pt x="117692" y="52590"/>
                      </a:cubicBezTo>
                      <a:cubicBezTo>
                        <a:pt x="117692" y="52590"/>
                        <a:pt x="117692" y="53171"/>
                        <a:pt x="117692" y="53462"/>
                      </a:cubicBezTo>
                      <a:cubicBezTo>
                        <a:pt x="117692" y="53462"/>
                        <a:pt x="118846" y="54624"/>
                        <a:pt x="118846" y="54624"/>
                      </a:cubicBezTo>
                      <a:cubicBezTo>
                        <a:pt x="119230" y="54915"/>
                        <a:pt x="120000" y="55786"/>
                        <a:pt x="120000" y="55786"/>
                      </a:cubicBezTo>
                      <a:cubicBezTo>
                        <a:pt x="120000" y="55786"/>
                        <a:pt x="120000" y="56368"/>
                        <a:pt x="118846" y="57239"/>
                      </a:cubicBezTo>
                      <a:cubicBezTo>
                        <a:pt x="118076" y="58111"/>
                        <a:pt x="118461" y="58111"/>
                        <a:pt x="118461" y="58401"/>
                      </a:cubicBezTo>
                      <a:cubicBezTo>
                        <a:pt x="118461" y="58692"/>
                        <a:pt x="118846" y="59273"/>
                        <a:pt x="118846" y="59273"/>
                      </a:cubicBezTo>
                      <a:cubicBezTo>
                        <a:pt x="118846" y="59273"/>
                        <a:pt x="118461" y="59564"/>
                        <a:pt x="118076" y="59854"/>
                      </a:cubicBezTo>
                      <a:cubicBezTo>
                        <a:pt x="118076" y="59854"/>
                        <a:pt x="117692" y="60435"/>
                        <a:pt x="117692" y="61016"/>
                      </a:cubicBezTo>
                      <a:cubicBezTo>
                        <a:pt x="116153" y="61888"/>
                        <a:pt x="116153" y="61888"/>
                        <a:pt x="116153" y="61888"/>
                      </a:cubicBezTo>
                      <a:cubicBezTo>
                        <a:pt x="116153" y="61888"/>
                        <a:pt x="116153" y="61888"/>
                        <a:pt x="115769" y="62179"/>
                      </a:cubicBezTo>
                      <a:cubicBezTo>
                        <a:pt x="115769" y="61888"/>
                        <a:pt x="115384" y="61888"/>
                        <a:pt x="115000" y="61888"/>
                      </a:cubicBezTo>
                      <a:cubicBezTo>
                        <a:pt x="114615" y="61598"/>
                        <a:pt x="114230" y="61307"/>
                        <a:pt x="114230" y="61307"/>
                      </a:cubicBezTo>
                      <a:cubicBezTo>
                        <a:pt x="114230" y="61307"/>
                        <a:pt x="114230" y="60726"/>
                        <a:pt x="114230" y="60145"/>
                      </a:cubicBezTo>
                      <a:cubicBezTo>
                        <a:pt x="114230" y="59564"/>
                        <a:pt x="114230" y="59854"/>
                        <a:pt x="114230" y="59564"/>
                      </a:cubicBezTo>
                      <a:cubicBezTo>
                        <a:pt x="113846" y="59273"/>
                        <a:pt x="113076" y="58983"/>
                        <a:pt x="112307" y="58692"/>
                      </a:cubicBezTo>
                      <a:cubicBezTo>
                        <a:pt x="111538" y="58692"/>
                        <a:pt x="110000" y="58692"/>
                        <a:pt x="109615" y="58983"/>
                      </a:cubicBezTo>
                      <a:cubicBezTo>
                        <a:pt x="109615" y="58983"/>
                        <a:pt x="109615" y="60145"/>
                        <a:pt x="109615" y="60145"/>
                      </a:cubicBezTo>
                      <a:cubicBezTo>
                        <a:pt x="110384" y="61016"/>
                        <a:pt x="110384" y="61016"/>
                        <a:pt x="110384" y="61016"/>
                      </a:cubicBezTo>
                      <a:cubicBezTo>
                        <a:pt x="110000" y="61598"/>
                        <a:pt x="110000" y="61598"/>
                        <a:pt x="110000" y="61598"/>
                      </a:cubicBezTo>
                      <a:cubicBezTo>
                        <a:pt x="110000" y="61598"/>
                        <a:pt x="106538" y="62179"/>
                        <a:pt x="105384" y="62179"/>
                      </a:cubicBezTo>
                      <a:cubicBezTo>
                        <a:pt x="104230" y="62179"/>
                        <a:pt x="104615" y="62760"/>
                        <a:pt x="104615" y="62760"/>
                      </a:cubicBezTo>
                      <a:cubicBezTo>
                        <a:pt x="103846" y="63922"/>
                        <a:pt x="103846" y="63922"/>
                        <a:pt x="103846" y="63922"/>
                      </a:cubicBezTo>
                      <a:cubicBezTo>
                        <a:pt x="103076" y="64503"/>
                        <a:pt x="103076" y="64503"/>
                        <a:pt x="103076" y="64503"/>
                      </a:cubicBezTo>
                      <a:cubicBezTo>
                        <a:pt x="100769" y="65084"/>
                        <a:pt x="100769" y="65084"/>
                        <a:pt x="100769" y="65084"/>
                      </a:cubicBezTo>
                      <a:cubicBezTo>
                        <a:pt x="100769" y="65084"/>
                        <a:pt x="98461" y="66537"/>
                        <a:pt x="98076" y="66537"/>
                      </a:cubicBezTo>
                      <a:cubicBezTo>
                        <a:pt x="96538" y="67409"/>
                        <a:pt x="96538" y="67409"/>
                        <a:pt x="96538" y="67409"/>
                      </a:cubicBezTo>
                      <a:cubicBezTo>
                        <a:pt x="96538" y="67409"/>
                        <a:pt x="96153" y="67409"/>
                        <a:pt x="95000" y="67990"/>
                      </a:cubicBezTo>
                      <a:cubicBezTo>
                        <a:pt x="93461" y="68280"/>
                        <a:pt x="94230" y="68861"/>
                        <a:pt x="93846" y="69152"/>
                      </a:cubicBezTo>
                      <a:cubicBezTo>
                        <a:pt x="93846" y="69733"/>
                        <a:pt x="93461" y="69733"/>
                        <a:pt x="92692" y="70024"/>
                      </a:cubicBezTo>
                      <a:cubicBezTo>
                        <a:pt x="92307" y="70024"/>
                        <a:pt x="91153" y="69733"/>
                        <a:pt x="90384" y="69733"/>
                      </a:cubicBezTo>
                      <a:cubicBezTo>
                        <a:pt x="90000" y="69733"/>
                        <a:pt x="88846" y="70314"/>
                        <a:pt x="88076" y="70314"/>
                      </a:cubicBezTo>
                      <a:cubicBezTo>
                        <a:pt x="86923" y="70314"/>
                        <a:pt x="86923" y="70314"/>
                        <a:pt x="86923" y="70314"/>
                      </a:cubicBezTo>
                      <a:cubicBezTo>
                        <a:pt x="85384" y="71767"/>
                        <a:pt x="85384" y="71767"/>
                        <a:pt x="85384" y="71767"/>
                      </a:cubicBezTo>
                      <a:cubicBezTo>
                        <a:pt x="84230" y="73510"/>
                        <a:pt x="84230" y="73510"/>
                        <a:pt x="84230" y="73510"/>
                      </a:cubicBezTo>
                      <a:cubicBezTo>
                        <a:pt x="83846" y="72639"/>
                        <a:pt x="83846" y="72639"/>
                        <a:pt x="83846" y="72639"/>
                      </a:cubicBezTo>
                      <a:cubicBezTo>
                        <a:pt x="83461" y="71476"/>
                        <a:pt x="83461" y="71476"/>
                        <a:pt x="83461" y="71476"/>
                      </a:cubicBezTo>
                      <a:cubicBezTo>
                        <a:pt x="81538" y="71476"/>
                        <a:pt x="81538" y="71476"/>
                        <a:pt x="81538" y="71476"/>
                      </a:cubicBezTo>
                      <a:cubicBezTo>
                        <a:pt x="81923" y="72348"/>
                        <a:pt x="81923" y="72348"/>
                        <a:pt x="81923" y="72348"/>
                      </a:cubicBezTo>
                      <a:cubicBezTo>
                        <a:pt x="81923" y="72348"/>
                        <a:pt x="82692" y="74382"/>
                        <a:pt x="83076" y="74673"/>
                      </a:cubicBezTo>
                      <a:cubicBezTo>
                        <a:pt x="83461" y="74963"/>
                        <a:pt x="83846" y="74963"/>
                        <a:pt x="84615" y="75254"/>
                      </a:cubicBezTo>
                      <a:cubicBezTo>
                        <a:pt x="85769" y="75835"/>
                        <a:pt x="85769" y="75835"/>
                        <a:pt x="86923" y="76416"/>
                      </a:cubicBezTo>
                      <a:cubicBezTo>
                        <a:pt x="88076" y="76997"/>
                        <a:pt x="87692" y="77578"/>
                        <a:pt x="87692" y="77869"/>
                      </a:cubicBezTo>
                      <a:cubicBezTo>
                        <a:pt x="87692" y="78450"/>
                        <a:pt x="87692" y="78450"/>
                        <a:pt x="86923" y="79031"/>
                      </a:cubicBezTo>
                      <a:cubicBezTo>
                        <a:pt x="86153" y="79903"/>
                        <a:pt x="86923" y="80484"/>
                        <a:pt x="86923" y="80484"/>
                      </a:cubicBezTo>
                      <a:cubicBezTo>
                        <a:pt x="86923" y="80484"/>
                        <a:pt x="87307" y="81065"/>
                        <a:pt x="88076" y="81646"/>
                      </a:cubicBezTo>
                      <a:cubicBezTo>
                        <a:pt x="88846" y="82227"/>
                        <a:pt x="88461" y="82518"/>
                        <a:pt x="88846" y="83389"/>
                      </a:cubicBezTo>
                      <a:cubicBezTo>
                        <a:pt x="88846" y="84261"/>
                        <a:pt x="88846" y="83970"/>
                        <a:pt x="89615" y="84842"/>
                      </a:cubicBezTo>
                      <a:cubicBezTo>
                        <a:pt x="90384" y="85423"/>
                        <a:pt x="90000" y="85133"/>
                        <a:pt x="90769" y="85714"/>
                      </a:cubicBezTo>
                      <a:cubicBezTo>
                        <a:pt x="91538" y="86295"/>
                        <a:pt x="91538" y="86585"/>
                        <a:pt x="91538" y="86585"/>
                      </a:cubicBezTo>
                      <a:cubicBezTo>
                        <a:pt x="91538" y="86585"/>
                        <a:pt x="93846" y="86004"/>
                        <a:pt x="94615" y="86585"/>
                      </a:cubicBezTo>
                      <a:cubicBezTo>
                        <a:pt x="95384" y="87167"/>
                        <a:pt x="95000" y="86876"/>
                        <a:pt x="96538" y="87748"/>
                      </a:cubicBezTo>
                      <a:cubicBezTo>
                        <a:pt x="97692" y="88910"/>
                        <a:pt x="96538" y="88329"/>
                        <a:pt x="96923" y="89200"/>
                      </a:cubicBezTo>
                      <a:cubicBezTo>
                        <a:pt x="97307" y="89782"/>
                        <a:pt x="97692" y="89491"/>
                        <a:pt x="97692" y="89491"/>
                      </a:cubicBezTo>
                      <a:cubicBezTo>
                        <a:pt x="97692" y="89491"/>
                        <a:pt x="98076" y="89782"/>
                        <a:pt x="98846" y="89782"/>
                      </a:cubicBezTo>
                      <a:cubicBezTo>
                        <a:pt x="99615" y="89782"/>
                        <a:pt x="99615" y="90363"/>
                        <a:pt x="99615" y="90944"/>
                      </a:cubicBezTo>
                      <a:cubicBezTo>
                        <a:pt x="100000" y="91525"/>
                        <a:pt x="100000" y="91525"/>
                        <a:pt x="100769" y="92106"/>
                      </a:cubicBezTo>
                      <a:cubicBezTo>
                        <a:pt x="101153" y="92397"/>
                        <a:pt x="101538" y="92106"/>
                        <a:pt x="102692" y="91815"/>
                      </a:cubicBezTo>
                      <a:cubicBezTo>
                        <a:pt x="103461" y="91815"/>
                        <a:pt x="103076" y="92397"/>
                        <a:pt x="103076" y="92687"/>
                      </a:cubicBezTo>
                      <a:cubicBezTo>
                        <a:pt x="103076" y="92978"/>
                        <a:pt x="103846" y="92978"/>
                        <a:pt x="104615" y="93268"/>
                      </a:cubicBezTo>
                      <a:cubicBezTo>
                        <a:pt x="105384" y="93559"/>
                        <a:pt x="105000" y="93559"/>
                        <a:pt x="105769" y="94140"/>
                      </a:cubicBezTo>
                      <a:cubicBezTo>
                        <a:pt x="105769" y="94140"/>
                        <a:pt x="105769" y="94140"/>
                        <a:pt x="105769" y="94430"/>
                      </a:cubicBezTo>
                      <a:close/>
                      <a:moveTo>
                        <a:pt x="21153" y="114479"/>
                      </a:moveTo>
                      <a:cubicBezTo>
                        <a:pt x="21153" y="114479"/>
                        <a:pt x="21153" y="114479"/>
                        <a:pt x="21153" y="114479"/>
                      </a:cubicBezTo>
                      <a:cubicBezTo>
                        <a:pt x="21153" y="114479"/>
                        <a:pt x="21153" y="114479"/>
                        <a:pt x="21153" y="114479"/>
                      </a:cubicBezTo>
                      <a:cubicBezTo>
                        <a:pt x="21153" y="114479"/>
                        <a:pt x="21153" y="114479"/>
                        <a:pt x="21153" y="114479"/>
                      </a:cubicBezTo>
                      <a:close/>
                      <a:moveTo>
                        <a:pt x="49230" y="116222"/>
                      </a:moveTo>
                      <a:cubicBezTo>
                        <a:pt x="49230" y="116222"/>
                        <a:pt x="49230" y="116222"/>
                        <a:pt x="49230" y="116222"/>
                      </a:cubicBezTo>
                      <a:cubicBezTo>
                        <a:pt x="49230" y="116222"/>
                        <a:pt x="49230" y="116222"/>
                        <a:pt x="49230" y="116222"/>
                      </a:cubicBezTo>
                      <a:cubicBezTo>
                        <a:pt x="49230" y="116222"/>
                        <a:pt x="49230" y="116222"/>
                        <a:pt x="49230" y="116222"/>
                      </a:cubicBezTo>
                      <a:cubicBezTo>
                        <a:pt x="49230" y="116222"/>
                        <a:pt x="49230" y="116222"/>
                        <a:pt x="49230" y="116222"/>
                      </a:cubicBezTo>
                      <a:close/>
                      <a:moveTo>
                        <a:pt x="120000" y="59273"/>
                      </a:moveTo>
                      <a:cubicBezTo>
                        <a:pt x="120000" y="59273"/>
                        <a:pt x="120000" y="59273"/>
                        <a:pt x="120000" y="59273"/>
                      </a:cubicBezTo>
                      <a:cubicBezTo>
                        <a:pt x="120000" y="59273"/>
                        <a:pt x="120000" y="59273"/>
                        <a:pt x="120000" y="59273"/>
                      </a:cubicBezTo>
                      <a:cubicBezTo>
                        <a:pt x="120000" y="59273"/>
                        <a:pt x="120000" y="59273"/>
                        <a:pt x="120000" y="5927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5" name="Shape 2047"/>
                <p:cNvSpPr/>
                <p:nvPr/>
              </p:nvSpPr>
              <p:spPr>
                <a:xfrm>
                  <a:off x="4736816" y="3211660"/>
                  <a:ext cx="1121418" cy="1240146"/>
                </a:xfrm>
                <a:custGeom>
                  <a:avLst/>
                  <a:gdLst/>
                  <a:ahLst/>
                  <a:cxnLst/>
                  <a:rect l="0" t="0" r="0" b="0"/>
                  <a:pathLst>
                    <a:path w="120000" h="120000" extrusionOk="0">
                      <a:moveTo>
                        <a:pt x="91707" y="101818"/>
                      </a:moveTo>
                      <a:cubicBezTo>
                        <a:pt x="91951" y="103315"/>
                        <a:pt x="91951" y="103315"/>
                        <a:pt x="91951" y="103315"/>
                      </a:cubicBezTo>
                      <a:cubicBezTo>
                        <a:pt x="91951" y="103315"/>
                        <a:pt x="90487" y="105454"/>
                        <a:pt x="90487" y="105668"/>
                      </a:cubicBezTo>
                      <a:cubicBezTo>
                        <a:pt x="90487" y="105882"/>
                        <a:pt x="90000" y="106737"/>
                        <a:pt x="89512" y="107379"/>
                      </a:cubicBezTo>
                      <a:cubicBezTo>
                        <a:pt x="89268" y="107807"/>
                        <a:pt x="87804" y="109518"/>
                        <a:pt x="87804" y="109518"/>
                      </a:cubicBezTo>
                      <a:cubicBezTo>
                        <a:pt x="87804" y="109518"/>
                        <a:pt x="87804" y="110160"/>
                        <a:pt x="88292" y="110588"/>
                      </a:cubicBezTo>
                      <a:cubicBezTo>
                        <a:pt x="88536" y="111016"/>
                        <a:pt x="89268" y="111657"/>
                        <a:pt x="89268" y="112299"/>
                      </a:cubicBezTo>
                      <a:cubicBezTo>
                        <a:pt x="89268" y="112727"/>
                        <a:pt x="90487" y="113368"/>
                        <a:pt x="90487" y="113368"/>
                      </a:cubicBezTo>
                      <a:cubicBezTo>
                        <a:pt x="90731" y="114652"/>
                        <a:pt x="90731" y="114652"/>
                        <a:pt x="90731" y="114652"/>
                      </a:cubicBezTo>
                      <a:cubicBezTo>
                        <a:pt x="90731" y="114652"/>
                        <a:pt x="91463" y="115294"/>
                        <a:pt x="91463" y="115508"/>
                      </a:cubicBezTo>
                      <a:cubicBezTo>
                        <a:pt x="91219" y="115721"/>
                        <a:pt x="90000" y="116791"/>
                        <a:pt x="90000" y="116791"/>
                      </a:cubicBezTo>
                      <a:cubicBezTo>
                        <a:pt x="89756" y="118074"/>
                        <a:pt x="89756" y="118074"/>
                        <a:pt x="89756" y="118074"/>
                      </a:cubicBezTo>
                      <a:cubicBezTo>
                        <a:pt x="89756" y="118716"/>
                        <a:pt x="89756" y="118716"/>
                        <a:pt x="89756" y="118716"/>
                      </a:cubicBezTo>
                      <a:cubicBezTo>
                        <a:pt x="89756" y="118716"/>
                        <a:pt x="90000" y="118716"/>
                        <a:pt x="89756" y="119358"/>
                      </a:cubicBezTo>
                      <a:cubicBezTo>
                        <a:pt x="89512" y="119786"/>
                        <a:pt x="89512" y="119786"/>
                        <a:pt x="89268" y="119786"/>
                      </a:cubicBezTo>
                      <a:cubicBezTo>
                        <a:pt x="89024" y="120000"/>
                        <a:pt x="86585" y="119786"/>
                        <a:pt x="86585" y="119786"/>
                      </a:cubicBezTo>
                      <a:cubicBezTo>
                        <a:pt x="84146" y="119358"/>
                        <a:pt x="84146" y="119358"/>
                        <a:pt x="84146" y="119358"/>
                      </a:cubicBezTo>
                      <a:cubicBezTo>
                        <a:pt x="84146" y="119358"/>
                        <a:pt x="82926" y="119144"/>
                        <a:pt x="82439" y="118930"/>
                      </a:cubicBezTo>
                      <a:cubicBezTo>
                        <a:pt x="82195" y="118716"/>
                        <a:pt x="81707" y="118502"/>
                        <a:pt x="81707" y="118502"/>
                      </a:cubicBezTo>
                      <a:cubicBezTo>
                        <a:pt x="80975" y="116577"/>
                        <a:pt x="80975" y="116577"/>
                        <a:pt x="80975" y="116577"/>
                      </a:cubicBezTo>
                      <a:cubicBezTo>
                        <a:pt x="79024" y="116363"/>
                        <a:pt x="79024" y="116363"/>
                        <a:pt x="79024" y="116363"/>
                      </a:cubicBezTo>
                      <a:cubicBezTo>
                        <a:pt x="74146" y="115721"/>
                        <a:pt x="74146" y="115721"/>
                        <a:pt x="74146" y="115721"/>
                      </a:cubicBezTo>
                      <a:cubicBezTo>
                        <a:pt x="74146" y="115721"/>
                        <a:pt x="72439" y="114438"/>
                        <a:pt x="72195" y="114224"/>
                      </a:cubicBezTo>
                      <a:cubicBezTo>
                        <a:pt x="71707" y="114010"/>
                        <a:pt x="71219" y="113368"/>
                        <a:pt x="71219" y="113368"/>
                      </a:cubicBezTo>
                      <a:cubicBezTo>
                        <a:pt x="70243" y="113155"/>
                        <a:pt x="70243" y="113155"/>
                        <a:pt x="70243" y="113155"/>
                      </a:cubicBezTo>
                      <a:cubicBezTo>
                        <a:pt x="68292" y="111443"/>
                        <a:pt x="68292" y="111443"/>
                        <a:pt x="68292" y="111443"/>
                      </a:cubicBezTo>
                      <a:cubicBezTo>
                        <a:pt x="66341" y="111443"/>
                        <a:pt x="66341" y="111443"/>
                        <a:pt x="66341" y="111443"/>
                      </a:cubicBezTo>
                      <a:cubicBezTo>
                        <a:pt x="64878" y="110588"/>
                        <a:pt x="64878" y="110588"/>
                        <a:pt x="64878" y="110588"/>
                      </a:cubicBezTo>
                      <a:cubicBezTo>
                        <a:pt x="63170" y="110588"/>
                        <a:pt x="63170" y="110588"/>
                        <a:pt x="63170" y="110588"/>
                      </a:cubicBezTo>
                      <a:cubicBezTo>
                        <a:pt x="63170" y="110588"/>
                        <a:pt x="61951" y="110374"/>
                        <a:pt x="61951" y="110160"/>
                      </a:cubicBezTo>
                      <a:cubicBezTo>
                        <a:pt x="61707" y="109732"/>
                        <a:pt x="60243" y="109090"/>
                        <a:pt x="60243" y="109090"/>
                      </a:cubicBezTo>
                      <a:cubicBezTo>
                        <a:pt x="60243" y="109090"/>
                        <a:pt x="60243" y="107807"/>
                        <a:pt x="60243" y="107593"/>
                      </a:cubicBezTo>
                      <a:cubicBezTo>
                        <a:pt x="60243" y="107379"/>
                        <a:pt x="60487" y="105240"/>
                        <a:pt x="60487" y="105240"/>
                      </a:cubicBezTo>
                      <a:cubicBezTo>
                        <a:pt x="61463" y="104171"/>
                        <a:pt x="61463" y="104171"/>
                        <a:pt x="61463" y="104171"/>
                      </a:cubicBezTo>
                      <a:cubicBezTo>
                        <a:pt x="62926" y="103743"/>
                        <a:pt x="62926" y="103743"/>
                        <a:pt x="62926" y="103743"/>
                      </a:cubicBezTo>
                      <a:cubicBezTo>
                        <a:pt x="63414" y="104598"/>
                        <a:pt x="63414" y="104598"/>
                        <a:pt x="63414" y="104598"/>
                      </a:cubicBezTo>
                      <a:cubicBezTo>
                        <a:pt x="65121" y="105240"/>
                        <a:pt x="65121" y="105240"/>
                        <a:pt x="65121" y="105240"/>
                      </a:cubicBezTo>
                      <a:cubicBezTo>
                        <a:pt x="66097" y="104598"/>
                        <a:pt x="66097" y="104598"/>
                        <a:pt x="66097" y="104598"/>
                      </a:cubicBezTo>
                      <a:cubicBezTo>
                        <a:pt x="66585" y="103315"/>
                        <a:pt x="66585" y="103315"/>
                        <a:pt x="66585" y="103315"/>
                      </a:cubicBezTo>
                      <a:cubicBezTo>
                        <a:pt x="68048" y="102887"/>
                        <a:pt x="68048" y="102887"/>
                        <a:pt x="68048" y="102887"/>
                      </a:cubicBezTo>
                      <a:cubicBezTo>
                        <a:pt x="69756" y="103529"/>
                        <a:pt x="69756" y="103529"/>
                        <a:pt x="69756" y="103529"/>
                      </a:cubicBezTo>
                      <a:cubicBezTo>
                        <a:pt x="70975" y="104598"/>
                        <a:pt x="70975" y="104598"/>
                        <a:pt x="70975" y="104598"/>
                      </a:cubicBezTo>
                      <a:cubicBezTo>
                        <a:pt x="73414" y="105240"/>
                        <a:pt x="73414" y="105240"/>
                        <a:pt x="73414" y="105240"/>
                      </a:cubicBezTo>
                      <a:cubicBezTo>
                        <a:pt x="75609" y="104812"/>
                        <a:pt x="75609" y="104812"/>
                        <a:pt x="75609" y="104812"/>
                      </a:cubicBezTo>
                      <a:cubicBezTo>
                        <a:pt x="77560" y="104598"/>
                        <a:pt x="77560" y="104598"/>
                        <a:pt x="77560" y="104598"/>
                      </a:cubicBezTo>
                      <a:cubicBezTo>
                        <a:pt x="77560" y="104598"/>
                        <a:pt x="78536" y="104598"/>
                        <a:pt x="79024" y="104598"/>
                      </a:cubicBezTo>
                      <a:cubicBezTo>
                        <a:pt x="79268" y="104385"/>
                        <a:pt x="80731" y="103957"/>
                        <a:pt x="80731" y="103957"/>
                      </a:cubicBezTo>
                      <a:cubicBezTo>
                        <a:pt x="83170" y="103315"/>
                        <a:pt x="83170" y="103315"/>
                        <a:pt x="83170" y="103315"/>
                      </a:cubicBezTo>
                      <a:cubicBezTo>
                        <a:pt x="84634" y="101604"/>
                        <a:pt x="84634" y="101604"/>
                        <a:pt x="84634" y="101604"/>
                      </a:cubicBezTo>
                      <a:cubicBezTo>
                        <a:pt x="86585" y="102245"/>
                        <a:pt x="86585" y="102245"/>
                        <a:pt x="86585" y="102245"/>
                      </a:cubicBezTo>
                      <a:cubicBezTo>
                        <a:pt x="88292" y="102459"/>
                        <a:pt x="88292" y="102459"/>
                        <a:pt x="88292" y="102459"/>
                      </a:cubicBezTo>
                      <a:cubicBezTo>
                        <a:pt x="89024" y="101390"/>
                        <a:pt x="89024" y="101390"/>
                        <a:pt x="89024" y="101390"/>
                      </a:cubicBezTo>
                      <a:cubicBezTo>
                        <a:pt x="90731" y="100534"/>
                        <a:pt x="90731" y="100534"/>
                        <a:pt x="90731" y="100534"/>
                      </a:cubicBezTo>
                      <a:cubicBezTo>
                        <a:pt x="91707" y="101818"/>
                        <a:pt x="91707" y="101818"/>
                        <a:pt x="91707" y="101818"/>
                      </a:cubicBezTo>
                      <a:close/>
                      <a:moveTo>
                        <a:pt x="94634" y="100320"/>
                      </a:moveTo>
                      <a:cubicBezTo>
                        <a:pt x="94634" y="100320"/>
                        <a:pt x="94634" y="100320"/>
                        <a:pt x="94634" y="100320"/>
                      </a:cubicBezTo>
                      <a:cubicBezTo>
                        <a:pt x="93658" y="101176"/>
                        <a:pt x="93658" y="101176"/>
                        <a:pt x="93658" y="101176"/>
                      </a:cubicBezTo>
                      <a:cubicBezTo>
                        <a:pt x="92682" y="101818"/>
                        <a:pt x="92682" y="101818"/>
                        <a:pt x="92682" y="101818"/>
                      </a:cubicBezTo>
                      <a:cubicBezTo>
                        <a:pt x="92682" y="101818"/>
                        <a:pt x="92926" y="102673"/>
                        <a:pt x="92926" y="103101"/>
                      </a:cubicBezTo>
                      <a:cubicBezTo>
                        <a:pt x="93170" y="103529"/>
                        <a:pt x="93902" y="104598"/>
                        <a:pt x="93902" y="104598"/>
                      </a:cubicBezTo>
                      <a:cubicBezTo>
                        <a:pt x="96341" y="104598"/>
                        <a:pt x="96341" y="104598"/>
                        <a:pt x="96341" y="104598"/>
                      </a:cubicBezTo>
                      <a:cubicBezTo>
                        <a:pt x="98048" y="103743"/>
                        <a:pt x="98048" y="103743"/>
                        <a:pt x="98048" y="103743"/>
                      </a:cubicBezTo>
                      <a:cubicBezTo>
                        <a:pt x="98292" y="102245"/>
                        <a:pt x="98292" y="102245"/>
                        <a:pt x="98292" y="102245"/>
                      </a:cubicBezTo>
                      <a:cubicBezTo>
                        <a:pt x="99024" y="100748"/>
                        <a:pt x="99024" y="100748"/>
                        <a:pt x="99024" y="100748"/>
                      </a:cubicBezTo>
                      <a:cubicBezTo>
                        <a:pt x="100487" y="99893"/>
                        <a:pt x="100487" y="99893"/>
                        <a:pt x="100487" y="99893"/>
                      </a:cubicBezTo>
                      <a:cubicBezTo>
                        <a:pt x="101707" y="98823"/>
                        <a:pt x="101707" y="98823"/>
                        <a:pt x="101707" y="98823"/>
                      </a:cubicBezTo>
                      <a:cubicBezTo>
                        <a:pt x="102439" y="97754"/>
                        <a:pt x="102439" y="97754"/>
                        <a:pt x="102439" y="97754"/>
                      </a:cubicBezTo>
                      <a:cubicBezTo>
                        <a:pt x="102682" y="94973"/>
                        <a:pt x="102682" y="94973"/>
                        <a:pt x="102682" y="94973"/>
                      </a:cubicBezTo>
                      <a:cubicBezTo>
                        <a:pt x="103414" y="92834"/>
                        <a:pt x="103414" y="92834"/>
                        <a:pt x="103414" y="92834"/>
                      </a:cubicBezTo>
                      <a:cubicBezTo>
                        <a:pt x="107317" y="91550"/>
                        <a:pt x="107317" y="91550"/>
                        <a:pt x="107317" y="91550"/>
                      </a:cubicBezTo>
                      <a:cubicBezTo>
                        <a:pt x="108048" y="91122"/>
                        <a:pt x="108048" y="91122"/>
                        <a:pt x="108048" y="91122"/>
                      </a:cubicBezTo>
                      <a:cubicBezTo>
                        <a:pt x="108048" y="91122"/>
                        <a:pt x="108048" y="90695"/>
                        <a:pt x="107804" y="90267"/>
                      </a:cubicBezTo>
                      <a:cubicBezTo>
                        <a:pt x="107804" y="90053"/>
                        <a:pt x="107073" y="89411"/>
                        <a:pt x="107073" y="89411"/>
                      </a:cubicBezTo>
                      <a:cubicBezTo>
                        <a:pt x="107073" y="89411"/>
                        <a:pt x="107317" y="88770"/>
                        <a:pt x="107317" y="88556"/>
                      </a:cubicBezTo>
                      <a:cubicBezTo>
                        <a:pt x="107317" y="88342"/>
                        <a:pt x="107073" y="86844"/>
                        <a:pt x="107073" y="86844"/>
                      </a:cubicBezTo>
                      <a:cubicBezTo>
                        <a:pt x="106585" y="85347"/>
                        <a:pt x="106585" y="85347"/>
                        <a:pt x="106585" y="85347"/>
                      </a:cubicBezTo>
                      <a:cubicBezTo>
                        <a:pt x="106585" y="85347"/>
                        <a:pt x="106097" y="85347"/>
                        <a:pt x="105365" y="84919"/>
                      </a:cubicBezTo>
                      <a:cubicBezTo>
                        <a:pt x="104634" y="84705"/>
                        <a:pt x="103414" y="84064"/>
                        <a:pt x="103414" y="84064"/>
                      </a:cubicBezTo>
                      <a:cubicBezTo>
                        <a:pt x="102195" y="83636"/>
                        <a:pt x="102195" y="83636"/>
                        <a:pt x="102195" y="83636"/>
                      </a:cubicBezTo>
                      <a:cubicBezTo>
                        <a:pt x="100731" y="83422"/>
                        <a:pt x="100731" y="83422"/>
                        <a:pt x="100731" y="83422"/>
                      </a:cubicBezTo>
                      <a:cubicBezTo>
                        <a:pt x="100243" y="82352"/>
                        <a:pt x="100243" y="82352"/>
                        <a:pt x="100243" y="82352"/>
                      </a:cubicBezTo>
                      <a:cubicBezTo>
                        <a:pt x="101219" y="79358"/>
                        <a:pt x="101219" y="79358"/>
                        <a:pt x="101219" y="79358"/>
                      </a:cubicBezTo>
                      <a:cubicBezTo>
                        <a:pt x="100487" y="77860"/>
                        <a:pt x="100487" y="77860"/>
                        <a:pt x="100487" y="77860"/>
                      </a:cubicBezTo>
                      <a:cubicBezTo>
                        <a:pt x="102682" y="75721"/>
                        <a:pt x="102682" y="75721"/>
                        <a:pt x="102682" y="75721"/>
                      </a:cubicBezTo>
                      <a:cubicBezTo>
                        <a:pt x="103658" y="74224"/>
                        <a:pt x="103658" y="74224"/>
                        <a:pt x="103658" y="74224"/>
                      </a:cubicBezTo>
                      <a:cubicBezTo>
                        <a:pt x="104878" y="73368"/>
                        <a:pt x="104878" y="73368"/>
                        <a:pt x="104878" y="73368"/>
                      </a:cubicBezTo>
                      <a:cubicBezTo>
                        <a:pt x="106829" y="73796"/>
                        <a:pt x="106829" y="73796"/>
                        <a:pt x="106829" y="73796"/>
                      </a:cubicBezTo>
                      <a:cubicBezTo>
                        <a:pt x="107560" y="74652"/>
                        <a:pt x="107560" y="74652"/>
                        <a:pt x="107560" y="74652"/>
                      </a:cubicBezTo>
                      <a:cubicBezTo>
                        <a:pt x="108780" y="74866"/>
                        <a:pt x="108780" y="74866"/>
                        <a:pt x="108780" y="74866"/>
                      </a:cubicBezTo>
                      <a:cubicBezTo>
                        <a:pt x="110975" y="74866"/>
                        <a:pt x="110975" y="74866"/>
                        <a:pt x="110975" y="74866"/>
                      </a:cubicBezTo>
                      <a:cubicBezTo>
                        <a:pt x="113414" y="75294"/>
                        <a:pt x="113414" y="75294"/>
                        <a:pt x="113414" y="75294"/>
                      </a:cubicBezTo>
                      <a:cubicBezTo>
                        <a:pt x="114390" y="76577"/>
                        <a:pt x="114390" y="76577"/>
                        <a:pt x="114390" y="76577"/>
                      </a:cubicBezTo>
                      <a:cubicBezTo>
                        <a:pt x="115365" y="78074"/>
                        <a:pt x="115365" y="78074"/>
                        <a:pt x="115365" y="78074"/>
                      </a:cubicBezTo>
                      <a:cubicBezTo>
                        <a:pt x="115365" y="78074"/>
                        <a:pt x="115853" y="78716"/>
                        <a:pt x="116097" y="78930"/>
                      </a:cubicBezTo>
                      <a:cubicBezTo>
                        <a:pt x="116097" y="78930"/>
                        <a:pt x="117073" y="79572"/>
                        <a:pt x="117317" y="79572"/>
                      </a:cubicBezTo>
                      <a:cubicBezTo>
                        <a:pt x="117560" y="79786"/>
                        <a:pt x="119024" y="80000"/>
                        <a:pt x="119024" y="80000"/>
                      </a:cubicBezTo>
                      <a:cubicBezTo>
                        <a:pt x="119024" y="80000"/>
                        <a:pt x="119024" y="78502"/>
                        <a:pt x="119268" y="78074"/>
                      </a:cubicBezTo>
                      <a:cubicBezTo>
                        <a:pt x="119512" y="77860"/>
                        <a:pt x="120000" y="77005"/>
                        <a:pt x="120000" y="76791"/>
                      </a:cubicBezTo>
                      <a:cubicBezTo>
                        <a:pt x="120000" y="76577"/>
                        <a:pt x="119512" y="75080"/>
                        <a:pt x="119512" y="75080"/>
                      </a:cubicBezTo>
                      <a:cubicBezTo>
                        <a:pt x="117804" y="73368"/>
                        <a:pt x="117804" y="73368"/>
                        <a:pt x="117804" y="73368"/>
                      </a:cubicBezTo>
                      <a:cubicBezTo>
                        <a:pt x="116097" y="72299"/>
                        <a:pt x="116097" y="72299"/>
                        <a:pt x="116097" y="72299"/>
                      </a:cubicBezTo>
                      <a:cubicBezTo>
                        <a:pt x="111951" y="69946"/>
                        <a:pt x="111951" y="69946"/>
                        <a:pt x="111951" y="69946"/>
                      </a:cubicBezTo>
                      <a:cubicBezTo>
                        <a:pt x="106097" y="68235"/>
                        <a:pt x="106097" y="68235"/>
                        <a:pt x="106097" y="68235"/>
                      </a:cubicBezTo>
                      <a:cubicBezTo>
                        <a:pt x="102195" y="66096"/>
                        <a:pt x="102195" y="66096"/>
                        <a:pt x="102195" y="66096"/>
                      </a:cubicBezTo>
                      <a:cubicBezTo>
                        <a:pt x="99024" y="65454"/>
                        <a:pt x="99024" y="65454"/>
                        <a:pt x="99024" y="65454"/>
                      </a:cubicBezTo>
                      <a:cubicBezTo>
                        <a:pt x="99024" y="65454"/>
                        <a:pt x="95609" y="63957"/>
                        <a:pt x="95365" y="63957"/>
                      </a:cubicBezTo>
                      <a:cubicBezTo>
                        <a:pt x="95121" y="63957"/>
                        <a:pt x="94390" y="63743"/>
                        <a:pt x="94390" y="63743"/>
                      </a:cubicBezTo>
                      <a:cubicBezTo>
                        <a:pt x="94390" y="63743"/>
                        <a:pt x="92439" y="63315"/>
                        <a:pt x="92439" y="63101"/>
                      </a:cubicBezTo>
                      <a:cubicBezTo>
                        <a:pt x="92195" y="62887"/>
                        <a:pt x="91951" y="62245"/>
                        <a:pt x="91707" y="62032"/>
                      </a:cubicBezTo>
                      <a:cubicBezTo>
                        <a:pt x="91707" y="61818"/>
                        <a:pt x="91951" y="61176"/>
                        <a:pt x="91951" y="61176"/>
                      </a:cubicBezTo>
                      <a:cubicBezTo>
                        <a:pt x="92926" y="60320"/>
                        <a:pt x="92926" y="60320"/>
                        <a:pt x="92926" y="60320"/>
                      </a:cubicBezTo>
                      <a:cubicBezTo>
                        <a:pt x="92926" y="60320"/>
                        <a:pt x="93902" y="59465"/>
                        <a:pt x="93902" y="59251"/>
                      </a:cubicBezTo>
                      <a:cubicBezTo>
                        <a:pt x="93902" y="59037"/>
                        <a:pt x="94146" y="57754"/>
                        <a:pt x="94146" y="57754"/>
                      </a:cubicBezTo>
                      <a:cubicBezTo>
                        <a:pt x="92926" y="57326"/>
                        <a:pt x="92926" y="57326"/>
                        <a:pt x="92926" y="57326"/>
                      </a:cubicBezTo>
                      <a:cubicBezTo>
                        <a:pt x="90000" y="57540"/>
                        <a:pt x="90000" y="57540"/>
                        <a:pt x="90000" y="57540"/>
                      </a:cubicBezTo>
                      <a:cubicBezTo>
                        <a:pt x="85365" y="57967"/>
                        <a:pt x="85365" y="57967"/>
                        <a:pt x="85365" y="57967"/>
                      </a:cubicBezTo>
                      <a:cubicBezTo>
                        <a:pt x="82926" y="57967"/>
                        <a:pt x="82926" y="57967"/>
                        <a:pt x="82926" y="57967"/>
                      </a:cubicBezTo>
                      <a:cubicBezTo>
                        <a:pt x="79756" y="56256"/>
                        <a:pt x="79756" y="56256"/>
                        <a:pt x="79756" y="56256"/>
                      </a:cubicBezTo>
                      <a:cubicBezTo>
                        <a:pt x="77073" y="54331"/>
                        <a:pt x="77073" y="54331"/>
                        <a:pt x="77073" y="54331"/>
                      </a:cubicBezTo>
                      <a:cubicBezTo>
                        <a:pt x="75365" y="53475"/>
                        <a:pt x="75365" y="53475"/>
                        <a:pt x="75365" y="53475"/>
                      </a:cubicBezTo>
                      <a:cubicBezTo>
                        <a:pt x="72926" y="51122"/>
                        <a:pt x="72926" y="51122"/>
                        <a:pt x="72926" y="51122"/>
                      </a:cubicBezTo>
                      <a:cubicBezTo>
                        <a:pt x="71707" y="49625"/>
                        <a:pt x="71707" y="49625"/>
                        <a:pt x="71707" y="49625"/>
                      </a:cubicBezTo>
                      <a:cubicBezTo>
                        <a:pt x="71707" y="49625"/>
                        <a:pt x="70975" y="47486"/>
                        <a:pt x="70731" y="46631"/>
                      </a:cubicBezTo>
                      <a:cubicBezTo>
                        <a:pt x="70487" y="45989"/>
                        <a:pt x="68536" y="43636"/>
                        <a:pt x="68536" y="43636"/>
                      </a:cubicBezTo>
                      <a:cubicBezTo>
                        <a:pt x="68536" y="43636"/>
                        <a:pt x="67560" y="41711"/>
                        <a:pt x="67560" y="41497"/>
                      </a:cubicBezTo>
                      <a:cubicBezTo>
                        <a:pt x="67560" y="41283"/>
                        <a:pt x="67073" y="39786"/>
                        <a:pt x="67073" y="39786"/>
                      </a:cubicBezTo>
                      <a:cubicBezTo>
                        <a:pt x="63902" y="38502"/>
                        <a:pt x="63902" y="38502"/>
                        <a:pt x="63902" y="38502"/>
                      </a:cubicBezTo>
                      <a:cubicBezTo>
                        <a:pt x="59756" y="36363"/>
                        <a:pt x="59756" y="36363"/>
                        <a:pt x="59756" y="36363"/>
                      </a:cubicBezTo>
                      <a:cubicBezTo>
                        <a:pt x="56341" y="34438"/>
                        <a:pt x="56341" y="34438"/>
                        <a:pt x="56341" y="34438"/>
                      </a:cubicBezTo>
                      <a:cubicBezTo>
                        <a:pt x="54634" y="32299"/>
                        <a:pt x="54634" y="32299"/>
                        <a:pt x="54634" y="32299"/>
                      </a:cubicBezTo>
                      <a:cubicBezTo>
                        <a:pt x="53170" y="28877"/>
                        <a:pt x="53170" y="28877"/>
                        <a:pt x="53170" y="28877"/>
                      </a:cubicBezTo>
                      <a:cubicBezTo>
                        <a:pt x="52926" y="26096"/>
                        <a:pt x="52926" y="26096"/>
                        <a:pt x="52926" y="26096"/>
                      </a:cubicBezTo>
                      <a:cubicBezTo>
                        <a:pt x="54634" y="25454"/>
                        <a:pt x="54634" y="25454"/>
                        <a:pt x="54634" y="25454"/>
                      </a:cubicBezTo>
                      <a:cubicBezTo>
                        <a:pt x="54634" y="24171"/>
                        <a:pt x="54634" y="24171"/>
                        <a:pt x="54634" y="24171"/>
                      </a:cubicBezTo>
                      <a:cubicBezTo>
                        <a:pt x="53170" y="23315"/>
                        <a:pt x="53170" y="23315"/>
                        <a:pt x="53170" y="23315"/>
                      </a:cubicBezTo>
                      <a:cubicBezTo>
                        <a:pt x="53170" y="22032"/>
                        <a:pt x="53170" y="22032"/>
                        <a:pt x="53170" y="22032"/>
                      </a:cubicBezTo>
                      <a:cubicBezTo>
                        <a:pt x="52439" y="21604"/>
                        <a:pt x="52439" y="21604"/>
                        <a:pt x="52439" y="21604"/>
                      </a:cubicBezTo>
                      <a:cubicBezTo>
                        <a:pt x="51463" y="20534"/>
                        <a:pt x="51463" y="20534"/>
                        <a:pt x="51463" y="20534"/>
                      </a:cubicBezTo>
                      <a:cubicBezTo>
                        <a:pt x="53414" y="19679"/>
                        <a:pt x="53414" y="19679"/>
                        <a:pt x="53414" y="19679"/>
                      </a:cubicBezTo>
                      <a:cubicBezTo>
                        <a:pt x="53414" y="19679"/>
                        <a:pt x="54146" y="18823"/>
                        <a:pt x="55121" y="18823"/>
                      </a:cubicBezTo>
                      <a:cubicBezTo>
                        <a:pt x="56097" y="18823"/>
                        <a:pt x="56829" y="17967"/>
                        <a:pt x="56829" y="17967"/>
                      </a:cubicBezTo>
                      <a:cubicBezTo>
                        <a:pt x="56829" y="17967"/>
                        <a:pt x="57560" y="17326"/>
                        <a:pt x="57804" y="17326"/>
                      </a:cubicBezTo>
                      <a:cubicBezTo>
                        <a:pt x="58292" y="17326"/>
                        <a:pt x="58780" y="17112"/>
                        <a:pt x="59268" y="16898"/>
                      </a:cubicBezTo>
                      <a:cubicBezTo>
                        <a:pt x="59512" y="16898"/>
                        <a:pt x="60243" y="16684"/>
                        <a:pt x="60243" y="16684"/>
                      </a:cubicBezTo>
                      <a:cubicBezTo>
                        <a:pt x="60243" y="16470"/>
                        <a:pt x="60487" y="14973"/>
                        <a:pt x="60731" y="14973"/>
                      </a:cubicBezTo>
                      <a:cubicBezTo>
                        <a:pt x="60975" y="14973"/>
                        <a:pt x="61463" y="15828"/>
                        <a:pt x="62195" y="15828"/>
                      </a:cubicBezTo>
                      <a:cubicBezTo>
                        <a:pt x="62439" y="15828"/>
                        <a:pt x="62926" y="16256"/>
                        <a:pt x="63170" y="16042"/>
                      </a:cubicBezTo>
                      <a:cubicBezTo>
                        <a:pt x="63658" y="15828"/>
                        <a:pt x="63902" y="15187"/>
                        <a:pt x="63902" y="15187"/>
                      </a:cubicBezTo>
                      <a:cubicBezTo>
                        <a:pt x="64146" y="14973"/>
                        <a:pt x="64390" y="14759"/>
                        <a:pt x="65121" y="14545"/>
                      </a:cubicBezTo>
                      <a:cubicBezTo>
                        <a:pt x="65121" y="14545"/>
                        <a:pt x="65121" y="14545"/>
                        <a:pt x="65121" y="14545"/>
                      </a:cubicBezTo>
                      <a:cubicBezTo>
                        <a:pt x="65121" y="14545"/>
                        <a:pt x="64634" y="14331"/>
                        <a:pt x="64634" y="14331"/>
                      </a:cubicBezTo>
                      <a:cubicBezTo>
                        <a:pt x="64634" y="14117"/>
                        <a:pt x="64634" y="14117"/>
                        <a:pt x="64878" y="13903"/>
                      </a:cubicBezTo>
                      <a:cubicBezTo>
                        <a:pt x="64878" y="13689"/>
                        <a:pt x="64878" y="13689"/>
                        <a:pt x="65121" y="13475"/>
                      </a:cubicBezTo>
                      <a:cubicBezTo>
                        <a:pt x="65121" y="13475"/>
                        <a:pt x="65121" y="13048"/>
                        <a:pt x="65121" y="13048"/>
                      </a:cubicBezTo>
                      <a:cubicBezTo>
                        <a:pt x="65121" y="13048"/>
                        <a:pt x="65365" y="12834"/>
                        <a:pt x="65121" y="12834"/>
                      </a:cubicBezTo>
                      <a:cubicBezTo>
                        <a:pt x="65121" y="12620"/>
                        <a:pt x="64878" y="12406"/>
                        <a:pt x="64878" y="12406"/>
                      </a:cubicBezTo>
                      <a:cubicBezTo>
                        <a:pt x="64878" y="12406"/>
                        <a:pt x="64878" y="12406"/>
                        <a:pt x="64634" y="12406"/>
                      </a:cubicBezTo>
                      <a:cubicBezTo>
                        <a:pt x="64634" y="12620"/>
                        <a:pt x="64634" y="12620"/>
                        <a:pt x="64634" y="12620"/>
                      </a:cubicBezTo>
                      <a:cubicBezTo>
                        <a:pt x="64146" y="12834"/>
                        <a:pt x="64146" y="12834"/>
                        <a:pt x="64146" y="12834"/>
                      </a:cubicBezTo>
                      <a:cubicBezTo>
                        <a:pt x="64146" y="12834"/>
                        <a:pt x="63902" y="12406"/>
                        <a:pt x="63902" y="12406"/>
                      </a:cubicBezTo>
                      <a:cubicBezTo>
                        <a:pt x="63658" y="12406"/>
                        <a:pt x="63658" y="12406"/>
                        <a:pt x="63658" y="12192"/>
                      </a:cubicBezTo>
                      <a:cubicBezTo>
                        <a:pt x="63658" y="12192"/>
                        <a:pt x="63902" y="11978"/>
                        <a:pt x="63902" y="11978"/>
                      </a:cubicBezTo>
                      <a:cubicBezTo>
                        <a:pt x="63902" y="11978"/>
                        <a:pt x="63658" y="11764"/>
                        <a:pt x="63658" y="11764"/>
                      </a:cubicBezTo>
                      <a:cubicBezTo>
                        <a:pt x="63658" y="11764"/>
                        <a:pt x="63902" y="11336"/>
                        <a:pt x="64146" y="11336"/>
                      </a:cubicBezTo>
                      <a:cubicBezTo>
                        <a:pt x="64390" y="11122"/>
                        <a:pt x="64878" y="10695"/>
                        <a:pt x="64878" y="10695"/>
                      </a:cubicBezTo>
                      <a:cubicBezTo>
                        <a:pt x="65121" y="10267"/>
                        <a:pt x="65121" y="10267"/>
                        <a:pt x="65121" y="10267"/>
                      </a:cubicBezTo>
                      <a:cubicBezTo>
                        <a:pt x="64878" y="10053"/>
                        <a:pt x="64878" y="10053"/>
                        <a:pt x="64878" y="10053"/>
                      </a:cubicBezTo>
                      <a:cubicBezTo>
                        <a:pt x="64878" y="10053"/>
                        <a:pt x="64634" y="10267"/>
                        <a:pt x="64634" y="10267"/>
                      </a:cubicBezTo>
                      <a:cubicBezTo>
                        <a:pt x="64146" y="10053"/>
                        <a:pt x="64146" y="10053"/>
                        <a:pt x="64146" y="10053"/>
                      </a:cubicBezTo>
                      <a:cubicBezTo>
                        <a:pt x="63658" y="9839"/>
                        <a:pt x="63658" y="9839"/>
                        <a:pt x="63658" y="9839"/>
                      </a:cubicBezTo>
                      <a:cubicBezTo>
                        <a:pt x="62926" y="9839"/>
                        <a:pt x="62926" y="9839"/>
                        <a:pt x="62926" y="9839"/>
                      </a:cubicBezTo>
                      <a:cubicBezTo>
                        <a:pt x="62439" y="9411"/>
                        <a:pt x="62439" y="9411"/>
                        <a:pt x="62439" y="9411"/>
                      </a:cubicBezTo>
                      <a:cubicBezTo>
                        <a:pt x="62682" y="8983"/>
                        <a:pt x="62682" y="8983"/>
                        <a:pt x="62682" y="8983"/>
                      </a:cubicBezTo>
                      <a:cubicBezTo>
                        <a:pt x="62682" y="8556"/>
                        <a:pt x="62682" y="8556"/>
                        <a:pt x="62682" y="8556"/>
                      </a:cubicBezTo>
                      <a:cubicBezTo>
                        <a:pt x="62682" y="8556"/>
                        <a:pt x="63170" y="8128"/>
                        <a:pt x="63170" y="8128"/>
                      </a:cubicBezTo>
                      <a:cubicBezTo>
                        <a:pt x="63414" y="7914"/>
                        <a:pt x="63902" y="7700"/>
                        <a:pt x="63902" y="7700"/>
                      </a:cubicBezTo>
                      <a:cubicBezTo>
                        <a:pt x="64146" y="7272"/>
                        <a:pt x="64146" y="7272"/>
                        <a:pt x="64146" y="7272"/>
                      </a:cubicBezTo>
                      <a:cubicBezTo>
                        <a:pt x="64146" y="7272"/>
                        <a:pt x="64390" y="7058"/>
                        <a:pt x="64634" y="7058"/>
                      </a:cubicBezTo>
                      <a:cubicBezTo>
                        <a:pt x="64878" y="7058"/>
                        <a:pt x="64878" y="7272"/>
                        <a:pt x="64878" y="7058"/>
                      </a:cubicBezTo>
                      <a:cubicBezTo>
                        <a:pt x="65121" y="7058"/>
                        <a:pt x="65121" y="6631"/>
                        <a:pt x="65121" y="6417"/>
                      </a:cubicBezTo>
                      <a:cubicBezTo>
                        <a:pt x="65121" y="5775"/>
                        <a:pt x="65121" y="5775"/>
                        <a:pt x="65121" y="5775"/>
                      </a:cubicBezTo>
                      <a:cubicBezTo>
                        <a:pt x="63902" y="5989"/>
                        <a:pt x="63902" y="5989"/>
                        <a:pt x="63902" y="5989"/>
                      </a:cubicBezTo>
                      <a:cubicBezTo>
                        <a:pt x="63902" y="5989"/>
                        <a:pt x="62682" y="5775"/>
                        <a:pt x="61951" y="5775"/>
                      </a:cubicBezTo>
                      <a:cubicBezTo>
                        <a:pt x="60975" y="5775"/>
                        <a:pt x="59024" y="5347"/>
                        <a:pt x="59024" y="5347"/>
                      </a:cubicBezTo>
                      <a:cubicBezTo>
                        <a:pt x="56585" y="4705"/>
                        <a:pt x="56585" y="4705"/>
                        <a:pt x="56585" y="4705"/>
                      </a:cubicBezTo>
                      <a:cubicBezTo>
                        <a:pt x="55121" y="4705"/>
                        <a:pt x="55121" y="4705"/>
                        <a:pt x="55121" y="4705"/>
                      </a:cubicBezTo>
                      <a:cubicBezTo>
                        <a:pt x="52926" y="4491"/>
                        <a:pt x="52926" y="4491"/>
                        <a:pt x="52926" y="4491"/>
                      </a:cubicBezTo>
                      <a:cubicBezTo>
                        <a:pt x="52926" y="4491"/>
                        <a:pt x="52682" y="4064"/>
                        <a:pt x="52439" y="3850"/>
                      </a:cubicBezTo>
                      <a:cubicBezTo>
                        <a:pt x="52439" y="3636"/>
                        <a:pt x="51707" y="3208"/>
                        <a:pt x="51707" y="3208"/>
                      </a:cubicBezTo>
                      <a:cubicBezTo>
                        <a:pt x="51707" y="2780"/>
                        <a:pt x="51707" y="2780"/>
                        <a:pt x="51707" y="2780"/>
                      </a:cubicBezTo>
                      <a:cubicBezTo>
                        <a:pt x="51219" y="1711"/>
                        <a:pt x="51219" y="1711"/>
                        <a:pt x="51219" y="1711"/>
                      </a:cubicBezTo>
                      <a:cubicBezTo>
                        <a:pt x="50731" y="855"/>
                        <a:pt x="50731" y="855"/>
                        <a:pt x="50731" y="855"/>
                      </a:cubicBezTo>
                      <a:cubicBezTo>
                        <a:pt x="51219" y="213"/>
                        <a:pt x="51219" y="213"/>
                        <a:pt x="51219" y="213"/>
                      </a:cubicBezTo>
                      <a:cubicBezTo>
                        <a:pt x="50731" y="0"/>
                        <a:pt x="50731" y="0"/>
                        <a:pt x="50731" y="0"/>
                      </a:cubicBezTo>
                      <a:cubicBezTo>
                        <a:pt x="50731" y="0"/>
                        <a:pt x="49756" y="213"/>
                        <a:pt x="49268" y="213"/>
                      </a:cubicBezTo>
                      <a:cubicBezTo>
                        <a:pt x="49024" y="427"/>
                        <a:pt x="47560" y="641"/>
                        <a:pt x="47560" y="641"/>
                      </a:cubicBezTo>
                      <a:cubicBezTo>
                        <a:pt x="47073" y="855"/>
                        <a:pt x="47073" y="855"/>
                        <a:pt x="47073" y="855"/>
                      </a:cubicBezTo>
                      <a:cubicBezTo>
                        <a:pt x="45121" y="855"/>
                        <a:pt x="45121" y="855"/>
                        <a:pt x="45121" y="855"/>
                      </a:cubicBezTo>
                      <a:cubicBezTo>
                        <a:pt x="43170" y="1069"/>
                        <a:pt x="43170" y="1069"/>
                        <a:pt x="43170" y="1069"/>
                      </a:cubicBezTo>
                      <a:cubicBezTo>
                        <a:pt x="42439" y="1497"/>
                        <a:pt x="42439" y="1497"/>
                        <a:pt x="42439" y="1497"/>
                      </a:cubicBezTo>
                      <a:cubicBezTo>
                        <a:pt x="40975" y="2139"/>
                        <a:pt x="40975" y="2139"/>
                        <a:pt x="40975" y="2139"/>
                      </a:cubicBezTo>
                      <a:cubicBezTo>
                        <a:pt x="40975" y="2994"/>
                        <a:pt x="40975" y="2994"/>
                        <a:pt x="40975" y="2994"/>
                      </a:cubicBezTo>
                      <a:cubicBezTo>
                        <a:pt x="40243" y="3850"/>
                        <a:pt x="40243" y="3850"/>
                        <a:pt x="40243" y="3850"/>
                      </a:cubicBezTo>
                      <a:cubicBezTo>
                        <a:pt x="39024" y="3850"/>
                        <a:pt x="39024" y="3850"/>
                        <a:pt x="39024" y="3850"/>
                      </a:cubicBezTo>
                      <a:cubicBezTo>
                        <a:pt x="37804" y="2994"/>
                        <a:pt x="37804" y="2994"/>
                        <a:pt x="37804" y="2994"/>
                      </a:cubicBezTo>
                      <a:cubicBezTo>
                        <a:pt x="37317" y="3422"/>
                        <a:pt x="37317" y="3422"/>
                        <a:pt x="37317" y="3422"/>
                      </a:cubicBezTo>
                      <a:cubicBezTo>
                        <a:pt x="36097" y="3208"/>
                        <a:pt x="36097" y="3208"/>
                        <a:pt x="36097" y="3208"/>
                      </a:cubicBezTo>
                      <a:cubicBezTo>
                        <a:pt x="35853" y="3208"/>
                        <a:pt x="35853" y="3208"/>
                        <a:pt x="35853" y="3208"/>
                      </a:cubicBezTo>
                      <a:cubicBezTo>
                        <a:pt x="35609" y="3208"/>
                        <a:pt x="35609" y="3208"/>
                        <a:pt x="35609" y="3208"/>
                      </a:cubicBezTo>
                      <a:cubicBezTo>
                        <a:pt x="35609" y="3208"/>
                        <a:pt x="35365" y="3422"/>
                        <a:pt x="35365" y="3422"/>
                      </a:cubicBezTo>
                      <a:cubicBezTo>
                        <a:pt x="35609" y="3850"/>
                        <a:pt x="35609" y="3850"/>
                        <a:pt x="35609" y="3850"/>
                      </a:cubicBezTo>
                      <a:cubicBezTo>
                        <a:pt x="35365" y="4064"/>
                        <a:pt x="35365" y="4064"/>
                        <a:pt x="35365" y="4064"/>
                      </a:cubicBezTo>
                      <a:cubicBezTo>
                        <a:pt x="35609" y="4491"/>
                        <a:pt x="35609" y="4491"/>
                        <a:pt x="35609" y="4491"/>
                      </a:cubicBezTo>
                      <a:cubicBezTo>
                        <a:pt x="35609" y="4491"/>
                        <a:pt x="35365" y="4705"/>
                        <a:pt x="35121" y="4919"/>
                      </a:cubicBezTo>
                      <a:cubicBezTo>
                        <a:pt x="34878" y="4919"/>
                        <a:pt x="35365" y="5347"/>
                        <a:pt x="35365" y="5347"/>
                      </a:cubicBezTo>
                      <a:cubicBezTo>
                        <a:pt x="35365" y="5347"/>
                        <a:pt x="35609" y="5347"/>
                        <a:pt x="36097" y="5561"/>
                      </a:cubicBezTo>
                      <a:cubicBezTo>
                        <a:pt x="36341" y="5775"/>
                        <a:pt x="36097" y="5775"/>
                        <a:pt x="36097" y="5775"/>
                      </a:cubicBezTo>
                      <a:cubicBezTo>
                        <a:pt x="36097" y="5989"/>
                        <a:pt x="36097" y="6203"/>
                        <a:pt x="35853" y="6203"/>
                      </a:cubicBezTo>
                      <a:cubicBezTo>
                        <a:pt x="35853" y="6417"/>
                        <a:pt x="35853" y="6417"/>
                        <a:pt x="35853" y="6417"/>
                      </a:cubicBezTo>
                      <a:cubicBezTo>
                        <a:pt x="35609" y="6417"/>
                        <a:pt x="35609" y="6417"/>
                        <a:pt x="35609" y="6417"/>
                      </a:cubicBezTo>
                      <a:cubicBezTo>
                        <a:pt x="35609" y="6417"/>
                        <a:pt x="34878" y="6631"/>
                        <a:pt x="34878" y="6417"/>
                      </a:cubicBezTo>
                      <a:cubicBezTo>
                        <a:pt x="34634" y="6417"/>
                        <a:pt x="34878" y="6417"/>
                        <a:pt x="34878" y="6417"/>
                      </a:cubicBezTo>
                      <a:cubicBezTo>
                        <a:pt x="34634" y="6417"/>
                        <a:pt x="34634" y="6417"/>
                        <a:pt x="34634" y="6417"/>
                      </a:cubicBezTo>
                      <a:cubicBezTo>
                        <a:pt x="34634" y="6417"/>
                        <a:pt x="33902" y="5989"/>
                        <a:pt x="33902" y="5989"/>
                      </a:cubicBezTo>
                      <a:cubicBezTo>
                        <a:pt x="33902" y="5775"/>
                        <a:pt x="33902" y="5775"/>
                        <a:pt x="33902" y="5775"/>
                      </a:cubicBezTo>
                      <a:cubicBezTo>
                        <a:pt x="33902" y="5775"/>
                        <a:pt x="33658" y="5561"/>
                        <a:pt x="33658" y="5561"/>
                      </a:cubicBezTo>
                      <a:cubicBezTo>
                        <a:pt x="33414" y="5561"/>
                        <a:pt x="33414" y="5775"/>
                        <a:pt x="33414" y="5775"/>
                      </a:cubicBezTo>
                      <a:cubicBezTo>
                        <a:pt x="33170" y="5775"/>
                        <a:pt x="32926" y="5775"/>
                        <a:pt x="32682" y="5775"/>
                      </a:cubicBezTo>
                      <a:cubicBezTo>
                        <a:pt x="32682" y="5775"/>
                        <a:pt x="32682" y="5989"/>
                        <a:pt x="32439" y="5989"/>
                      </a:cubicBezTo>
                      <a:cubicBezTo>
                        <a:pt x="32439" y="6203"/>
                        <a:pt x="32439" y="6203"/>
                        <a:pt x="32439" y="6417"/>
                      </a:cubicBezTo>
                      <a:cubicBezTo>
                        <a:pt x="32195" y="6417"/>
                        <a:pt x="32195" y="6631"/>
                        <a:pt x="32195" y="6631"/>
                      </a:cubicBezTo>
                      <a:cubicBezTo>
                        <a:pt x="32195" y="6844"/>
                        <a:pt x="32195" y="6844"/>
                        <a:pt x="32195" y="6844"/>
                      </a:cubicBezTo>
                      <a:cubicBezTo>
                        <a:pt x="31951" y="7272"/>
                        <a:pt x="31951" y="7272"/>
                        <a:pt x="31951" y="7272"/>
                      </a:cubicBezTo>
                      <a:cubicBezTo>
                        <a:pt x="32195" y="7272"/>
                        <a:pt x="32195" y="7272"/>
                        <a:pt x="32195" y="7272"/>
                      </a:cubicBezTo>
                      <a:cubicBezTo>
                        <a:pt x="32195" y="7272"/>
                        <a:pt x="32195" y="7700"/>
                        <a:pt x="32195" y="7700"/>
                      </a:cubicBezTo>
                      <a:cubicBezTo>
                        <a:pt x="32195" y="7914"/>
                        <a:pt x="32195" y="7914"/>
                        <a:pt x="32195" y="7914"/>
                      </a:cubicBezTo>
                      <a:cubicBezTo>
                        <a:pt x="32439" y="8128"/>
                        <a:pt x="32682" y="7914"/>
                        <a:pt x="32682" y="7914"/>
                      </a:cubicBezTo>
                      <a:cubicBezTo>
                        <a:pt x="32682" y="7914"/>
                        <a:pt x="32926" y="8128"/>
                        <a:pt x="32926" y="8342"/>
                      </a:cubicBezTo>
                      <a:cubicBezTo>
                        <a:pt x="33170" y="8342"/>
                        <a:pt x="32926" y="8556"/>
                        <a:pt x="32926" y="8556"/>
                      </a:cubicBezTo>
                      <a:cubicBezTo>
                        <a:pt x="32926" y="8556"/>
                        <a:pt x="32682" y="8770"/>
                        <a:pt x="32682" y="8770"/>
                      </a:cubicBezTo>
                      <a:cubicBezTo>
                        <a:pt x="32439" y="8770"/>
                        <a:pt x="32439" y="8770"/>
                        <a:pt x="32682" y="8983"/>
                      </a:cubicBezTo>
                      <a:cubicBezTo>
                        <a:pt x="32682" y="9197"/>
                        <a:pt x="32926" y="9197"/>
                        <a:pt x="32926" y="9197"/>
                      </a:cubicBezTo>
                      <a:cubicBezTo>
                        <a:pt x="33170" y="9197"/>
                        <a:pt x="33170" y="9839"/>
                        <a:pt x="33170" y="9839"/>
                      </a:cubicBezTo>
                      <a:cubicBezTo>
                        <a:pt x="33170" y="10053"/>
                        <a:pt x="32926" y="10267"/>
                        <a:pt x="32926" y="10267"/>
                      </a:cubicBezTo>
                      <a:cubicBezTo>
                        <a:pt x="32926" y="10267"/>
                        <a:pt x="32926" y="10267"/>
                        <a:pt x="32926" y="10267"/>
                      </a:cubicBezTo>
                      <a:cubicBezTo>
                        <a:pt x="32682" y="10267"/>
                        <a:pt x="32682" y="10267"/>
                        <a:pt x="32682" y="10481"/>
                      </a:cubicBezTo>
                      <a:cubicBezTo>
                        <a:pt x="32682" y="10481"/>
                        <a:pt x="32195" y="10481"/>
                        <a:pt x="32195" y="10481"/>
                      </a:cubicBezTo>
                      <a:cubicBezTo>
                        <a:pt x="32195" y="10481"/>
                        <a:pt x="32439" y="10053"/>
                        <a:pt x="32195" y="10053"/>
                      </a:cubicBezTo>
                      <a:cubicBezTo>
                        <a:pt x="32195" y="9839"/>
                        <a:pt x="31951" y="9839"/>
                        <a:pt x="31707" y="9625"/>
                      </a:cubicBezTo>
                      <a:cubicBezTo>
                        <a:pt x="31463" y="9197"/>
                        <a:pt x="31707" y="9197"/>
                        <a:pt x="31707" y="9197"/>
                      </a:cubicBezTo>
                      <a:cubicBezTo>
                        <a:pt x="31707" y="9197"/>
                        <a:pt x="31707" y="9197"/>
                        <a:pt x="31463" y="8983"/>
                      </a:cubicBezTo>
                      <a:cubicBezTo>
                        <a:pt x="31463" y="8770"/>
                        <a:pt x="31463" y="8556"/>
                        <a:pt x="31463" y="8556"/>
                      </a:cubicBezTo>
                      <a:cubicBezTo>
                        <a:pt x="31463" y="8556"/>
                        <a:pt x="30975" y="8556"/>
                        <a:pt x="30731" y="8556"/>
                      </a:cubicBezTo>
                      <a:cubicBezTo>
                        <a:pt x="30243" y="8556"/>
                        <a:pt x="30487" y="8770"/>
                        <a:pt x="30487" y="8770"/>
                      </a:cubicBezTo>
                      <a:cubicBezTo>
                        <a:pt x="30000" y="8770"/>
                        <a:pt x="30000" y="8770"/>
                        <a:pt x="30000" y="8770"/>
                      </a:cubicBezTo>
                      <a:cubicBezTo>
                        <a:pt x="30000" y="8770"/>
                        <a:pt x="29756" y="8983"/>
                        <a:pt x="29756" y="8983"/>
                      </a:cubicBezTo>
                      <a:cubicBezTo>
                        <a:pt x="29512" y="9197"/>
                        <a:pt x="29512" y="8983"/>
                        <a:pt x="29268" y="8983"/>
                      </a:cubicBezTo>
                      <a:cubicBezTo>
                        <a:pt x="29268" y="8983"/>
                        <a:pt x="29024" y="8983"/>
                        <a:pt x="29024" y="8983"/>
                      </a:cubicBezTo>
                      <a:cubicBezTo>
                        <a:pt x="29024" y="8983"/>
                        <a:pt x="28780" y="9197"/>
                        <a:pt x="29024" y="9411"/>
                      </a:cubicBezTo>
                      <a:cubicBezTo>
                        <a:pt x="29024" y="9625"/>
                        <a:pt x="29024" y="9625"/>
                        <a:pt x="28780" y="9625"/>
                      </a:cubicBezTo>
                      <a:cubicBezTo>
                        <a:pt x="28780" y="9839"/>
                        <a:pt x="28292" y="9625"/>
                        <a:pt x="27804" y="9625"/>
                      </a:cubicBezTo>
                      <a:cubicBezTo>
                        <a:pt x="27073" y="9625"/>
                        <a:pt x="27560" y="9411"/>
                        <a:pt x="27317" y="9411"/>
                      </a:cubicBezTo>
                      <a:cubicBezTo>
                        <a:pt x="27317" y="9197"/>
                        <a:pt x="26829" y="9197"/>
                        <a:pt x="26829" y="8983"/>
                      </a:cubicBezTo>
                      <a:cubicBezTo>
                        <a:pt x="26829" y="8556"/>
                        <a:pt x="26829" y="8556"/>
                        <a:pt x="26829" y="8342"/>
                      </a:cubicBezTo>
                      <a:cubicBezTo>
                        <a:pt x="26829" y="8128"/>
                        <a:pt x="26585" y="7914"/>
                        <a:pt x="26585" y="7914"/>
                      </a:cubicBezTo>
                      <a:cubicBezTo>
                        <a:pt x="26341" y="7700"/>
                        <a:pt x="26585" y="7486"/>
                        <a:pt x="26829" y="7486"/>
                      </a:cubicBezTo>
                      <a:cubicBezTo>
                        <a:pt x="26829" y="7272"/>
                        <a:pt x="26585" y="7272"/>
                        <a:pt x="26585" y="7272"/>
                      </a:cubicBezTo>
                      <a:cubicBezTo>
                        <a:pt x="26097" y="7486"/>
                        <a:pt x="26097" y="7486"/>
                        <a:pt x="26097" y="7486"/>
                      </a:cubicBezTo>
                      <a:cubicBezTo>
                        <a:pt x="25853" y="7486"/>
                        <a:pt x="25853" y="7486"/>
                        <a:pt x="25853" y="7486"/>
                      </a:cubicBezTo>
                      <a:cubicBezTo>
                        <a:pt x="25853" y="7486"/>
                        <a:pt x="25609" y="7272"/>
                        <a:pt x="25365" y="7272"/>
                      </a:cubicBezTo>
                      <a:cubicBezTo>
                        <a:pt x="25365" y="7058"/>
                        <a:pt x="25121" y="7272"/>
                        <a:pt x="25121" y="7272"/>
                      </a:cubicBezTo>
                      <a:cubicBezTo>
                        <a:pt x="24634" y="7700"/>
                        <a:pt x="24634" y="7700"/>
                        <a:pt x="24634" y="7700"/>
                      </a:cubicBezTo>
                      <a:cubicBezTo>
                        <a:pt x="24634" y="7914"/>
                        <a:pt x="24634" y="7914"/>
                        <a:pt x="24634" y="7914"/>
                      </a:cubicBezTo>
                      <a:cubicBezTo>
                        <a:pt x="24878" y="8342"/>
                        <a:pt x="24878" y="8342"/>
                        <a:pt x="24878" y="8342"/>
                      </a:cubicBezTo>
                      <a:cubicBezTo>
                        <a:pt x="24878" y="8770"/>
                        <a:pt x="24878" y="8770"/>
                        <a:pt x="24878" y="8770"/>
                      </a:cubicBezTo>
                      <a:cubicBezTo>
                        <a:pt x="24878" y="8770"/>
                        <a:pt x="24878" y="8983"/>
                        <a:pt x="24878" y="9197"/>
                      </a:cubicBezTo>
                      <a:cubicBezTo>
                        <a:pt x="24878" y="9197"/>
                        <a:pt x="24878" y="9411"/>
                        <a:pt x="24878" y="9411"/>
                      </a:cubicBezTo>
                      <a:cubicBezTo>
                        <a:pt x="24878" y="9625"/>
                        <a:pt x="24878" y="9625"/>
                        <a:pt x="24878" y="9625"/>
                      </a:cubicBezTo>
                      <a:cubicBezTo>
                        <a:pt x="24878" y="9625"/>
                        <a:pt x="24634" y="9839"/>
                        <a:pt x="24634" y="10053"/>
                      </a:cubicBezTo>
                      <a:cubicBezTo>
                        <a:pt x="24634" y="10053"/>
                        <a:pt x="24634" y="10267"/>
                        <a:pt x="24634" y="10481"/>
                      </a:cubicBezTo>
                      <a:cubicBezTo>
                        <a:pt x="24390" y="10695"/>
                        <a:pt x="24390" y="10695"/>
                        <a:pt x="24390" y="10695"/>
                      </a:cubicBezTo>
                      <a:cubicBezTo>
                        <a:pt x="24390" y="10695"/>
                        <a:pt x="24146" y="10909"/>
                        <a:pt x="24146" y="11122"/>
                      </a:cubicBezTo>
                      <a:cubicBezTo>
                        <a:pt x="24146" y="11122"/>
                        <a:pt x="23658" y="11122"/>
                        <a:pt x="23658" y="11122"/>
                      </a:cubicBezTo>
                      <a:cubicBezTo>
                        <a:pt x="23658" y="11122"/>
                        <a:pt x="23414" y="11550"/>
                        <a:pt x="23170" y="11550"/>
                      </a:cubicBezTo>
                      <a:cubicBezTo>
                        <a:pt x="23170" y="11550"/>
                        <a:pt x="23170" y="11978"/>
                        <a:pt x="23170" y="12192"/>
                      </a:cubicBezTo>
                      <a:cubicBezTo>
                        <a:pt x="23170" y="12192"/>
                        <a:pt x="23170" y="12406"/>
                        <a:pt x="23170" y="12406"/>
                      </a:cubicBezTo>
                      <a:cubicBezTo>
                        <a:pt x="22682" y="12620"/>
                        <a:pt x="22682" y="12620"/>
                        <a:pt x="22682" y="12620"/>
                      </a:cubicBezTo>
                      <a:cubicBezTo>
                        <a:pt x="22682" y="12620"/>
                        <a:pt x="22926" y="13048"/>
                        <a:pt x="22926" y="13048"/>
                      </a:cubicBezTo>
                      <a:cubicBezTo>
                        <a:pt x="22926" y="13262"/>
                        <a:pt x="22682" y="13262"/>
                        <a:pt x="22682" y="13262"/>
                      </a:cubicBezTo>
                      <a:cubicBezTo>
                        <a:pt x="22439" y="13475"/>
                        <a:pt x="22682" y="13475"/>
                        <a:pt x="22682" y="13689"/>
                      </a:cubicBezTo>
                      <a:cubicBezTo>
                        <a:pt x="22439" y="13903"/>
                        <a:pt x="22682" y="13903"/>
                        <a:pt x="22682" y="13903"/>
                      </a:cubicBezTo>
                      <a:cubicBezTo>
                        <a:pt x="22682" y="14117"/>
                        <a:pt x="23414" y="14331"/>
                        <a:pt x="23414" y="14331"/>
                      </a:cubicBezTo>
                      <a:cubicBezTo>
                        <a:pt x="23414" y="14331"/>
                        <a:pt x="23414" y="14331"/>
                        <a:pt x="23170" y="14545"/>
                      </a:cubicBezTo>
                      <a:cubicBezTo>
                        <a:pt x="22682" y="14759"/>
                        <a:pt x="22926" y="15187"/>
                        <a:pt x="22926" y="15187"/>
                      </a:cubicBezTo>
                      <a:cubicBezTo>
                        <a:pt x="22682" y="15401"/>
                        <a:pt x="22682" y="15401"/>
                        <a:pt x="22682" y="15401"/>
                      </a:cubicBezTo>
                      <a:cubicBezTo>
                        <a:pt x="22682" y="15401"/>
                        <a:pt x="22439" y="15187"/>
                        <a:pt x="22195" y="15187"/>
                      </a:cubicBezTo>
                      <a:cubicBezTo>
                        <a:pt x="22195" y="15187"/>
                        <a:pt x="22195" y="15187"/>
                        <a:pt x="21707" y="15187"/>
                      </a:cubicBezTo>
                      <a:cubicBezTo>
                        <a:pt x="21219" y="15187"/>
                        <a:pt x="21707" y="14973"/>
                        <a:pt x="21707" y="14973"/>
                      </a:cubicBezTo>
                      <a:cubicBezTo>
                        <a:pt x="21707" y="14973"/>
                        <a:pt x="21707" y="14545"/>
                        <a:pt x="21707" y="14331"/>
                      </a:cubicBezTo>
                      <a:cubicBezTo>
                        <a:pt x="21707" y="14331"/>
                        <a:pt x="21707" y="14331"/>
                        <a:pt x="21707" y="14331"/>
                      </a:cubicBezTo>
                      <a:cubicBezTo>
                        <a:pt x="21707" y="14331"/>
                        <a:pt x="21707" y="14117"/>
                        <a:pt x="21463" y="13903"/>
                      </a:cubicBezTo>
                      <a:cubicBezTo>
                        <a:pt x="21463" y="13689"/>
                        <a:pt x="21219" y="13689"/>
                        <a:pt x="21219" y="13689"/>
                      </a:cubicBezTo>
                      <a:cubicBezTo>
                        <a:pt x="20487" y="13262"/>
                        <a:pt x="20487" y="13262"/>
                        <a:pt x="20487" y="13262"/>
                      </a:cubicBezTo>
                      <a:cubicBezTo>
                        <a:pt x="20487" y="13262"/>
                        <a:pt x="20731" y="12834"/>
                        <a:pt x="20975" y="12620"/>
                      </a:cubicBezTo>
                      <a:cubicBezTo>
                        <a:pt x="20975" y="12620"/>
                        <a:pt x="20975" y="12620"/>
                        <a:pt x="20975" y="12620"/>
                      </a:cubicBezTo>
                      <a:cubicBezTo>
                        <a:pt x="20975" y="12620"/>
                        <a:pt x="20975" y="12620"/>
                        <a:pt x="21219" y="12406"/>
                      </a:cubicBezTo>
                      <a:cubicBezTo>
                        <a:pt x="21219" y="12192"/>
                        <a:pt x="20975" y="12192"/>
                        <a:pt x="20975" y="12192"/>
                      </a:cubicBezTo>
                      <a:cubicBezTo>
                        <a:pt x="20731" y="12192"/>
                        <a:pt x="20731" y="12192"/>
                        <a:pt x="20731" y="12192"/>
                      </a:cubicBezTo>
                      <a:cubicBezTo>
                        <a:pt x="20487" y="11978"/>
                        <a:pt x="20487" y="11978"/>
                        <a:pt x="20487" y="11978"/>
                      </a:cubicBezTo>
                      <a:cubicBezTo>
                        <a:pt x="20487" y="11978"/>
                        <a:pt x="20000" y="12192"/>
                        <a:pt x="20000" y="11978"/>
                      </a:cubicBezTo>
                      <a:cubicBezTo>
                        <a:pt x="19756" y="11978"/>
                        <a:pt x="19268" y="11978"/>
                        <a:pt x="19268" y="11764"/>
                      </a:cubicBezTo>
                      <a:cubicBezTo>
                        <a:pt x="19268" y="11764"/>
                        <a:pt x="19024" y="11764"/>
                        <a:pt x="18780" y="11764"/>
                      </a:cubicBezTo>
                      <a:cubicBezTo>
                        <a:pt x="18780" y="11764"/>
                        <a:pt x="18536" y="11764"/>
                        <a:pt x="18536" y="11764"/>
                      </a:cubicBezTo>
                      <a:cubicBezTo>
                        <a:pt x="18292" y="11550"/>
                        <a:pt x="18048" y="11336"/>
                        <a:pt x="18048" y="11336"/>
                      </a:cubicBezTo>
                      <a:cubicBezTo>
                        <a:pt x="18048" y="11122"/>
                        <a:pt x="17804" y="10909"/>
                        <a:pt x="17804" y="10909"/>
                      </a:cubicBezTo>
                      <a:cubicBezTo>
                        <a:pt x="17560" y="10909"/>
                        <a:pt x="17560" y="10909"/>
                        <a:pt x="17560" y="10909"/>
                      </a:cubicBezTo>
                      <a:cubicBezTo>
                        <a:pt x="17560" y="10909"/>
                        <a:pt x="17317" y="10481"/>
                        <a:pt x="17073" y="10481"/>
                      </a:cubicBezTo>
                      <a:cubicBezTo>
                        <a:pt x="17073" y="10481"/>
                        <a:pt x="17073" y="10267"/>
                        <a:pt x="17073" y="10267"/>
                      </a:cubicBezTo>
                      <a:cubicBezTo>
                        <a:pt x="16829" y="10053"/>
                        <a:pt x="16829" y="10053"/>
                        <a:pt x="16829" y="10053"/>
                      </a:cubicBezTo>
                      <a:cubicBezTo>
                        <a:pt x="16829" y="10053"/>
                        <a:pt x="16829" y="9839"/>
                        <a:pt x="16829" y="9625"/>
                      </a:cubicBezTo>
                      <a:cubicBezTo>
                        <a:pt x="16829" y="9625"/>
                        <a:pt x="17073" y="9197"/>
                        <a:pt x="17073" y="9197"/>
                      </a:cubicBezTo>
                      <a:cubicBezTo>
                        <a:pt x="17073" y="9197"/>
                        <a:pt x="16829" y="8770"/>
                        <a:pt x="16829" y="8556"/>
                      </a:cubicBezTo>
                      <a:cubicBezTo>
                        <a:pt x="16829" y="8342"/>
                        <a:pt x="17073" y="7914"/>
                        <a:pt x="17073" y="7914"/>
                      </a:cubicBezTo>
                      <a:cubicBezTo>
                        <a:pt x="17073" y="7914"/>
                        <a:pt x="16097" y="8128"/>
                        <a:pt x="15853" y="8342"/>
                      </a:cubicBezTo>
                      <a:cubicBezTo>
                        <a:pt x="15609" y="8342"/>
                        <a:pt x="15609" y="8556"/>
                        <a:pt x="15609" y="8556"/>
                      </a:cubicBezTo>
                      <a:cubicBezTo>
                        <a:pt x="15609" y="8556"/>
                        <a:pt x="15609" y="8770"/>
                        <a:pt x="15609" y="8983"/>
                      </a:cubicBezTo>
                      <a:cubicBezTo>
                        <a:pt x="15365" y="8983"/>
                        <a:pt x="15365" y="8983"/>
                        <a:pt x="15365" y="8983"/>
                      </a:cubicBezTo>
                      <a:cubicBezTo>
                        <a:pt x="15365" y="8983"/>
                        <a:pt x="14878" y="9411"/>
                        <a:pt x="14634" y="9411"/>
                      </a:cubicBezTo>
                      <a:cubicBezTo>
                        <a:pt x="14634" y="9625"/>
                        <a:pt x="14634" y="9625"/>
                        <a:pt x="14390" y="9625"/>
                      </a:cubicBezTo>
                      <a:cubicBezTo>
                        <a:pt x="14146" y="9625"/>
                        <a:pt x="13902" y="9839"/>
                        <a:pt x="13902" y="9839"/>
                      </a:cubicBezTo>
                      <a:cubicBezTo>
                        <a:pt x="13658" y="10053"/>
                        <a:pt x="13658" y="10053"/>
                        <a:pt x="13658" y="10053"/>
                      </a:cubicBezTo>
                      <a:cubicBezTo>
                        <a:pt x="13902" y="10267"/>
                        <a:pt x="13902" y="10267"/>
                        <a:pt x="13902" y="10267"/>
                      </a:cubicBezTo>
                      <a:cubicBezTo>
                        <a:pt x="14146" y="10909"/>
                        <a:pt x="14146" y="10909"/>
                        <a:pt x="14146" y="10909"/>
                      </a:cubicBezTo>
                      <a:cubicBezTo>
                        <a:pt x="13902" y="11336"/>
                        <a:pt x="13902" y="11336"/>
                        <a:pt x="13902" y="11336"/>
                      </a:cubicBezTo>
                      <a:cubicBezTo>
                        <a:pt x="13902" y="11336"/>
                        <a:pt x="13902" y="11336"/>
                        <a:pt x="13902" y="11550"/>
                      </a:cubicBezTo>
                      <a:cubicBezTo>
                        <a:pt x="13658" y="11978"/>
                        <a:pt x="13658" y="11978"/>
                        <a:pt x="13658" y="11978"/>
                      </a:cubicBezTo>
                      <a:cubicBezTo>
                        <a:pt x="13414" y="12192"/>
                        <a:pt x="13414" y="12192"/>
                        <a:pt x="13414" y="12192"/>
                      </a:cubicBezTo>
                      <a:cubicBezTo>
                        <a:pt x="13170" y="12406"/>
                        <a:pt x="13170" y="12406"/>
                        <a:pt x="13170" y="12406"/>
                      </a:cubicBezTo>
                      <a:cubicBezTo>
                        <a:pt x="13170" y="12406"/>
                        <a:pt x="13170" y="12620"/>
                        <a:pt x="13170" y="12834"/>
                      </a:cubicBezTo>
                      <a:cubicBezTo>
                        <a:pt x="13170" y="12834"/>
                        <a:pt x="13170" y="13048"/>
                        <a:pt x="12926" y="13262"/>
                      </a:cubicBezTo>
                      <a:cubicBezTo>
                        <a:pt x="12682" y="13475"/>
                        <a:pt x="12682" y="13475"/>
                        <a:pt x="12682" y="13475"/>
                      </a:cubicBezTo>
                      <a:cubicBezTo>
                        <a:pt x="12682" y="13475"/>
                        <a:pt x="12439" y="13475"/>
                        <a:pt x="12195" y="13475"/>
                      </a:cubicBezTo>
                      <a:cubicBezTo>
                        <a:pt x="11951" y="13475"/>
                        <a:pt x="11951" y="13689"/>
                        <a:pt x="11707" y="13689"/>
                      </a:cubicBezTo>
                      <a:cubicBezTo>
                        <a:pt x="11219" y="13689"/>
                        <a:pt x="11463" y="13903"/>
                        <a:pt x="11463" y="14117"/>
                      </a:cubicBezTo>
                      <a:cubicBezTo>
                        <a:pt x="11463" y="14117"/>
                        <a:pt x="11463" y="14117"/>
                        <a:pt x="11463" y="14331"/>
                      </a:cubicBezTo>
                      <a:cubicBezTo>
                        <a:pt x="11219" y="14331"/>
                        <a:pt x="10731" y="14331"/>
                        <a:pt x="10731" y="14117"/>
                      </a:cubicBezTo>
                      <a:cubicBezTo>
                        <a:pt x="10487" y="14117"/>
                        <a:pt x="10487" y="14117"/>
                        <a:pt x="10243" y="14117"/>
                      </a:cubicBezTo>
                      <a:cubicBezTo>
                        <a:pt x="10243" y="14331"/>
                        <a:pt x="10000" y="13903"/>
                        <a:pt x="10000" y="13903"/>
                      </a:cubicBezTo>
                      <a:cubicBezTo>
                        <a:pt x="10000" y="13903"/>
                        <a:pt x="9756" y="13689"/>
                        <a:pt x="9756" y="13689"/>
                      </a:cubicBezTo>
                      <a:cubicBezTo>
                        <a:pt x="9756" y="13475"/>
                        <a:pt x="9268" y="13689"/>
                        <a:pt x="9268" y="13689"/>
                      </a:cubicBezTo>
                      <a:cubicBezTo>
                        <a:pt x="9024" y="13475"/>
                        <a:pt x="8536" y="13475"/>
                        <a:pt x="8536" y="13475"/>
                      </a:cubicBezTo>
                      <a:cubicBezTo>
                        <a:pt x="8292" y="13475"/>
                        <a:pt x="8536" y="13689"/>
                        <a:pt x="8536" y="13689"/>
                      </a:cubicBezTo>
                      <a:cubicBezTo>
                        <a:pt x="8536" y="13689"/>
                        <a:pt x="8292" y="13689"/>
                        <a:pt x="8048" y="13689"/>
                      </a:cubicBezTo>
                      <a:cubicBezTo>
                        <a:pt x="7804" y="13689"/>
                        <a:pt x="7804" y="13903"/>
                        <a:pt x="7804" y="13903"/>
                      </a:cubicBezTo>
                      <a:cubicBezTo>
                        <a:pt x="7804" y="14331"/>
                        <a:pt x="7804" y="14331"/>
                        <a:pt x="7804" y="14331"/>
                      </a:cubicBezTo>
                      <a:cubicBezTo>
                        <a:pt x="7804" y="14331"/>
                        <a:pt x="7073" y="14331"/>
                        <a:pt x="6829" y="14331"/>
                      </a:cubicBezTo>
                      <a:cubicBezTo>
                        <a:pt x="6585" y="14331"/>
                        <a:pt x="6341" y="14117"/>
                        <a:pt x="6097" y="14117"/>
                      </a:cubicBezTo>
                      <a:cubicBezTo>
                        <a:pt x="5853" y="14117"/>
                        <a:pt x="5609" y="14331"/>
                        <a:pt x="5609" y="14331"/>
                      </a:cubicBezTo>
                      <a:cubicBezTo>
                        <a:pt x="5609" y="14331"/>
                        <a:pt x="5121" y="14545"/>
                        <a:pt x="5121" y="14545"/>
                      </a:cubicBezTo>
                      <a:cubicBezTo>
                        <a:pt x="5121" y="14545"/>
                        <a:pt x="4878" y="14759"/>
                        <a:pt x="4634" y="14759"/>
                      </a:cubicBezTo>
                      <a:cubicBezTo>
                        <a:pt x="4390" y="14759"/>
                        <a:pt x="4390" y="14545"/>
                        <a:pt x="4390" y="14545"/>
                      </a:cubicBezTo>
                      <a:cubicBezTo>
                        <a:pt x="4390" y="14545"/>
                        <a:pt x="3902" y="14117"/>
                        <a:pt x="3902" y="14117"/>
                      </a:cubicBezTo>
                      <a:cubicBezTo>
                        <a:pt x="3902" y="14117"/>
                        <a:pt x="3902" y="14117"/>
                        <a:pt x="3902" y="14117"/>
                      </a:cubicBezTo>
                      <a:cubicBezTo>
                        <a:pt x="2926" y="14545"/>
                        <a:pt x="2926" y="14545"/>
                        <a:pt x="2926" y="14545"/>
                      </a:cubicBezTo>
                      <a:cubicBezTo>
                        <a:pt x="1707" y="15401"/>
                        <a:pt x="1707" y="15401"/>
                        <a:pt x="1707" y="15401"/>
                      </a:cubicBezTo>
                      <a:cubicBezTo>
                        <a:pt x="1707" y="16470"/>
                        <a:pt x="1707" y="16470"/>
                        <a:pt x="1707" y="16470"/>
                      </a:cubicBezTo>
                      <a:cubicBezTo>
                        <a:pt x="2682" y="16898"/>
                        <a:pt x="2195" y="17326"/>
                        <a:pt x="4390" y="18181"/>
                      </a:cubicBezTo>
                      <a:cubicBezTo>
                        <a:pt x="4634" y="18181"/>
                        <a:pt x="5121" y="19251"/>
                        <a:pt x="5121" y="19251"/>
                      </a:cubicBezTo>
                      <a:cubicBezTo>
                        <a:pt x="5121" y="19465"/>
                        <a:pt x="4634" y="21176"/>
                        <a:pt x="4390" y="21390"/>
                      </a:cubicBezTo>
                      <a:cubicBezTo>
                        <a:pt x="3902" y="21604"/>
                        <a:pt x="3414" y="22459"/>
                        <a:pt x="3414" y="22459"/>
                      </a:cubicBezTo>
                      <a:cubicBezTo>
                        <a:pt x="3414" y="22459"/>
                        <a:pt x="2439" y="23315"/>
                        <a:pt x="2195" y="23315"/>
                      </a:cubicBezTo>
                      <a:cubicBezTo>
                        <a:pt x="1951" y="23315"/>
                        <a:pt x="1219" y="23529"/>
                        <a:pt x="975" y="23529"/>
                      </a:cubicBezTo>
                      <a:cubicBezTo>
                        <a:pt x="975" y="23529"/>
                        <a:pt x="0" y="23529"/>
                        <a:pt x="243" y="23743"/>
                      </a:cubicBezTo>
                      <a:cubicBezTo>
                        <a:pt x="243" y="23743"/>
                        <a:pt x="243" y="24171"/>
                        <a:pt x="243" y="24171"/>
                      </a:cubicBezTo>
                      <a:cubicBezTo>
                        <a:pt x="487" y="24385"/>
                        <a:pt x="1219" y="25240"/>
                        <a:pt x="1219" y="25240"/>
                      </a:cubicBezTo>
                      <a:cubicBezTo>
                        <a:pt x="2439" y="25882"/>
                        <a:pt x="2439" y="25882"/>
                        <a:pt x="2439" y="25882"/>
                      </a:cubicBezTo>
                      <a:cubicBezTo>
                        <a:pt x="3170" y="26524"/>
                        <a:pt x="3170" y="26524"/>
                        <a:pt x="3170" y="26524"/>
                      </a:cubicBezTo>
                      <a:cubicBezTo>
                        <a:pt x="3414" y="28663"/>
                        <a:pt x="3414" y="28663"/>
                        <a:pt x="3414" y="28663"/>
                      </a:cubicBezTo>
                      <a:cubicBezTo>
                        <a:pt x="2439" y="29946"/>
                        <a:pt x="2439" y="29946"/>
                        <a:pt x="2439" y="29946"/>
                      </a:cubicBezTo>
                      <a:cubicBezTo>
                        <a:pt x="1463" y="31016"/>
                        <a:pt x="1951" y="30374"/>
                        <a:pt x="2195" y="31871"/>
                      </a:cubicBezTo>
                      <a:cubicBezTo>
                        <a:pt x="2926" y="31871"/>
                        <a:pt x="2926" y="31871"/>
                        <a:pt x="2926" y="31871"/>
                      </a:cubicBezTo>
                      <a:cubicBezTo>
                        <a:pt x="4146" y="33582"/>
                        <a:pt x="4146" y="33582"/>
                        <a:pt x="4146" y="33582"/>
                      </a:cubicBezTo>
                      <a:cubicBezTo>
                        <a:pt x="6585" y="34438"/>
                        <a:pt x="6585" y="34438"/>
                        <a:pt x="6585" y="34438"/>
                      </a:cubicBezTo>
                      <a:cubicBezTo>
                        <a:pt x="8780" y="34438"/>
                        <a:pt x="8780" y="34438"/>
                        <a:pt x="8780" y="34438"/>
                      </a:cubicBezTo>
                      <a:cubicBezTo>
                        <a:pt x="9756" y="35080"/>
                        <a:pt x="9756" y="35080"/>
                        <a:pt x="9756" y="35080"/>
                      </a:cubicBezTo>
                      <a:cubicBezTo>
                        <a:pt x="9024" y="37433"/>
                        <a:pt x="9024" y="37433"/>
                        <a:pt x="9024" y="37433"/>
                      </a:cubicBezTo>
                      <a:cubicBezTo>
                        <a:pt x="7560" y="38502"/>
                        <a:pt x="7560" y="38502"/>
                        <a:pt x="7560" y="38502"/>
                      </a:cubicBezTo>
                      <a:cubicBezTo>
                        <a:pt x="7560" y="38502"/>
                        <a:pt x="7560" y="38502"/>
                        <a:pt x="7317" y="38502"/>
                      </a:cubicBezTo>
                      <a:cubicBezTo>
                        <a:pt x="7317" y="38502"/>
                        <a:pt x="7560" y="38716"/>
                        <a:pt x="8292" y="38930"/>
                      </a:cubicBezTo>
                      <a:cubicBezTo>
                        <a:pt x="8780" y="38930"/>
                        <a:pt x="8780" y="39358"/>
                        <a:pt x="9512" y="39144"/>
                      </a:cubicBezTo>
                      <a:cubicBezTo>
                        <a:pt x="10243" y="38930"/>
                        <a:pt x="11219" y="38716"/>
                        <a:pt x="11463" y="38502"/>
                      </a:cubicBezTo>
                      <a:cubicBezTo>
                        <a:pt x="11707" y="38074"/>
                        <a:pt x="12195" y="37860"/>
                        <a:pt x="12439" y="37647"/>
                      </a:cubicBezTo>
                      <a:cubicBezTo>
                        <a:pt x="12682" y="37219"/>
                        <a:pt x="14146" y="35721"/>
                        <a:pt x="14390" y="35721"/>
                      </a:cubicBezTo>
                      <a:cubicBezTo>
                        <a:pt x="14390" y="35721"/>
                        <a:pt x="15853" y="34010"/>
                        <a:pt x="16097" y="33796"/>
                      </a:cubicBezTo>
                      <a:cubicBezTo>
                        <a:pt x="16341" y="33582"/>
                        <a:pt x="18292" y="32299"/>
                        <a:pt x="18292" y="32299"/>
                      </a:cubicBezTo>
                      <a:cubicBezTo>
                        <a:pt x="20975" y="31443"/>
                        <a:pt x="20975" y="31443"/>
                        <a:pt x="20975" y="31443"/>
                      </a:cubicBezTo>
                      <a:cubicBezTo>
                        <a:pt x="20975" y="31443"/>
                        <a:pt x="22195" y="32513"/>
                        <a:pt x="22439" y="32727"/>
                      </a:cubicBezTo>
                      <a:cubicBezTo>
                        <a:pt x="22682" y="32727"/>
                        <a:pt x="25365" y="33796"/>
                        <a:pt x="25365" y="33796"/>
                      </a:cubicBezTo>
                      <a:cubicBezTo>
                        <a:pt x="25365" y="33796"/>
                        <a:pt x="27073" y="34438"/>
                        <a:pt x="27317" y="34652"/>
                      </a:cubicBezTo>
                      <a:cubicBezTo>
                        <a:pt x="27317" y="34866"/>
                        <a:pt x="28780" y="35935"/>
                        <a:pt x="28780" y="35935"/>
                      </a:cubicBezTo>
                      <a:cubicBezTo>
                        <a:pt x="29756" y="36363"/>
                        <a:pt x="29756" y="36363"/>
                        <a:pt x="29756" y="36363"/>
                      </a:cubicBezTo>
                      <a:cubicBezTo>
                        <a:pt x="30487" y="35721"/>
                        <a:pt x="30487" y="35721"/>
                        <a:pt x="30487" y="35721"/>
                      </a:cubicBezTo>
                      <a:cubicBezTo>
                        <a:pt x="31463" y="36149"/>
                        <a:pt x="31463" y="36149"/>
                        <a:pt x="31463" y="36149"/>
                      </a:cubicBezTo>
                      <a:cubicBezTo>
                        <a:pt x="33170" y="37005"/>
                        <a:pt x="33170" y="37005"/>
                        <a:pt x="33170" y="37005"/>
                      </a:cubicBezTo>
                      <a:cubicBezTo>
                        <a:pt x="33902" y="38288"/>
                        <a:pt x="33902" y="38288"/>
                        <a:pt x="33902" y="38288"/>
                      </a:cubicBezTo>
                      <a:cubicBezTo>
                        <a:pt x="33902" y="38288"/>
                        <a:pt x="34390" y="40000"/>
                        <a:pt x="34390" y="40641"/>
                      </a:cubicBezTo>
                      <a:cubicBezTo>
                        <a:pt x="34390" y="41283"/>
                        <a:pt x="34634" y="42352"/>
                        <a:pt x="34634" y="42352"/>
                      </a:cubicBezTo>
                      <a:cubicBezTo>
                        <a:pt x="36829" y="43208"/>
                        <a:pt x="36829" y="43208"/>
                        <a:pt x="36829" y="43208"/>
                      </a:cubicBezTo>
                      <a:cubicBezTo>
                        <a:pt x="36829" y="43208"/>
                        <a:pt x="36829" y="45133"/>
                        <a:pt x="36829" y="45347"/>
                      </a:cubicBezTo>
                      <a:cubicBezTo>
                        <a:pt x="36829" y="45775"/>
                        <a:pt x="37073" y="46417"/>
                        <a:pt x="37073" y="47058"/>
                      </a:cubicBezTo>
                      <a:cubicBezTo>
                        <a:pt x="37073" y="47700"/>
                        <a:pt x="37073" y="48342"/>
                        <a:pt x="37073" y="48342"/>
                      </a:cubicBezTo>
                      <a:cubicBezTo>
                        <a:pt x="38048" y="48983"/>
                        <a:pt x="38048" y="48983"/>
                        <a:pt x="38048" y="48983"/>
                      </a:cubicBezTo>
                      <a:cubicBezTo>
                        <a:pt x="39268" y="49625"/>
                        <a:pt x="39268" y="49625"/>
                        <a:pt x="39268" y="49625"/>
                      </a:cubicBezTo>
                      <a:cubicBezTo>
                        <a:pt x="39512" y="50695"/>
                        <a:pt x="39512" y="50695"/>
                        <a:pt x="39512" y="50695"/>
                      </a:cubicBezTo>
                      <a:cubicBezTo>
                        <a:pt x="41463" y="51336"/>
                        <a:pt x="41463" y="51336"/>
                        <a:pt x="41463" y="51336"/>
                      </a:cubicBezTo>
                      <a:cubicBezTo>
                        <a:pt x="41951" y="52620"/>
                        <a:pt x="41951" y="52620"/>
                        <a:pt x="41951" y="52620"/>
                      </a:cubicBezTo>
                      <a:cubicBezTo>
                        <a:pt x="43170" y="53689"/>
                        <a:pt x="43170" y="53689"/>
                        <a:pt x="43170" y="53689"/>
                      </a:cubicBezTo>
                      <a:cubicBezTo>
                        <a:pt x="43170" y="54545"/>
                        <a:pt x="43170" y="54545"/>
                        <a:pt x="43170" y="54545"/>
                      </a:cubicBezTo>
                      <a:cubicBezTo>
                        <a:pt x="43170" y="54545"/>
                        <a:pt x="43170" y="54973"/>
                        <a:pt x="43658" y="54973"/>
                      </a:cubicBezTo>
                      <a:cubicBezTo>
                        <a:pt x="44146" y="54973"/>
                        <a:pt x="45853" y="54759"/>
                        <a:pt x="45853" y="54759"/>
                      </a:cubicBezTo>
                      <a:cubicBezTo>
                        <a:pt x="47560" y="56042"/>
                        <a:pt x="47560" y="56042"/>
                        <a:pt x="47560" y="56042"/>
                      </a:cubicBezTo>
                      <a:cubicBezTo>
                        <a:pt x="49512" y="57540"/>
                        <a:pt x="49512" y="57540"/>
                        <a:pt x="49512" y="57540"/>
                      </a:cubicBezTo>
                      <a:cubicBezTo>
                        <a:pt x="50487" y="59037"/>
                        <a:pt x="50487" y="59037"/>
                        <a:pt x="50487" y="59037"/>
                      </a:cubicBezTo>
                      <a:cubicBezTo>
                        <a:pt x="51951" y="59465"/>
                        <a:pt x="51951" y="59465"/>
                        <a:pt x="51951" y="59465"/>
                      </a:cubicBezTo>
                      <a:cubicBezTo>
                        <a:pt x="53902" y="60534"/>
                        <a:pt x="53902" y="60534"/>
                        <a:pt x="53902" y="60534"/>
                      </a:cubicBezTo>
                      <a:cubicBezTo>
                        <a:pt x="54634" y="62032"/>
                        <a:pt x="54634" y="62032"/>
                        <a:pt x="54634" y="62032"/>
                      </a:cubicBezTo>
                      <a:cubicBezTo>
                        <a:pt x="56341" y="63529"/>
                        <a:pt x="56341" y="63529"/>
                        <a:pt x="56341" y="63529"/>
                      </a:cubicBezTo>
                      <a:cubicBezTo>
                        <a:pt x="57317" y="63957"/>
                        <a:pt x="57317" y="63957"/>
                        <a:pt x="57317" y="63957"/>
                      </a:cubicBezTo>
                      <a:cubicBezTo>
                        <a:pt x="57804" y="64812"/>
                        <a:pt x="57804" y="64812"/>
                        <a:pt x="57804" y="64812"/>
                      </a:cubicBezTo>
                      <a:cubicBezTo>
                        <a:pt x="58780" y="65240"/>
                        <a:pt x="58780" y="65240"/>
                        <a:pt x="58780" y="65240"/>
                      </a:cubicBezTo>
                      <a:cubicBezTo>
                        <a:pt x="59756" y="65454"/>
                        <a:pt x="59756" y="65454"/>
                        <a:pt x="59756" y="65454"/>
                      </a:cubicBezTo>
                      <a:cubicBezTo>
                        <a:pt x="61219" y="65668"/>
                        <a:pt x="61219" y="65668"/>
                        <a:pt x="61219" y="65668"/>
                      </a:cubicBezTo>
                      <a:cubicBezTo>
                        <a:pt x="62195" y="66524"/>
                        <a:pt x="62195" y="66524"/>
                        <a:pt x="62195" y="66524"/>
                      </a:cubicBezTo>
                      <a:cubicBezTo>
                        <a:pt x="62195" y="66524"/>
                        <a:pt x="62682" y="66951"/>
                        <a:pt x="62682" y="67165"/>
                      </a:cubicBezTo>
                      <a:cubicBezTo>
                        <a:pt x="62682" y="67593"/>
                        <a:pt x="62195" y="67807"/>
                        <a:pt x="62926" y="67807"/>
                      </a:cubicBezTo>
                      <a:cubicBezTo>
                        <a:pt x="63658" y="67807"/>
                        <a:pt x="64390" y="67593"/>
                        <a:pt x="64390" y="67593"/>
                      </a:cubicBezTo>
                      <a:cubicBezTo>
                        <a:pt x="65853" y="67379"/>
                        <a:pt x="65853" y="67379"/>
                        <a:pt x="65853" y="67379"/>
                      </a:cubicBezTo>
                      <a:cubicBezTo>
                        <a:pt x="66829" y="67379"/>
                        <a:pt x="66829" y="67379"/>
                        <a:pt x="66829" y="67379"/>
                      </a:cubicBezTo>
                      <a:cubicBezTo>
                        <a:pt x="67804" y="67379"/>
                        <a:pt x="67804" y="67379"/>
                        <a:pt x="67804" y="67379"/>
                      </a:cubicBezTo>
                      <a:cubicBezTo>
                        <a:pt x="69512" y="67165"/>
                        <a:pt x="69512" y="67165"/>
                        <a:pt x="69512" y="67165"/>
                      </a:cubicBezTo>
                      <a:cubicBezTo>
                        <a:pt x="70487" y="67807"/>
                        <a:pt x="70487" y="67807"/>
                        <a:pt x="70487" y="67807"/>
                      </a:cubicBezTo>
                      <a:cubicBezTo>
                        <a:pt x="73170" y="70588"/>
                        <a:pt x="73170" y="70588"/>
                        <a:pt x="73170" y="70588"/>
                      </a:cubicBezTo>
                      <a:cubicBezTo>
                        <a:pt x="73170" y="70588"/>
                        <a:pt x="73902" y="71657"/>
                        <a:pt x="73902" y="72085"/>
                      </a:cubicBezTo>
                      <a:cubicBezTo>
                        <a:pt x="73902" y="72299"/>
                        <a:pt x="74878" y="72085"/>
                        <a:pt x="75121" y="72085"/>
                      </a:cubicBezTo>
                      <a:cubicBezTo>
                        <a:pt x="75365" y="72085"/>
                        <a:pt x="77317" y="72085"/>
                        <a:pt x="77317" y="72085"/>
                      </a:cubicBezTo>
                      <a:cubicBezTo>
                        <a:pt x="78780" y="72941"/>
                        <a:pt x="78780" y="72941"/>
                        <a:pt x="78780" y="72941"/>
                      </a:cubicBezTo>
                      <a:cubicBezTo>
                        <a:pt x="77804" y="74010"/>
                        <a:pt x="77804" y="74010"/>
                        <a:pt x="77804" y="74010"/>
                      </a:cubicBezTo>
                      <a:cubicBezTo>
                        <a:pt x="79268" y="74652"/>
                        <a:pt x="79268" y="74652"/>
                        <a:pt x="79268" y="74652"/>
                      </a:cubicBezTo>
                      <a:cubicBezTo>
                        <a:pt x="80000" y="73796"/>
                        <a:pt x="80000" y="73796"/>
                        <a:pt x="80000" y="73796"/>
                      </a:cubicBezTo>
                      <a:cubicBezTo>
                        <a:pt x="81463" y="74010"/>
                        <a:pt x="81463" y="74010"/>
                        <a:pt x="81463" y="74010"/>
                      </a:cubicBezTo>
                      <a:cubicBezTo>
                        <a:pt x="82682" y="74866"/>
                        <a:pt x="82682" y="74866"/>
                        <a:pt x="82682" y="74866"/>
                      </a:cubicBezTo>
                      <a:cubicBezTo>
                        <a:pt x="82926" y="75508"/>
                        <a:pt x="82926" y="75508"/>
                        <a:pt x="82926" y="75508"/>
                      </a:cubicBezTo>
                      <a:cubicBezTo>
                        <a:pt x="83658" y="75935"/>
                        <a:pt x="83658" y="75935"/>
                        <a:pt x="83658" y="75935"/>
                      </a:cubicBezTo>
                      <a:cubicBezTo>
                        <a:pt x="83414" y="77005"/>
                        <a:pt x="83414" y="77005"/>
                        <a:pt x="83414" y="77005"/>
                      </a:cubicBezTo>
                      <a:cubicBezTo>
                        <a:pt x="83414" y="77647"/>
                        <a:pt x="83414" y="77647"/>
                        <a:pt x="83414" y="77647"/>
                      </a:cubicBezTo>
                      <a:cubicBezTo>
                        <a:pt x="83902" y="78502"/>
                        <a:pt x="83902" y="78502"/>
                        <a:pt x="83902" y="78502"/>
                      </a:cubicBezTo>
                      <a:cubicBezTo>
                        <a:pt x="85121" y="78930"/>
                        <a:pt x="85121" y="78930"/>
                        <a:pt x="85121" y="78930"/>
                      </a:cubicBezTo>
                      <a:cubicBezTo>
                        <a:pt x="86341" y="79572"/>
                        <a:pt x="86341" y="79572"/>
                        <a:pt x="86341" y="79572"/>
                      </a:cubicBezTo>
                      <a:cubicBezTo>
                        <a:pt x="87073" y="80000"/>
                        <a:pt x="87073" y="80000"/>
                        <a:pt x="87073" y="80000"/>
                      </a:cubicBezTo>
                      <a:cubicBezTo>
                        <a:pt x="88048" y="80000"/>
                        <a:pt x="88048" y="80000"/>
                        <a:pt x="88048" y="80000"/>
                      </a:cubicBezTo>
                      <a:cubicBezTo>
                        <a:pt x="89512" y="79786"/>
                        <a:pt x="89512" y="79786"/>
                        <a:pt x="89512" y="79786"/>
                      </a:cubicBezTo>
                      <a:cubicBezTo>
                        <a:pt x="91219" y="80000"/>
                        <a:pt x="91219" y="80000"/>
                        <a:pt x="91219" y="80000"/>
                      </a:cubicBezTo>
                      <a:cubicBezTo>
                        <a:pt x="92682" y="82139"/>
                        <a:pt x="92682" y="82139"/>
                        <a:pt x="92682" y="82139"/>
                      </a:cubicBezTo>
                      <a:cubicBezTo>
                        <a:pt x="93414" y="84064"/>
                        <a:pt x="93414" y="84064"/>
                        <a:pt x="93414" y="84064"/>
                      </a:cubicBezTo>
                      <a:cubicBezTo>
                        <a:pt x="94390" y="85775"/>
                        <a:pt x="94390" y="85775"/>
                        <a:pt x="94390" y="85775"/>
                      </a:cubicBezTo>
                      <a:cubicBezTo>
                        <a:pt x="95121" y="86844"/>
                        <a:pt x="95121" y="86844"/>
                        <a:pt x="95121" y="86844"/>
                      </a:cubicBezTo>
                      <a:cubicBezTo>
                        <a:pt x="95609" y="88556"/>
                        <a:pt x="95609" y="88556"/>
                        <a:pt x="95609" y="88556"/>
                      </a:cubicBezTo>
                      <a:cubicBezTo>
                        <a:pt x="96341" y="89411"/>
                        <a:pt x="96341" y="89411"/>
                        <a:pt x="96341" y="89411"/>
                      </a:cubicBezTo>
                      <a:cubicBezTo>
                        <a:pt x="97560" y="91550"/>
                        <a:pt x="97560" y="91550"/>
                        <a:pt x="97560" y="91550"/>
                      </a:cubicBezTo>
                      <a:cubicBezTo>
                        <a:pt x="98048" y="92406"/>
                        <a:pt x="98048" y="92406"/>
                        <a:pt x="98048" y="92406"/>
                      </a:cubicBezTo>
                      <a:cubicBezTo>
                        <a:pt x="97560" y="93475"/>
                        <a:pt x="97560" y="93475"/>
                        <a:pt x="97560" y="93475"/>
                      </a:cubicBezTo>
                      <a:cubicBezTo>
                        <a:pt x="97560" y="93475"/>
                        <a:pt x="97073" y="94545"/>
                        <a:pt x="96829" y="94545"/>
                      </a:cubicBezTo>
                      <a:cubicBezTo>
                        <a:pt x="96829" y="94759"/>
                        <a:pt x="96097" y="94973"/>
                        <a:pt x="95853" y="94973"/>
                      </a:cubicBezTo>
                      <a:cubicBezTo>
                        <a:pt x="95609" y="95187"/>
                        <a:pt x="95365" y="95187"/>
                        <a:pt x="95121" y="95401"/>
                      </a:cubicBezTo>
                      <a:cubicBezTo>
                        <a:pt x="94878" y="95614"/>
                        <a:pt x="94634" y="96256"/>
                        <a:pt x="94634" y="96256"/>
                      </a:cubicBezTo>
                      <a:cubicBezTo>
                        <a:pt x="95365" y="97540"/>
                        <a:pt x="95365" y="97540"/>
                        <a:pt x="95365" y="97540"/>
                      </a:cubicBezTo>
                      <a:cubicBezTo>
                        <a:pt x="95121" y="99037"/>
                        <a:pt x="95121" y="99037"/>
                        <a:pt x="95121" y="99037"/>
                      </a:cubicBezTo>
                      <a:cubicBezTo>
                        <a:pt x="94634" y="100320"/>
                        <a:pt x="94634" y="100320"/>
                        <a:pt x="94634" y="100320"/>
                      </a:cubicBezTo>
                      <a:close/>
                      <a:moveTo>
                        <a:pt x="13902" y="73796"/>
                      </a:moveTo>
                      <a:cubicBezTo>
                        <a:pt x="13902" y="73796"/>
                        <a:pt x="13902" y="73796"/>
                        <a:pt x="13902" y="73796"/>
                      </a:cubicBezTo>
                      <a:cubicBezTo>
                        <a:pt x="14634" y="71657"/>
                        <a:pt x="14634" y="71657"/>
                        <a:pt x="14634" y="71657"/>
                      </a:cubicBezTo>
                      <a:cubicBezTo>
                        <a:pt x="15609" y="70802"/>
                        <a:pt x="15609" y="70802"/>
                        <a:pt x="15609" y="70802"/>
                      </a:cubicBezTo>
                      <a:cubicBezTo>
                        <a:pt x="15365" y="71871"/>
                        <a:pt x="15365" y="71871"/>
                        <a:pt x="15365" y="71871"/>
                      </a:cubicBezTo>
                      <a:cubicBezTo>
                        <a:pt x="15121" y="73155"/>
                        <a:pt x="15121" y="73155"/>
                        <a:pt x="15121" y="73155"/>
                      </a:cubicBezTo>
                      <a:cubicBezTo>
                        <a:pt x="15121" y="73155"/>
                        <a:pt x="17073" y="73796"/>
                        <a:pt x="17317" y="73796"/>
                      </a:cubicBezTo>
                      <a:cubicBezTo>
                        <a:pt x="17560" y="73796"/>
                        <a:pt x="17804" y="73368"/>
                        <a:pt x="18292" y="73155"/>
                      </a:cubicBezTo>
                      <a:cubicBezTo>
                        <a:pt x="18536" y="72941"/>
                        <a:pt x="20243" y="72941"/>
                        <a:pt x="20243" y="72941"/>
                      </a:cubicBezTo>
                      <a:cubicBezTo>
                        <a:pt x="20243" y="72941"/>
                        <a:pt x="20487" y="72299"/>
                        <a:pt x="20731" y="71871"/>
                      </a:cubicBezTo>
                      <a:cubicBezTo>
                        <a:pt x="20975" y="71443"/>
                        <a:pt x="22195" y="70374"/>
                        <a:pt x="22439" y="70160"/>
                      </a:cubicBezTo>
                      <a:cubicBezTo>
                        <a:pt x="22682" y="70160"/>
                        <a:pt x="23170" y="69732"/>
                        <a:pt x="23414" y="69732"/>
                      </a:cubicBezTo>
                      <a:cubicBezTo>
                        <a:pt x="23658" y="69518"/>
                        <a:pt x="24878" y="69090"/>
                        <a:pt x="24878" y="69090"/>
                      </a:cubicBezTo>
                      <a:cubicBezTo>
                        <a:pt x="28048" y="70160"/>
                        <a:pt x="28048" y="70160"/>
                        <a:pt x="28048" y="70160"/>
                      </a:cubicBezTo>
                      <a:cubicBezTo>
                        <a:pt x="28536" y="71871"/>
                        <a:pt x="28536" y="71871"/>
                        <a:pt x="28536" y="71871"/>
                      </a:cubicBezTo>
                      <a:cubicBezTo>
                        <a:pt x="30243" y="74652"/>
                        <a:pt x="30243" y="74652"/>
                        <a:pt x="30243" y="74652"/>
                      </a:cubicBezTo>
                      <a:cubicBezTo>
                        <a:pt x="30731" y="75935"/>
                        <a:pt x="30731" y="75935"/>
                        <a:pt x="30731" y="75935"/>
                      </a:cubicBezTo>
                      <a:cubicBezTo>
                        <a:pt x="30731" y="75935"/>
                        <a:pt x="31463" y="76577"/>
                        <a:pt x="31219" y="77219"/>
                      </a:cubicBezTo>
                      <a:cubicBezTo>
                        <a:pt x="30975" y="78074"/>
                        <a:pt x="29512" y="80213"/>
                        <a:pt x="29512" y="80213"/>
                      </a:cubicBezTo>
                      <a:cubicBezTo>
                        <a:pt x="29512" y="81497"/>
                        <a:pt x="29512" y="81497"/>
                        <a:pt x="29512" y="81497"/>
                      </a:cubicBezTo>
                      <a:cubicBezTo>
                        <a:pt x="30487" y="83208"/>
                        <a:pt x="30487" y="83208"/>
                        <a:pt x="30487" y="83208"/>
                      </a:cubicBezTo>
                      <a:cubicBezTo>
                        <a:pt x="29024" y="86417"/>
                        <a:pt x="29024" y="86417"/>
                        <a:pt x="29024" y="86417"/>
                      </a:cubicBezTo>
                      <a:cubicBezTo>
                        <a:pt x="29756" y="88770"/>
                        <a:pt x="29756" y="88770"/>
                        <a:pt x="29756" y="88770"/>
                      </a:cubicBezTo>
                      <a:cubicBezTo>
                        <a:pt x="29268" y="91978"/>
                        <a:pt x="29268" y="91978"/>
                        <a:pt x="29268" y="91978"/>
                      </a:cubicBezTo>
                      <a:cubicBezTo>
                        <a:pt x="29024" y="93689"/>
                        <a:pt x="29024" y="93689"/>
                        <a:pt x="29024" y="93689"/>
                      </a:cubicBezTo>
                      <a:cubicBezTo>
                        <a:pt x="29024" y="93689"/>
                        <a:pt x="28048" y="94545"/>
                        <a:pt x="27560" y="94331"/>
                      </a:cubicBezTo>
                      <a:cubicBezTo>
                        <a:pt x="27073" y="94117"/>
                        <a:pt x="24634" y="92620"/>
                        <a:pt x="24634" y="92620"/>
                      </a:cubicBezTo>
                      <a:cubicBezTo>
                        <a:pt x="23658" y="92406"/>
                        <a:pt x="23658" y="92406"/>
                        <a:pt x="23658" y="92406"/>
                      </a:cubicBezTo>
                      <a:cubicBezTo>
                        <a:pt x="22926" y="93903"/>
                        <a:pt x="22926" y="93903"/>
                        <a:pt x="22926" y="93903"/>
                      </a:cubicBezTo>
                      <a:cubicBezTo>
                        <a:pt x="23170" y="94973"/>
                        <a:pt x="23170" y="94973"/>
                        <a:pt x="23170" y="94973"/>
                      </a:cubicBezTo>
                      <a:cubicBezTo>
                        <a:pt x="21951" y="96898"/>
                        <a:pt x="21951" y="96898"/>
                        <a:pt x="21951" y="96898"/>
                      </a:cubicBezTo>
                      <a:cubicBezTo>
                        <a:pt x="20731" y="96898"/>
                        <a:pt x="20731" y="96898"/>
                        <a:pt x="20731" y="96898"/>
                      </a:cubicBezTo>
                      <a:cubicBezTo>
                        <a:pt x="19268" y="96470"/>
                        <a:pt x="19268" y="96470"/>
                        <a:pt x="19268" y="96470"/>
                      </a:cubicBezTo>
                      <a:cubicBezTo>
                        <a:pt x="17804" y="94759"/>
                        <a:pt x="17804" y="94759"/>
                        <a:pt x="17804" y="94759"/>
                      </a:cubicBezTo>
                      <a:cubicBezTo>
                        <a:pt x="17804" y="94759"/>
                        <a:pt x="17804" y="95187"/>
                        <a:pt x="17317" y="95401"/>
                      </a:cubicBezTo>
                      <a:cubicBezTo>
                        <a:pt x="16829" y="95401"/>
                        <a:pt x="16097" y="95187"/>
                        <a:pt x="16097" y="95187"/>
                      </a:cubicBezTo>
                      <a:cubicBezTo>
                        <a:pt x="16585" y="93903"/>
                        <a:pt x="16585" y="93903"/>
                        <a:pt x="16585" y="93903"/>
                      </a:cubicBezTo>
                      <a:cubicBezTo>
                        <a:pt x="16097" y="92406"/>
                        <a:pt x="16097" y="92406"/>
                        <a:pt x="16097" y="92406"/>
                      </a:cubicBezTo>
                      <a:cubicBezTo>
                        <a:pt x="16585" y="90909"/>
                        <a:pt x="16585" y="90909"/>
                        <a:pt x="16585" y="90909"/>
                      </a:cubicBezTo>
                      <a:cubicBezTo>
                        <a:pt x="16585" y="88770"/>
                        <a:pt x="16585" y="88770"/>
                        <a:pt x="16585" y="88770"/>
                      </a:cubicBezTo>
                      <a:cubicBezTo>
                        <a:pt x="17073" y="87914"/>
                        <a:pt x="17073" y="87914"/>
                        <a:pt x="17073" y="87914"/>
                      </a:cubicBezTo>
                      <a:cubicBezTo>
                        <a:pt x="17317" y="86844"/>
                        <a:pt x="17317" y="86844"/>
                        <a:pt x="17317" y="86844"/>
                      </a:cubicBezTo>
                      <a:cubicBezTo>
                        <a:pt x="18048" y="85561"/>
                        <a:pt x="18048" y="85561"/>
                        <a:pt x="18048" y="85561"/>
                      </a:cubicBezTo>
                      <a:cubicBezTo>
                        <a:pt x="17804" y="84491"/>
                        <a:pt x="17804" y="84491"/>
                        <a:pt x="17804" y="84491"/>
                      </a:cubicBezTo>
                      <a:cubicBezTo>
                        <a:pt x="17317" y="84705"/>
                        <a:pt x="17317" y="84705"/>
                        <a:pt x="17317" y="84705"/>
                      </a:cubicBezTo>
                      <a:cubicBezTo>
                        <a:pt x="15853" y="83422"/>
                        <a:pt x="15853" y="83422"/>
                        <a:pt x="15853" y="83422"/>
                      </a:cubicBezTo>
                      <a:cubicBezTo>
                        <a:pt x="15853" y="83422"/>
                        <a:pt x="16341" y="82994"/>
                        <a:pt x="16829" y="82566"/>
                      </a:cubicBezTo>
                      <a:cubicBezTo>
                        <a:pt x="17317" y="82139"/>
                        <a:pt x="17317" y="81925"/>
                        <a:pt x="17317" y="81497"/>
                      </a:cubicBezTo>
                      <a:cubicBezTo>
                        <a:pt x="17317" y="81069"/>
                        <a:pt x="17073" y="80000"/>
                        <a:pt x="16829" y="80000"/>
                      </a:cubicBezTo>
                      <a:cubicBezTo>
                        <a:pt x="16585" y="79786"/>
                        <a:pt x="16097" y="79358"/>
                        <a:pt x="16097" y="79358"/>
                      </a:cubicBezTo>
                      <a:cubicBezTo>
                        <a:pt x="16097" y="78074"/>
                        <a:pt x="16097" y="78074"/>
                        <a:pt x="16097" y="78074"/>
                      </a:cubicBezTo>
                      <a:cubicBezTo>
                        <a:pt x="16097" y="78074"/>
                        <a:pt x="15853" y="77433"/>
                        <a:pt x="15609" y="77433"/>
                      </a:cubicBezTo>
                      <a:cubicBezTo>
                        <a:pt x="15121" y="77219"/>
                        <a:pt x="13902" y="76577"/>
                        <a:pt x="13902" y="76577"/>
                      </a:cubicBezTo>
                      <a:cubicBezTo>
                        <a:pt x="14146" y="75080"/>
                        <a:pt x="14146" y="75080"/>
                        <a:pt x="14146" y="75080"/>
                      </a:cubicBezTo>
                      <a:cubicBezTo>
                        <a:pt x="13658" y="74652"/>
                        <a:pt x="13658" y="74652"/>
                        <a:pt x="13658" y="74652"/>
                      </a:cubicBezTo>
                      <a:lnTo>
                        <a:pt x="13902" y="73796"/>
                      </a:lnTo>
                      <a:close/>
                    </a:path>
                  </a:pathLst>
                </a:custGeom>
                <a:solidFill>
                  <a:schemeClr val="bg1">
                    <a:lumMod val="75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6" name="Shape 2048"/>
                <p:cNvSpPr/>
                <p:nvPr/>
              </p:nvSpPr>
              <p:spPr>
                <a:xfrm>
                  <a:off x="5904410" y="2909082"/>
                  <a:ext cx="841064" cy="588110"/>
                </a:xfrm>
                <a:custGeom>
                  <a:avLst/>
                  <a:gdLst/>
                  <a:ahLst/>
                  <a:cxnLst/>
                  <a:rect l="0" t="0" r="0" b="0"/>
                  <a:pathLst>
                    <a:path w="120000" h="120000" extrusionOk="0">
                      <a:moveTo>
                        <a:pt x="22439" y="27518"/>
                      </a:moveTo>
                      <a:cubicBezTo>
                        <a:pt x="22439" y="27518"/>
                        <a:pt x="22439" y="27518"/>
                        <a:pt x="22439" y="27518"/>
                      </a:cubicBezTo>
                      <a:cubicBezTo>
                        <a:pt x="21463" y="27969"/>
                        <a:pt x="21463" y="27969"/>
                        <a:pt x="21463" y="27969"/>
                      </a:cubicBezTo>
                      <a:cubicBezTo>
                        <a:pt x="20813" y="28872"/>
                        <a:pt x="20813" y="28872"/>
                        <a:pt x="20813" y="28872"/>
                      </a:cubicBezTo>
                      <a:cubicBezTo>
                        <a:pt x="20162" y="31578"/>
                        <a:pt x="20162" y="31578"/>
                        <a:pt x="20162" y="31578"/>
                      </a:cubicBezTo>
                      <a:cubicBezTo>
                        <a:pt x="20162" y="31578"/>
                        <a:pt x="20162" y="31578"/>
                        <a:pt x="20162" y="31578"/>
                      </a:cubicBezTo>
                      <a:cubicBezTo>
                        <a:pt x="19186" y="32932"/>
                        <a:pt x="19186" y="32932"/>
                        <a:pt x="19186" y="32932"/>
                      </a:cubicBezTo>
                      <a:cubicBezTo>
                        <a:pt x="19186" y="32932"/>
                        <a:pt x="19186" y="32932"/>
                        <a:pt x="19186" y="32932"/>
                      </a:cubicBezTo>
                      <a:cubicBezTo>
                        <a:pt x="18861" y="35187"/>
                        <a:pt x="18861" y="35187"/>
                        <a:pt x="18861" y="35187"/>
                      </a:cubicBezTo>
                      <a:cubicBezTo>
                        <a:pt x="18861" y="35187"/>
                        <a:pt x="19186" y="36992"/>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536"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7886" y="41954"/>
                        <a:pt x="17886" y="41954"/>
                        <a:pt x="17886" y="41954"/>
                      </a:cubicBezTo>
                      <a:cubicBezTo>
                        <a:pt x="16585" y="43759"/>
                        <a:pt x="16585" y="43759"/>
                        <a:pt x="16585" y="43759"/>
                      </a:cubicBezTo>
                      <a:cubicBezTo>
                        <a:pt x="16260" y="46015"/>
                        <a:pt x="16260" y="46015"/>
                        <a:pt x="16260" y="46015"/>
                      </a:cubicBezTo>
                      <a:cubicBezTo>
                        <a:pt x="16260" y="47368"/>
                        <a:pt x="16260" y="47368"/>
                        <a:pt x="16260" y="47368"/>
                      </a:cubicBezTo>
                      <a:cubicBezTo>
                        <a:pt x="16260" y="47368"/>
                        <a:pt x="16260" y="47368"/>
                        <a:pt x="16260" y="47368"/>
                      </a:cubicBezTo>
                      <a:cubicBezTo>
                        <a:pt x="16260" y="47368"/>
                        <a:pt x="16260" y="47368"/>
                        <a:pt x="16260" y="47368"/>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9172"/>
                        <a:pt x="16260" y="49172"/>
                        <a:pt x="15934" y="49172"/>
                      </a:cubicBezTo>
                      <a:cubicBezTo>
                        <a:pt x="15284" y="49624"/>
                        <a:pt x="14959" y="50526"/>
                        <a:pt x="14959" y="50526"/>
                      </a:cubicBezTo>
                      <a:cubicBezTo>
                        <a:pt x="14959" y="53684"/>
                        <a:pt x="14959" y="53684"/>
                        <a:pt x="14959" y="53684"/>
                      </a:cubicBezTo>
                      <a:cubicBezTo>
                        <a:pt x="14634" y="54586"/>
                        <a:pt x="14634" y="54586"/>
                        <a:pt x="14634" y="54586"/>
                      </a:cubicBezTo>
                      <a:cubicBezTo>
                        <a:pt x="13983" y="55939"/>
                        <a:pt x="13983" y="55939"/>
                        <a:pt x="13983" y="55939"/>
                      </a:cubicBezTo>
                      <a:cubicBezTo>
                        <a:pt x="14308" y="57744"/>
                        <a:pt x="14308" y="57744"/>
                        <a:pt x="14308" y="57744"/>
                      </a:cubicBezTo>
                      <a:cubicBezTo>
                        <a:pt x="14308" y="57744"/>
                        <a:pt x="14308" y="57744"/>
                        <a:pt x="14308" y="57744"/>
                      </a:cubicBezTo>
                      <a:cubicBezTo>
                        <a:pt x="13658" y="59097"/>
                        <a:pt x="13658" y="59097"/>
                        <a:pt x="13658" y="59097"/>
                      </a:cubicBezTo>
                      <a:cubicBezTo>
                        <a:pt x="13983" y="61353"/>
                        <a:pt x="13983" y="61353"/>
                        <a:pt x="13983" y="61353"/>
                      </a:cubicBezTo>
                      <a:cubicBezTo>
                        <a:pt x="13333" y="62706"/>
                        <a:pt x="13333" y="62706"/>
                        <a:pt x="13333" y="62706"/>
                      </a:cubicBezTo>
                      <a:cubicBezTo>
                        <a:pt x="13008" y="63157"/>
                        <a:pt x="13008" y="63157"/>
                        <a:pt x="13008" y="63157"/>
                      </a:cubicBezTo>
                      <a:cubicBezTo>
                        <a:pt x="12682" y="64511"/>
                        <a:pt x="12682" y="64511"/>
                        <a:pt x="12682" y="64511"/>
                      </a:cubicBezTo>
                      <a:cubicBezTo>
                        <a:pt x="12032" y="66766"/>
                        <a:pt x="12032" y="66766"/>
                        <a:pt x="12032" y="66766"/>
                      </a:cubicBezTo>
                      <a:cubicBezTo>
                        <a:pt x="9430" y="69924"/>
                        <a:pt x="9430" y="69924"/>
                        <a:pt x="9430" y="69924"/>
                      </a:cubicBezTo>
                      <a:cubicBezTo>
                        <a:pt x="8455" y="69473"/>
                        <a:pt x="8455" y="69473"/>
                        <a:pt x="8455" y="69473"/>
                      </a:cubicBezTo>
                      <a:cubicBezTo>
                        <a:pt x="7804" y="69924"/>
                        <a:pt x="7804" y="69924"/>
                        <a:pt x="7804" y="69924"/>
                      </a:cubicBezTo>
                      <a:cubicBezTo>
                        <a:pt x="7154" y="70827"/>
                        <a:pt x="7154" y="70827"/>
                        <a:pt x="7154" y="70827"/>
                      </a:cubicBezTo>
                      <a:cubicBezTo>
                        <a:pt x="7154" y="70827"/>
                        <a:pt x="7479" y="70827"/>
                        <a:pt x="6829" y="71729"/>
                      </a:cubicBezTo>
                      <a:cubicBezTo>
                        <a:pt x="6178" y="72180"/>
                        <a:pt x="4878" y="72631"/>
                        <a:pt x="4878" y="72631"/>
                      </a:cubicBezTo>
                      <a:cubicBezTo>
                        <a:pt x="4227" y="72631"/>
                        <a:pt x="4227" y="72631"/>
                        <a:pt x="4227" y="72631"/>
                      </a:cubicBezTo>
                      <a:cubicBezTo>
                        <a:pt x="1951" y="72631"/>
                        <a:pt x="1951" y="72631"/>
                        <a:pt x="1951" y="72631"/>
                      </a:cubicBezTo>
                      <a:cubicBezTo>
                        <a:pt x="1951" y="72631"/>
                        <a:pt x="1951" y="72631"/>
                        <a:pt x="1951" y="72631"/>
                      </a:cubicBezTo>
                      <a:cubicBezTo>
                        <a:pt x="1951" y="72631"/>
                        <a:pt x="1951" y="72631"/>
                        <a:pt x="1951" y="72631"/>
                      </a:cubicBezTo>
                      <a:cubicBezTo>
                        <a:pt x="1951" y="72631"/>
                        <a:pt x="1626" y="72180"/>
                        <a:pt x="1300" y="72631"/>
                      </a:cubicBezTo>
                      <a:cubicBezTo>
                        <a:pt x="1300" y="72631"/>
                        <a:pt x="975" y="72631"/>
                        <a:pt x="975" y="72631"/>
                      </a:cubicBezTo>
                      <a:cubicBezTo>
                        <a:pt x="975" y="72631"/>
                        <a:pt x="975" y="72631"/>
                        <a:pt x="975"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325" y="73082"/>
                        <a:pt x="650" y="73082"/>
                      </a:cubicBezTo>
                      <a:cubicBezTo>
                        <a:pt x="1300" y="73533"/>
                        <a:pt x="1626" y="74887"/>
                        <a:pt x="1951" y="74887"/>
                      </a:cubicBezTo>
                      <a:cubicBezTo>
                        <a:pt x="2601" y="75338"/>
                        <a:pt x="3252" y="75338"/>
                        <a:pt x="3577" y="75338"/>
                      </a:cubicBezTo>
                      <a:cubicBezTo>
                        <a:pt x="3902" y="75789"/>
                        <a:pt x="4552" y="76240"/>
                        <a:pt x="4552" y="76240"/>
                      </a:cubicBezTo>
                      <a:cubicBezTo>
                        <a:pt x="4552" y="76240"/>
                        <a:pt x="6178" y="78496"/>
                        <a:pt x="6504" y="78496"/>
                      </a:cubicBezTo>
                      <a:cubicBezTo>
                        <a:pt x="6829" y="78496"/>
                        <a:pt x="6829" y="78496"/>
                        <a:pt x="7154" y="79398"/>
                      </a:cubicBezTo>
                      <a:cubicBezTo>
                        <a:pt x="7479" y="79849"/>
                        <a:pt x="8455" y="79398"/>
                        <a:pt x="8455" y="79398"/>
                      </a:cubicBezTo>
                      <a:cubicBezTo>
                        <a:pt x="8455" y="79398"/>
                        <a:pt x="8780" y="80751"/>
                        <a:pt x="8455" y="81203"/>
                      </a:cubicBezTo>
                      <a:cubicBezTo>
                        <a:pt x="8455" y="81654"/>
                        <a:pt x="8455" y="83007"/>
                        <a:pt x="8455" y="83007"/>
                      </a:cubicBezTo>
                      <a:cubicBezTo>
                        <a:pt x="8455" y="83007"/>
                        <a:pt x="8455" y="83458"/>
                        <a:pt x="8455" y="83909"/>
                      </a:cubicBezTo>
                      <a:cubicBezTo>
                        <a:pt x="8780" y="84812"/>
                        <a:pt x="9105" y="84812"/>
                        <a:pt x="9105" y="85714"/>
                      </a:cubicBezTo>
                      <a:cubicBezTo>
                        <a:pt x="9430" y="86165"/>
                        <a:pt x="9105" y="86165"/>
                        <a:pt x="9430" y="86616"/>
                      </a:cubicBezTo>
                      <a:cubicBezTo>
                        <a:pt x="9756" y="87067"/>
                        <a:pt x="10081" y="87969"/>
                        <a:pt x="10406" y="87969"/>
                      </a:cubicBezTo>
                      <a:cubicBezTo>
                        <a:pt x="10731" y="87969"/>
                        <a:pt x="11056" y="87969"/>
                        <a:pt x="12032" y="88421"/>
                      </a:cubicBezTo>
                      <a:cubicBezTo>
                        <a:pt x="13008" y="89323"/>
                        <a:pt x="13333" y="89323"/>
                        <a:pt x="13658" y="89774"/>
                      </a:cubicBezTo>
                      <a:cubicBezTo>
                        <a:pt x="14308" y="90225"/>
                        <a:pt x="13983" y="89774"/>
                        <a:pt x="14959" y="90225"/>
                      </a:cubicBezTo>
                      <a:cubicBezTo>
                        <a:pt x="16260" y="90676"/>
                        <a:pt x="15934" y="90225"/>
                        <a:pt x="16260" y="90676"/>
                      </a:cubicBezTo>
                      <a:cubicBezTo>
                        <a:pt x="16585" y="90676"/>
                        <a:pt x="16260" y="90225"/>
                        <a:pt x="16910" y="90676"/>
                      </a:cubicBezTo>
                      <a:cubicBezTo>
                        <a:pt x="17886" y="90676"/>
                        <a:pt x="18536" y="91127"/>
                        <a:pt x="18536" y="91127"/>
                      </a:cubicBezTo>
                      <a:cubicBezTo>
                        <a:pt x="18536" y="92030"/>
                        <a:pt x="18536" y="92030"/>
                        <a:pt x="18536" y="92030"/>
                      </a:cubicBezTo>
                      <a:cubicBezTo>
                        <a:pt x="17886" y="93834"/>
                        <a:pt x="17886" y="93834"/>
                        <a:pt x="17886" y="93834"/>
                      </a:cubicBezTo>
                      <a:cubicBezTo>
                        <a:pt x="17886" y="95187"/>
                        <a:pt x="17886" y="95187"/>
                        <a:pt x="17886" y="95187"/>
                      </a:cubicBezTo>
                      <a:cubicBezTo>
                        <a:pt x="17886" y="95187"/>
                        <a:pt x="17235" y="95187"/>
                        <a:pt x="17886" y="95639"/>
                      </a:cubicBezTo>
                      <a:cubicBezTo>
                        <a:pt x="18536" y="96090"/>
                        <a:pt x="19837" y="96541"/>
                        <a:pt x="19837" y="96541"/>
                      </a:cubicBezTo>
                      <a:cubicBezTo>
                        <a:pt x="20813" y="97443"/>
                        <a:pt x="20813" y="97443"/>
                        <a:pt x="20813" y="97443"/>
                      </a:cubicBezTo>
                      <a:cubicBezTo>
                        <a:pt x="20813" y="97443"/>
                        <a:pt x="20162" y="98796"/>
                        <a:pt x="19837" y="99248"/>
                      </a:cubicBezTo>
                      <a:cubicBezTo>
                        <a:pt x="19512" y="99248"/>
                        <a:pt x="18536" y="99248"/>
                        <a:pt x="18536" y="99248"/>
                      </a:cubicBezTo>
                      <a:cubicBezTo>
                        <a:pt x="18536" y="99248"/>
                        <a:pt x="18211" y="100601"/>
                        <a:pt x="18861" y="100601"/>
                      </a:cubicBezTo>
                      <a:cubicBezTo>
                        <a:pt x="19186" y="101052"/>
                        <a:pt x="19837" y="101052"/>
                        <a:pt x="20162" y="101052"/>
                      </a:cubicBezTo>
                      <a:cubicBezTo>
                        <a:pt x="20487" y="101052"/>
                        <a:pt x="21138" y="101503"/>
                        <a:pt x="21138" y="101503"/>
                      </a:cubicBezTo>
                      <a:cubicBezTo>
                        <a:pt x="21138" y="101503"/>
                        <a:pt x="21463" y="101503"/>
                        <a:pt x="21788" y="101954"/>
                      </a:cubicBezTo>
                      <a:cubicBezTo>
                        <a:pt x="21788" y="102857"/>
                        <a:pt x="22113" y="103308"/>
                        <a:pt x="22439" y="103308"/>
                      </a:cubicBezTo>
                      <a:cubicBezTo>
                        <a:pt x="22764" y="103308"/>
                        <a:pt x="23414" y="103308"/>
                        <a:pt x="23739" y="103308"/>
                      </a:cubicBezTo>
                      <a:cubicBezTo>
                        <a:pt x="24065" y="103308"/>
                        <a:pt x="24065" y="102857"/>
                        <a:pt x="24390" y="102857"/>
                      </a:cubicBezTo>
                      <a:cubicBezTo>
                        <a:pt x="24715" y="103308"/>
                        <a:pt x="26666" y="102857"/>
                        <a:pt x="26666" y="102857"/>
                      </a:cubicBezTo>
                      <a:cubicBezTo>
                        <a:pt x="26666" y="102857"/>
                        <a:pt x="26666" y="102857"/>
                        <a:pt x="26991" y="103759"/>
                      </a:cubicBezTo>
                      <a:cubicBezTo>
                        <a:pt x="27642" y="105112"/>
                        <a:pt x="28617" y="105563"/>
                        <a:pt x="28617" y="105563"/>
                      </a:cubicBezTo>
                      <a:cubicBezTo>
                        <a:pt x="28617" y="105563"/>
                        <a:pt x="28943" y="106015"/>
                        <a:pt x="28943" y="105563"/>
                      </a:cubicBezTo>
                      <a:cubicBezTo>
                        <a:pt x="28943" y="105112"/>
                        <a:pt x="29268" y="104661"/>
                        <a:pt x="29268" y="104661"/>
                      </a:cubicBezTo>
                      <a:cubicBezTo>
                        <a:pt x="29268" y="104661"/>
                        <a:pt x="29918" y="103308"/>
                        <a:pt x="29918" y="102857"/>
                      </a:cubicBezTo>
                      <a:cubicBezTo>
                        <a:pt x="30243" y="102406"/>
                        <a:pt x="30569" y="101052"/>
                        <a:pt x="30894" y="101052"/>
                      </a:cubicBezTo>
                      <a:cubicBezTo>
                        <a:pt x="31219" y="100601"/>
                        <a:pt x="32195" y="99699"/>
                        <a:pt x="32195" y="99699"/>
                      </a:cubicBezTo>
                      <a:cubicBezTo>
                        <a:pt x="32195" y="99699"/>
                        <a:pt x="32195" y="99248"/>
                        <a:pt x="32845" y="99699"/>
                      </a:cubicBezTo>
                      <a:cubicBezTo>
                        <a:pt x="33170" y="100601"/>
                        <a:pt x="34146" y="101503"/>
                        <a:pt x="34146" y="101503"/>
                      </a:cubicBezTo>
                      <a:cubicBezTo>
                        <a:pt x="35772" y="101503"/>
                        <a:pt x="35772" y="101503"/>
                        <a:pt x="35772" y="101503"/>
                      </a:cubicBezTo>
                      <a:cubicBezTo>
                        <a:pt x="35772" y="101503"/>
                        <a:pt x="36747" y="101954"/>
                        <a:pt x="36747" y="102406"/>
                      </a:cubicBezTo>
                      <a:cubicBezTo>
                        <a:pt x="36747" y="102857"/>
                        <a:pt x="36422" y="102857"/>
                        <a:pt x="35772" y="103308"/>
                      </a:cubicBezTo>
                      <a:cubicBezTo>
                        <a:pt x="35447" y="103308"/>
                        <a:pt x="34471" y="101954"/>
                        <a:pt x="34471" y="102406"/>
                      </a:cubicBezTo>
                      <a:cubicBezTo>
                        <a:pt x="34146" y="102857"/>
                        <a:pt x="34146" y="103759"/>
                        <a:pt x="34146" y="103759"/>
                      </a:cubicBezTo>
                      <a:cubicBezTo>
                        <a:pt x="32845" y="104661"/>
                        <a:pt x="32845" y="104661"/>
                        <a:pt x="32845" y="104661"/>
                      </a:cubicBezTo>
                      <a:cubicBezTo>
                        <a:pt x="33170" y="105563"/>
                        <a:pt x="33170" y="105563"/>
                        <a:pt x="33170" y="105563"/>
                      </a:cubicBezTo>
                      <a:cubicBezTo>
                        <a:pt x="33170" y="105563"/>
                        <a:pt x="34796" y="106466"/>
                        <a:pt x="34796" y="106917"/>
                      </a:cubicBezTo>
                      <a:cubicBezTo>
                        <a:pt x="34796" y="107368"/>
                        <a:pt x="34796" y="108270"/>
                        <a:pt x="34796" y="108270"/>
                      </a:cubicBezTo>
                      <a:cubicBezTo>
                        <a:pt x="35772" y="108721"/>
                        <a:pt x="35772" y="108721"/>
                        <a:pt x="35772" y="108721"/>
                      </a:cubicBezTo>
                      <a:cubicBezTo>
                        <a:pt x="36422" y="108270"/>
                        <a:pt x="36422" y="108270"/>
                        <a:pt x="36422" y="108270"/>
                      </a:cubicBezTo>
                      <a:cubicBezTo>
                        <a:pt x="36422" y="110075"/>
                        <a:pt x="36422" y="110075"/>
                        <a:pt x="36422" y="110075"/>
                      </a:cubicBezTo>
                      <a:cubicBezTo>
                        <a:pt x="36422" y="111879"/>
                        <a:pt x="36422" y="111879"/>
                        <a:pt x="36422" y="111879"/>
                      </a:cubicBezTo>
                      <a:cubicBezTo>
                        <a:pt x="36422" y="111879"/>
                        <a:pt x="36422" y="111879"/>
                        <a:pt x="36422" y="111879"/>
                      </a:cubicBezTo>
                      <a:cubicBezTo>
                        <a:pt x="36422" y="111879"/>
                        <a:pt x="36422" y="111879"/>
                        <a:pt x="36422" y="111879"/>
                      </a:cubicBezTo>
                      <a:cubicBezTo>
                        <a:pt x="38699" y="110977"/>
                        <a:pt x="40650" y="112781"/>
                        <a:pt x="41626" y="112781"/>
                      </a:cubicBezTo>
                      <a:cubicBezTo>
                        <a:pt x="43577" y="113233"/>
                        <a:pt x="39349" y="116390"/>
                        <a:pt x="40000" y="116390"/>
                      </a:cubicBezTo>
                      <a:cubicBezTo>
                        <a:pt x="40650" y="115939"/>
                        <a:pt x="40000" y="118646"/>
                        <a:pt x="40975" y="119097"/>
                      </a:cubicBezTo>
                      <a:cubicBezTo>
                        <a:pt x="42601" y="119548"/>
                        <a:pt x="43902" y="117744"/>
                        <a:pt x="45853" y="117744"/>
                      </a:cubicBezTo>
                      <a:cubicBezTo>
                        <a:pt x="47479" y="117293"/>
                        <a:pt x="49430" y="118646"/>
                        <a:pt x="50081" y="117744"/>
                      </a:cubicBezTo>
                      <a:cubicBezTo>
                        <a:pt x="51382" y="115488"/>
                        <a:pt x="56585" y="120000"/>
                        <a:pt x="59186" y="117744"/>
                      </a:cubicBezTo>
                      <a:cubicBezTo>
                        <a:pt x="60813" y="115939"/>
                        <a:pt x="67317" y="115037"/>
                        <a:pt x="69593" y="115037"/>
                      </a:cubicBezTo>
                      <a:cubicBezTo>
                        <a:pt x="75447" y="114586"/>
                        <a:pt x="75772" y="114586"/>
                        <a:pt x="78373" y="112330"/>
                      </a:cubicBezTo>
                      <a:cubicBezTo>
                        <a:pt x="78373" y="112330"/>
                        <a:pt x="80000" y="107368"/>
                        <a:pt x="80975" y="105112"/>
                      </a:cubicBezTo>
                      <a:cubicBezTo>
                        <a:pt x="81626" y="103308"/>
                        <a:pt x="83577" y="102406"/>
                        <a:pt x="85528" y="100601"/>
                      </a:cubicBezTo>
                      <a:cubicBezTo>
                        <a:pt x="87154" y="98796"/>
                        <a:pt x="91382" y="96992"/>
                        <a:pt x="92357" y="96541"/>
                      </a:cubicBezTo>
                      <a:cubicBezTo>
                        <a:pt x="93333" y="96541"/>
                        <a:pt x="100162" y="96992"/>
                        <a:pt x="100162" y="96992"/>
                      </a:cubicBezTo>
                      <a:cubicBezTo>
                        <a:pt x="103739" y="95639"/>
                        <a:pt x="103739" y="95639"/>
                        <a:pt x="103739" y="95639"/>
                      </a:cubicBezTo>
                      <a:cubicBezTo>
                        <a:pt x="103739" y="95639"/>
                        <a:pt x="104390" y="99248"/>
                        <a:pt x="105365" y="99699"/>
                      </a:cubicBezTo>
                      <a:cubicBezTo>
                        <a:pt x="109593" y="100601"/>
                        <a:pt x="112195" y="100150"/>
                        <a:pt x="112520" y="96992"/>
                      </a:cubicBezTo>
                      <a:cubicBezTo>
                        <a:pt x="112845" y="94736"/>
                        <a:pt x="111219" y="90676"/>
                        <a:pt x="110894" y="87518"/>
                      </a:cubicBezTo>
                      <a:cubicBezTo>
                        <a:pt x="110569" y="83909"/>
                        <a:pt x="111869" y="80300"/>
                        <a:pt x="111869" y="77142"/>
                      </a:cubicBezTo>
                      <a:cubicBezTo>
                        <a:pt x="111869" y="76691"/>
                        <a:pt x="111219" y="75789"/>
                        <a:pt x="113170" y="72180"/>
                      </a:cubicBezTo>
                      <a:cubicBezTo>
                        <a:pt x="114796" y="68571"/>
                        <a:pt x="119349" y="70375"/>
                        <a:pt x="120000" y="68120"/>
                      </a:cubicBezTo>
                      <a:cubicBezTo>
                        <a:pt x="118048" y="55488"/>
                        <a:pt x="118048" y="55488"/>
                        <a:pt x="118048" y="55488"/>
                      </a:cubicBezTo>
                      <a:cubicBezTo>
                        <a:pt x="117723" y="55488"/>
                        <a:pt x="117723" y="55488"/>
                        <a:pt x="117723" y="55488"/>
                      </a:cubicBezTo>
                      <a:cubicBezTo>
                        <a:pt x="117398" y="55488"/>
                        <a:pt x="117398" y="55488"/>
                        <a:pt x="117398" y="55488"/>
                      </a:cubicBezTo>
                      <a:cubicBezTo>
                        <a:pt x="116747" y="55037"/>
                        <a:pt x="116747" y="55037"/>
                        <a:pt x="116747" y="55037"/>
                      </a:cubicBezTo>
                      <a:cubicBezTo>
                        <a:pt x="116097" y="55037"/>
                        <a:pt x="116097" y="55037"/>
                        <a:pt x="116097" y="55037"/>
                      </a:cubicBezTo>
                      <a:cubicBezTo>
                        <a:pt x="115447" y="54586"/>
                        <a:pt x="115447" y="54586"/>
                        <a:pt x="115447" y="54586"/>
                      </a:cubicBezTo>
                      <a:cubicBezTo>
                        <a:pt x="114796" y="54135"/>
                        <a:pt x="114796" y="54135"/>
                        <a:pt x="114796" y="54135"/>
                      </a:cubicBezTo>
                      <a:cubicBezTo>
                        <a:pt x="114146" y="54135"/>
                        <a:pt x="114146" y="54135"/>
                        <a:pt x="114146" y="54135"/>
                      </a:cubicBezTo>
                      <a:cubicBezTo>
                        <a:pt x="114146" y="54135"/>
                        <a:pt x="114146" y="54135"/>
                        <a:pt x="114146" y="54135"/>
                      </a:cubicBezTo>
                      <a:cubicBezTo>
                        <a:pt x="113821" y="54135"/>
                        <a:pt x="113821" y="54135"/>
                        <a:pt x="113821" y="54135"/>
                      </a:cubicBezTo>
                      <a:cubicBezTo>
                        <a:pt x="111544" y="53684"/>
                        <a:pt x="108617" y="60902"/>
                        <a:pt x="108617" y="60902"/>
                      </a:cubicBezTo>
                      <a:cubicBezTo>
                        <a:pt x="107317" y="64060"/>
                        <a:pt x="107317" y="64060"/>
                        <a:pt x="107317" y="64060"/>
                      </a:cubicBezTo>
                      <a:cubicBezTo>
                        <a:pt x="104065" y="63157"/>
                        <a:pt x="100813" y="62706"/>
                        <a:pt x="98536" y="59097"/>
                      </a:cubicBezTo>
                      <a:cubicBezTo>
                        <a:pt x="98536" y="57744"/>
                        <a:pt x="98536" y="57744"/>
                        <a:pt x="98536" y="57744"/>
                      </a:cubicBezTo>
                      <a:cubicBezTo>
                        <a:pt x="98536" y="57744"/>
                        <a:pt x="98536" y="57744"/>
                        <a:pt x="98536" y="57744"/>
                      </a:cubicBezTo>
                      <a:cubicBezTo>
                        <a:pt x="98536" y="57744"/>
                        <a:pt x="98536" y="57744"/>
                        <a:pt x="98536" y="57744"/>
                      </a:cubicBezTo>
                      <a:cubicBezTo>
                        <a:pt x="98211" y="57293"/>
                        <a:pt x="98211" y="57293"/>
                        <a:pt x="98211" y="57293"/>
                      </a:cubicBezTo>
                      <a:cubicBezTo>
                        <a:pt x="98211" y="57293"/>
                        <a:pt x="97886" y="57293"/>
                        <a:pt x="97886" y="57293"/>
                      </a:cubicBezTo>
                      <a:cubicBezTo>
                        <a:pt x="97560" y="57293"/>
                        <a:pt x="97235" y="56842"/>
                        <a:pt x="97235" y="56842"/>
                      </a:cubicBezTo>
                      <a:cubicBezTo>
                        <a:pt x="97560" y="55939"/>
                        <a:pt x="97560" y="55939"/>
                        <a:pt x="97560" y="55939"/>
                      </a:cubicBezTo>
                      <a:cubicBezTo>
                        <a:pt x="97560" y="55939"/>
                        <a:pt x="97886" y="55488"/>
                        <a:pt x="97886" y="55488"/>
                      </a:cubicBezTo>
                      <a:cubicBezTo>
                        <a:pt x="98211" y="55488"/>
                        <a:pt x="97886" y="55488"/>
                        <a:pt x="97886" y="55037"/>
                      </a:cubicBezTo>
                      <a:cubicBezTo>
                        <a:pt x="97886" y="55037"/>
                        <a:pt x="97886" y="54135"/>
                        <a:pt x="97886" y="53684"/>
                      </a:cubicBezTo>
                      <a:cubicBezTo>
                        <a:pt x="97560" y="53233"/>
                        <a:pt x="97560" y="53233"/>
                        <a:pt x="97560" y="53233"/>
                      </a:cubicBezTo>
                      <a:cubicBezTo>
                        <a:pt x="97560" y="53233"/>
                        <a:pt x="97235" y="52330"/>
                        <a:pt x="96910" y="51879"/>
                      </a:cubicBezTo>
                      <a:cubicBezTo>
                        <a:pt x="96585" y="51879"/>
                        <a:pt x="96910" y="51428"/>
                        <a:pt x="96910" y="51428"/>
                      </a:cubicBezTo>
                      <a:cubicBezTo>
                        <a:pt x="96585" y="50977"/>
                        <a:pt x="96910" y="50977"/>
                        <a:pt x="96910" y="50526"/>
                      </a:cubicBezTo>
                      <a:cubicBezTo>
                        <a:pt x="96910" y="50526"/>
                        <a:pt x="96585" y="49624"/>
                        <a:pt x="96585" y="49624"/>
                      </a:cubicBezTo>
                      <a:cubicBezTo>
                        <a:pt x="96585" y="49624"/>
                        <a:pt x="95934" y="48270"/>
                        <a:pt x="95609" y="47368"/>
                      </a:cubicBezTo>
                      <a:cubicBezTo>
                        <a:pt x="95609" y="46917"/>
                        <a:pt x="95609" y="46466"/>
                        <a:pt x="95609" y="46466"/>
                      </a:cubicBezTo>
                      <a:cubicBezTo>
                        <a:pt x="95934" y="46015"/>
                        <a:pt x="95284" y="45563"/>
                        <a:pt x="95284" y="45563"/>
                      </a:cubicBezTo>
                      <a:cubicBezTo>
                        <a:pt x="95284" y="45563"/>
                        <a:pt x="95284" y="44661"/>
                        <a:pt x="95284" y="44661"/>
                      </a:cubicBezTo>
                      <a:cubicBezTo>
                        <a:pt x="95284" y="44661"/>
                        <a:pt x="95284" y="43759"/>
                        <a:pt x="95284" y="43759"/>
                      </a:cubicBezTo>
                      <a:cubicBezTo>
                        <a:pt x="95609" y="43308"/>
                        <a:pt x="95284" y="42857"/>
                        <a:pt x="95284" y="42406"/>
                      </a:cubicBezTo>
                      <a:cubicBezTo>
                        <a:pt x="95284" y="42406"/>
                        <a:pt x="94634" y="41954"/>
                        <a:pt x="94634" y="41954"/>
                      </a:cubicBezTo>
                      <a:cubicBezTo>
                        <a:pt x="94959" y="41052"/>
                        <a:pt x="94959" y="41052"/>
                        <a:pt x="94959" y="41052"/>
                      </a:cubicBezTo>
                      <a:cubicBezTo>
                        <a:pt x="94959" y="40601"/>
                        <a:pt x="94959" y="40601"/>
                        <a:pt x="94959" y="40601"/>
                      </a:cubicBezTo>
                      <a:cubicBezTo>
                        <a:pt x="94959" y="40601"/>
                        <a:pt x="95284" y="39699"/>
                        <a:pt x="95284" y="39699"/>
                      </a:cubicBezTo>
                      <a:cubicBezTo>
                        <a:pt x="95609" y="39248"/>
                        <a:pt x="95284" y="38796"/>
                        <a:pt x="94959" y="38796"/>
                      </a:cubicBezTo>
                      <a:cubicBezTo>
                        <a:pt x="94634" y="38796"/>
                        <a:pt x="94959" y="38345"/>
                        <a:pt x="94959" y="38345"/>
                      </a:cubicBezTo>
                      <a:cubicBezTo>
                        <a:pt x="95284" y="37443"/>
                        <a:pt x="95284" y="37443"/>
                        <a:pt x="95284" y="37443"/>
                      </a:cubicBezTo>
                      <a:cubicBezTo>
                        <a:pt x="94959" y="36090"/>
                        <a:pt x="94959" y="36090"/>
                        <a:pt x="94959" y="36090"/>
                      </a:cubicBezTo>
                      <a:cubicBezTo>
                        <a:pt x="94959" y="35639"/>
                        <a:pt x="94959" y="35639"/>
                        <a:pt x="94959" y="35639"/>
                      </a:cubicBezTo>
                      <a:cubicBezTo>
                        <a:pt x="94959" y="35639"/>
                        <a:pt x="94634" y="34736"/>
                        <a:pt x="94634" y="34736"/>
                      </a:cubicBezTo>
                      <a:cubicBezTo>
                        <a:pt x="94634" y="34285"/>
                        <a:pt x="94308" y="33383"/>
                        <a:pt x="94308" y="33383"/>
                      </a:cubicBezTo>
                      <a:cubicBezTo>
                        <a:pt x="94308" y="33383"/>
                        <a:pt x="94308" y="32932"/>
                        <a:pt x="94308" y="32932"/>
                      </a:cubicBezTo>
                      <a:cubicBezTo>
                        <a:pt x="94308" y="32481"/>
                        <a:pt x="94308" y="32481"/>
                        <a:pt x="94308" y="32481"/>
                      </a:cubicBezTo>
                      <a:cubicBezTo>
                        <a:pt x="94308" y="32030"/>
                        <a:pt x="93983" y="31578"/>
                        <a:pt x="93658" y="31127"/>
                      </a:cubicBezTo>
                      <a:cubicBezTo>
                        <a:pt x="93333" y="30225"/>
                        <a:pt x="93333" y="30225"/>
                        <a:pt x="93333" y="30225"/>
                      </a:cubicBezTo>
                      <a:cubicBezTo>
                        <a:pt x="93333" y="30225"/>
                        <a:pt x="92682" y="29323"/>
                        <a:pt x="92357" y="28872"/>
                      </a:cubicBezTo>
                      <a:cubicBezTo>
                        <a:pt x="92357" y="27969"/>
                        <a:pt x="92357" y="27969"/>
                        <a:pt x="92032" y="27518"/>
                      </a:cubicBezTo>
                      <a:cubicBezTo>
                        <a:pt x="92032" y="26616"/>
                        <a:pt x="91382" y="25714"/>
                        <a:pt x="91056" y="25714"/>
                      </a:cubicBezTo>
                      <a:cubicBezTo>
                        <a:pt x="91056" y="25714"/>
                        <a:pt x="90731" y="24360"/>
                        <a:pt x="90731" y="23909"/>
                      </a:cubicBezTo>
                      <a:cubicBezTo>
                        <a:pt x="90406" y="23909"/>
                        <a:pt x="89756" y="23458"/>
                        <a:pt x="89756" y="23458"/>
                      </a:cubicBezTo>
                      <a:cubicBezTo>
                        <a:pt x="89430" y="23458"/>
                        <a:pt x="88780" y="23007"/>
                        <a:pt x="88780" y="23007"/>
                      </a:cubicBezTo>
                      <a:cubicBezTo>
                        <a:pt x="87804" y="22556"/>
                        <a:pt x="87804" y="22556"/>
                        <a:pt x="87804" y="22556"/>
                      </a:cubicBezTo>
                      <a:cubicBezTo>
                        <a:pt x="86829" y="21203"/>
                        <a:pt x="86829" y="21203"/>
                        <a:pt x="86829" y="21203"/>
                      </a:cubicBezTo>
                      <a:cubicBezTo>
                        <a:pt x="86829" y="21203"/>
                        <a:pt x="86504" y="21203"/>
                        <a:pt x="86178" y="20751"/>
                      </a:cubicBezTo>
                      <a:cubicBezTo>
                        <a:pt x="86178" y="20751"/>
                        <a:pt x="85853" y="19849"/>
                        <a:pt x="85853" y="19849"/>
                      </a:cubicBezTo>
                      <a:cubicBezTo>
                        <a:pt x="85528" y="18947"/>
                        <a:pt x="85528" y="18947"/>
                        <a:pt x="85528" y="18947"/>
                      </a:cubicBezTo>
                      <a:cubicBezTo>
                        <a:pt x="83577" y="18045"/>
                        <a:pt x="83577" y="18045"/>
                        <a:pt x="83577" y="18045"/>
                      </a:cubicBezTo>
                      <a:cubicBezTo>
                        <a:pt x="83577" y="18045"/>
                        <a:pt x="83252" y="17142"/>
                        <a:pt x="83252" y="17142"/>
                      </a:cubicBezTo>
                      <a:cubicBezTo>
                        <a:pt x="83252" y="16691"/>
                        <a:pt x="82926" y="16691"/>
                        <a:pt x="82926" y="16240"/>
                      </a:cubicBezTo>
                      <a:cubicBezTo>
                        <a:pt x="82926" y="15789"/>
                        <a:pt x="82601" y="15789"/>
                        <a:pt x="82601" y="15338"/>
                      </a:cubicBezTo>
                      <a:cubicBezTo>
                        <a:pt x="82601" y="14887"/>
                        <a:pt x="82276" y="14887"/>
                        <a:pt x="82276" y="14887"/>
                      </a:cubicBezTo>
                      <a:cubicBezTo>
                        <a:pt x="81951" y="14887"/>
                        <a:pt x="81626" y="14887"/>
                        <a:pt x="81626" y="14887"/>
                      </a:cubicBezTo>
                      <a:cubicBezTo>
                        <a:pt x="81626" y="14887"/>
                        <a:pt x="81300" y="14436"/>
                        <a:pt x="81300" y="14436"/>
                      </a:cubicBezTo>
                      <a:cubicBezTo>
                        <a:pt x="81300" y="14436"/>
                        <a:pt x="80650" y="13533"/>
                        <a:pt x="80325" y="13533"/>
                      </a:cubicBezTo>
                      <a:cubicBezTo>
                        <a:pt x="80325" y="13082"/>
                        <a:pt x="80325" y="13082"/>
                        <a:pt x="80325" y="13082"/>
                      </a:cubicBezTo>
                      <a:cubicBezTo>
                        <a:pt x="80325" y="13082"/>
                        <a:pt x="80325" y="13082"/>
                        <a:pt x="80000" y="13082"/>
                      </a:cubicBezTo>
                      <a:cubicBezTo>
                        <a:pt x="79674" y="13082"/>
                        <a:pt x="79674" y="13082"/>
                        <a:pt x="79674" y="12631"/>
                      </a:cubicBezTo>
                      <a:cubicBezTo>
                        <a:pt x="79349" y="12631"/>
                        <a:pt x="79349" y="11729"/>
                        <a:pt x="79024" y="11729"/>
                      </a:cubicBezTo>
                      <a:cubicBezTo>
                        <a:pt x="79024" y="11729"/>
                        <a:pt x="79024" y="11729"/>
                        <a:pt x="78699" y="11729"/>
                      </a:cubicBezTo>
                      <a:cubicBezTo>
                        <a:pt x="78373" y="11729"/>
                        <a:pt x="78048" y="10827"/>
                        <a:pt x="78048" y="10827"/>
                      </a:cubicBezTo>
                      <a:cubicBezTo>
                        <a:pt x="77723" y="10827"/>
                        <a:pt x="78048" y="10375"/>
                        <a:pt x="78048" y="9924"/>
                      </a:cubicBezTo>
                      <a:cubicBezTo>
                        <a:pt x="78048" y="9473"/>
                        <a:pt x="77723" y="9473"/>
                        <a:pt x="77723" y="9473"/>
                      </a:cubicBezTo>
                      <a:cubicBezTo>
                        <a:pt x="77723" y="9473"/>
                        <a:pt x="77723" y="9473"/>
                        <a:pt x="77723" y="9473"/>
                      </a:cubicBezTo>
                      <a:cubicBezTo>
                        <a:pt x="77723" y="9473"/>
                        <a:pt x="77398" y="9473"/>
                        <a:pt x="77398" y="9022"/>
                      </a:cubicBezTo>
                      <a:cubicBezTo>
                        <a:pt x="77398" y="9022"/>
                        <a:pt x="77073" y="8571"/>
                        <a:pt x="77073" y="8120"/>
                      </a:cubicBezTo>
                      <a:cubicBezTo>
                        <a:pt x="77073" y="7669"/>
                        <a:pt x="77073" y="7669"/>
                        <a:pt x="77073" y="7669"/>
                      </a:cubicBezTo>
                      <a:cubicBezTo>
                        <a:pt x="77073" y="7669"/>
                        <a:pt x="76747" y="7218"/>
                        <a:pt x="76747" y="7218"/>
                      </a:cubicBezTo>
                      <a:cubicBezTo>
                        <a:pt x="76422" y="6766"/>
                        <a:pt x="76422" y="6766"/>
                        <a:pt x="76422" y="6766"/>
                      </a:cubicBezTo>
                      <a:cubicBezTo>
                        <a:pt x="76422" y="6315"/>
                        <a:pt x="76422" y="6315"/>
                        <a:pt x="76422" y="6315"/>
                      </a:cubicBezTo>
                      <a:cubicBezTo>
                        <a:pt x="76097" y="6315"/>
                        <a:pt x="76097" y="6315"/>
                        <a:pt x="76097" y="6315"/>
                      </a:cubicBezTo>
                      <a:cubicBezTo>
                        <a:pt x="75772" y="6315"/>
                        <a:pt x="75772" y="5864"/>
                        <a:pt x="75772" y="5413"/>
                      </a:cubicBezTo>
                      <a:cubicBezTo>
                        <a:pt x="75772" y="5413"/>
                        <a:pt x="75772" y="5413"/>
                        <a:pt x="75772" y="5413"/>
                      </a:cubicBezTo>
                      <a:cubicBezTo>
                        <a:pt x="75447" y="4962"/>
                        <a:pt x="75447" y="4962"/>
                        <a:pt x="75447" y="4962"/>
                      </a:cubicBezTo>
                      <a:cubicBezTo>
                        <a:pt x="75121" y="4511"/>
                        <a:pt x="75121" y="4511"/>
                        <a:pt x="75121" y="4511"/>
                      </a:cubicBezTo>
                      <a:cubicBezTo>
                        <a:pt x="74796" y="4060"/>
                        <a:pt x="74796" y="4060"/>
                        <a:pt x="74796" y="4060"/>
                      </a:cubicBezTo>
                      <a:cubicBezTo>
                        <a:pt x="74796" y="4060"/>
                        <a:pt x="74471" y="3609"/>
                        <a:pt x="74471" y="3609"/>
                      </a:cubicBezTo>
                      <a:cubicBezTo>
                        <a:pt x="74146" y="3157"/>
                        <a:pt x="73821" y="2706"/>
                        <a:pt x="73821" y="2706"/>
                      </a:cubicBezTo>
                      <a:cubicBezTo>
                        <a:pt x="73821" y="2706"/>
                        <a:pt x="73821" y="2255"/>
                        <a:pt x="73821" y="2255"/>
                      </a:cubicBezTo>
                      <a:cubicBezTo>
                        <a:pt x="73821" y="2255"/>
                        <a:pt x="73495" y="2255"/>
                        <a:pt x="73495" y="2255"/>
                      </a:cubicBezTo>
                      <a:cubicBezTo>
                        <a:pt x="72845" y="2255"/>
                        <a:pt x="72845" y="2255"/>
                        <a:pt x="72845" y="2255"/>
                      </a:cubicBezTo>
                      <a:cubicBezTo>
                        <a:pt x="72845" y="1353"/>
                        <a:pt x="72845" y="1353"/>
                        <a:pt x="72845" y="1353"/>
                      </a:cubicBezTo>
                      <a:cubicBezTo>
                        <a:pt x="72845" y="1353"/>
                        <a:pt x="72845" y="1353"/>
                        <a:pt x="72520" y="1353"/>
                      </a:cubicBezTo>
                      <a:cubicBezTo>
                        <a:pt x="72195" y="1353"/>
                        <a:pt x="72195" y="902"/>
                        <a:pt x="72195" y="902"/>
                      </a:cubicBezTo>
                      <a:cubicBezTo>
                        <a:pt x="72195" y="451"/>
                        <a:pt x="72195" y="451"/>
                        <a:pt x="72195" y="451"/>
                      </a:cubicBezTo>
                      <a:cubicBezTo>
                        <a:pt x="71219" y="902"/>
                        <a:pt x="71219" y="902"/>
                        <a:pt x="71219" y="902"/>
                      </a:cubicBezTo>
                      <a:cubicBezTo>
                        <a:pt x="71219" y="902"/>
                        <a:pt x="71219" y="902"/>
                        <a:pt x="71219" y="902"/>
                      </a:cubicBezTo>
                      <a:cubicBezTo>
                        <a:pt x="71219" y="902"/>
                        <a:pt x="70569" y="451"/>
                        <a:pt x="70569" y="451"/>
                      </a:cubicBezTo>
                      <a:cubicBezTo>
                        <a:pt x="70569" y="0"/>
                        <a:pt x="70243" y="0"/>
                        <a:pt x="70243" y="0"/>
                      </a:cubicBezTo>
                      <a:cubicBezTo>
                        <a:pt x="69918" y="451"/>
                        <a:pt x="69918" y="451"/>
                        <a:pt x="69918" y="451"/>
                      </a:cubicBezTo>
                      <a:cubicBezTo>
                        <a:pt x="69268" y="451"/>
                        <a:pt x="69268" y="451"/>
                        <a:pt x="69268" y="451"/>
                      </a:cubicBezTo>
                      <a:cubicBezTo>
                        <a:pt x="68943" y="451"/>
                        <a:pt x="68943" y="451"/>
                        <a:pt x="68943" y="451"/>
                      </a:cubicBezTo>
                      <a:cubicBezTo>
                        <a:pt x="68617" y="0"/>
                        <a:pt x="68617" y="0"/>
                        <a:pt x="68617" y="0"/>
                      </a:cubicBezTo>
                      <a:cubicBezTo>
                        <a:pt x="67642" y="451"/>
                        <a:pt x="67317" y="451"/>
                        <a:pt x="67317" y="451"/>
                      </a:cubicBezTo>
                      <a:cubicBezTo>
                        <a:pt x="66341" y="902"/>
                        <a:pt x="64715" y="2255"/>
                        <a:pt x="64715" y="3157"/>
                      </a:cubicBezTo>
                      <a:cubicBezTo>
                        <a:pt x="64390" y="4060"/>
                        <a:pt x="64715" y="6315"/>
                        <a:pt x="64065" y="6766"/>
                      </a:cubicBezTo>
                      <a:cubicBezTo>
                        <a:pt x="63089" y="6766"/>
                        <a:pt x="62113" y="9022"/>
                        <a:pt x="61788" y="9022"/>
                      </a:cubicBezTo>
                      <a:cubicBezTo>
                        <a:pt x="58861" y="11278"/>
                        <a:pt x="58861" y="11278"/>
                        <a:pt x="58861" y="11278"/>
                      </a:cubicBezTo>
                      <a:cubicBezTo>
                        <a:pt x="58861" y="11278"/>
                        <a:pt x="56585" y="12631"/>
                        <a:pt x="55284" y="12631"/>
                      </a:cubicBezTo>
                      <a:cubicBezTo>
                        <a:pt x="53983" y="13082"/>
                        <a:pt x="53008" y="14436"/>
                        <a:pt x="53008" y="14436"/>
                      </a:cubicBezTo>
                      <a:cubicBezTo>
                        <a:pt x="51382" y="17593"/>
                        <a:pt x="51382" y="17593"/>
                        <a:pt x="51382" y="17593"/>
                      </a:cubicBezTo>
                      <a:cubicBezTo>
                        <a:pt x="48780" y="18045"/>
                        <a:pt x="48780" y="18045"/>
                        <a:pt x="48780" y="18045"/>
                      </a:cubicBezTo>
                      <a:cubicBezTo>
                        <a:pt x="47479" y="16240"/>
                        <a:pt x="47479" y="16240"/>
                        <a:pt x="47479" y="16240"/>
                      </a:cubicBezTo>
                      <a:cubicBezTo>
                        <a:pt x="46178" y="16691"/>
                        <a:pt x="46178" y="16691"/>
                        <a:pt x="46178" y="16691"/>
                      </a:cubicBezTo>
                      <a:cubicBezTo>
                        <a:pt x="45853" y="16240"/>
                        <a:pt x="45853" y="16240"/>
                        <a:pt x="45853" y="16240"/>
                      </a:cubicBezTo>
                      <a:cubicBezTo>
                        <a:pt x="45203" y="16691"/>
                        <a:pt x="45203" y="16691"/>
                        <a:pt x="45203" y="16691"/>
                      </a:cubicBezTo>
                      <a:cubicBezTo>
                        <a:pt x="41300" y="16240"/>
                        <a:pt x="41300" y="16240"/>
                        <a:pt x="41300" y="16240"/>
                      </a:cubicBezTo>
                      <a:cubicBezTo>
                        <a:pt x="39349" y="17593"/>
                        <a:pt x="39349" y="17593"/>
                        <a:pt x="39349" y="17593"/>
                      </a:cubicBezTo>
                      <a:cubicBezTo>
                        <a:pt x="35772" y="17142"/>
                        <a:pt x="35772" y="17142"/>
                        <a:pt x="35772" y="17142"/>
                      </a:cubicBezTo>
                      <a:cubicBezTo>
                        <a:pt x="35772" y="17142"/>
                        <a:pt x="33170" y="17593"/>
                        <a:pt x="32520" y="17593"/>
                      </a:cubicBezTo>
                      <a:cubicBezTo>
                        <a:pt x="31544" y="17593"/>
                        <a:pt x="31544" y="17593"/>
                        <a:pt x="31544" y="17593"/>
                      </a:cubicBezTo>
                      <a:cubicBezTo>
                        <a:pt x="30894" y="17142"/>
                        <a:pt x="30243" y="16240"/>
                        <a:pt x="30243" y="16240"/>
                      </a:cubicBezTo>
                      <a:cubicBezTo>
                        <a:pt x="30243" y="16240"/>
                        <a:pt x="28943" y="16691"/>
                        <a:pt x="28617" y="17142"/>
                      </a:cubicBezTo>
                      <a:cubicBezTo>
                        <a:pt x="28292" y="17593"/>
                        <a:pt x="26991" y="19849"/>
                        <a:pt x="26991" y="19849"/>
                      </a:cubicBezTo>
                      <a:cubicBezTo>
                        <a:pt x="26991" y="20300"/>
                        <a:pt x="26991" y="20300"/>
                        <a:pt x="26991" y="20300"/>
                      </a:cubicBezTo>
                      <a:cubicBezTo>
                        <a:pt x="27642" y="22556"/>
                        <a:pt x="27642" y="22556"/>
                        <a:pt x="27642" y="22556"/>
                      </a:cubicBezTo>
                      <a:cubicBezTo>
                        <a:pt x="26341" y="23909"/>
                        <a:pt x="26341" y="23909"/>
                        <a:pt x="26341" y="23909"/>
                      </a:cubicBezTo>
                      <a:cubicBezTo>
                        <a:pt x="26341" y="23909"/>
                        <a:pt x="26341" y="23909"/>
                        <a:pt x="26341" y="23909"/>
                      </a:cubicBezTo>
                      <a:cubicBezTo>
                        <a:pt x="26341" y="23909"/>
                        <a:pt x="26341" y="23909"/>
                        <a:pt x="26341" y="23909"/>
                      </a:cubicBezTo>
                      <a:cubicBezTo>
                        <a:pt x="26341" y="23909"/>
                        <a:pt x="26341" y="23909"/>
                        <a:pt x="26341" y="23909"/>
                      </a:cubicBezTo>
                      <a:cubicBezTo>
                        <a:pt x="26341" y="23909"/>
                        <a:pt x="26341" y="23909"/>
                        <a:pt x="26341" y="23909"/>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812"/>
                        <a:pt x="26016" y="24812"/>
                        <a:pt x="25691" y="24812"/>
                      </a:cubicBezTo>
                      <a:cubicBezTo>
                        <a:pt x="25691" y="25263"/>
                        <a:pt x="25365"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4715" y="25714"/>
                        <a:pt x="24715" y="25714"/>
                        <a:pt x="24715" y="25714"/>
                      </a:cubicBezTo>
                      <a:cubicBezTo>
                        <a:pt x="23739" y="27067"/>
                        <a:pt x="23739" y="27067"/>
                        <a:pt x="23739" y="27067"/>
                      </a:cubicBezTo>
                      <a:cubicBezTo>
                        <a:pt x="22439" y="27518"/>
                        <a:pt x="22439" y="27518"/>
                        <a:pt x="22439" y="2751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7" name="Shape 2049"/>
                <p:cNvSpPr/>
                <p:nvPr/>
              </p:nvSpPr>
              <p:spPr>
                <a:xfrm>
                  <a:off x="6015453" y="2278355"/>
                  <a:ext cx="1400673" cy="943960"/>
                </a:xfrm>
                <a:custGeom>
                  <a:avLst/>
                  <a:gdLst/>
                  <a:ahLst/>
                  <a:cxnLst/>
                  <a:rect l="0" t="0" r="0" b="0"/>
                  <a:pathLst>
                    <a:path w="120000" h="120000" extrusionOk="0">
                      <a:moveTo>
                        <a:pt x="27557" y="85714"/>
                      </a:moveTo>
                      <a:cubicBezTo>
                        <a:pt x="27752" y="85714"/>
                        <a:pt x="28338" y="84309"/>
                        <a:pt x="28925" y="84309"/>
                      </a:cubicBezTo>
                      <a:cubicBezTo>
                        <a:pt x="29315" y="84028"/>
                        <a:pt x="29120" y="82622"/>
                        <a:pt x="29315" y="82060"/>
                      </a:cubicBezTo>
                      <a:cubicBezTo>
                        <a:pt x="29511" y="81498"/>
                        <a:pt x="30488" y="80374"/>
                        <a:pt x="31074" y="80093"/>
                      </a:cubicBezTo>
                      <a:cubicBezTo>
                        <a:pt x="31270" y="80093"/>
                        <a:pt x="31270" y="80093"/>
                        <a:pt x="31270" y="80093"/>
                      </a:cubicBezTo>
                      <a:cubicBezTo>
                        <a:pt x="31270" y="79531"/>
                        <a:pt x="31270" y="79531"/>
                        <a:pt x="31270" y="79531"/>
                      </a:cubicBezTo>
                      <a:cubicBezTo>
                        <a:pt x="31270" y="79531"/>
                        <a:pt x="31856" y="79250"/>
                        <a:pt x="31856" y="78969"/>
                      </a:cubicBezTo>
                      <a:cubicBezTo>
                        <a:pt x="32052" y="78969"/>
                        <a:pt x="32052" y="79250"/>
                        <a:pt x="32052" y="79250"/>
                      </a:cubicBezTo>
                      <a:cubicBezTo>
                        <a:pt x="32052" y="79250"/>
                        <a:pt x="32247" y="79531"/>
                        <a:pt x="32442" y="79531"/>
                      </a:cubicBezTo>
                      <a:cubicBezTo>
                        <a:pt x="32442" y="79531"/>
                        <a:pt x="32638" y="79250"/>
                        <a:pt x="32638" y="79250"/>
                      </a:cubicBezTo>
                      <a:cubicBezTo>
                        <a:pt x="32638" y="78969"/>
                        <a:pt x="32638" y="78688"/>
                        <a:pt x="32638" y="78688"/>
                      </a:cubicBezTo>
                      <a:cubicBezTo>
                        <a:pt x="32442" y="78407"/>
                        <a:pt x="32442" y="78126"/>
                        <a:pt x="32442" y="78126"/>
                      </a:cubicBezTo>
                      <a:cubicBezTo>
                        <a:pt x="32442" y="78126"/>
                        <a:pt x="32442" y="78126"/>
                        <a:pt x="32442" y="78126"/>
                      </a:cubicBezTo>
                      <a:cubicBezTo>
                        <a:pt x="32442" y="78126"/>
                        <a:pt x="32638" y="78126"/>
                        <a:pt x="32638" y="78126"/>
                      </a:cubicBezTo>
                      <a:cubicBezTo>
                        <a:pt x="32638" y="78126"/>
                        <a:pt x="32833" y="77845"/>
                        <a:pt x="32833" y="77845"/>
                      </a:cubicBezTo>
                      <a:cubicBezTo>
                        <a:pt x="33224" y="78126"/>
                        <a:pt x="33224" y="78126"/>
                        <a:pt x="33224" y="78126"/>
                      </a:cubicBezTo>
                      <a:cubicBezTo>
                        <a:pt x="33224" y="78126"/>
                        <a:pt x="33420" y="78126"/>
                        <a:pt x="33420" y="78126"/>
                      </a:cubicBezTo>
                      <a:cubicBezTo>
                        <a:pt x="33615" y="78407"/>
                        <a:pt x="33811" y="77845"/>
                        <a:pt x="33811" y="77845"/>
                      </a:cubicBezTo>
                      <a:cubicBezTo>
                        <a:pt x="34006" y="77564"/>
                        <a:pt x="34006" y="77564"/>
                        <a:pt x="34006" y="77564"/>
                      </a:cubicBezTo>
                      <a:cubicBezTo>
                        <a:pt x="34006" y="77564"/>
                        <a:pt x="34006" y="77564"/>
                        <a:pt x="34006" y="77283"/>
                      </a:cubicBezTo>
                      <a:cubicBezTo>
                        <a:pt x="34006" y="77283"/>
                        <a:pt x="34201" y="77283"/>
                        <a:pt x="34397" y="77283"/>
                      </a:cubicBezTo>
                      <a:cubicBezTo>
                        <a:pt x="34397" y="77283"/>
                        <a:pt x="34788" y="77283"/>
                        <a:pt x="34983" y="77283"/>
                      </a:cubicBezTo>
                      <a:cubicBezTo>
                        <a:pt x="35179" y="77283"/>
                        <a:pt x="35179" y="77283"/>
                        <a:pt x="35179" y="77283"/>
                      </a:cubicBezTo>
                      <a:cubicBezTo>
                        <a:pt x="35570" y="77002"/>
                        <a:pt x="35570" y="77002"/>
                        <a:pt x="35570" y="77002"/>
                      </a:cubicBezTo>
                      <a:cubicBezTo>
                        <a:pt x="35570" y="77002"/>
                        <a:pt x="35765" y="76721"/>
                        <a:pt x="35765" y="76721"/>
                      </a:cubicBezTo>
                      <a:cubicBezTo>
                        <a:pt x="35765" y="76440"/>
                        <a:pt x="35765" y="76159"/>
                        <a:pt x="35765" y="76159"/>
                      </a:cubicBezTo>
                      <a:cubicBezTo>
                        <a:pt x="35765" y="75878"/>
                        <a:pt x="36156" y="75878"/>
                        <a:pt x="36156" y="75878"/>
                      </a:cubicBezTo>
                      <a:cubicBezTo>
                        <a:pt x="36156" y="75878"/>
                        <a:pt x="36156" y="75878"/>
                        <a:pt x="36156" y="75878"/>
                      </a:cubicBezTo>
                      <a:cubicBezTo>
                        <a:pt x="36351" y="75878"/>
                        <a:pt x="36351" y="76159"/>
                        <a:pt x="36351" y="76159"/>
                      </a:cubicBezTo>
                      <a:cubicBezTo>
                        <a:pt x="36351" y="76159"/>
                        <a:pt x="36547" y="75878"/>
                        <a:pt x="36547" y="75878"/>
                      </a:cubicBezTo>
                      <a:cubicBezTo>
                        <a:pt x="36547" y="75597"/>
                        <a:pt x="36742" y="75597"/>
                        <a:pt x="36742" y="75597"/>
                      </a:cubicBezTo>
                      <a:cubicBezTo>
                        <a:pt x="36742" y="75597"/>
                        <a:pt x="37133" y="75316"/>
                        <a:pt x="37133" y="75035"/>
                      </a:cubicBezTo>
                      <a:cubicBezTo>
                        <a:pt x="37328" y="74754"/>
                        <a:pt x="37328" y="75035"/>
                        <a:pt x="37328" y="74473"/>
                      </a:cubicBezTo>
                      <a:cubicBezTo>
                        <a:pt x="37328" y="74192"/>
                        <a:pt x="37524" y="74473"/>
                        <a:pt x="37524" y="74754"/>
                      </a:cubicBezTo>
                      <a:cubicBezTo>
                        <a:pt x="37524" y="74754"/>
                        <a:pt x="37524" y="74754"/>
                        <a:pt x="37719" y="75035"/>
                      </a:cubicBezTo>
                      <a:cubicBezTo>
                        <a:pt x="37719" y="75035"/>
                        <a:pt x="37719" y="75035"/>
                        <a:pt x="38110" y="75035"/>
                      </a:cubicBezTo>
                      <a:cubicBezTo>
                        <a:pt x="38306" y="75316"/>
                        <a:pt x="38306" y="74754"/>
                        <a:pt x="38697" y="74754"/>
                      </a:cubicBezTo>
                      <a:cubicBezTo>
                        <a:pt x="39087" y="74754"/>
                        <a:pt x="38892" y="74754"/>
                        <a:pt x="39087" y="75035"/>
                      </a:cubicBezTo>
                      <a:cubicBezTo>
                        <a:pt x="39283" y="75035"/>
                        <a:pt x="39283" y="75035"/>
                        <a:pt x="39478" y="75035"/>
                      </a:cubicBezTo>
                      <a:cubicBezTo>
                        <a:pt x="39674" y="75316"/>
                        <a:pt x="39674" y="75316"/>
                        <a:pt x="39674" y="75316"/>
                      </a:cubicBezTo>
                      <a:cubicBezTo>
                        <a:pt x="39674" y="75316"/>
                        <a:pt x="39869" y="75316"/>
                        <a:pt x="40065" y="75597"/>
                      </a:cubicBezTo>
                      <a:cubicBezTo>
                        <a:pt x="40065"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433" y="76159"/>
                        <a:pt x="41433" y="76159"/>
                        <a:pt x="41433" y="76159"/>
                      </a:cubicBezTo>
                      <a:cubicBezTo>
                        <a:pt x="41433" y="76159"/>
                        <a:pt x="41433" y="76721"/>
                        <a:pt x="41628" y="76721"/>
                      </a:cubicBezTo>
                      <a:cubicBezTo>
                        <a:pt x="41628" y="77002"/>
                        <a:pt x="41628" y="77002"/>
                        <a:pt x="41824" y="77002"/>
                      </a:cubicBezTo>
                      <a:cubicBezTo>
                        <a:pt x="41824" y="77002"/>
                        <a:pt x="42019" y="76440"/>
                        <a:pt x="42019" y="76159"/>
                      </a:cubicBezTo>
                      <a:cubicBezTo>
                        <a:pt x="42019" y="76159"/>
                        <a:pt x="42214" y="76440"/>
                        <a:pt x="42214" y="76440"/>
                      </a:cubicBezTo>
                      <a:cubicBezTo>
                        <a:pt x="42214" y="76440"/>
                        <a:pt x="42214" y="77002"/>
                        <a:pt x="42410" y="77002"/>
                      </a:cubicBezTo>
                      <a:cubicBezTo>
                        <a:pt x="42410" y="76721"/>
                        <a:pt x="42605" y="76721"/>
                        <a:pt x="42605" y="76721"/>
                      </a:cubicBezTo>
                      <a:cubicBezTo>
                        <a:pt x="42801" y="76721"/>
                        <a:pt x="42605" y="76440"/>
                        <a:pt x="42605" y="76440"/>
                      </a:cubicBezTo>
                      <a:cubicBezTo>
                        <a:pt x="42605" y="76440"/>
                        <a:pt x="42801" y="76159"/>
                        <a:pt x="42801" y="76159"/>
                      </a:cubicBezTo>
                      <a:cubicBezTo>
                        <a:pt x="42996" y="76159"/>
                        <a:pt x="43387" y="76159"/>
                        <a:pt x="43387" y="76159"/>
                      </a:cubicBezTo>
                      <a:cubicBezTo>
                        <a:pt x="43583" y="76159"/>
                        <a:pt x="43583" y="76721"/>
                        <a:pt x="43583" y="76721"/>
                      </a:cubicBezTo>
                      <a:cubicBezTo>
                        <a:pt x="43583" y="76721"/>
                        <a:pt x="43387" y="77283"/>
                        <a:pt x="43387" y="77283"/>
                      </a:cubicBezTo>
                      <a:cubicBezTo>
                        <a:pt x="43387" y="77283"/>
                        <a:pt x="43192" y="77564"/>
                        <a:pt x="43192" y="77845"/>
                      </a:cubicBezTo>
                      <a:cubicBezTo>
                        <a:pt x="43192" y="77845"/>
                        <a:pt x="43192" y="77845"/>
                        <a:pt x="43387" y="77564"/>
                      </a:cubicBezTo>
                      <a:cubicBezTo>
                        <a:pt x="43778" y="77564"/>
                        <a:pt x="43583" y="77283"/>
                        <a:pt x="43583" y="77283"/>
                      </a:cubicBezTo>
                      <a:cubicBezTo>
                        <a:pt x="43778" y="76721"/>
                        <a:pt x="43778" y="76721"/>
                        <a:pt x="43778" y="76721"/>
                      </a:cubicBezTo>
                      <a:cubicBezTo>
                        <a:pt x="43778" y="76721"/>
                        <a:pt x="44169" y="77002"/>
                        <a:pt x="44169" y="77283"/>
                      </a:cubicBezTo>
                      <a:cubicBezTo>
                        <a:pt x="44169" y="77283"/>
                        <a:pt x="44169" y="77564"/>
                        <a:pt x="44169" y="77564"/>
                      </a:cubicBezTo>
                      <a:cubicBezTo>
                        <a:pt x="44169" y="77845"/>
                        <a:pt x="44364" y="77845"/>
                        <a:pt x="44364" y="78126"/>
                      </a:cubicBezTo>
                      <a:cubicBezTo>
                        <a:pt x="44560" y="78407"/>
                        <a:pt x="44364" y="78126"/>
                        <a:pt x="44364" y="78126"/>
                      </a:cubicBezTo>
                      <a:cubicBezTo>
                        <a:pt x="44364" y="77845"/>
                        <a:pt x="44560" y="77283"/>
                        <a:pt x="44560" y="77283"/>
                      </a:cubicBezTo>
                      <a:cubicBezTo>
                        <a:pt x="44755" y="76721"/>
                        <a:pt x="44755" y="76721"/>
                        <a:pt x="44755" y="76721"/>
                      </a:cubicBezTo>
                      <a:cubicBezTo>
                        <a:pt x="44755" y="76721"/>
                        <a:pt x="45537" y="76721"/>
                        <a:pt x="46319" y="76721"/>
                      </a:cubicBezTo>
                      <a:cubicBezTo>
                        <a:pt x="47100" y="76721"/>
                        <a:pt x="46514" y="76440"/>
                        <a:pt x="46514" y="76440"/>
                      </a:cubicBezTo>
                      <a:cubicBezTo>
                        <a:pt x="46905" y="76440"/>
                        <a:pt x="46905" y="76440"/>
                        <a:pt x="46905" y="76440"/>
                      </a:cubicBezTo>
                      <a:cubicBezTo>
                        <a:pt x="47100" y="77564"/>
                        <a:pt x="47100" y="77564"/>
                        <a:pt x="47100" y="77564"/>
                      </a:cubicBezTo>
                      <a:cubicBezTo>
                        <a:pt x="47100" y="77564"/>
                        <a:pt x="47491" y="78126"/>
                        <a:pt x="47687" y="78126"/>
                      </a:cubicBezTo>
                      <a:cubicBezTo>
                        <a:pt x="47882" y="78407"/>
                        <a:pt x="47882" y="78407"/>
                        <a:pt x="48273" y="78688"/>
                      </a:cubicBezTo>
                      <a:cubicBezTo>
                        <a:pt x="48859" y="78688"/>
                        <a:pt x="48664" y="78688"/>
                        <a:pt x="48664" y="78688"/>
                      </a:cubicBezTo>
                      <a:cubicBezTo>
                        <a:pt x="48859" y="78688"/>
                        <a:pt x="48859" y="78126"/>
                        <a:pt x="49055" y="77845"/>
                      </a:cubicBezTo>
                      <a:cubicBezTo>
                        <a:pt x="49055" y="77564"/>
                        <a:pt x="49250" y="77564"/>
                        <a:pt x="49250" y="77564"/>
                      </a:cubicBezTo>
                      <a:cubicBezTo>
                        <a:pt x="49250" y="77564"/>
                        <a:pt x="49641" y="78126"/>
                        <a:pt x="49641" y="78126"/>
                      </a:cubicBezTo>
                      <a:cubicBezTo>
                        <a:pt x="49837" y="78407"/>
                        <a:pt x="49837" y="78688"/>
                        <a:pt x="49837" y="78688"/>
                      </a:cubicBezTo>
                      <a:cubicBezTo>
                        <a:pt x="50423" y="78969"/>
                        <a:pt x="50423" y="78969"/>
                        <a:pt x="50423" y="78969"/>
                      </a:cubicBezTo>
                      <a:cubicBezTo>
                        <a:pt x="50423" y="79250"/>
                        <a:pt x="50423" y="79250"/>
                        <a:pt x="50423" y="79250"/>
                      </a:cubicBezTo>
                      <a:cubicBezTo>
                        <a:pt x="50423" y="80093"/>
                        <a:pt x="50423" y="80093"/>
                        <a:pt x="50423" y="80093"/>
                      </a:cubicBezTo>
                      <a:cubicBezTo>
                        <a:pt x="50814" y="80374"/>
                        <a:pt x="50814" y="80374"/>
                        <a:pt x="50814" y="80374"/>
                      </a:cubicBezTo>
                      <a:cubicBezTo>
                        <a:pt x="50618" y="80936"/>
                        <a:pt x="50618" y="80936"/>
                        <a:pt x="50618" y="80936"/>
                      </a:cubicBezTo>
                      <a:cubicBezTo>
                        <a:pt x="50618" y="80936"/>
                        <a:pt x="50814" y="81498"/>
                        <a:pt x="50814" y="81779"/>
                      </a:cubicBezTo>
                      <a:cubicBezTo>
                        <a:pt x="50814" y="81779"/>
                        <a:pt x="51009" y="82341"/>
                        <a:pt x="51009" y="82341"/>
                      </a:cubicBezTo>
                      <a:cubicBezTo>
                        <a:pt x="51009" y="83185"/>
                        <a:pt x="51009" y="83185"/>
                        <a:pt x="51009" y="83185"/>
                      </a:cubicBezTo>
                      <a:cubicBezTo>
                        <a:pt x="50814" y="83747"/>
                        <a:pt x="50814" y="83747"/>
                        <a:pt x="50814" y="83747"/>
                      </a:cubicBezTo>
                      <a:cubicBezTo>
                        <a:pt x="51009" y="84028"/>
                        <a:pt x="51009" y="84028"/>
                        <a:pt x="51009" y="84028"/>
                      </a:cubicBezTo>
                      <a:cubicBezTo>
                        <a:pt x="51009" y="84028"/>
                        <a:pt x="51009" y="84871"/>
                        <a:pt x="51205" y="85152"/>
                      </a:cubicBezTo>
                      <a:cubicBezTo>
                        <a:pt x="51400" y="85714"/>
                        <a:pt x="51596" y="84871"/>
                        <a:pt x="51596" y="84871"/>
                      </a:cubicBezTo>
                      <a:cubicBezTo>
                        <a:pt x="51986" y="84871"/>
                        <a:pt x="51986" y="84871"/>
                        <a:pt x="51986" y="84871"/>
                      </a:cubicBezTo>
                      <a:cubicBezTo>
                        <a:pt x="52377" y="85714"/>
                        <a:pt x="52377" y="85714"/>
                        <a:pt x="52377" y="85714"/>
                      </a:cubicBezTo>
                      <a:cubicBezTo>
                        <a:pt x="52573" y="85714"/>
                        <a:pt x="52573" y="85714"/>
                        <a:pt x="52573" y="85714"/>
                      </a:cubicBezTo>
                      <a:cubicBezTo>
                        <a:pt x="52964" y="85995"/>
                        <a:pt x="52964" y="85995"/>
                        <a:pt x="52964" y="85995"/>
                      </a:cubicBezTo>
                      <a:cubicBezTo>
                        <a:pt x="53159" y="86838"/>
                        <a:pt x="53159" y="86838"/>
                        <a:pt x="53159" y="86838"/>
                      </a:cubicBezTo>
                      <a:cubicBezTo>
                        <a:pt x="53550" y="86557"/>
                        <a:pt x="53550" y="86557"/>
                        <a:pt x="53550" y="86557"/>
                      </a:cubicBezTo>
                      <a:cubicBezTo>
                        <a:pt x="53745" y="85714"/>
                        <a:pt x="53745" y="85714"/>
                        <a:pt x="53745" y="85714"/>
                      </a:cubicBezTo>
                      <a:cubicBezTo>
                        <a:pt x="54136" y="85995"/>
                        <a:pt x="54136" y="85995"/>
                        <a:pt x="54136" y="85995"/>
                      </a:cubicBezTo>
                      <a:cubicBezTo>
                        <a:pt x="54527" y="85995"/>
                        <a:pt x="54527" y="85995"/>
                        <a:pt x="54527" y="85995"/>
                      </a:cubicBezTo>
                      <a:cubicBezTo>
                        <a:pt x="54527" y="87119"/>
                        <a:pt x="54527" y="87119"/>
                        <a:pt x="54527" y="87119"/>
                      </a:cubicBezTo>
                      <a:cubicBezTo>
                        <a:pt x="54527" y="87119"/>
                        <a:pt x="54723" y="87400"/>
                        <a:pt x="54723" y="87681"/>
                      </a:cubicBezTo>
                      <a:cubicBezTo>
                        <a:pt x="54723" y="87681"/>
                        <a:pt x="54723" y="88243"/>
                        <a:pt x="54723" y="88243"/>
                      </a:cubicBezTo>
                      <a:cubicBezTo>
                        <a:pt x="54918" y="88805"/>
                        <a:pt x="54918" y="88805"/>
                        <a:pt x="54918" y="88805"/>
                      </a:cubicBezTo>
                      <a:cubicBezTo>
                        <a:pt x="54332" y="89086"/>
                        <a:pt x="54332" y="89086"/>
                        <a:pt x="54332" y="89086"/>
                      </a:cubicBezTo>
                      <a:cubicBezTo>
                        <a:pt x="54723" y="89367"/>
                        <a:pt x="54723" y="89367"/>
                        <a:pt x="54723" y="89367"/>
                      </a:cubicBezTo>
                      <a:cubicBezTo>
                        <a:pt x="54723" y="89367"/>
                        <a:pt x="55114" y="89367"/>
                        <a:pt x="55309" y="89367"/>
                      </a:cubicBezTo>
                      <a:cubicBezTo>
                        <a:pt x="55504" y="89367"/>
                        <a:pt x="55504" y="90210"/>
                        <a:pt x="55504" y="90210"/>
                      </a:cubicBezTo>
                      <a:cubicBezTo>
                        <a:pt x="55504" y="90210"/>
                        <a:pt x="55504" y="90491"/>
                        <a:pt x="55309" y="90772"/>
                      </a:cubicBezTo>
                      <a:cubicBezTo>
                        <a:pt x="55309" y="90772"/>
                        <a:pt x="55309" y="91053"/>
                        <a:pt x="55309" y="91334"/>
                      </a:cubicBezTo>
                      <a:cubicBezTo>
                        <a:pt x="55504" y="91334"/>
                        <a:pt x="55895" y="91615"/>
                        <a:pt x="56091" y="91615"/>
                      </a:cubicBezTo>
                      <a:cubicBezTo>
                        <a:pt x="56482" y="91615"/>
                        <a:pt x="56482" y="91615"/>
                        <a:pt x="56482" y="91615"/>
                      </a:cubicBezTo>
                      <a:cubicBezTo>
                        <a:pt x="56872" y="91615"/>
                        <a:pt x="56872" y="91615"/>
                        <a:pt x="56872" y="91615"/>
                      </a:cubicBezTo>
                      <a:cubicBezTo>
                        <a:pt x="56872" y="91615"/>
                        <a:pt x="57068" y="91896"/>
                        <a:pt x="57263" y="91896"/>
                      </a:cubicBezTo>
                      <a:cubicBezTo>
                        <a:pt x="57263" y="91615"/>
                        <a:pt x="57654" y="91615"/>
                        <a:pt x="57654" y="91615"/>
                      </a:cubicBezTo>
                      <a:cubicBezTo>
                        <a:pt x="58045" y="92177"/>
                        <a:pt x="58045" y="92177"/>
                        <a:pt x="58045" y="92177"/>
                      </a:cubicBezTo>
                      <a:cubicBezTo>
                        <a:pt x="58436" y="91896"/>
                        <a:pt x="58436" y="91896"/>
                        <a:pt x="58436" y="91896"/>
                      </a:cubicBezTo>
                      <a:cubicBezTo>
                        <a:pt x="58436" y="92459"/>
                        <a:pt x="58436" y="92459"/>
                        <a:pt x="58436" y="92459"/>
                      </a:cubicBezTo>
                      <a:cubicBezTo>
                        <a:pt x="58436" y="92459"/>
                        <a:pt x="58827" y="93583"/>
                        <a:pt x="58827" y="93583"/>
                      </a:cubicBezTo>
                      <a:cubicBezTo>
                        <a:pt x="59022" y="93864"/>
                        <a:pt x="59022" y="94426"/>
                        <a:pt x="59022" y="94707"/>
                      </a:cubicBezTo>
                      <a:cubicBezTo>
                        <a:pt x="59022" y="94988"/>
                        <a:pt x="59218" y="95550"/>
                        <a:pt x="59218" y="95550"/>
                      </a:cubicBezTo>
                      <a:cubicBezTo>
                        <a:pt x="59218" y="95550"/>
                        <a:pt x="59022" y="95550"/>
                        <a:pt x="58827" y="95831"/>
                      </a:cubicBezTo>
                      <a:cubicBezTo>
                        <a:pt x="58631" y="96112"/>
                        <a:pt x="59022" y="96393"/>
                        <a:pt x="59022" y="96393"/>
                      </a:cubicBezTo>
                      <a:cubicBezTo>
                        <a:pt x="59413" y="96393"/>
                        <a:pt x="59413" y="96393"/>
                        <a:pt x="59413" y="96393"/>
                      </a:cubicBezTo>
                      <a:cubicBezTo>
                        <a:pt x="59413" y="96393"/>
                        <a:pt x="59804" y="96955"/>
                        <a:pt x="59804" y="97236"/>
                      </a:cubicBezTo>
                      <a:cubicBezTo>
                        <a:pt x="59999" y="97517"/>
                        <a:pt x="60390" y="97236"/>
                        <a:pt x="60586" y="97236"/>
                      </a:cubicBezTo>
                      <a:cubicBezTo>
                        <a:pt x="60781" y="96955"/>
                        <a:pt x="61172" y="97236"/>
                        <a:pt x="61172" y="97517"/>
                      </a:cubicBezTo>
                      <a:cubicBezTo>
                        <a:pt x="61172" y="97517"/>
                        <a:pt x="60586" y="97798"/>
                        <a:pt x="60390" y="97798"/>
                      </a:cubicBezTo>
                      <a:cubicBezTo>
                        <a:pt x="60195" y="98079"/>
                        <a:pt x="59609" y="98079"/>
                        <a:pt x="59609" y="98079"/>
                      </a:cubicBezTo>
                      <a:cubicBezTo>
                        <a:pt x="59413" y="98922"/>
                        <a:pt x="59413" y="98922"/>
                        <a:pt x="59413" y="98922"/>
                      </a:cubicBezTo>
                      <a:cubicBezTo>
                        <a:pt x="59022" y="99203"/>
                        <a:pt x="59022" y="99203"/>
                        <a:pt x="59022" y="99203"/>
                      </a:cubicBezTo>
                      <a:cubicBezTo>
                        <a:pt x="58827" y="98360"/>
                        <a:pt x="58827" y="98360"/>
                        <a:pt x="58827" y="98360"/>
                      </a:cubicBezTo>
                      <a:cubicBezTo>
                        <a:pt x="58045" y="97517"/>
                        <a:pt x="58045" y="97517"/>
                        <a:pt x="58045" y="97517"/>
                      </a:cubicBezTo>
                      <a:cubicBezTo>
                        <a:pt x="58045" y="98360"/>
                        <a:pt x="58045" y="98360"/>
                        <a:pt x="58045" y="98360"/>
                      </a:cubicBezTo>
                      <a:cubicBezTo>
                        <a:pt x="57654" y="98641"/>
                        <a:pt x="57654" y="98641"/>
                        <a:pt x="57654" y="98641"/>
                      </a:cubicBezTo>
                      <a:cubicBezTo>
                        <a:pt x="57654" y="98641"/>
                        <a:pt x="57654" y="98922"/>
                        <a:pt x="57654" y="99203"/>
                      </a:cubicBezTo>
                      <a:cubicBezTo>
                        <a:pt x="57654" y="99484"/>
                        <a:pt x="57459" y="99484"/>
                        <a:pt x="57459" y="99484"/>
                      </a:cubicBezTo>
                      <a:cubicBezTo>
                        <a:pt x="57068" y="99203"/>
                        <a:pt x="57068" y="99203"/>
                        <a:pt x="57068" y="99203"/>
                      </a:cubicBezTo>
                      <a:cubicBezTo>
                        <a:pt x="57068" y="99203"/>
                        <a:pt x="56677" y="99203"/>
                        <a:pt x="56482" y="99203"/>
                      </a:cubicBezTo>
                      <a:cubicBezTo>
                        <a:pt x="56286" y="99203"/>
                        <a:pt x="56286" y="98641"/>
                        <a:pt x="56286" y="98641"/>
                      </a:cubicBezTo>
                      <a:cubicBezTo>
                        <a:pt x="56091" y="98922"/>
                        <a:pt x="56091" y="98922"/>
                        <a:pt x="56091" y="98922"/>
                      </a:cubicBezTo>
                      <a:cubicBezTo>
                        <a:pt x="56091" y="98922"/>
                        <a:pt x="56091" y="99203"/>
                        <a:pt x="55895" y="99484"/>
                      </a:cubicBezTo>
                      <a:cubicBezTo>
                        <a:pt x="55895" y="99765"/>
                        <a:pt x="55895" y="99484"/>
                        <a:pt x="55504" y="99484"/>
                      </a:cubicBezTo>
                      <a:cubicBezTo>
                        <a:pt x="55309" y="99765"/>
                        <a:pt x="55309" y="99203"/>
                        <a:pt x="55114" y="98922"/>
                      </a:cubicBezTo>
                      <a:cubicBezTo>
                        <a:pt x="55114" y="98360"/>
                        <a:pt x="55114" y="98922"/>
                        <a:pt x="54918" y="98922"/>
                      </a:cubicBezTo>
                      <a:cubicBezTo>
                        <a:pt x="54723" y="98922"/>
                        <a:pt x="55114" y="99765"/>
                        <a:pt x="55114" y="99765"/>
                      </a:cubicBezTo>
                      <a:cubicBezTo>
                        <a:pt x="54918" y="100046"/>
                        <a:pt x="54918" y="100046"/>
                        <a:pt x="54918" y="100046"/>
                      </a:cubicBezTo>
                      <a:cubicBezTo>
                        <a:pt x="54918" y="100046"/>
                        <a:pt x="54918" y="100608"/>
                        <a:pt x="54527" y="100889"/>
                      </a:cubicBezTo>
                      <a:cubicBezTo>
                        <a:pt x="54332" y="100889"/>
                        <a:pt x="54527" y="100327"/>
                        <a:pt x="54527" y="100327"/>
                      </a:cubicBezTo>
                      <a:cubicBezTo>
                        <a:pt x="54527" y="99203"/>
                        <a:pt x="54527" y="99203"/>
                        <a:pt x="54527" y="99203"/>
                      </a:cubicBezTo>
                      <a:cubicBezTo>
                        <a:pt x="54136" y="97798"/>
                        <a:pt x="54136" y="97798"/>
                        <a:pt x="54136" y="97798"/>
                      </a:cubicBezTo>
                      <a:cubicBezTo>
                        <a:pt x="54136" y="97798"/>
                        <a:pt x="53355" y="98922"/>
                        <a:pt x="53159" y="98922"/>
                      </a:cubicBezTo>
                      <a:cubicBezTo>
                        <a:pt x="53159" y="99203"/>
                        <a:pt x="52768" y="100327"/>
                        <a:pt x="52573" y="100327"/>
                      </a:cubicBezTo>
                      <a:cubicBezTo>
                        <a:pt x="52573" y="100608"/>
                        <a:pt x="52573" y="101170"/>
                        <a:pt x="52573" y="101170"/>
                      </a:cubicBezTo>
                      <a:cubicBezTo>
                        <a:pt x="52964" y="102014"/>
                        <a:pt x="52964" y="102014"/>
                        <a:pt x="52964" y="102014"/>
                      </a:cubicBezTo>
                      <a:cubicBezTo>
                        <a:pt x="52964" y="102857"/>
                        <a:pt x="52964" y="102857"/>
                        <a:pt x="52964" y="102857"/>
                      </a:cubicBezTo>
                      <a:cubicBezTo>
                        <a:pt x="53355" y="103419"/>
                        <a:pt x="53355" y="103419"/>
                        <a:pt x="53355" y="103419"/>
                      </a:cubicBezTo>
                      <a:cubicBezTo>
                        <a:pt x="53355" y="103419"/>
                        <a:pt x="53745" y="103419"/>
                        <a:pt x="53941" y="103700"/>
                      </a:cubicBezTo>
                      <a:cubicBezTo>
                        <a:pt x="54136" y="103700"/>
                        <a:pt x="53941" y="104262"/>
                        <a:pt x="53941" y="104262"/>
                      </a:cubicBezTo>
                      <a:cubicBezTo>
                        <a:pt x="53745" y="105386"/>
                        <a:pt x="53745" y="105386"/>
                        <a:pt x="53745" y="105386"/>
                      </a:cubicBezTo>
                      <a:cubicBezTo>
                        <a:pt x="53745" y="105386"/>
                        <a:pt x="53941" y="105667"/>
                        <a:pt x="54136" y="105948"/>
                      </a:cubicBezTo>
                      <a:cubicBezTo>
                        <a:pt x="54136" y="106229"/>
                        <a:pt x="53745" y="106791"/>
                        <a:pt x="53745" y="106791"/>
                      </a:cubicBezTo>
                      <a:cubicBezTo>
                        <a:pt x="53550" y="106791"/>
                        <a:pt x="52964" y="107634"/>
                        <a:pt x="52964" y="107634"/>
                      </a:cubicBezTo>
                      <a:cubicBezTo>
                        <a:pt x="52964" y="107634"/>
                        <a:pt x="52768" y="107915"/>
                        <a:pt x="52573" y="107915"/>
                      </a:cubicBezTo>
                      <a:cubicBezTo>
                        <a:pt x="52377" y="107915"/>
                        <a:pt x="52768" y="108758"/>
                        <a:pt x="52768" y="108758"/>
                      </a:cubicBezTo>
                      <a:cubicBezTo>
                        <a:pt x="52964" y="109601"/>
                        <a:pt x="52964" y="109601"/>
                        <a:pt x="52964" y="109601"/>
                      </a:cubicBezTo>
                      <a:cubicBezTo>
                        <a:pt x="52964" y="109601"/>
                        <a:pt x="52768" y="109882"/>
                        <a:pt x="52768" y="109882"/>
                      </a:cubicBezTo>
                      <a:cubicBezTo>
                        <a:pt x="52573" y="110163"/>
                        <a:pt x="52573" y="110725"/>
                        <a:pt x="52573" y="110725"/>
                      </a:cubicBezTo>
                      <a:cubicBezTo>
                        <a:pt x="52182" y="110725"/>
                        <a:pt x="52182" y="110725"/>
                        <a:pt x="52182" y="110725"/>
                      </a:cubicBezTo>
                      <a:cubicBezTo>
                        <a:pt x="51986" y="111288"/>
                        <a:pt x="51986" y="111288"/>
                        <a:pt x="51986" y="111288"/>
                      </a:cubicBezTo>
                      <a:cubicBezTo>
                        <a:pt x="51986" y="111288"/>
                        <a:pt x="51986" y="112131"/>
                        <a:pt x="51791" y="112131"/>
                      </a:cubicBezTo>
                      <a:cubicBezTo>
                        <a:pt x="51596" y="112131"/>
                        <a:pt x="51791" y="112693"/>
                        <a:pt x="51791" y="112693"/>
                      </a:cubicBezTo>
                      <a:cubicBezTo>
                        <a:pt x="51596" y="113255"/>
                        <a:pt x="51596" y="113255"/>
                        <a:pt x="51596" y="113255"/>
                      </a:cubicBezTo>
                      <a:cubicBezTo>
                        <a:pt x="52377" y="113817"/>
                        <a:pt x="52377" y="113817"/>
                        <a:pt x="52377" y="113817"/>
                      </a:cubicBezTo>
                      <a:cubicBezTo>
                        <a:pt x="52182" y="114379"/>
                        <a:pt x="52182" y="114379"/>
                        <a:pt x="52182" y="114379"/>
                      </a:cubicBezTo>
                      <a:cubicBezTo>
                        <a:pt x="52182" y="114941"/>
                        <a:pt x="52182" y="114941"/>
                        <a:pt x="52182" y="114941"/>
                      </a:cubicBezTo>
                      <a:cubicBezTo>
                        <a:pt x="52377" y="114941"/>
                        <a:pt x="52377" y="114941"/>
                        <a:pt x="52377" y="114941"/>
                      </a:cubicBezTo>
                      <a:cubicBezTo>
                        <a:pt x="52377" y="114941"/>
                        <a:pt x="51986" y="115222"/>
                        <a:pt x="51791" y="115222"/>
                      </a:cubicBezTo>
                      <a:cubicBezTo>
                        <a:pt x="51596" y="115503"/>
                        <a:pt x="51400" y="115222"/>
                        <a:pt x="51205" y="115503"/>
                      </a:cubicBezTo>
                      <a:cubicBezTo>
                        <a:pt x="51009" y="115503"/>
                        <a:pt x="50423" y="115784"/>
                        <a:pt x="50423" y="115784"/>
                      </a:cubicBezTo>
                      <a:cubicBezTo>
                        <a:pt x="50228" y="116908"/>
                        <a:pt x="50228" y="116908"/>
                        <a:pt x="50228" y="116908"/>
                      </a:cubicBezTo>
                      <a:cubicBezTo>
                        <a:pt x="49837" y="116908"/>
                        <a:pt x="49837" y="116908"/>
                        <a:pt x="49837" y="116908"/>
                      </a:cubicBezTo>
                      <a:cubicBezTo>
                        <a:pt x="49837" y="116346"/>
                        <a:pt x="49837" y="116346"/>
                        <a:pt x="49837" y="116346"/>
                      </a:cubicBezTo>
                      <a:cubicBezTo>
                        <a:pt x="49641" y="116065"/>
                        <a:pt x="49641" y="116065"/>
                        <a:pt x="49641" y="116065"/>
                      </a:cubicBezTo>
                      <a:cubicBezTo>
                        <a:pt x="49641" y="116627"/>
                        <a:pt x="49641" y="116908"/>
                        <a:pt x="49641" y="116908"/>
                      </a:cubicBezTo>
                      <a:cubicBezTo>
                        <a:pt x="51596" y="118875"/>
                        <a:pt x="51596" y="118875"/>
                        <a:pt x="51596" y="118875"/>
                      </a:cubicBezTo>
                      <a:cubicBezTo>
                        <a:pt x="54918" y="120000"/>
                        <a:pt x="54918" y="120000"/>
                        <a:pt x="54918" y="120000"/>
                      </a:cubicBezTo>
                      <a:cubicBezTo>
                        <a:pt x="55700" y="118032"/>
                        <a:pt x="55700" y="118032"/>
                        <a:pt x="55700" y="118032"/>
                      </a:cubicBezTo>
                      <a:cubicBezTo>
                        <a:pt x="55700" y="118032"/>
                        <a:pt x="57459" y="113536"/>
                        <a:pt x="58827" y="113817"/>
                      </a:cubicBezTo>
                      <a:cubicBezTo>
                        <a:pt x="59804" y="114098"/>
                        <a:pt x="61172" y="114660"/>
                        <a:pt x="61368" y="114660"/>
                      </a:cubicBezTo>
                      <a:cubicBezTo>
                        <a:pt x="61172" y="112974"/>
                        <a:pt x="59022" y="110163"/>
                        <a:pt x="59413" y="109601"/>
                      </a:cubicBezTo>
                      <a:cubicBezTo>
                        <a:pt x="59804" y="108758"/>
                        <a:pt x="60781" y="106791"/>
                        <a:pt x="61368" y="105667"/>
                      </a:cubicBezTo>
                      <a:cubicBezTo>
                        <a:pt x="61758" y="104543"/>
                        <a:pt x="63713" y="103700"/>
                        <a:pt x="63713" y="103700"/>
                      </a:cubicBezTo>
                      <a:cubicBezTo>
                        <a:pt x="65276" y="99484"/>
                        <a:pt x="65276" y="99484"/>
                        <a:pt x="65276" y="99484"/>
                      </a:cubicBezTo>
                      <a:cubicBezTo>
                        <a:pt x="64885" y="93021"/>
                        <a:pt x="64495" y="91334"/>
                        <a:pt x="69185" y="90491"/>
                      </a:cubicBezTo>
                      <a:cubicBezTo>
                        <a:pt x="69967" y="90210"/>
                        <a:pt x="70944" y="89367"/>
                        <a:pt x="70944" y="89367"/>
                      </a:cubicBezTo>
                      <a:cubicBezTo>
                        <a:pt x="72508" y="88524"/>
                        <a:pt x="72508" y="88524"/>
                        <a:pt x="72508" y="88524"/>
                      </a:cubicBezTo>
                      <a:cubicBezTo>
                        <a:pt x="75439" y="87962"/>
                        <a:pt x="75439" y="87962"/>
                        <a:pt x="75439" y="87962"/>
                      </a:cubicBezTo>
                      <a:cubicBezTo>
                        <a:pt x="73094" y="89929"/>
                        <a:pt x="73094" y="89929"/>
                        <a:pt x="73094" y="89929"/>
                      </a:cubicBezTo>
                      <a:cubicBezTo>
                        <a:pt x="71335" y="92740"/>
                        <a:pt x="71335" y="92740"/>
                        <a:pt x="71335" y="92740"/>
                      </a:cubicBezTo>
                      <a:cubicBezTo>
                        <a:pt x="73680" y="93583"/>
                        <a:pt x="73680" y="93583"/>
                        <a:pt x="73680" y="93583"/>
                      </a:cubicBezTo>
                      <a:cubicBezTo>
                        <a:pt x="73680" y="93583"/>
                        <a:pt x="73680" y="96112"/>
                        <a:pt x="74853" y="95550"/>
                      </a:cubicBezTo>
                      <a:cubicBezTo>
                        <a:pt x="75830" y="94988"/>
                        <a:pt x="78175" y="93583"/>
                        <a:pt x="78566" y="93583"/>
                      </a:cubicBezTo>
                      <a:cubicBezTo>
                        <a:pt x="78957" y="93302"/>
                        <a:pt x="81107" y="92459"/>
                        <a:pt x="81693" y="92459"/>
                      </a:cubicBezTo>
                      <a:cubicBezTo>
                        <a:pt x="82280" y="92459"/>
                        <a:pt x="85407" y="91896"/>
                        <a:pt x="85407" y="91896"/>
                      </a:cubicBezTo>
                      <a:cubicBezTo>
                        <a:pt x="85798" y="94426"/>
                        <a:pt x="85798" y="94426"/>
                        <a:pt x="85798" y="94426"/>
                      </a:cubicBezTo>
                      <a:cubicBezTo>
                        <a:pt x="84429" y="96955"/>
                        <a:pt x="84429" y="96955"/>
                        <a:pt x="84429" y="96955"/>
                      </a:cubicBezTo>
                      <a:cubicBezTo>
                        <a:pt x="82671" y="99484"/>
                        <a:pt x="82671" y="99484"/>
                        <a:pt x="82671" y="99484"/>
                      </a:cubicBezTo>
                      <a:cubicBezTo>
                        <a:pt x="79934" y="103138"/>
                        <a:pt x="79934" y="103138"/>
                        <a:pt x="79934" y="103138"/>
                      </a:cubicBezTo>
                      <a:cubicBezTo>
                        <a:pt x="79934" y="103138"/>
                        <a:pt x="79153" y="105105"/>
                        <a:pt x="79543" y="105386"/>
                      </a:cubicBezTo>
                      <a:cubicBezTo>
                        <a:pt x="79934" y="105667"/>
                        <a:pt x="82866" y="105105"/>
                        <a:pt x="82866" y="105105"/>
                      </a:cubicBezTo>
                      <a:cubicBezTo>
                        <a:pt x="86188" y="105386"/>
                        <a:pt x="86188" y="105386"/>
                        <a:pt x="86188" y="105386"/>
                      </a:cubicBezTo>
                      <a:cubicBezTo>
                        <a:pt x="86188" y="105386"/>
                        <a:pt x="86775" y="105667"/>
                        <a:pt x="87166" y="107353"/>
                      </a:cubicBezTo>
                      <a:cubicBezTo>
                        <a:pt x="87752" y="109320"/>
                        <a:pt x="88143" y="110163"/>
                        <a:pt x="88338" y="110725"/>
                      </a:cubicBezTo>
                      <a:cubicBezTo>
                        <a:pt x="88729" y="111569"/>
                        <a:pt x="89511" y="113255"/>
                        <a:pt x="89511" y="113255"/>
                      </a:cubicBezTo>
                      <a:cubicBezTo>
                        <a:pt x="89511" y="113255"/>
                        <a:pt x="88729" y="114379"/>
                        <a:pt x="89706" y="114098"/>
                      </a:cubicBezTo>
                      <a:cubicBezTo>
                        <a:pt x="90879" y="114098"/>
                        <a:pt x="91661" y="113817"/>
                        <a:pt x="91661" y="113817"/>
                      </a:cubicBezTo>
                      <a:cubicBezTo>
                        <a:pt x="91661" y="113817"/>
                        <a:pt x="91856" y="112131"/>
                        <a:pt x="92247" y="111569"/>
                      </a:cubicBezTo>
                      <a:cubicBezTo>
                        <a:pt x="92833" y="111288"/>
                        <a:pt x="93420" y="110444"/>
                        <a:pt x="93420" y="110444"/>
                      </a:cubicBezTo>
                      <a:cubicBezTo>
                        <a:pt x="93420" y="110444"/>
                        <a:pt x="93224" y="108758"/>
                        <a:pt x="93811" y="108196"/>
                      </a:cubicBezTo>
                      <a:cubicBezTo>
                        <a:pt x="94397" y="107915"/>
                        <a:pt x="95179" y="107634"/>
                        <a:pt x="95960" y="107353"/>
                      </a:cubicBezTo>
                      <a:cubicBezTo>
                        <a:pt x="96742" y="106791"/>
                        <a:pt x="97524" y="104824"/>
                        <a:pt x="97524" y="104824"/>
                      </a:cubicBezTo>
                      <a:cubicBezTo>
                        <a:pt x="98501" y="103700"/>
                        <a:pt x="98501" y="103700"/>
                        <a:pt x="98501" y="103700"/>
                      </a:cubicBezTo>
                      <a:cubicBezTo>
                        <a:pt x="100846" y="102576"/>
                        <a:pt x="100846" y="102576"/>
                        <a:pt x="100846" y="102576"/>
                      </a:cubicBezTo>
                      <a:cubicBezTo>
                        <a:pt x="100651" y="99765"/>
                        <a:pt x="100651" y="99765"/>
                        <a:pt x="100651" y="99765"/>
                      </a:cubicBezTo>
                      <a:cubicBezTo>
                        <a:pt x="100651" y="99765"/>
                        <a:pt x="100846" y="99203"/>
                        <a:pt x="101433" y="99203"/>
                      </a:cubicBezTo>
                      <a:cubicBezTo>
                        <a:pt x="101824" y="98922"/>
                        <a:pt x="105928" y="96955"/>
                        <a:pt x="105928" y="96955"/>
                      </a:cubicBezTo>
                      <a:cubicBezTo>
                        <a:pt x="107100" y="94145"/>
                        <a:pt x="107100" y="94145"/>
                        <a:pt x="107100" y="94145"/>
                      </a:cubicBezTo>
                      <a:cubicBezTo>
                        <a:pt x="107100" y="91334"/>
                        <a:pt x="107100" y="91334"/>
                        <a:pt x="107100" y="91334"/>
                      </a:cubicBezTo>
                      <a:cubicBezTo>
                        <a:pt x="107100" y="91334"/>
                        <a:pt x="107491" y="89648"/>
                        <a:pt x="106710" y="89648"/>
                      </a:cubicBezTo>
                      <a:cubicBezTo>
                        <a:pt x="105928" y="89648"/>
                        <a:pt x="103973" y="92459"/>
                        <a:pt x="103973" y="92459"/>
                      </a:cubicBezTo>
                      <a:cubicBezTo>
                        <a:pt x="101824" y="92740"/>
                        <a:pt x="101824" y="92740"/>
                        <a:pt x="101824" y="92740"/>
                      </a:cubicBezTo>
                      <a:cubicBezTo>
                        <a:pt x="101824" y="92740"/>
                        <a:pt x="100846" y="95269"/>
                        <a:pt x="100456" y="95269"/>
                      </a:cubicBezTo>
                      <a:cubicBezTo>
                        <a:pt x="100065" y="95550"/>
                        <a:pt x="98892" y="96112"/>
                        <a:pt x="98501" y="95831"/>
                      </a:cubicBezTo>
                      <a:cubicBezTo>
                        <a:pt x="98110" y="95831"/>
                        <a:pt x="98697" y="98922"/>
                        <a:pt x="97328" y="95269"/>
                      </a:cubicBezTo>
                      <a:cubicBezTo>
                        <a:pt x="95960" y="91615"/>
                        <a:pt x="95374" y="91615"/>
                        <a:pt x="95374" y="91615"/>
                      </a:cubicBezTo>
                      <a:cubicBezTo>
                        <a:pt x="94006" y="91615"/>
                        <a:pt x="94006" y="91615"/>
                        <a:pt x="94006" y="91615"/>
                      </a:cubicBezTo>
                      <a:cubicBezTo>
                        <a:pt x="94006" y="91615"/>
                        <a:pt x="92833" y="92459"/>
                        <a:pt x="92638" y="91896"/>
                      </a:cubicBezTo>
                      <a:cubicBezTo>
                        <a:pt x="92638" y="91334"/>
                        <a:pt x="92052" y="89648"/>
                        <a:pt x="92052" y="89648"/>
                      </a:cubicBezTo>
                      <a:cubicBezTo>
                        <a:pt x="90097" y="89648"/>
                        <a:pt x="90097" y="89648"/>
                        <a:pt x="90097" y="89648"/>
                      </a:cubicBezTo>
                      <a:cubicBezTo>
                        <a:pt x="89315" y="90210"/>
                        <a:pt x="89315" y="90210"/>
                        <a:pt x="89315" y="90210"/>
                      </a:cubicBezTo>
                      <a:cubicBezTo>
                        <a:pt x="86384" y="89929"/>
                        <a:pt x="86384" y="89929"/>
                        <a:pt x="86384" y="89929"/>
                      </a:cubicBezTo>
                      <a:cubicBezTo>
                        <a:pt x="85211" y="88805"/>
                        <a:pt x="85211" y="88805"/>
                        <a:pt x="85211" y="88805"/>
                      </a:cubicBezTo>
                      <a:cubicBezTo>
                        <a:pt x="86775" y="87681"/>
                        <a:pt x="86775" y="87681"/>
                        <a:pt x="86775" y="87681"/>
                      </a:cubicBezTo>
                      <a:cubicBezTo>
                        <a:pt x="86775" y="87681"/>
                        <a:pt x="87361" y="88524"/>
                        <a:pt x="87557" y="88524"/>
                      </a:cubicBezTo>
                      <a:cubicBezTo>
                        <a:pt x="87947" y="88243"/>
                        <a:pt x="87557" y="87400"/>
                        <a:pt x="87947" y="87119"/>
                      </a:cubicBezTo>
                      <a:cubicBezTo>
                        <a:pt x="88534" y="86838"/>
                        <a:pt x="89120" y="85995"/>
                        <a:pt x="89706" y="86557"/>
                      </a:cubicBezTo>
                      <a:cubicBezTo>
                        <a:pt x="90293" y="86838"/>
                        <a:pt x="89706" y="88524"/>
                        <a:pt x="90684" y="87400"/>
                      </a:cubicBezTo>
                      <a:cubicBezTo>
                        <a:pt x="91661" y="86276"/>
                        <a:pt x="92638" y="86557"/>
                        <a:pt x="92638" y="86557"/>
                      </a:cubicBezTo>
                      <a:cubicBezTo>
                        <a:pt x="93811" y="83747"/>
                        <a:pt x="93811" y="83747"/>
                        <a:pt x="93811" y="83747"/>
                      </a:cubicBezTo>
                      <a:cubicBezTo>
                        <a:pt x="94592" y="81217"/>
                        <a:pt x="94592" y="81217"/>
                        <a:pt x="94592" y="81217"/>
                      </a:cubicBezTo>
                      <a:cubicBezTo>
                        <a:pt x="94592" y="81217"/>
                        <a:pt x="94983" y="81498"/>
                        <a:pt x="95374" y="81779"/>
                      </a:cubicBezTo>
                      <a:cubicBezTo>
                        <a:pt x="95960" y="81779"/>
                        <a:pt x="97328" y="78407"/>
                        <a:pt x="97328" y="78407"/>
                      </a:cubicBezTo>
                      <a:cubicBezTo>
                        <a:pt x="97328" y="78407"/>
                        <a:pt x="97524" y="75035"/>
                        <a:pt x="97915" y="75035"/>
                      </a:cubicBezTo>
                      <a:cubicBezTo>
                        <a:pt x="98306" y="74754"/>
                        <a:pt x="101237" y="73348"/>
                        <a:pt x="101237" y="73348"/>
                      </a:cubicBezTo>
                      <a:cubicBezTo>
                        <a:pt x="103192" y="71662"/>
                        <a:pt x="103192" y="71662"/>
                        <a:pt x="103192" y="71662"/>
                      </a:cubicBezTo>
                      <a:cubicBezTo>
                        <a:pt x="103192" y="71662"/>
                        <a:pt x="104169" y="69695"/>
                        <a:pt x="104560" y="69414"/>
                      </a:cubicBezTo>
                      <a:cubicBezTo>
                        <a:pt x="104951" y="69414"/>
                        <a:pt x="105342" y="68290"/>
                        <a:pt x="105732" y="66885"/>
                      </a:cubicBezTo>
                      <a:cubicBezTo>
                        <a:pt x="106319" y="65761"/>
                        <a:pt x="106710" y="64918"/>
                        <a:pt x="106710" y="64918"/>
                      </a:cubicBezTo>
                      <a:cubicBezTo>
                        <a:pt x="106710" y="64918"/>
                        <a:pt x="109055" y="64074"/>
                        <a:pt x="108859" y="63793"/>
                      </a:cubicBezTo>
                      <a:cubicBezTo>
                        <a:pt x="108859" y="63231"/>
                        <a:pt x="107882" y="62107"/>
                        <a:pt x="109055" y="62107"/>
                      </a:cubicBezTo>
                      <a:cubicBezTo>
                        <a:pt x="110228" y="62107"/>
                        <a:pt x="110228" y="62107"/>
                        <a:pt x="110814" y="61545"/>
                      </a:cubicBezTo>
                      <a:cubicBezTo>
                        <a:pt x="111205" y="61264"/>
                        <a:pt x="111009" y="60983"/>
                        <a:pt x="111205" y="60140"/>
                      </a:cubicBezTo>
                      <a:cubicBezTo>
                        <a:pt x="111596" y="59578"/>
                        <a:pt x="111791" y="58735"/>
                        <a:pt x="111791" y="58173"/>
                      </a:cubicBezTo>
                      <a:cubicBezTo>
                        <a:pt x="111596" y="57611"/>
                        <a:pt x="110618" y="55362"/>
                        <a:pt x="110618" y="54800"/>
                      </a:cubicBezTo>
                      <a:cubicBezTo>
                        <a:pt x="110423" y="53957"/>
                        <a:pt x="110618" y="52271"/>
                        <a:pt x="110618" y="52271"/>
                      </a:cubicBezTo>
                      <a:cubicBezTo>
                        <a:pt x="110618" y="52271"/>
                        <a:pt x="111205" y="51990"/>
                        <a:pt x="111791" y="51709"/>
                      </a:cubicBezTo>
                      <a:cubicBezTo>
                        <a:pt x="112182" y="51147"/>
                        <a:pt x="112964" y="49180"/>
                        <a:pt x="112964" y="49180"/>
                      </a:cubicBezTo>
                      <a:cubicBezTo>
                        <a:pt x="113159" y="47775"/>
                        <a:pt x="113159" y="47775"/>
                        <a:pt x="113159" y="47775"/>
                      </a:cubicBezTo>
                      <a:cubicBezTo>
                        <a:pt x="113159" y="47775"/>
                        <a:pt x="113941" y="46932"/>
                        <a:pt x="114136" y="46932"/>
                      </a:cubicBezTo>
                      <a:cubicBezTo>
                        <a:pt x="114527" y="46651"/>
                        <a:pt x="117654" y="44964"/>
                        <a:pt x="117850" y="44964"/>
                      </a:cubicBezTo>
                      <a:cubicBezTo>
                        <a:pt x="118045" y="44964"/>
                        <a:pt x="119999" y="45245"/>
                        <a:pt x="119413" y="43840"/>
                      </a:cubicBezTo>
                      <a:cubicBezTo>
                        <a:pt x="118827" y="42716"/>
                        <a:pt x="118631" y="42154"/>
                        <a:pt x="118436" y="41311"/>
                      </a:cubicBezTo>
                      <a:cubicBezTo>
                        <a:pt x="118241" y="40468"/>
                        <a:pt x="118241" y="38501"/>
                        <a:pt x="118241" y="38220"/>
                      </a:cubicBezTo>
                      <a:cubicBezTo>
                        <a:pt x="118436" y="37939"/>
                        <a:pt x="119999" y="37096"/>
                        <a:pt x="118241" y="36814"/>
                      </a:cubicBezTo>
                      <a:cubicBezTo>
                        <a:pt x="116482" y="36533"/>
                        <a:pt x="117850" y="35690"/>
                        <a:pt x="117459" y="35128"/>
                      </a:cubicBezTo>
                      <a:cubicBezTo>
                        <a:pt x="116872" y="34566"/>
                        <a:pt x="115700" y="33442"/>
                        <a:pt x="115700" y="33442"/>
                      </a:cubicBezTo>
                      <a:cubicBezTo>
                        <a:pt x="115114" y="33442"/>
                        <a:pt x="115114" y="33442"/>
                        <a:pt x="115114" y="33442"/>
                      </a:cubicBezTo>
                      <a:cubicBezTo>
                        <a:pt x="115309" y="30632"/>
                        <a:pt x="115309" y="30632"/>
                        <a:pt x="115309" y="30632"/>
                      </a:cubicBezTo>
                      <a:cubicBezTo>
                        <a:pt x="115309" y="30632"/>
                        <a:pt x="115895" y="29508"/>
                        <a:pt x="116091" y="29508"/>
                      </a:cubicBezTo>
                      <a:cubicBezTo>
                        <a:pt x="116286" y="29227"/>
                        <a:pt x="116482" y="28103"/>
                        <a:pt x="116091" y="28103"/>
                      </a:cubicBezTo>
                      <a:cubicBezTo>
                        <a:pt x="115700" y="28384"/>
                        <a:pt x="114527" y="28665"/>
                        <a:pt x="114527" y="28665"/>
                      </a:cubicBezTo>
                      <a:cubicBezTo>
                        <a:pt x="114527" y="28665"/>
                        <a:pt x="113550" y="28665"/>
                        <a:pt x="113745" y="28103"/>
                      </a:cubicBezTo>
                      <a:cubicBezTo>
                        <a:pt x="113745" y="27259"/>
                        <a:pt x="114136" y="27259"/>
                        <a:pt x="114723" y="26416"/>
                      </a:cubicBezTo>
                      <a:cubicBezTo>
                        <a:pt x="115309" y="25573"/>
                        <a:pt x="115504" y="25011"/>
                        <a:pt x="115504" y="25011"/>
                      </a:cubicBezTo>
                      <a:cubicBezTo>
                        <a:pt x="115309" y="23325"/>
                        <a:pt x="115309" y="23325"/>
                        <a:pt x="115309" y="23325"/>
                      </a:cubicBezTo>
                      <a:cubicBezTo>
                        <a:pt x="115309" y="23325"/>
                        <a:pt x="115309" y="22201"/>
                        <a:pt x="115114" y="22201"/>
                      </a:cubicBezTo>
                      <a:cubicBezTo>
                        <a:pt x="115114" y="21920"/>
                        <a:pt x="113941" y="18548"/>
                        <a:pt x="113941" y="18548"/>
                      </a:cubicBezTo>
                      <a:cubicBezTo>
                        <a:pt x="113941" y="18548"/>
                        <a:pt x="112768" y="17985"/>
                        <a:pt x="112573" y="18548"/>
                      </a:cubicBezTo>
                      <a:cubicBezTo>
                        <a:pt x="112573" y="19110"/>
                        <a:pt x="112182" y="20234"/>
                        <a:pt x="112182" y="20234"/>
                      </a:cubicBezTo>
                      <a:cubicBezTo>
                        <a:pt x="110814" y="20234"/>
                        <a:pt x="110814" y="20234"/>
                        <a:pt x="110814" y="20234"/>
                      </a:cubicBezTo>
                      <a:cubicBezTo>
                        <a:pt x="110032" y="19391"/>
                        <a:pt x="110032" y="19391"/>
                        <a:pt x="110032" y="19391"/>
                      </a:cubicBezTo>
                      <a:cubicBezTo>
                        <a:pt x="108469" y="18829"/>
                        <a:pt x="108469" y="18829"/>
                        <a:pt x="108469" y="18829"/>
                      </a:cubicBezTo>
                      <a:cubicBezTo>
                        <a:pt x="108469" y="18829"/>
                        <a:pt x="108273" y="19110"/>
                        <a:pt x="108078" y="19391"/>
                      </a:cubicBezTo>
                      <a:cubicBezTo>
                        <a:pt x="108078" y="19672"/>
                        <a:pt x="106514" y="18266"/>
                        <a:pt x="106514" y="18266"/>
                      </a:cubicBezTo>
                      <a:cubicBezTo>
                        <a:pt x="106514" y="18266"/>
                        <a:pt x="105928" y="19391"/>
                        <a:pt x="105732" y="19672"/>
                      </a:cubicBezTo>
                      <a:cubicBezTo>
                        <a:pt x="105732" y="19672"/>
                        <a:pt x="104169" y="19110"/>
                        <a:pt x="104169" y="19110"/>
                      </a:cubicBezTo>
                      <a:cubicBezTo>
                        <a:pt x="102605" y="19391"/>
                        <a:pt x="102605" y="19391"/>
                        <a:pt x="102605" y="19391"/>
                      </a:cubicBezTo>
                      <a:cubicBezTo>
                        <a:pt x="101237" y="19672"/>
                        <a:pt x="101237" y="19672"/>
                        <a:pt x="101237" y="19672"/>
                      </a:cubicBezTo>
                      <a:cubicBezTo>
                        <a:pt x="100065" y="18829"/>
                        <a:pt x="100065" y="18829"/>
                        <a:pt x="100065" y="18829"/>
                      </a:cubicBezTo>
                      <a:cubicBezTo>
                        <a:pt x="99674" y="19672"/>
                        <a:pt x="99674" y="19672"/>
                        <a:pt x="99674" y="19672"/>
                      </a:cubicBezTo>
                      <a:cubicBezTo>
                        <a:pt x="99869" y="21077"/>
                        <a:pt x="99869" y="21077"/>
                        <a:pt x="99869" y="21077"/>
                      </a:cubicBezTo>
                      <a:cubicBezTo>
                        <a:pt x="98892" y="21920"/>
                        <a:pt x="98892" y="21920"/>
                        <a:pt x="98892" y="21920"/>
                      </a:cubicBezTo>
                      <a:cubicBezTo>
                        <a:pt x="97719" y="20796"/>
                        <a:pt x="97719" y="20796"/>
                        <a:pt x="97719" y="20796"/>
                      </a:cubicBezTo>
                      <a:cubicBezTo>
                        <a:pt x="96742" y="20515"/>
                        <a:pt x="96742" y="20515"/>
                        <a:pt x="96742" y="20515"/>
                      </a:cubicBezTo>
                      <a:cubicBezTo>
                        <a:pt x="95374" y="18548"/>
                        <a:pt x="95374" y="18548"/>
                        <a:pt x="95374" y="18548"/>
                      </a:cubicBezTo>
                      <a:cubicBezTo>
                        <a:pt x="94201" y="17985"/>
                        <a:pt x="94201" y="17985"/>
                        <a:pt x="94201" y="17985"/>
                      </a:cubicBezTo>
                      <a:cubicBezTo>
                        <a:pt x="93029" y="17142"/>
                        <a:pt x="93029" y="17142"/>
                        <a:pt x="93029" y="17142"/>
                      </a:cubicBezTo>
                      <a:cubicBezTo>
                        <a:pt x="93029" y="17142"/>
                        <a:pt x="92442" y="19391"/>
                        <a:pt x="92247" y="19672"/>
                      </a:cubicBezTo>
                      <a:cubicBezTo>
                        <a:pt x="92052" y="19672"/>
                        <a:pt x="91074" y="20234"/>
                        <a:pt x="90879" y="20234"/>
                      </a:cubicBezTo>
                      <a:cubicBezTo>
                        <a:pt x="90488" y="20515"/>
                        <a:pt x="90293" y="21920"/>
                        <a:pt x="90293" y="21920"/>
                      </a:cubicBezTo>
                      <a:cubicBezTo>
                        <a:pt x="89315" y="22763"/>
                        <a:pt x="89315" y="22763"/>
                        <a:pt x="89315" y="22763"/>
                      </a:cubicBezTo>
                      <a:cubicBezTo>
                        <a:pt x="89315" y="22763"/>
                        <a:pt x="88729" y="22201"/>
                        <a:pt x="88338" y="22201"/>
                      </a:cubicBezTo>
                      <a:cubicBezTo>
                        <a:pt x="88143" y="22201"/>
                        <a:pt x="87947" y="22482"/>
                        <a:pt x="87947" y="22482"/>
                      </a:cubicBezTo>
                      <a:cubicBezTo>
                        <a:pt x="87557" y="23325"/>
                        <a:pt x="87557" y="23325"/>
                        <a:pt x="87557" y="23325"/>
                      </a:cubicBezTo>
                      <a:cubicBezTo>
                        <a:pt x="87557" y="23325"/>
                        <a:pt x="87361" y="23325"/>
                        <a:pt x="86775" y="22763"/>
                      </a:cubicBezTo>
                      <a:cubicBezTo>
                        <a:pt x="86384" y="22482"/>
                        <a:pt x="85798" y="21920"/>
                        <a:pt x="85798" y="21920"/>
                      </a:cubicBezTo>
                      <a:cubicBezTo>
                        <a:pt x="85211" y="21639"/>
                        <a:pt x="85211" y="21639"/>
                        <a:pt x="85211" y="21639"/>
                      </a:cubicBezTo>
                      <a:cubicBezTo>
                        <a:pt x="85211" y="21639"/>
                        <a:pt x="83452" y="22763"/>
                        <a:pt x="83257" y="23044"/>
                      </a:cubicBezTo>
                      <a:cubicBezTo>
                        <a:pt x="83257" y="23325"/>
                        <a:pt x="82866" y="24168"/>
                        <a:pt x="82866" y="24168"/>
                      </a:cubicBezTo>
                      <a:cubicBezTo>
                        <a:pt x="81889" y="23044"/>
                        <a:pt x="81889" y="23044"/>
                        <a:pt x="81889" y="23044"/>
                      </a:cubicBezTo>
                      <a:cubicBezTo>
                        <a:pt x="80716" y="21920"/>
                        <a:pt x="80716" y="21920"/>
                        <a:pt x="80716" y="21920"/>
                      </a:cubicBezTo>
                      <a:cubicBezTo>
                        <a:pt x="80521" y="19953"/>
                        <a:pt x="80521" y="19953"/>
                        <a:pt x="80521" y="19953"/>
                      </a:cubicBezTo>
                      <a:cubicBezTo>
                        <a:pt x="78371" y="17142"/>
                        <a:pt x="78371" y="17142"/>
                        <a:pt x="78371" y="17142"/>
                      </a:cubicBezTo>
                      <a:cubicBezTo>
                        <a:pt x="77980" y="14332"/>
                        <a:pt x="77980" y="14332"/>
                        <a:pt x="77980" y="14332"/>
                      </a:cubicBezTo>
                      <a:cubicBezTo>
                        <a:pt x="76416" y="12646"/>
                        <a:pt x="76416" y="12646"/>
                        <a:pt x="76416" y="12646"/>
                      </a:cubicBezTo>
                      <a:cubicBezTo>
                        <a:pt x="75439" y="14332"/>
                        <a:pt x="75439" y="14332"/>
                        <a:pt x="75439" y="14332"/>
                      </a:cubicBezTo>
                      <a:cubicBezTo>
                        <a:pt x="73876" y="14051"/>
                        <a:pt x="73876" y="14051"/>
                        <a:pt x="73876" y="14051"/>
                      </a:cubicBezTo>
                      <a:cubicBezTo>
                        <a:pt x="72312" y="14613"/>
                        <a:pt x="72312" y="14613"/>
                        <a:pt x="72312" y="14613"/>
                      </a:cubicBezTo>
                      <a:cubicBezTo>
                        <a:pt x="72312" y="14613"/>
                        <a:pt x="71335" y="16018"/>
                        <a:pt x="71335" y="15456"/>
                      </a:cubicBezTo>
                      <a:cubicBezTo>
                        <a:pt x="71140" y="14894"/>
                        <a:pt x="71530" y="13770"/>
                        <a:pt x="71530" y="13208"/>
                      </a:cubicBezTo>
                      <a:cubicBezTo>
                        <a:pt x="71335" y="12927"/>
                        <a:pt x="70358" y="13770"/>
                        <a:pt x="70553" y="12646"/>
                      </a:cubicBezTo>
                      <a:cubicBezTo>
                        <a:pt x="70749" y="12084"/>
                        <a:pt x="70553" y="11241"/>
                        <a:pt x="70358" y="10960"/>
                      </a:cubicBezTo>
                      <a:cubicBezTo>
                        <a:pt x="69967" y="10398"/>
                        <a:pt x="68794" y="10398"/>
                        <a:pt x="69185" y="9274"/>
                      </a:cubicBezTo>
                      <a:cubicBezTo>
                        <a:pt x="69576" y="8430"/>
                        <a:pt x="70553" y="7868"/>
                        <a:pt x="70553" y="7868"/>
                      </a:cubicBezTo>
                      <a:cubicBezTo>
                        <a:pt x="70553" y="7306"/>
                        <a:pt x="70553" y="7306"/>
                        <a:pt x="70553" y="7306"/>
                      </a:cubicBezTo>
                      <a:cubicBezTo>
                        <a:pt x="69771" y="6182"/>
                        <a:pt x="69771" y="6182"/>
                        <a:pt x="69771" y="6182"/>
                      </a:cubicBezTo>
                      <a:cubicBezTo>
                        <a:pt x="67622" y="4777"/>
                        <a:pt x="67622" y="4777"/>
                        <a:pt x="67622" y="4777"/>
                      </a:cubicBezTo>
                      <a:cubicBezTo>
                        <a:pt x="67622" y="4777"/>
                        <a:pt x="67426" y="3091"/>
                        <a:pt x="67035" y="3091"/>
                      </a:cubicBezTo>
                      <a:cubicBezTo>
                        <a:pt x="66840" y="2810"/>
                        <a:pt x="66254" y="1967"/>
                        <a:pt x="66254" y="1967"/>
                      </a:cubicBezTo>
                      <a:cubicBezTo>
                        <a:pt x="66254" y="1967"/>
                        <a:pt x="65667" y="843"/>
                        <a:pt x="64885" y="562"/>
                      </a:cubicBezTo>
                      <a:cubicBezTo>
                        <a:pt x="64104" y="0"/>
                        <a:pt x="63517" y="2529"/>
                        <a:pt x="63517" y="2529"/>
                      </a:cubicBezTo>
                      <a:cubicBezTo>
                        <a:pt x="62736" y="1405"/>
                        <a:pt x="62736" y="1405"/>
                        <a:pt x="62736" y="1405"/>
                      </a:cubicBezTo>
                      <a:cubicBezTo>
                        <a:pt x="61172" y="2248"/>
                        <a:pt x="61172" y="2248"/>
                        <a:pt x="61172" y="2248"/>
                      </a:cubicBezTo>
                      <a:cubicBezTo>
                        <a:pt x="59999" y="4777"/>
                        <a:pt x="59999" y="4777"/>
                        <a:pt x="59999" y="4777"/>
                      </a:cubicBezTo>
                      <a:cubicBezTo>
                        <a:pt x="59218" y="5058"/>
                        <a:pt x="59218" y="5058"/>
                        <a:pt x="59218" y="5058"/>
                      </a:cubicBezTo>
                      <a:cubicBezTo>
                        <a:pt x="58045" y="5339"/>
                        <a:pt x="58045" y="5339"/>
                        <a:pt x="58045" y="5339"/>
                      </a:cubicBezTo>
                      <a:cubicBezTo>
                        <a:pt x="56286" y="5901"/>
                        <a:pt x="56286" y="5901"/>
                        <a:pt x="56286" y="5901"/>
                      </a:cubicBezTo>
                      <a:cubicBezTo>
                        <a:pt x="55895" y="7587"/>
                        <a:pt x="55895" y="7587"/>
                        <a:pt x="55895" y="7587"/>
                      </a:cubicBezTo>
                      <a:cubicBezTo>
                        <a:pt x="56091" y="9274"/>
                        <a:pt x="56091" y="9274"/>
                        <a:pt x="56091" y="9274"/>
                      </a:cubicBezTo>
                      <a:cubicBezTo>
                        <a:pt x="55114" y="10398"/>
                        <a:pt x="55114" y="10398"/>
                        <a:pt x="55114" y="10398"/>
                      </a:cubicBezTo>
                      <a:cubicBezTo>
                        <a:pt x="52768" y="10117"/>
                        <a:pt x="52768" y="10117"/>
                        <a:pt x="52768" y="10117"/>
                      </a:cubicBezTo>
                      <a:cubicBezTo>
                        <a:pt x="51205" y="10679"/>
                        <a:pt x="51205" y="10679"/>
                        <a:pt x="51205" y="10679"/>
                      </a:cubicBezTo>
                      <a:cubicBezTo>
                        <a:pt x="50423" y="12365"/>
                        <a:pt x="50423" y="12365"/>
                        <a:pt x="50423" y="12365"/>
                      </a:cubicBezTo>
                      <a:cubicBezTo>
                        <a:pt x="48078" y="12365"/>
                        <a:pt x="48078" y="12365"/>
                        <a:pt x="48078" y="12365"/>
                      </a:cubicBezTo>
                      <a:cubicBezTo>
                        <a:pt x="47687" y="15737"/>
                        <a:pt x="47687" y="15737"/>
                        <a:pt x="47687" y="15737"/>
                      </a:cubicBezTo>
                      <a:cubicBezTo>
                        <a:pt x="47100" y="17985"/>
                        <a:pt x="47100" y="17985"/>
                        <a:pt x="47100" y="17985"/>
                      </a:cubicBezTo>
                      <a:cubicBezTo>
                        <a:pt x="46514" y="20515"/>
                        <a:pt x="46514" y="20515"/>
                        <a:pt x="46514" y="20515"/>
                      </a:cubicBezTo>
                      <a:cubicBezTo>
                        <a:pt x="46905" y="21920"/>
                        <a:pt x="46905" y="21920"/>
                        <a:pt x="46905" y="21920"/>
                      </a:cubicBezTo>
                      <a:cubicBezTo>
                        <a:pt x="47491" y="23887"/>
                        <a:pt x="47491" y="23887"/>
                        <a:pt x="47491" y="23887"/>
                      </a:cubicBezTo>
                      <a:cubicBezTo>
                        <a:pt x="48664" y="25854"/>
                        <a:pt x="48664" y="25854"/>
                        <a:pt x="48664" y="25854"/>
                      </a:cubicBezTo>
                      <a:cubicBezTo>
                        <a:pt x="48664" y="25854"/>
                        <a:pt x="48664" y="25854"/>
                        <a:pt x="48664" y="25854"/>
                      </a:cubicBezTo>
                      <a:cubicBezTo>
                        <a:pt x="47491" y="26416"/>
                        <a:pt x="47491" y="26416"/>
                        <a:pt x="47491" y="26416"/>
                      </a:cubicBezTo>
                      <a:cubicBezTo>
                        <a:pt x="46710" y="26697"/>
                        <a:pt x="46710" y="26697"/>
                        <a:pt x="46710" y="26697"/>
                      </a:cubicBezTo>
                      <a:cubicBezTo>
                        <a:pt x="45928" y="25011"/>
                        <a:pt x="45928" y="25011"/>
                        <a:pt x="45928" y="25011"/>
                      </a:cubicBezTo>
                      <a:cubicBezTo>
                        <a:pt x="44755" y="24449"/>
                        <a:pt x="44755" y="24449"/>
                        <a:pt x="44755" y="24449"/>
                      </a:cubicBezTo>
                      <a:cubicBezTo>
                        <a:pt x="43387" y="25292"/>
                        <a:pt x="43387" y="25292"/>
                        <a:pt x="43387" y="25292"/>
                      </a:cubicBezTo>
                      <a:cubicBezTo>
                        <a:pt x="42019" y="25854"/>
                        <a:pt x="42019" y="25854"/>
                        <a:pt x="42019" y="25854"/>
                      </a:cubicBezTo>
                      <a:cubicBezTo>
                        <a:pt x="41628" y="25854"/>
                        <a:pt x="41628" y="25854"/>
                        <a:pt x="41628" y="25854"/>
                      </a:cubicBezTo>
                      <a:cubicBezTo>
                        <a:pt x="41237" y="26978"/>
                        <a:pt x="41237" y="26978"/>
                        <a:pt x="41237" y="26978"/>
                      </a:cubicBezTo>
                      <a:cubicBezTo>
                        <a:pt x="40065" y="27822"/>
                        <a:pt x="40065" y="27822"/>
                        <a:pt x="40065" y="27822"/>
                      </a:cubicBezTo>
                      <a:cubicBezTo>
                        <a:pt x="40065" y="27822"/>
                        <a:pt x="39674" y="27259"/>
                        <a:pt x="39478" y="26978"/>
                      </a:cubicBezTo>
                      <a:cubicBezTo>
                        <a:pt x="39283" y="26697"/>
                        <a:pt x="38697" y="26135"/>
                        <a:pt x="38697" y="26135"/>
                      </a:cubicBezTo>
                      <a:cubicBezTo>
                        <a:pt x="38697" y="26135"/>
                        <a:pt x="38501" y="25573"/>
                        <a:pt x="38306" y="25292"/>
                      </a:cubicBezTo>
                      <a:cubicBezTo>
                        <a:pt x="38110" y="25292"/>
                        <a:pt x="36938" y="26416"/>
                        <a:pt x="36938" y="26416"/>
                      </a:cubicBezTo>
                      <a:cubicBezTo>
                        <a:pt x="36938" y="26416"/>
                        <a:pt x="35960" y="27259"/>
                        <a:pt x="35960" y="27540"/>
                      </a:cubicBezTo>
                      <a:cubicBezTo>
                        <a:pt x="36156" y="27540"/>
                        <a:pt x="35960" y="28946"/>
                        <a:pt x="35960" y="28946"/>
                      </a:cubicBezTo>
                      <a:cubicBezTo>
                        <a:pt x="34592" y="27259"/>
                        <a:pt x="34592" y="27259"/>
                        <a:pt x="34592" y="27259"/>
                      </a:cubicBezTo>
                      <a:cubicBezTo>
                        <a:pt x="33615" y="28384"/>
                        <a:pt x="33615" y="28384"/>
                        <a:pt x="33615" y="28384"/>
                      </a:cubicBezTo>
                      <a:cubicBezTo>
                        <a:pt x="32833" y="27540"/>
                        <a:pt x="32833" y="27540"/>
                        <a:pt x="32833" y="27540"/>
                      </a:cubicBezTo>
                      <a:cubicBezTo>
                        <a:pt x="32442" y="27259"/>
                        <a:pt x="32442" y="27259"/>
                        <a:pt x="32442" y="27259"/>
                      </a:cubicBezTo>
                      <a:cubicBezTo>
                        <a:pt x="31270" y="29227"/>
                        <a:pt x="31270" y="29227"/>
                        <a:pt x="31270" y="29227"/>
                      </a:cubicBezTo>
                      <a:cubicBezTo>
                        <a:pt x="30488" y="28665"/>
                        <a:pt x="30488" y="28665"/>
                        <a:pt x="30488" y="28665"/>
                      </a:cubicBezTo>
                      <a:cubicBezTo>
                        <a:pt x="30097" y="30632"/>
                        <a:pt x="30097" y="30632"/>
                        <a:pt x="30097" y="30632"/>
                      </a:cubicBezTo>
                      <a:cubicBezTo>
                        <a:pt x="29120" y="29508"/>
                        <a:pt x="29120" y="29508"/>
                        <a:pt x="29120" y="29508"/>
                      </a:cubicBezTo>
                      <a:cubicBezTo>
                        <a:pt x="29120" y="29508"/>
                        <a:pt x="28143" y="29227"/>
                        <a:pt x="27947" y="29227"/>
                      </a:cubicBezTo>
                      <a:cubicBezTo>
                        <a:pt x="27752" y="29227"/>
                        <a:pt x="27166" y="30351"/>
                        <a:pt x="27166" y="30351"/>
                      </a:cubicBezTo>
                      <a:cubicBezTo>
                        <a:pt x="26188" y="29227"/>
                        <a:pt x="26188" y="29227"/>
                        <a:pt x="26188" y="29227"/>
                      </a:cubicBezTo>
                      <a:cubicBezTo>
                        <a:pt x="25407" y="28384"/>
                        <a:pt x="25407" y="28384"/>
                        <a:pt x="25407" y="28384"/>
                      </a:cubicBezTo>
                      <a:cubicBezTo>
                        <a:pt x="25407" y="28384"/>
                        <a:pt x="23257" y="28665"/>
                        <a:pt x="23061" y="28665"/>
                      </a:cubicBezTo>
                      <a:cubicBezTo>
                        <a:pt x="22866" y="28665"/>
                        <a:pt x="21498" y="28384"/>
                        <a:pt x="21498" y="28384"/>
                      </a:cubicBezTo>
                      <a:cubicBezTo>
                        <a:pt x="19739" y="28946"/>
                        <a:pt x="19739" y="28946"/>
                        <a:pt x="19739" y="28946"/>
                      </a:cubicBezTo>
                      <a:cubicBezTo>
                        <a:pt x="17198" y="28946"/>
                        <a:pt x="17198" y="28946"/>
                        <a:pt x="17198" y="28946"/>
                      </a:cubicBezTo>
                      <a:cubicBezTo>
                        <a:pt x="14853" y="29227"/>
                        <a:pt x="14853" y="29227"/>
                        <a:pt x="14853" y="29227"/>
                      </a:cubicBezTo>
                      <a:cubicBezTo>
                        <a:pt x="13094" y="29227"/>
                        <a:pt x="13094" y="29227"/>
                        <a:pt x="13094" y="29227"/>
                      </a:cubicBezTo>
                      <a:cubicBezTo>
                        <a:pt x="11726" y="30632"/>
                        <a:pt x="11726" y="30632"/>
                        <a:pt x="11726" y="30632"/>
                      </a:cubicBezTo>
                      <a:cubicBezTo>
                        <a:pt x="10358" y="30913"/>
                        <a:pt x="10358" y="30913"/>
                        <a:pt x="10358" y="30913"/>
                      </a:cubicBezTo>
                      <a:cubicBezTo>
                        <a:pt x="8794" y="31194"/>
                        <a:pt x="8794" y="31194"/>
                        <a:pt x="8794" y="31194"/>
                      </a:cubicBezTo>
                      <a:cubicBezTo>
                        <a:pt x="8599" y="31194"/>
                        <a:pt x="8599" y="31194"/>
                        <a:pt x="8599" y="31194"/>
                      </a:cubicBezTo>
                      <a:cubicBezTo>
                        <a:pt x="8403" y="31475"/>
                        <a:pt x="8403" y="31475"/>
                        <a:pt x="8403" y="31475"/>
                      </a:cubicBezTo>
                      <a:cubicBezTo>
                        <a:pt x="7817" y="32037"/>
                        <a:pt x="7817" y="32037"/>
                        <a:pt x="7817" y="32037"/>
                      </a:cubicBezTo>
                      <a:cubicBezTo>
                        <a:pt x="7817" y="32318"/>
                        <a:pt x="7817" y="32318"/>
                        <a:pt x="7817" y="32318"/>
                      </a:cubicBezTo>
                      <a:cubicBezTo>
                        <a:pt x="7426" y="32880"/>
                        <a:pt x="7426" y="32880"/>
                        <a:pt x="7426" y="32880"/>
                      </a:cubicBezTo>
                      <a:cubicBezTo>
                        <a:pt x="7231" y="34285"/>
                        <a:pt x="7231" y="34285"/>
                        <a:pt x="7231" y="34285"/>
                      </a:cubicBezTo>
                      <a:cubicBezTo>
                        <a:pt x="7035" y="34847"/>
                        <a:pt x="6644" y="35409"/>
                        <a:pt x="6449" y="35971"/>
                      </a:cubicBezTo>
                      <a:cubicBezTo>
                        <a:pt x="6449" y="35971"/>
                        <a:pt x="6449" y="35971"/>
                        <a:pt x="6449" y="35971"/>
                      </a:cubicBezTo>
                      <a:cubicBezTo>
                        <a:pt x="6449" y="35971"/>
                        <a:pt x="5863" y="35690"/>
                        <a:pt x="5863" y="36252"/>
                      </a:cubicBezTo>
                      <a:cubicBezTo>
                        <a:pt x="5863" y="36533"/>
                        <a:pt x="5863" y="36533"/>
                        <a:pt x="5863" y="36533"/>
                      </a:cubicBezTo>
                      <a:cubicBezTo>
                        <a:pt x="5276" y="36814"/>
                        <a:pt x="4299" y="36252"/>
                        <a:pt x="4299" y="36252"/>
                      </a:cubicBezTo>
                      <a:cubicBezTo>
                        <a:pt x="3322" y="37096"/>
                        <a:pt x="3322" y="37096"/>
                        <a:pt x="3322" y="37096"/>
                      </a:cubicBezTo>
                      <a:cubicBezTo>
                        <a:pt x="3322" y="37377"/>
                        <a:pt x="3322" y="37658"/>
                        <a:pt x="3517" y="37658"/>
                      </a:cubicBezTo>
                      <a:cubicBezTo>
                        <a:pt x="3713" y="37939"/>
                        <a:pt x="3713" y="37939"/>
                        <a:pt x="3713" y="38220"/>
                      </a:cubicBezTo>
                      <a:cubicBezTo>
                        <a:pt x="3908" y="38220"/>
                        <a:pt x="3908" y="38501"/>
                        <a:pt x="3908" y="38501"/>
                      </a:cubicBezTo>
                      <a:cubicBezTo>
                        <a:pt x="4299" y="39906"/>
                        <a:pt x="4299" y="39906"/>
                        <a:pt x="4299" y="39906"/>
                      </a:cubicBezTo>
                      <a:cubicBezTo>
                        <a:pt x="4299" y="41030"/>
                        <a:pt x="4299" y="41030"/>
                        <a:pt x="4299" y="41030"/>
                      </a:cubicBezTo>
                      <a:cubicBezTo>
                        <a:pt x="4299" y="41030"/>
                        <a:pt x="4299" y="41873"/>
                        <a:pt x="4690" y="41873"/>
                      </a:cubicBezTo>
                      <a:cubicBezTo>
                        <a:pt x="5081" y="41873"/>
                        <a:pt x="5276" y="42154"/>
                        <a:pt x="5276" y="42716"/>
                      </a:cubicBezTo>
                      <a:cubicBezTo>
                        <a:pt x="5276" y="43278"/>
                        <a:pt x="6254" y="43840"/>
                        <a:pt x="6254" y="43840"/>
                      </a:cubicBezTo>
                      <a:cubicBezTo>
                        <a:pt x="6254" y="43840"/>
                        <a:pt x="6254" y="44964"/>
                        <a:pt x="6449" y="45245"/>
                      </a:cubicBezTo>
                      <a:cubicBezTo>
                        <a:pt x="6840" y="45526"/>
                        <a:pt x="7231" y="45807"/>
                        <a:pt x="7817" y="45807"/>
                      </a:cubicBezTo>
                      <a:cubicBezTo>
                        <a:pt x="8403" y="46088"/>
                        <a:pt x="8208" y="47213"/>
                        <a:pt x="8599" y="47494"/>
                      </a:cubicBezTo>
                      <a:cubicBezTo>
                        <a:pt x="8990" y="47775"/>
                        <a:pt x="9381" y="48337"/>
                        <a:pt x="8990" y="48337"/>
                      </a:cubicBezTo>
                      <a:cubicBezTo>
                        <a:pt x="8794" y="48618"/>
                        <a:pt x="8208" y="48618"/>
                        <a:pt x="8208" y="48618"/>
                      </a:cubicBezTo>
                      <a:cubicBezTo>
                        <a:pt x="8208" y="48618"/>
                        <a:pt x="8013" y="48899"/>
                        <a:pt x="8013" y="49461"/>
                      </a:cubicBezTo>
                      <a:cubicBezTo>
                        <a:pt x="8208" y="49742"/>
                        <a:pt x="8208" y="49742"/>
                        <a:pt x="8208" y="49742"/>
                      </a:cubicBezTo>
                      <a:cubicBezTo>
                        <a:pt x="8990" y="51147"/>
                        <a:pt x="8990" y="51147"/>
                        <a:pt x="8990" y="51147"/>
                      </a:cubicBezTo>
                      <a:cubicBezTo>
                        <a:pt x="8990" y="52833"/>
                        <a:pt x="8990" y="52833"/>
                        <a:pt x="8990" y="52833"/>
                      </a:cubicBezTo>
                      <a:cubicBezTo>
                        <a:pt x="8990" y="52833"/>
                        <a:pt x="8990" y="53395"/>
                        <a:pt x="8990" y="53957"/>
                      </a:cubicBezTo>
                      <a:cubicBezTo>
                        <a:pt x="8990" y="54238"/>
                        <a:pt x="8794" y="54800"/>
                        <a:pt x="8403" y="54800"/>
                      </a:cubicBezTo>
                      <a:cubicBezTo>
                        <a:pt x="8403" y="54800"/>
                        <a:pt x="8403" y="54800"/>
                        <a:pt x="8403" y="54800"/>
                      </a:cubicBezTo>
                      <a:cubicBezTo>
                        <a:pt x="8403" y="54800"/>
                        <a:pt x="8403" y="54800"/>
                        <a:pt x="8403" y="54800"/>
                      </a:cubicBezTo>
                      <a:cubicBezTo>
                        <a:pt x="8208" y="54800"/>
                        <a:pt x="8208" y="54800"/>
                        <a:pt x="8208" y="54800"/>
                      </a:cubicBezTo>
                      <a:cubicBezTo>
                        <a:pt x="8013" y="55081"/>
                        <a:pt x="8013" y="55644"/>
                        <a:pt x="7817" y="55644"/>
                      </a:cubicBezTo>
                      <a:cubicBezTo>
                        <a:pt x="7622" y="55925"/>
                        <a:pt x="7231" y="55081"/>
                        <a:pt x="7035" y="55925"/>
                      </a:cubicBezTo>
                      <a:cubicBezTo>
                        <a:pt x="6840" y="57049"/>
                        <a:pt x="6449" y="57892"/>
                        <a:pt x="6449" y="58173"/>
                      </a:cubicBezTo>
                      <a:cubicBezTo>
                        <a:pt x="6254" y="58454"/>
                        <a:pt x="5667" y="58735"/>
                        <a:pt x="5667" y="59297"/>
                      </a:cubicBezTo>
                      <a:cubicBezTo>
                        <a:pt x="5472" y="59859"/>
                        <a:pt x="5472" y="59297"/>
                        <a:pt x="5081" y="60702"/>
                      </a:cubicBezTo>
                      <a:cubicBezTo>
                        <a:pt x="4690" y="62107"/>
                        <a:pt x="4495" y="62669"/>
                        <a:pt x="4495" y="62669"/>
                      </a:cubicBezTo>
                      <a:cubicBezTo>
                        <a:pt x="2736" y="66042"/>
                        <a:pt x="2736" y="66042"/>
                        <a:pt x="2736" y="66042"/>
                      </a:cubicBezTo>
                      <a:cubicBezTo>
                        <a:pt x="2736" y="66042"/>
                        <a:pt x="1758" y="68290"/>
                        <a:pt x="1758" y="68571"/>
                      </a:cubicBezTo>
                      <a:cubicBezTo>
                        <a:pt x="1758" y="68852"/>
                        <a:pt x="1758" y="69976"/>
                        <a:pt x="1758" y="69976"/>
                      </a:cubicBezTo>
                      <a:cubicBezTo>
                        <a:pt x="2540" y="71100"/>
                        <a:pt x="2540" y="71100"/>
                        <a:pt x="2540" y="71100"/>
                      </a:cubicBezTo>
                      <a:cubicBezTo>
                        <a:pt x="2540" y="72224"/>
                        <a:pt x="2540" y="72224"/>
                        <a:pt x="2540" y="72224"/>
                      </a:cubicBezTo>
                      <a:cubicBezTo>
                        <a:pt x="2540" y="72224"/>
                        <a:pt x="2540" y="73067"/>
                        <a:pt x="2736" y="73348"/>
                      </a:cubicBezTo>
                      <a:cubicBezTo>
                        <a:pt x="2931" y="73348"/>
                        <a:pt x="2931" y="73348"/>
                        <a:pt x="2931" y="73348"/>
                      </a:cubicBezTo>
                      <a:cubicBezTo>
                        <a:pt x="2736" y="74192"/>
                        <a:pt x="2736" y="74192"/>
                        <a:pt x="2736" y="74192"/>
                      </a:cubicBezTo>
                      <a:cubicBezTo>
                        <a:pt x="2736" y="74192"/>
                        <a:pt x="2931" y="75035"/>
                        <a:pt x="3127" y="75035"/>
                      </a:cubicBezTo>
                      <a:cubicBezTo>
                        <a:pt x="3127" y="75035"/>
                        <a:pt x="3517" y="75316"/>
                        <a:pt x="3517" y="75316"/>
                      </a:cubicBezTo>
                      <a:cubicBezTo>
                        <a:pt x="3517" y="75316"/>
                        <a:pt x="3908" y="75878"/>
                        <a:pt x="3908" y="75878"/>
                      </a:cubicBezTo>
                      <a:cubicBezTo>
                        <a:pt x="4104" y="76159"/>
                        <a:pt x="3908" y="76721"/>
                        <a:pt x="3908" y="76721"/>
                      </a:cubicBezTo>
                      <a:cubicBezTo>
                        <a:pt x="3908" y="76721"/>
                        <a:pt x="3908" y="77002"/>
                        <a:pt x="3713" y="77002"/>
                      </a:cubicBezTo>
                      <a:cubicBezTo>
                        <a:pt x="3517" y="77002"/>
                        <a:pt x="3517" y="77002"/>
                        <a:pt x="3127" y="77002"/>
                      </a:cubicBezTo>
                      <a:cubicBezTo>
                        <a:pt x="3127" y="76721"/>
                        <a:pt x="3127" y="76721"/>
                        <a:pt x="2931" y="76721"/>
                      </a:cubicBezTo>
                      <a:cubicBezTo>
                        <a:pt x="2540" y="76721"/>
                        <a:pt x="2540" y="76721"/>
                        <a:pt x="2540" y="76721"/>
                      </a:cubicBezTo>
                      <a:cubicBezTo>
                        <a:pt x="2345" y="76721"/>
                        <a:pt x="2345" y="76721"/>
                        <a:pt x="2149" y="76721"/>
                      </a:cubicBezTo>
                      <a:cubicBezTo>
                        <a:pt x="1954" y="76721"/>
                        <a:pt x="1954" y="76721"/>
                        <a:pt x="1954" y="76721"/>
                      </a:cubicBezTo>
                      <a:cubicBezTo>
                        <a:pt x="1758" y="76721"/>
                        <a:pt x="1758" y="76721"/>
                        <a:pt x="1563" y="77002"/>
                      </a:cubicBezTo>
                      <a:cubicBezTo>
                        <a:pt x="1563" y="77283"/>
                        <a:pt x="1563" y="77283"/>
                        <a:pt x="1563" y="77283"/>
                      </a:cubicBezTo>
                      <a:cubicBezTo>
                        <a:pt x="1563" y="77283"/>
                        <a:pt x="1368" y="77564"/>
                        <a:pt x="1368" y="77845"/>
                      </a:cubicBezTo>
                      <a:cubicBezTo>
                        <a:pt x="1172" y="77845"/>
                        <a:pt x="1172" y="78407"/>
                        <a:pt x="1172" y="78407"/>
                      </a:cubicBezTo>
                      <a:cubicBezTo>
                        <a:pt x="1172" y="78407"/>
                        <a:pt x="1172" y="78688"/>
                        <a:pt x="1172" y="78688"/>
                      </a:cubicBezTo>
                      <a:cubicBezTo>
                        <a:pt x="1172" y="78688"/>
                        <a:pt x="1172" y="79250"/>
                        <a:pt x="1172" y="79250"/>
                      </a:cubicBezTo>
                      <a:cubicBezTo>
                        <a:pt x="977" y="79812"/>
                        <a:pt x="977" y="79812"/>
                        <a:pt x="977" y="79812"/>
                      </a:cubicBezTo>
                      <a:cubicBezTo>
                        <a:pt x="977" y="79812"/>
                        <a:pt x="781" y="80093"/>
                        <a:pt x="977" y="80374"/>
                      </a:cubicBezTo>
                      <a:cubicBezTo>
                        <a:pt x="977" y="80374"/>
                        <a:pt x="977" y="80655"/>
                        <a:pt x="977" y="80655"/>
                      </a:cubicBezTo>
                      <a:cubicBezTo>
                        <a:pt x="1172" y="80936"/>
                        <a:pt x="1172" y="80936"/>
                        <a:pt x="1172" y="80936"/>
                      </a:cubicBezTo>
                      <a:cubicBezTo>
                        <a:pt x="781" y="81498"/>
                        <a:pt x="781" y="81498"/>
                        <a:pt x="781" y="81498"/>
                      </a:cubicBezTo>
                      <a:cubicBezTo>
                        <a:pt x="781" y="82060"/>
                        <a:pt x="781" y="82060"/>
                        <a:pt x="781" y="82060"/>
                      </a:cubicBezTo>
                      <a:cubicBezTo>
                        <a:pt x="781" y="82060"/>
                        <a:pt x="977" y="82341"/>
                        <a:pt x="781" y="82622"/>
                      </a:cubicBezTo>
                      <a:cubicBezTo>
                        <a:pt x="781" y="82622"/>
                        <a:pt x="586" y="82903"/>
                        <a:pt x="586" y="82903"/>
                      </a:cubicBezTo>
                      <a:cubicBezTo>
                        <a:pt x="586" y="82903"/>
                        <a:pt x="195" y="83466"/>
                        <a:pt x="195" y="83466"/>
                      </a:cubicBezTo>
                      <a:cubicBezTo>
                        <a:pt x="195" y="83466"/>
                        <a:pt x="195" y="83747"/>
                        <a:pt x="195" y="83747"/>
                      </a:cubicBezTo>
                      <a:cubicBezTo>
                        <a:pt x="195" y="83747"/>
                        <a:pt x="0" y="84309"/>
                        <a:pt x="0" y="84309"/>
                      </a:cubicBezTo>
                      <a:cubicBezTo>
                        <a:pt x="0" y="84309"/>
                        <a:pt x="0" y="85152"/>
                        <a:pt x="0" y="85152"/>
                      </a:cubicBezTo>
                      <a:cubicBezTo>
                        <a:pt x="0" y="85152"/>
                        <a:pt x="195" y="85433"/>
                        <a:pt x="195" y="85433"/>
                      </a:cubicBezTo>
                      <a:cubicBezTo>
                        <a:pt x="195" y="85433"/>
                        <a:pt x="195" y="85714"/>
                        <a:pt x="195" y="85995"/>
                      </a:cubicBezTo>
                      <a:cubicBezTo>
                        <a:pt x="0" y="85995"/>
                        <a:pt x="195" y="86276"/>
                        <a:pt x="195" y="86557"/>
                      </a:cubicBezTo>
                      <a:cubicBezTo>
                        <a:pt x="195" y="86557"/>
                        <a:pt x="195" y="86838"/>
                        <a:pt x="195" y="86838"/>
                      </a:cubicBezTo>
                      <a:cubicBezTo>
                        <a:pt x="0" y="87400"/>
                        <a:pt x="0" y="87400"/>
                        <a:pt x="0" y="87400"/>
                      </a:cubicBezTo>
                      <a:cubicBezTo>
                        <a:pt x="0" y="87400"/>
                        <a:pt x="0" y="87400"/>
                        <a:pt x="0" y="87400"/>
                      </a:cubicBezTo>
                      <a:cubicBezTo>
                        <a:pt x="0" y="87681"/>
                        <a:pt x="0" y="87681"/>
                        <a:pt x="0" y="87681"/>
                      </a:cubicBezTo>
                      <a:cubicBezTo>
                        <a:pt x="0" y="88243"/>
                        <a:pt x="0" y="88243"/>
                        <a:pt x="0" y="88243"/>
                      </a:cubicBezTo>
                      <a:cubicBezTo>
                        <a:pt x="390" y="88243"/>
                        <a:pt x="390" y="88243"/>
                        <a:pt x="390" y="88243"/>
                      </a:cubicBezTo>
                      <a:cubicBezTo>
                        <a:pt x="586" y="87962"/>
                        <a:pt x="586" y="87962"/>
                        <a:pt x="586" y="87962"/>
                      </a:cubicBezTo>
                      <a:cubicBezTo>
                        <a:pt x="1563" y="87400"/>
                        <a:pt x="1563" y="87400"/>
                        <a:pt x="1563" y="87400"/>
                      </a:cubicBezTo>
                      <a:cubicBezTo>
                        <a:pt x="2149" y="88243"/>
                        <a:pt x="2149" y="88243"/>
                        <a:pt x="2149" y="88243"/>
                      </a:cubicBezTo>
                      <a:cubicBezTo>
                        <a:pt x="2736" y="89086"/>
                        <a:pt x="2736" y="89086"/>
                        <a:pt x="2736" y="89086"/>
                      </a:cubicBezTo>
                      <a:cubicBezTo>
                        <a:pt x="3713" y="89086"/>
                        <a:pt x="3713" y="89086"/>
                        <a:pt x="3713" y="89086"/>
                      </a:cubicBezTo>
                      <a:cubicBezTo>
                        <a:pt x="4299" y="90210"/>
                        <a:pt x="4299" y="90210"/>
                        <a:pt x="4299" y="90210"/>
                      </a:cubicBezTo>
                      <a:cubicBezTo>
                        <a:pt x="4885" y="91053"/>
                        <a:pt x="4885" y="91053"/>
                        <a:pt x="4885" y="91053"/>
                      </a:cubicBezTo>
                      <a:cubicBezTo>
                        <a:pt x="5863" y="90772"/>
                        <a:pt x="5863" y="90772"/>
                        <a:pt x="5863" y="90772"/>
                      </a:cubicBezTo>
                      <a:cubicBezTo>
                        <a:pt x="6840" y="91615"/>
                        <a:pt x="6840" y="91615"/>
                        <a:pt x="6840" y="91615"/>
                      </a:cubicBezTo>
                      <a:cubicBezTo>
                        <a:pt x="6644" y="92459"/>
                        <a:pt x="6644" y="92459"/>
                        <a:pt x="6644" y="92459"/>
                      </a:cubicBezTo>
                      <a:cubicBezTo>
                        <a:pt x="6644" y="92459"/>
                        <a:pt x="7426" y="91053"/>
                        <a:pt x="7622" y="90772"/>
                      </a:cubicBezTo>
                      <a:cubicBezTo>
                        <a:pt x="7817" y="90491"/>
                        <a:pt x="8599" y="90210"/>
                        <a:pt x="8599" y="90210"/>
                      </a:cubicBezTo>
                      <a:cubicBezTo>
                        <a:pt x="8599" y="90210"/>
                        <a:pt x="8990" y="90772"/>
                        <a:pt x="9381" y="91053"/>
                      </a:cubicBezTo>
                      <a:cubicBezTo>
                        <a:pt x="9967" y="91053"/>
                        <a:pt x="9967" y="91053"/>
                        <a:pt x="9967" y="91053"/>
                      </a:cubicBezTo>
                      <a:cubicBezTo>
                        <a:pt x="10358" y="91053"/>
                        <a:pt x="11921" y="90772"/>
                        <a:pt x="11921" y="90772"/>
                      </a:cubicBezTo>
                      <a:cubicBezTo>
                        <a:pt x="14071" y="91053"/>
                        <a:pt x="14071" y="91053"/>
                        <a:pt x="14071" y="91053"/>
                      </a:cubicBezTo>
                      <a:cubicBezTo>
                        <a:pt x="15244" y="90210"/>
                        <a:pt x="15244" y="90210"/>
                        <a:pt x="15244" y="90210"/>
                      </a:cubicBezTo>
                      <a:cubicBezTo>
                        <a:pt x="17589" y="90491"/>
                        <a:pt x="17589" y="90491"/>
                        <a:pt x="17589" y="90491"/>
                      </a:cubicBezTo>
                      <a:cubicBezTo>
                        <a:pt x="17980" y="90210"/>
                        <a:pt x="17980" y="90210"/>
                        <a:pt x="17980" y="90210"/>
                      </a:cubicBezTo>
                      <a:cubicBezTo>
                        <a:pt x="18175" y="90491"/>
                        <a:pt x="18175" y="90491"/>
                        <a:pt x="18175" y="90491"/>
                      </a:cubicBezTo>
                      <a:cubicBezTo>
                        <a:pt x="18957" y="90210"/>
                        <a:pt x="18957" y="90210"/>
                        <a:pt x="18957" y="90210"/>
                      </a:cubicBezTo>
                      <a:cubicBezTo>
                        <a:pt x="19739" y="91334"/>
                        <a:pt x="19739" y="91334"/>
                        <a:pt x="19739" y="91334"/>
                      </a:cubicBezTo>
                      <a:cubicBezTo>
                        <a:pt x="21302" y="91053"/>
                        <a:pt x="21302" y="91053"/>
                        <a:pt x="21302" y="91053"/>
                      </a:cubicBezTo>
                      <a:cubicBezTo>
                        <a:pt x="22280" y="89086"/>
                        <a:pt x="22280" y="89086"/>
                        <a:pt x="22280" y="89086"/>
                      </a:cubicBezTo>
                      <a:cubicBezTo>
                        <a:pt x="22280" y="89086"/>
                        <a:pt x="22866" y="88243"/>
                        <a:pt x="23648" y="87962"/>
                      </a:cubicBezTo>
                      <a:cubicBezTo>
                        <a:pt x="24429" y="87962"/>
                        <a:pt x="25798" y="87119"/>
                        <a:pt x="25798" y="87119"/>
                      </a:cubicBezTo>
                      <a:lnTo>
                        <a:pt x="27557" y="8571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8" name="Shape 2050"/>
                <p:cNvSpPr/>
                <p:nvPr/>
              </p:nvSpPr>
              <p:spPr>
                <a:xfrm>
                  <a:off x="5078737" y="538527"/>
                  <a:ext cx="643166" cy="1694015"/>
                </a:xfrm>
                <a:custGeom>
                  <a:avLst/>
                  <a:gdLst/>
                  <a:ahLst/>
                  <a:cxnLst/>
                  <a:rect l="0" t="0" r="0" b="0"/>
                  <a:pathLst>
                    <a:path w="120000" h="120000" extrusionOk="0">
                      <a:moveTo>
                        <a:pt x="108510" y="13785"/>
                      </a:moveTo>
                      <a:cubicBezTo>
                        <a:pt x="108510" y="13629"/>
                        <a:pt x="108510" y="13629"/>
                        <a:pt x="108510" y="13629"/>
                      </a:cubicBezTo>
                      <a:cubicBezTo>
                        <a:pt x="108510" y="13629"/>
                        <a:pt x="107659" y="13002"/>
                        <a:pt x="108085" y="12689"/>
                      </a:cubicBezTo>
                      <a:cubicBezTo>
                        <a:pt x="108085" y="12689"/>
                        <a:pt x="108085" y="12689"/>
                        <a:pt x="108085" y="12532"/>
                      </a:cubicBezTo>
                      <a:cubicBezTo>
                        <a:pt x="108085" y="12375"/>
                        <a:pt x="108085" y="12375"/>
                        <a:pt x="108085" y="12375"/>
                      </a:cubicBezTo>
                      <a:cubicBezTo>
                        <a:pt x="106382" y="12532"/>
                        <a:pt x="106382" y="12532"/>
                        <a:pt x="106382" y="12532"/>
                      </a:cubicBezTo>
                      <a:cubicBezTo>
                        <a:pt x="105106" y="11906"/>
                        <a:pt x="105106" y="11906"/>
                        <a:pt x="105106" y="11906"/>
                      </a:cubicBezTo>
                      <a:cubicBezTo>
                        <a:pt x="105531" y="11122"/>
                        <a:pt x="105531" y="11122"/>
                        <a:pt x="105531" y="11122"/>
                      </a:cubicBezTo>
                      <a:cubicBezTo>
                        <a:pt x="104680" y="9242"/>
                        <a:pt x="104680" y="9242"/>
                        <a:pt x="104680" y="9242"/>
                      </a:cubicBezTo>
                      <a:cubicBezTo>
                        <a:pt x="105531" y="8302"/>
                        <a:pt x="105531" y="8302"/>
                        <a:pt x="105531" y="8302"/>
                      </a:cubicBezTo>
                      <a:cubicBezTo>
                        <a:pt x="102978" y="7832"/>
                        <a:pt x="102978" y="7832"/>
                        <a:pt x="102978" y="7832"/>
                      </a:cubicBezTo>
                      <a:cubicBezTo>
                        <a:pt x="101276" y="6892"/>
                        <a:pt x="101276" y="6892"/>
                        <a:pt x="101276" y="6892"/>
                      </a:cubicBezTo>
                      <a:cubicBezTo>
                        <a:pt x="101276" y="6892"/>
                        <a:pt x="100851" y="7206"/>
                        <a:pt x="100425" y="7049"/>
                      </a:cubicBezTo>
                      <a:cubicBezTo>
                        <a:pt x="100000" y="6892"/>
                        <a:pt x="97872" y="5639"/>
                        <a:pt x="97872" y="5639"/>
                      </a:cubicBezTo>
                      <a:cubicBezTo>
                        <a:pt x="94042" y="5169"/>
                        <a:pt x="94042" y="5169"/>
                        <a:pt x="94042" y="5169"/>
                      </a:cubicBezTo>
                      <a:cubicBezTo>
                        <a:pt x="92340" y="4856"/>
                        <a:pt x="92340" y="4856"/>
                        <a:pt x="92340" y="4856"/>
                      </a:cubicBezTo>
                      <a:cubicBezTo>
                        <a:pt x="90212" y="4699"/>
                        <a:pt x="90212" y="4699"/>
                        <a:pt x="90212" y="4699"/>
                      </a:cubicBezTo>
                      <a:cubicBezTo>
                        <a:pt x="90212" y="4699"/>
                        <a:pt x="89787" y="5013"/>
                        <a:pt x="89361" y="4699"/>
                      </a:cubicBezTo>
                      <a:cubicBezTo>
                        <a:pt x="88936" y="4386"/>
                        <a:pt x="88085" y="4073"/>
                        <a:pt x="88085" y="4073"/>
                      </a:cubicBezTo>
                      <a:cubicBezTo>
                        <a:pt x="86382" y="4229"/>
                        <a:pt x="86382" y="4229"/>
                        <a:pt x="86382" y="4229"/>
                      </a:cubicBezTo>
                      <a:cubicBezTo>
                        <a:pt x="85106" y="3603"/>
                        <a:pt x="85106" y="3603"/>
                        <a:pt x="85106" y="3603"/>
                      </a:cubicBezTo>
                      <a:cubicBezTo>
                        <a:pt x="85106" y="3603"/>
                        <a:pt x="84680" y="3603"/>
                        <a:pt x="84255" y="3603"/>
                      </a:cubicBezTo>
                      <a:cubicBezTo>
                        <a:pt x="83829" y="3446"/>
                        <a:pt x="82978" y="3289"/>
                        <a:pt x="82978" y="3289"/>
                      </a:cubicBezTo>
                      <a:cubicBezTo>
                        <a:pt x="81702" y="2506"/>
                        <a:pt x="81702" y="2506"/>
                        <a:pt x="81702" y="2506"/>
                      </a:cubicBezTo>
                      <a:cubicBezTo>
                        <a:pt x="80000" y="2193"/>
                        <a:pt x="80000" y="2193"/>
                        <a:pt x="80000" y="2193"/>
                      </a:cubicBezTo>
                      <a:cubicBezTo>
                        <a:pt x="77872" y="1879"/>
                        <a:pt x="77872" y="1879"/>
                        <a:pt x="77872" y="1879"/>
                      </a:cubicBezTo>
                      <a:cubicBezTo>
                        <a:pt x="77872" y="1253"/>
                        <a:pt x="77872" y="1253"/>
                        <a:pt x="77872" y="1253"/>
                      </a:cubicBezTo>
                      <a:cubicBezTo>
                        <a:pt x="74893" y="626"/>
                        <a:pt x="74893" y="626"/>
                        <a:pt x="74893" y="626"/>
                      </a:cubicBezTo>
                      <a:cubicBezTo>
                        <a:pt x="74893" y="626"/>
                        <a:pt x="74468" y="313"/>
                        <a:pt x="74893" y="313"/>
                      </a:cubicBezTo>
                      <a:cubicBezTo>
                        <a:pt x="75319" y="156"/>
                        <a:pt x="76595" y="156"/>
                        <a:pt x="77446" y="156"/>
                      </a:cubicBezTo>
                      <a:cubicBezTo>
                        <a:pt x="75319" y="0"/>
                        <a:pt x="75319" y="0"/>
                        <a:pt x="75319" y="0"/>
                      </a:cubicBezTo>
                      <a:cubicBezTo>
                        <a:pt x="72765" y="783"/>
                        <a:pt x="72765" y="783"/>
                        <a:pt x="72765" y="783"/>
                      </a:cubicBezTo>
                      <a:cubicBezTo>
                        <a:pt x="71489" y="783"/>
                        <a:pt x="71489" y="783"/>
                        <a:pt x="71489" y="783"/>
                      </a:cubicBezTo>
                      <a:cubicBezTo>
                        <a:pt x="71489" y="783"/>
                        <a:pt x="70638" y="939"/>
                        <a:pt x="70638" y="1096"/>
                      </a:cubicBezTo>
                      <a:cubicBezTo>
                        <a:pt x="71063" y="1253"/>
                        <a:pt x="71914" y="2663"/>
                        <a:pt x="72340" y="2976"/>
                      </a:cubicBezTo>
                      <a:cubicBezTo>
                        <a:pt x="72765" y="3133"/>
                        <a:pt x="72765" y="4229"/>
                        <a:pt x="71063" y="5013"/>
                      </a:cubicBezTo>
                      <a:cubicBezTo>
                        <a:pt x="72765" y="5639"/>
                        <a:pt x="72765" y="5639"/>
                        <a:pt x="72765" y="5639"/>
                      </a:cubicBezTo>
                      <a:cubicBezTo>
                        <a:pt x="71063" y="6422"/>
                        <a:pt x="71063" y="6422"/>
                        <a:pt x="71063" y="6422"/>
                      </a:cubicBezTo>
                      <a:cubicBezTo>
                        <a:pt x="68510" y="6579"/>
                        <a:pt x="68510" y="6579"/>
                        <a:pt x="68510" y="6579"/>
                      </a:cubicBezTo>
                      <a:cubicBezTo>
                        <a:pt x="68510" y="6579"/>
                        <a:pt x="65957" y="6422"/>
                        <a:pt x="65531" y="6266"/>
                      </a:cubicBezTo>
                      <a:cubicBezTo>
                        <a:pt x="65106" y="6109"/>
                        <a:pt x="62978" y="5796"/>
                        <a:pt x="62553" y="5796"/>
                      </a:cubicBezTo>
                      <a:cubicBezTo>
                        <a:pt x="61702" y="5953"/>
                        <a:pt x="55744" y="5796"/>
                        <a:pt x="55744" y="5796"/>
                      </a:cubicBezTo>
                      <a:cubicBezTo>
                        <a:pt x="54468" y="6422"/>
                        <a:pt x="54893" y="9712"/>
                        <a:pt x="55319" y="10182"/>
                      </a:cubicBezTo>
                      <a:cubicBezTo>
                        <a:pt x="54468" y="10809"/>
                        <a:pt x="54468" y="10809"/>
                        <a:pt x="54468" y="10809"/>
                      </a:cubicBezTo>
                      <a:cubicBezTo>
                        <a:pt x="52340" y="10809"/>
                        <a:pt x="52340" y="10809"/>
                        <a:pt x="52340" y="10809"/>
                      </a:cubicBezTo>
                      <a:cubicBezTo>
                        <a:pt x="48085" y="10026"/>
                        <a:pt x="48085" y="10026"/>
                        <a:pt x="48085" y="10026"/>
                      </a:cubicBezTo>
                      <a:cubicBezTo>
                        <a:pt x="46382" y="11279"/>
                        <a:pt x="46382" y="11279"/>
                        <a:pt x="46382" y="11279"/>
                      </a:cubicBezTo>
                      <a:cubicBezTo>
                        <a:pt x="46382" y="11279"/>
                        <a:pt x="44680" y="11906"/>
                        <a:pt x="44680" y="12219"/>
                      </a:cubicBezTo>
                      <a:cubicBezTo>
                        <a:pt x="44680" y="12375"/>
                        <a:pt x="43829" y="13002"/>
                        <a:pt x="43829" y="13002"/>
                      </a:cubicBezTo>
                      <a:cubicBezTo>
                        <a:pt x="43829" y="13159"/>
                        <a:pt x="43829" y="14255"/>
                        <a:pt x="43829" y="14255"/>
                      </a:cubicBezTo>
                      <a:cubicBezTo>
                        <a:pt x="42978" y="14882"/>
                        <a:pt x="42978" y="14882"/>
                        <a:pt x="42978" y="14882"/>
                      </a:cubicBezTo>
                      <a:cubicBezTo>
                        <a:pt x="40425" y="15509"/>
                        <a:pt x="40425" y="15509"/>
                        <a:pt x="40425" y="15509"/>
                      </a:cubicBezTo>
                      <a:cubicBezTo>
                        <a:pt x="40425" y="16292"/>
                        <a:pt x="40425" y="16292"/>
                        <a:pt x="40425" y="16292"/>
                      </a:cubicBezTo>
                      <a:cubicBezTo>
                        <a:pt x="40425" y="16292"/>
                        <a:pt x="41702" y="17232"/>
                        <a:pt x="42553" y="17389"/>
                      </a:cubicBezTo>
                      <a:cubicBezTo>
                        <a:pt x="42978" y="17702"/>
                        <a:pt x="43829" y="18955"/>
                        <a:pt x="43829" y="18955"/>
                      </a:cubicBezTo>
                      <a:cubicBezTo>
                        <a:pt x="43829" y="18955"/>
                        <a:pt x="42553" y="20052"/>
                        <a:pt x="42127" y="20365"/>
                      </a:cubicBezTo>
                      <a:cubicBezTo>
                        <a:pt x="41702" y="20678"/>
                        <a:pt x="38297" y="22245"/>
                        <a:pt x="38297" y="22245"/>
                      </a:cubicBezTo>
                      <a:cubicBezTo>
                        <a:pt x="36170" y="24281"/>
                        <a:pt x="36170" y="24281"/>
                        <a:pt x="36170" y="24281"/>
                      </a:cubicBezTo>
                      <a:cubicBezTo>
                        <a:pt x="36170" y="25691"/>
                        <a:pt x="36170" y="25691"/>
                        <a:pt x="36170" y="25691"/>
                      </a:cubicBezTo>
                      <a:cubicBezTo>
                        <a:pt x="35744" y="26475"/>
                        <a:pt x="35744" y="26475"/>
                        <a:pt x="35744" y="26475"/>
                      </a:cubicBezTo>
                      <a:cubicBezTo>
                        <a:pt x="32765" y="27571"/>
                        <a:pt x="32765" y="27571"/>
                        <a:pt x="32765" y="27571"/>
                      </a:cubicBezTo>
                      <a:cubicBezTo>
                        <a:pt x="28936" y="27728"/>
                        <a:pt x="28936" y="27728"/>
                        <a:pt x="28936" y="27728"/>
                      </a:cubicBezTo>
                      <a:cubicBezTo>
                        <a:pt x="27659" y="28198"/>
                        <a:pt x="27659" y="28198"/>
                        <a:pt x="27659" y="28198"/>
                      </a:cubicBezTo>
                      <a:cubicBezTo>
                        <a:pt x="29787" y="30861"/>
                        <a:pt x="29787" y="30861"/>
                        <a:pt x="29787" y="30861"/>
                      </a:cubicBezTo>
                      <a:cubicBezTo>
                        <a:pt x="28936" y="32114"/>
                        <a:pt x="28936" y="32114"/>
                        <a:pt x="28936" y="32114"/>
                      </a:cubicBezTo>
                      <a:cubicBezTo>
                        <a:pt x="28510" y="33211"/>
                        <a:pt x="28510" y="33211"/>
                        <a:pt x="28510" y="33211"/>
                      </a:cubicBezTo>
                      <a:cubicBezTo>
                        <a:pt x="28510" y="33211"/>
                        <a:pt x="27659" y="34151"/>
                        <a:pt x="28085" y="34308"/>
                      </a:cubicBezTo>
                      <a:cubicBezTo>
                        <a:pt x="28510" y="34621"/>
                        <a:pt x="28936" y="35248"/>
                        <a:pt x="28936" y="35248"/>
                      </a:cubicBezTo>
                      <a:cubicBezTo>
                        <a:pt x="27234" y="35718"/>
                        <a:pt x="27234" y="35718"/>
                        <a:pt x="27234" y="35718"/>
                      </a:cubicBezTo>
                      <a:cubicBezTo>
                        <a:pt x="27659" y="36657"/>
                        <a:pt x="27659" y="36657"/>
                        <a:pt x="27659" y="36657"/>
                      </a:cubicBezTo>
                      <a:cubicBezTo>
                        <a:pt x="21276" y="40731"/>
                        <a:pt x="21276" y="40731"/>
                        <a:pt x="21276" y="40731"/>
                      </a:cubicBezTo>
                      <a:cubicBezTo>
                        <a:pt x="22127" y="41514"/>
                        <a:pt x="22127" y="41514"/>
                        <a:pt x="22127" y="41514"/>
                      </a:cubicBezTo>
                      <a:cubicBezTo>
                        <a:pt x="25957" y="41827"/>
                        <a:pt x="25957" y="41827"/>
                        <a:pt x="25957" y="41827"/>
                      </a:cubicBezTo>
                      <a:cubicBezTo>
                        <a:pt x="26382" y="44334"/>
                        <a:pt x="26382" y="44334"/>
                        <a:pt x="26382" y="44334"/>
                      </a:cubicBezTo>
                      <a:cubicBezTo>
                        <a:pt x="25106" y="45430"/>
                        <a:pt x="25106" y="45430"/>
                        <a:pt x="25106" y="45430"/>
                      </a:cubicBezTo>
                      <a:cubicBezTo>
                        <a:pt x="24680" y="45744"/>
                        <a:pt x="24680" y="45744"/>
                        <a:pt x="24680" y="45744"/>
                      </a:cubicBezTo>
                      <a:cubicBezTo>
                        <a:pt x="14468" y="45900"/>
                        <a:pt x="14468" y="45900"/>
                        <a:pt x="14468" y="45900"/>
                      </a:cubicBezTo>
                      <a:cubicBezTo>
                        <a:pt x="8936" y="48563"/>
                        <a:pt x="8936" y="48563"/>
                        <a:pt x="8936" y="48563"/>
                      </a:cubicBezTo>
                      <a:cubicBezTo>
                        <a:pt x="8085" y="50130"/>
                        <a:pt x="8085" y="50130"/>
                        <a:pt x="8085" y="50130"/>
                      </a:cubicBezTo>
                      <a:cubicBezTo>
                        <a:pt x="7659" y="51227"/>
                        <a:pt x="7659" y="51227"/>
                        <a:pt x="7659" y="51227"/>
                      </a:cubicBezTo>
                      <a:cubicBezTo>
                        <a:pt x="7659" y="51227"/>
                        <a:pt x="6382" y="51853"/>
                        <a:pt x="6382" y="52167"/>
                      </a:cubicBezTo>
                      <a:cubicBezTo>
                        <a:pt x="6382" y="52323"/>
                        <a:pt x="6382" y="53263"/>
                        <a:pt x="6382" y="53263"/>
                      </a:cubicBezTo>
                      <a:cubicBezTo>
                        <a:pt x="8085" y="54516"/>
                        <a:pt x="8085" y="54516"/>
                        <a:pt x="8085" y="54516"/>
                      </a:cubicBezTo>
                      <a:cubicBezTo>
                        <a:pt x="8085" y="55456"/>
                        <a:pt x="8085" y="55456"/>
                        <a:pt x="8085" y="55456"/>
                      </a:cubicBezTo>
                      <a:cubicBezTo>
                        <a:pt x="7234" y="55926"/>
                        <a:pt x="7234" y="55926"/>
                        <a:pt x="7234" y="55926"/>
                      </a:cubicBezTo>
                      <a:cubicBezTo>
                        <a:pt x="7659" y="57023"/>
                        <a:pt x="7659" y="57023"/>
                        <a:pt x="7659" y="57023"/>
                      </a:cubicBezTo>
                      <a:cubicBezTo>
                        <a:pt x="7659" y="57023"/>
                        <a:pt x="8085" y="57336"/>
                        <a:pt x="7659" y="57493"/>
                      </a:cubicBezTo>
                      <a:cubicBezTo>
                        <a:pt x="6808" y="57806"/>
                        <a:pt x="6808" y="58120"/>
                        <a:pt x="7234" y="58433"/>
                      </a:cubicBezTo>
                      <a:cubicBezTo>
                        <a:pt x="7234" y="58590"/>
                        <a:pt x="10212" y="60626"/>
                        <a:pt x="10212" y="60626"/>
                      </a:cubicBezTo>
                      <a:cubicBezTo>
                        <a:pt x="10638" y="65483"/>
                        <a:pt x="10638" y="65483"/>
                        <a:pt x="10638" y="65483"/>
                      </a:cubicBezTo>
                      <a:cubicBezTo>
                        <a:pt x="11914" y="66736"/>
                        <a:pt x="11914" y="66736"/>
                        <a:pt x="11914" y="66736"/>
                      </a:cubicBezTo>
                      <a:cubicBezTo>
                        <a:pt x="14893" y="67519"/>
                        <a:pt x="14893" y="67519"/>
                        <a:pt x="14893" y="67519"/>
                      </a:cubicBezTo>
                      <a:cubicBezTo>
                        <a:pt x="17446" y="68302"/>
                        <a:pt x="17446" y="68302"/>
                        <a:pt x="17446" y="68302"/>
                      </a:cubicBezTo>
                      <a:cubicBezTo>
                        <a:pt x="17872" y="69712"/>
                        <a:pt x="17872" y="69712"/>
                        <a:pt x="17872" y="69712"/>
                      </a:cubicBezTo>
                      <a:cubicBezTo>
                        <a:pt x="17872" y="69712"/>
                        <a:pt x="17021" y="70809"/>
                        <a:pt x="17021" y="70966"/>
                      </a:cubicBezTo>
                      <a:cubicBezTo>
                        <a:pt x="17446" y="71122"/>
                        <a:pt x="14893" y="71122"/>
                        <a:pt x="14893" y="71122"/>
                      </a:cubicBezTo>
                      <a:cubicBezTo>
                        <a:pt x="12765" y="71279"/>
                        <a:pt x="12765" y="71279"/>
                        <a:pt x="12765" y="71279"/>
                      </a:cubicBezTo>
                      <a:cubicBezTo>
                        <a:pt x="10638" y="72062"/>
                        <a:pt x="10638" y="72062"/>
                        <a:pt x="10638" y="72062"/>
                      </a:cubicBezTo>
                      <a:cubicBezTo>
                        <a:pt x="11489" y="73002"/>
                        <a:pt x="11489" y="73002"/>
                        <a:pt x="11489" y="73002"/>
                      </a:cubicBezTo>
                      <a:cubicBezTo>
                        <a:pt x="12765" y="74412"/>
                        <a:pt x="12765" y="74412"/>
                        <a:pt x="12765" y="74412"/>
                      </a:cubicBezTo>
                      <a:cubicBezTo>
                        <a:pt x="15319" y="75509"/>
                        <a:pt x="15319" y="75509"/>
                        <a:pt x="15319" y="75509"/>
                      </a:cubicBezTo>
                      <a:cubicBezTo>
                        <a:pt x="16170" y="76449"/>
                        <a:pt x="16170" y="76449"/>
                        <a:pt x="16170" y="76449"/>
                      </a:cubicBezTo>
                      <a:cubicBezTo>
                        <a:pt x="14893" y="77389"/>
                        <a:pt x="14893" y="77389"/>
                        <a:pt x="14893" y="77389"/>
                      </a:cubicBezTo>
                      <a:cubicBezTo>
                        <a:pt x="14042" y="77859"/>
                        <a:pt x="14042" y="77859"/>
                        <a:pt x="14042" y="77859"/>
                      </a:cubicBezTo>
                      <a:cubicBezTo>
                        <a:pt x="14893" y="78642"/>
                        <a:pt x="14893" y="78642"/>
                        <a:pt x="14893" y="78642"/>
                      </a:cubicBezTo>
                      <a:cubicBezTo>
                        <a:pt x="14893" y="79425"/>
                        <a:pt x="14893" y="79425"/>
                        <a:pt x="14893" y="79425"/>
                      </a:cubicBezTo>
                      <a:cubicBezTo>
                        <a:pt x="14893" y="79425"/>
                        <a:pt x="14042" y="79895"/>
                        <a:pt x="14042" y="80052"/>
                      </a:cubicBezTo>
                      <a:cubicBezTo>
                        <a:pt x="14042" y="80208"/>
                        <a:pt x="12340" y="80678"/>
                        <a:pt x="12340" y="80678"/>
                      </a:cubicBezTo>
                      <a:cubicBezTo>
                        <a:pt x="11063" y="81148"/>
                        <a:pt x="11063" y="81148"/>
                        <a:pt x="11063" y="81148"/>
                      </a:cubicBezTo>
                      <a:cubicBezTo>
                        <a:pt x="9787" y="81305"/>
                        <a:pt x="9787" y="81305"/>
                        <a:pt x="9787" y="81305"/>
                      </a:cubicBezTo>
                      <a:cubicBezTo>
                        <a:pt x="9787" y="81305"/>
                        <a:pt x="8936" y="81148"/>
                        <a:pt x="8510" y="81305"/>
                      </a:cubicBezTo>
                      <a:cubicBezTo>
                        <a:pt x="8510" y="81305"/>
                        <a:pt x="7659" y="81618"/>
                        <a:pt x="7659" y="81618"/>
                      </a:cubicBezTo>
                      <a:cubicBezTo>
                        <a:pt x="7659" y="82088"/>
                        <a:pt x="7659" y="82088"/>
                        <a:pt x="7659" y="82088"/>
                      </a:cubicBezTo>
                      <a:cubicBezTo>
                        <a:pt x="8510" y="82402"/>
                        <a:pt x="8510" y="82402"/>
                        <a:pt x="8510" y="82402"/>
                      </a:cubicBezTo>
                      <a:cubicBezTo>
                        <a:pt x="8085" y="83185"/>
                        <a:pt x="8085" y="83185"/>
                        <a:pt x="8085" y="83185"/>
                      </a:cubicBezTo>
                      <a:cubicBezTo>
                        <a:pt x="6808" y="83655"/>
                        <a:pt x="6808" y="83655"/>
                        <a:pt x="6808" y="83655"/>
                      </a:cubicBezTo>
                      <a:cubicBezTo>
                        <a:pt x="5531" y="83812"/>
                        <a:pt x="5531" y="83812"/>
                        <a:pt x="5531" y="83812"/>
                      </a:cubicBezTo>
                      <a:cubicBezTo>
                        <a:pt x="6382" y="84751"/>
                        <a:pt x="6382" y="84751"/>
                        <a:pt x="6382" y="84751"/>
                      </a:cubicBezTo>
                      <a:cubicBezTo>
                        <a:pt x="8085" y="85848"/>
                        <a:pt x="8085" y="85848"/>
                        <a:pt x="8085" y="85848"/>
                      </a:cubicBezTo>
                      <a:cubicBezTo>
                        <a:pt x="8085" y="86788"/>
                        <a:pt x="8085" y="86788"/>
                        <a:pt x="8085" y="86788"/>
                      </a:cubicBezTo>
                      <a:cubicBezTo>
                        <a:pt x="6808" y="87728"/>
                        <a:pt x="6808" y="87728"/>
                        <a:pt x="6808" y="87728"/>
                      </a:cubicBezTo>
                      <a:cubicBezTo>
                        <a:pt x="6382" y="88825"/>
                        <a:pt x="6382" y="88825"/>
                        <a:pt x="6382" y="88825"/>
                      </a:cubicBezTo>
                      <a:cubicBezTo>
                        <a:pt x="5957" y="89765"/>
                        <a:pt x="5957" y="89765"/>
                        <a:pt x="5957" y="89765"/>
                      </a:cubicBezTo>
                      <a:cubicBezTo>
                        <a:pt x="5106" y="89921"/>
                        <a:pt x="5106" y="89921"/>
                        <a:pt x="5106" y="89921"/>
                      </a:cubicBezTo>
                      <a:cubicBezTo>
                        <a:pt x="3829" y="89921"/>
                        <a:pt x="3829" y="89921"/>
                        <a:pt x="3829" y="89921"/>
                      </a:cubicBezTo>
                      <a:cubicBezTo>
                        <a:pt x="3829" y="89921"/>
                        <a:pt x="3829" y="88981"/>
                        <a:pt x="3404" y="88825"/>
                      </a:cubicBezTo>
                      <a:cubicBezTo>
                        <a:pt x="3404" y="88825"/>
                        <a:pt x="425" y="87885"/>
                        <a:pt x="425" y="87885"/>
                      </a:cubicBezTo>
                      <a:cubicBezTo>
                        <a:pt x="425" y="88825"/>
                        <a:pt x="425" y="88825"/>
                        <a:pt x="425" y="88825"/>
                      </a:cubicBezTo>
                      <a:cubicBezTo>
                        <a:pt x="0" y="89921"/>
                        <a:pt x="0" y="89921"/>
                        <a:pt x="0" y="89921"/>
                      </a:cubicBezTo>
                      <a:cubicBezTo>
                        <a:pt x="0" y="89921"/>
                        <a:pt x="425" y="90548"/>
                        <a:pt x="851" y="90704"/>
                      </a:cubicBezTo>
                      <a:cubicBezTo>
                        <a:pt x="1276" y="90861"/>
                        <a:pt x="1702" y="91958"/>
                        <a:pt x="1702" y="91958"/>
                      </a:cubicBezTo>
                      <a:cubicBezTo>
                        <a:pt x="1276" y="93054"/>
                        <a:pt x="1276" y="93054"/>
                        <a:pt x="1276" y="93054"/>
                      </a:cubicBezTo>
                      <a:cubicBezTo>
                        <a:pt x="1276" y="93054"/>
                        <a:pt x="2127" y="93838"/>
                        <a:pt x="2127" y="93838"/>
                      </a:cubicBezTo>
                      <a:cubicBezTo>
                        <a:pt x="2127" y="93994"/>
                        <a:pt x="2553" y="94621"/>
                        <a:pt x="2553" y="94621"/>
                      </a:cubicBezTo>
                      <a:cubicBezTo>
                        <a:pt x="4255" y="94464"/>
                        <a:pt x="4255" y="94464"/>
                        <a:pt x="4255" y="94464"/>
                      </a:cubicBezTo>
                      <a:cubicBezTo>
                        <a:pt x="3829" y="93994"/>
                        <a:pt x="3829" y="93994"/>
                        <a:pt x="3829" y="93994"/>
                      </a:cubicBezTo>
                      <a:cubicBezTo>
                        <a:pt x="5106" y="94621"/>
                        <a:pt x="5106" y="94621"/>
                        <a:pt x="5106" y="94621"/>
                      </a:cubicBezTo>
                      <a:cubicBezTo>
                        <a:pt x="5106" y="94621"/>
                        <a:pt x="4255" y="94778"/>
                        <a:pt x="5106" y="94621"/>
                      </a:cubicBezTo>
                      <a:cubicBezTo>
                        <a:pt x="5531" y="94621"/>
                        <a:pt x="6382" y="94308"/>
                        <a:pt x="6382" y="94308"/>
                      </a:cubicBezTo>
                      <a:cubicBezTo>
                        <a:pt x="5957" y="94778"/>
                        <a:pt x="5957" y="94778"/>
                        <a:pt x="5957" y="94778"/>
                      </a:cubicBezTo>
                      <a:cubicBezTo>
                        <a:pt x="5106" y="95404"/>
                        <a:pt x="5106" y="95404"/>
                        <a:pt x="5106" y="95404"/>
                      </a:cubicBezTo>
                      <a:cubicBezTo>
                        <a:pt x="5531" y="95561"/>
                        <a:pt x="5531" y="95561"/>
                        <a:pt x="5531" y="95561"/>
                      </a:cubicBezTo>
                      <a:cubicBezTo>
                        <a:pt x="6808" y="95718"/>
                        <a:pt x="6808" y="95718"/>
                        <a:pt x="6808" y="95718"/>
                      </a:cubicBezTo>
                      <a:cubicBezTo>
                        <a:pt x="5106" y="96501"/>
                        <a:pt x="5106" y="96501"/>
                        <a:pt x="5106" y="96501"/>
                      </a:cubicBezTo>
                      <a:cubicBezTo>
                        <a:pt x="5106" y="96501"/>
                        <a:pt x="5957" y="96971"/>
                        <a:pt x="6382" y="97127"/>
                      </a:cubicBezTo>
                      <a:cubicBezTo>
                        <a:pt x="6382" y="97127"/>
                        <a:pt x="8085" y="96657"/>
                        <a:pt x="8085" y="96657"/>
                      </a:cubicBezTo>
                      <a:cubicBezTo>
                        <a:pt x="8085" y="96657"/>
                        <a:pt x="8085" y="96814"/>
                        <a:pt x="8085" y="96971"/>
                      </a:cubicBezTo>
                      <a:cubicBezTo>
                        <a:pt x="8085" y="96971"/>
                        <a:pt x="6808" y="97441"/>
                        <a:pt x="6808" y="97754"/>
                      </a:cubicBezTo>
                      <a:cubicBezTo>
                        <a:pt x="7234" y="97911"/>
                        <a:pt x="9361" y="97597"/>
                        <a:pt x="8936" y="97754"/>
                      </a:cubicBezTo>
                      <a:cubicBezTo>
                        <a:pt x="8510" y="97911"/>
                        <a:pt x="8510" y="98224"/>
                        <a:pt x="8510" y="98224"/>
                      </a:cubicBezTo>
                      <a:cubicBezTo>
                        <a:pt x="8510" y="98224"/>
                        <a:pt x="7234" y="98694"/>
                        <a:pt x="8085" y="98851"/>
                      </a:cubicBezTo>
                      <a:cubicBezTo>
                        <a:pt x="8510" y="99007"/>
                        <a:pt x="9787" y="99164"/>
                        <a:pt x="9361" y="99164"/>
                      </a:cubicBezTo>
                      <a:cubicBezTo>
                        <a:pt x="9361" y="99321"/>
                        <a:pt x="8085" y="99634"/>
                        <a:pt x="8085" y="99634"/>
                      </a:cubicBezTo>
                      <a:cubicBezTo>
                        <a:pt x="8085" y="99634"/>
                        <a:pt x="7659" y="99947"/>
                        <a:pt x="8085" y="100104"/>
                      </a:cubicBezTo>
                      <a:cubicBezTo>
                        <a:pt x="8510" y="100261"/>
                        <a:pt x="9787" y="100261"/>
                        <a:pt x="9787" y="100261"/>
                      </a:cubicBezTo>
                      <a:cubicBezTo>
                        <a:pt x="9787" y="100261"/>
                        <a:pt x="9787" y="99947"/>
                        <a:pt x="9787" y="100104"/>
                      </a:cubicBezTo>
                      <a:cubicBezTo>
                        <a:pt x="9787" y="100261"/>
                        <a:pt x="9361" y="100574"/>
                        <a:pt x="9361" y="100574"/>
                      </a:cubicBezTo>
                      <a:cubicBezTo>
                        <a:pt x="9361" y="100574"/>
                        <a:pt x="8936" y="100887"/>
                        <a:pt x="9361" y="101044"/>
                      </a:cubicBezTo>
                      <a:cubicBezTo>
                        <a:pt x="9787" y="101044"/>
                        <a:pt x="10638" y="101044"/>
                        <a:pt x="10638" y="101044"/>
                      </a:cubicBezTo>
                      <a:cubicBezTo>
                        <a:pt x="10638" y="101044"/>
                        <a:pt x="10638" y="101201"/>
                        <a:pt x="10638" y="101514"/>
                      </a:cubicBezTo>
                      <a:cubicBezTo>
                        <a:pt x="10638" y="101671"/>
                        <a:pt x="10638" y="102140"/>
                        <a:pt x="10638" y="102140"/>
                      </a:cubicBezTo>
                      <a:cubicBezTo>
                        <a:pt x="10638" y="102297"/>
                        <a:pt x="10638" y="102610"/>
                        <a:pt x="10638" y="102610"/>
                      </a:cubicBezTo>
                      <a:cubicBezTo>
                        <a:pt x="10638" y="102610"/>
                        <a:pt x="10212" y="102767"/>
                        <a:pt x="11489" y="102767"/>
                      </a:cubicBezTo>
                      <a:cubicBezTo>
                        <a:pt x="12340" y="102767"/>
                        <a:pt x="12340" y="102610"/>
                        <a:pt x="12765" y="102610"/>
                      </a:cubicBezTo>
                      <a:cubicBezTo>
                        <a:pt x="13191" y="102610"/>
                        <a:pt x="13191" y="102767"/>
                        <a:pt x="13617" y="102924"/>
                      </a:cubicBezTo>
                      <a:cubicBezTo>
                        <a:pt x="13617" y="103237"/>
                        <a:pt x="13617" y="103394"/>
                        <a:pt x="13617" y="103550"/>
                      </a:cubicBezTo>
                      <a:cubicBezTo>
                        <a:pt x="14042" y="103707"/>
                        <a:pt x="15744" y="105274"/>
                        <a:pt x="15744" y="105274"/>
                      </a:cubicBezTo>
                      <a:cubicBezTo>
                        <a:pt x="15744" y="105274"/>
                        <a:pt x="16170" y="105900"/>
                        <a:pt x="16595" y="106057"/>
                      </a:cubicBezTo>
                      <a:cubicBezTo>
                        <a:pt x="16595" y="106214"/>
                        <a:pt x="17021" y="106370"/>
                        <a:pt x="17446" y="106527"/>
                      </a:cubicBezTo>
                      <a:cubicBezTo>
                        <a:pt x="17446" y="106527"/>
                        <a:pt x="18297" y="106997"/>
                        <a:pt x="18297" y="106997"/>
                      </a:cubicBezTo>
                      <a:cubicBezTo>
                        <a:pt x="19574" y="107310"/>
                        <a:pt x="19574" y="107310"/>
                        <a:pt x="19574" y="107310"/>
                      </a:cubicBezTo>
                      <a:cubicBezTo>
                        <a:pt x="21276" y="108407"/>
                        <a:pt x="21276" y="108407"/>
                        <a:pt x="21276" y="108407"/>
                      </a:cubicBezTo>
                      <a:cubicBezTo>
                        <a:pt x="21276" y="108407"/>
                        <a:pt x="22553" y="108877"/>
                        <a:pt x="22553" y="108877"/>
                      </a:cubicBezTo>
                      <a:cubicBezTo>
                        <a:pt x="22978" y="108877"/>
                        <a:pt x="23829" y="108563"/>
                        <a:pt x="23829" y="108563"/>
                      </a:cubicBezTo>
                      <a:cubicBezTo>
                        <a:pt x="23829" y="108563"/>
                        <a:pt x="25106" y="108720"/>
                        <a:pt x="25106" y="108877"/>
                      </a:cubicBezTo>
                      <a:cubicBezTo>
                        <a:pt x="24680" y="108877"/>
                        <a:pt x="24255" y="109503"/>
                        <a:pt x="24255" y="109660"/>
                      </a:cubicBezTo>
                      <a:cubicBezTo>
                        <a:pt x="24680" y="109817"/>
                        <a:pt x="24680" y="110130"/>
                        <a:pt x="24680" y="110130"/>
                      </a:cubicBezTo>
                      <a:cubicBezTo>
                        <a:pt x="23829" y="110287"/>
                        <a:pt x="23829" y="110287"/>
                        <a:pt x="23829" y="110287"/>
                      </a:cubicBezTo>
                      <a:cubicBezTo>
                        <a:pt x="22978" y="110443"/>
                        <a:pt x="22978" y="110443"/>
                        <a:pt x="22978" y="110443"/>
                      </a:cubicBezTo>
                      <a:cubicBezTo>
                        <a:pt x="21276" y="110443"/>
                        <a:pt x="21276" y="110443"/>
                        <a:pt x="21276" y="110443"/>
                      </a:cubicBezTo>
                      <a:cubicBezTo>
                        <a:pt x="20851" y="111070"/>
                        <a:pt x="20851" y="111070"/>
                        <a:pt x="20851" y="111070"/>
                      </a:cubicBezTo>
                      <a:cubicBezTo>
                        <a:pt x="22553" y="111383"/>
                        <a:pt x="22553" y="111383"/>
                        <a:pt x="22553" y="111383"/>
                      </a:cubicBezTo>
                      <a:cubicBezTo>
                        <a:pt x="22553" y="111383"/>
                        <a:pt x="23404" y="111697"/>
                        <a:pt x="23829" y="111697"/>
                      </a:cubicBezTo>
                      <a:cubicBezTo>
                        <a:pt x="23829" y="111853"/>
                        <a:pt x="23829" y="112480"/>
                        <a:pt x="23829" y="112480"/>
                      </a:cubicBezTo>
                      <a:cubicBezTo>
                        <a:pt x="23404" y="112480"/>
                        <a:pt x="21702" y="112480"/>
                        <a:pt x="21702" y="112480"/>
                      </a:cubicBezTo>
                      <a:cubicBezTo>
                        <a:pt x="21702" y="112480"/>
                        <a:pt x="20851" y="112950"/>
                        <a:pt x="20851" y="112950"/>
                      </a:cubicBezTo>
                      <a:cubicBezTo>
                        <a:pt x="20851" y="113107"/>
                        <a:pt x="20425" y="113107"/>
                        <a:pt x="21276" y="113577"/>
                      </a:cubicBezTo>
                      <a:cubicBezTo>
                        <a:pt x="21702" y="113890"/>
                        <a:pt x="23829" y="114830"/>
                        <a:pt x="23829" y="114830"/>
                      </a:cubicBezTo>
                      <a:cubicBezTo>
                        <a:pt x="23829" y="114830"/>
                        <a:pt x="25531" y="115770"/>
                        <a:pt x="25531" y="115770"/>
                      </a:cubicBezTo>
                      <a:cubicBezTo>
                        <a:pt x="25531" y="115926"/>
                        <a:pt x="26808" y="116553"/>
                        <a:pt x="26808" y="116553"/>
                      </a:cubicBezTo>
                      <a:cubicBezTo>
                        <a:pt x="27234" y="116553"/>
                        <a:pt x="27234" y="117180"/>
                        <a:pt x="27234" y="117180"/>
                      </a:cubicBezTo>
                      <a:cubicBezTo>
                        <a:pt x="26808" y="117493"/>
                        <a:pt x="26808" y="117493"/>
                        <a:pt x="26808" y="117493"/>
                      </a:cubicBezTo>
                      <a:cubicBezTo>
                        <a:pt x="26382" y="117963"/>
                        <a:pt x="26382" y="117963"/>
                        <a:pt x="26382" y="117963"/>
                      </a:cubicBezTo>
                      <a:cubicBezTo>
                        <a:pt x="25957" y="118433"/>
                        <a:pt x="25957" y="118433"/>
                        <a:pt x="25957" y="118433"/>
                      </a:cubicBezTo>
                      <a:cubicBezTo>
                        <a:pt x="26382" y="118746"/>
                        <a:pt x="26382" y="118746"/>
                        <a:pt x="26382" y="118746"/>
                      </a:cubicBezTo>
                      <a:cubicBezTo>
                        <a:pt x="25957" y="119060"/>
                        <a:pt x="25957" y="119060"/>
                        <a:pt x="25957" y="119060"/>
                      </a:cubicBezTo>
                      <a:cubicBezTo>
                        <a:pt x="25106" y="119530"/>
                        <a:pt x="25106" y="119530"/>
                        <a:pt x="25106" y="119530"/>
                      </a:cubicBezTo>
                      <a:cubicBezTo>
                        <a:pt x="27234" y="119686"/>
                        <a:pt x="27234" y="119686"/>
                        <a:pt x="27234" y="119686"/>
                      </a:cubicBezTo>
                      <a:cubicBezTo>
                        <a:pt x="29787" y="119530"/>
                        <a:pt x="29787" y="119530"/>
                        <a:pt x="29787" y="119530"/>
                      </a:cubicBezTo>
                      <a:cubicBezTo>
                        <a:pt x="29787" y="119530"/>
                        <a:pt x="30212" y="119843"/>
                        <a:pt x="30212" y="119843"/>
                      </a:cubicBezTo>
                      <a:cubicBezTo>
                        <a:pt x="30638" y="120000"/>
                        <a:pt x="32765" y="119843"/>
                        <a:pt x="32765" y="119843"/>
                      </a:cubicBezTo>
                      <a:cubicBezTo>
                        <a:pt x="34468" y="119530"/>
                        <a:pt x="34468" y="119530"/>
                        <a:pt x="34468" y="119530"/>
                      </a:cubicBezTo>
                      <a:cubicBezTo>
                        <a:pt x="35744" y="119216"/>
                        <a:pt x="35744" y="119216"/>
                        <a:pt x="35744" y="119216"/>
                      </a:cubicBezTo>
                      <a:cubicBezTo>
                        <a:pt x="35744" y="118903"/>
                        <a:pt x="35744" y="118903"/>
                        <a:pt x="35744" y="118903"/>
                      </a:cubicBezTo>
                      <a:cubicBezTo>
                        <a:pt x="35744" y="118903"/>
                        <a:pt x="36595" y="118433"/>
                        <a:pt x="36595" y="118433"/>
                      </a:cubicBezTo>
                      <a:cubicBezTo>
                        <a:pt x="37021" y="118433"/>
                        <a:pt x="38297" y="118590"/>
                        <a:pt x="38297" y="118590"/>
                      </a:cubicBezTo>
                      <a:cubicBezTo>
                        <a:pt x="38297" y="118590"/>
                        <a:pt x="39574" y="118590"/>
                        <a:pt x="39574" y="118746"/>
                      </a:cubicBezTo>
                      <a:cubicBezTo>
                        <a:pt x="39574" y="118903"/>
                        <a:pt x="40425" y="119060"/>
                        <a:pt x="40425" y="119060"/>
                      </a:cubicBezTo>
                      <a:cubicBezTo>
                        <a:pt x="41702" y="119060"/>
                        <a:pt x="41702" y="119060"/>
                        <a:pt x="41702" y="119060"/>
                      </a:cubicBezTo>
                      <a:cubicBezTo>
                        <a:pt x="42978" y="118903"/>
                        <a:pt x="42978" y="118903"/>
                        <a:pt x="42978" y="118903"/>
                      </a:cubicBezTo>
                      <a:cubicBezTo>
                        <a:pt x="44680" y="118746"/>
                        <a:pt x="44680" y="118746"/>
                        <a:pt x="44680" y="118746"/>
                      </a:cubicBezTo>
                      <a:cubicBezTo>
                        <a:pt x="44680" y="118746"/>
                        <a:pt x="44255" y="118433"/>
                        <a:pt x="44680" y="118433"/>
                      </a:cubicBezTo>
                      <a:cubicBezTo>
                        <a:pt x="45106" y="118433"/>
                        <a:pt x="46382" y="118433"/>
                        <a:pt x="46382" y="118433"/>
                      </a:cubicBezTo>
                      <a:cubicBezTo>
                        <a:pt x="46382" y="118433"/>
                        <a:pt x="46808" y="118746"/>
                        <a:pt x="47234" y="118746"/>
                      </a:cubicBezTo>
                      <a:cubicBezTo>
                        <a:pt x="47234" y="118746"/>
                        <a:pt x="48085" y="118433"/>
                        <a:pt x="47659" y="118276"/>
                      </a:cubicBezTo>
                      <a:cubicBezTo>
                        <a:pt x="47234" y="118120"/>
                        <a:pt x="45531" y="117806"/>
                        <a:pt x="45531" y="117806"/>
                      </a:cubicBezTo>
                      <a:cubicBezTo>
                        <a:pt x="45531" y="117806"/>
                        <a:pt x="44680" y="117336"/>
                        <a:pt x="44680" y="117180"/>
                      </a:cubicBezTo>
                      <a:cubicBezTo>
                        <a:pt x="44255" y="117023"/>
                        <a:pt x="44255" y="116553"/>
                        <a:pt x="43829" y="116396"/>
                      </a:cubicBezTo>
                      <a:cubicBezTo>
                        <a:pt x="43404" y="116396"/>
                        <a:pt x="42978" y="116240"/>
                        <a:pt x="42978" y="115926"/>
                      </a:cubicBezTo>
                      <a:cubicBezTo>
                        <a:pt x="43404" y="115456"/>
                        <a:pt x="43404" y="115300"/>
                        <a:pt x="43404" y="115300"/>
                      </a:cubicBezTo>
                      <a:cubicBezTo>
                        <a:pt x="43404" y="115143"/>
                        <a:pt x="43404" y="114516"/>
                        <a:pt x="43404" y="114516"/>
                      </a:cubicBezTo>
                      <a:cubicBezTo>
                        <a:pt x="43404" y="114516"/>
                        <a:pt x="42978" y="114203"/>
                        <a:pt x="44255" y="113890"/>
                      </a:cubicBezTo>
                      <a:cubicBezTo>
                        <a:pt x="45531" y="113577"/>
                        <a:pt x="45531" y="113263"/>
                        <a:pt x="45957" y="113420"/>
                      </a:cubicBezTo>
                      <a:cubicBezTo>
                        <a:pt x="46382" y="113577"/>
                        <a:pt x="47234" y="113890"/>
                        <a:pt x="47659" y="113890"/>
                      </a:cubicBezTo>
                      <a:cubicBezTo>
                        <a:pt x="47659" y="114046"/>
                        <a:pt x="48085" y="114046"/>
                        <a:pt x="48510" y="114203"/>
                      </a:cubicBezTo>
                      <a:cubicBezTo>
                        <a:pt x="48510" y="114360"/>
                        <a:pt x="48085" y="114516"/>
                        <a:pt x="48936" y="114516"/>
                      </a:cubicBezTo>
                      <a:cubicBezTo>
                        <a:pt x="49361" y="114516"/>
                        <a:pt x="50212" y="114516"/>
                        <a:pt x="50212" y="114516"/>
                      </a:cubicBezTo>
                      <a:cubicBezTo>
                        <a:pt x="50212" y="114516"/>
                        <a:pt x="50638" y="114516"/>
                        <a:pt x="50638" y="114360"/>
                      </a:cubicBezTo>
                      <a:cubicBezTo>
                        <a:pt x="50638" y="114203"/>
                        <a:pt x="50638" y="113733"/>
                        <a:pt x="50212" y="113733"/>
                      </a:cubicBezTo>
                      <a:cubicBezTo>
                        <a:pt x="49787" y="113577"/>
                        <a:pt x="49361" y="113420"/>
                        <a:pt x="49361" y="113420"/>
                      </a:cubicBezTo>
                      <a:cubicBezTo>
                        <a:pt x="49361" y="113420"/>
                        <a:pt x="50212" y="113263"/>
                        <a:pt x="48936" y="113107"/>
                      </a:cubicBezTo>
                      <a:cubicBezTo>
                        <a:pt x="47659" y="112793"/>
                        <a:pt x="47659" y="112637"/>
                        <a:pt x="48085" y="112480"/>
                      </a:cubicBezTo>
                      <a:cubicBezTo>
                        <a:pt x="48936" y="112323"/>
                        <a:pt x="50638" y="112480"/>
                        <a:pt x="50638" y="112480"/>
                      </a:cubicBezTo>
                      <a:cubicBezTo>
                        <a:pt x="51914" y="112323"/>
                        <a:pt x="51914" y="112323"/>
                        <a:pt x="51914" y="112323"/>
                      </a:cubicBezTo>
                      <a:cubicBezTo>
                        <a:pt x="51914" y="112323"/>
                        <a:pt x="52765" y="112010"/>
                        <a:pt x="53617" y="112167"/>
                      </a:cubicBezTo>
                      <a:cubicBezTo>
                        <a:pt x="54042" y="112323"/>
                        <a:pt x="55744" y="112167"/>
                        <a:pt x="55744" y="112167"/>
                      </a:cubicBezTo>
                      <a:cubicBezTo>
                        <a:pt x="57872" y="112323"/>
                        <a:pt x="57872" y="112323"/>
                        <a:pt x="57872" y="112323"/>
                      </a:cubicBezTo>
                      <a:cubicBezTo>
                        <a:pt x="58723" y="112010"/>
                        <a:pt x="58723" y="112010"/>
                        <a:pt x="58723" y="112010"/>
                      </a:cubicBezTo>
                      <a:cubicBezTo>
                        <a:pt x="60851" y="112323"/>
                        <a:pt x="60851" y="112323"/>
                        <a:pt x="60851" y="112323"/>
                      </a:cubicBezTo>
                      <a:cubicBezTo>
                        <a:pt x="60851" y="112323"/>
                        <a:pt x="60425" y="112323"/>
                        <a:pt x="61702" y="112480"/>
                      </a:cubicBezTo>
                      <a:cubicBezTo>
                        <a:pt x="62553" y="112480"/>
                        <a:pt x="63829" y="112167"/>
                        <a:pt x="63829" y="112010"/>
                      </a:cubicBezTo>
                      <a:cubicBezTo>
                        <a:pt x="64255" y="112010"/>
                        <a:pt x="65957" y="110913"/>
                        <a:pt x="65957" y="110913"/>
                      </a:cubicBezTo>
                      <a:cubicBezTo>
                        <a:pt x="67234" y="107780"/>
                        <a:pt x="67234" y="107780"/>
                        <a:pt x="67234" y="107780"/>
                      </a:cubicBezTo>
                      <a:cubicBezTo>
                        <a:pt x="67234" y="107780"/>
                        <a:pt x="68936" y="107310"/>
                        <a:pt x="68510" y="107310"/>
                      </a:cubicBezTo>
                      <a:cubicBezTo>
                        <a:pt x="68510" y="107154"/>
                        <a:pt x="68510" y="106057"/>
                        <a:pt x="68510" y="105900"/>
                      </a:cubicBezTo>
                      <a:cubicBezTo>
                        <a:pt x="68510" y="105744"/>
                        <a:pt x="69361" y="104647"/>
                        <a:pt x="69361" y="104647"/>
                      </a:cubicBezTo>
                      <a:cubicBezTo>
                        <a:pt x="69361" y="104647"/>
                        <a:pt x="71063" y="104177"/>
                        <a:pt x="70212" y="103707"/>
                      </a:cubicBezTo>
                      <a:cubicBezTo>
                        <a:pt x="69787" y="103237"/>
                        <a:pt x="69361" y="102454"/>
                        <a:pt x="69361" y="102454"/>
                      </a:cubicBezTo>
                      <a:cubicBezTo>
                        <a:pt x="69361" y="102454"/>
                        <a:pt x="68936" y="101671"/>
                        <a:pt x="68936" y="101514"/>
                      </a:cubicBezTo>
                      <a:cubicBezTo>
                        <a:pt x="68936" y="101357"/>
                        <a:pt x="70638" y="100574"/>
                        <a:pt x="70638" y="100574"/>
                      </a:cubicBezTo>
                      <a:cubicBezTo>
                        <a:pt x="69361" y="99164"/>
                        <a:pt x="69361" y="99164"/>
                        <a:pt x="69361" y="99164"/>
                      </a:cubicBezTo>
                      <a:cubicBezTo>
                        <a:pt x="69361" y="99164"/>
                        <a:pt x="70212" y="98694"/>
                        <a:pt x="70212" y="98537"/>
                      </a:cubicBezTo>
                      <a:cubicBezTo>
                        <a:pt x="70212" y="98381"/>
                        <a:pt x="69361" y="96971"/>
                        <a:pt x="69361" y="96971"/>
                      </a:cubicBezTo>
                      <a:cubicBezTo>
                        <a:pt x="69361" y="96657"/>
                        <a:pt x="69361" y="96657"/>
                        <a:pt x="69361" y="96657"/>
                      </a:cubicBezTo>
                      <a:cubicBezTo>
                        <a:pt x="69361" y="96657"/>
                        <a:pt x="70638" y="95874"/>
                        <a:pt x="70212" y="95718"/>
                      </a:cubicBezTo>
                      <a:cubicBezTo>
                        <a:pt x="70212" y="95561"/>
                        <a:pt x="70212" y="94778"/>
                        <a:pt x="70212" y="94778"/>
                      </a:cubicBezTo>
                      <a:cubicBezTo>
                        <a:pt x="69361" y="93838"/>
                        <a:pt x="69361" y="93838"/>
                        <a:pt x="69361" y="93838"/>
                      </a:cubicBezTo>
                      <a:cubicBezTo>
                        <a:pt x="69361" y="93838"/>
                        <a:pt x="70212" y="93681"/>
                        <a:pt x="69787" y="93524"/>
                      </a:cubicBezTo>
                      <a:cubicBezTo>
                        <a:pt x="69361" y="93211"/>
                        <a:pt x="68936" y="93054"/>
                        <a:pt x="68936" y="93054"/>
                      </a:cubicBezTo>
                      <a:cubicBezTo>
                        <a:pt x="68936" y="92741"/>
                        <a:pt x="68936" y="92741"/>
                        <a:pt x="68936" y="92741"/>
                      </a:cubicBezTo>
                      <a:cubicBezTo>
                        <a:pt x="69361" y="92428"/>
                        <a:pt x="69361" y="92428"/>
                        <a:pt x="69361" y="92428"/>
                      </a:cubicBezTo>
                      <a:cubicBezTo>
                        <a:pt x="70212" y="92114"/>
                        <a:pt x="70212" y="92114"/>
                        <a:pt x="70212" y="92114"/>
                      </a:cubicBezTo>
                      <a:cubicBezTo>
                        <a:pt x="69787" y="91174"/>
                        <a:pt x="69787" y="91174"/>
                        <a:pt x="69787" y="91174"/>
                      </a:cubicBezTo>
                      <a:cubicBezTo>
                        <a:pt x="68085" y="91018"/>
                        <a:pt x="68085" y="91018"/>
                        <a:pt x="68085" y="91018"/>
                      </a:cubicBezTo>
                      <a:cubicBezTo>
                        <a:pt x="68085" y="91018"/>
                        <a:pt x="68085" y="90704"/>
                        <a:pt x="68510" y="90704"/>
                      </a:cubicBezTo>
                      <a:cubicBezTo>
                        <a:pt x="69361" y="90548"/>
                        <a:pt x="72340" y="90078"/>
                        <a:pt x="72340" y="90078"/>
                      </a:cubicBezTo>
                      <a:cubicBezTo>
                        <a:pt x="72340" y="90078"/>
                        <a:pt x="73191" y="89608"/>
                        <a:pt x="73617" y="89608"/>
                      </a:cubicBezTo>
                      <a:cubicBezTo>
                        <a:pt x="73617" y="89451"/>
                        <a:pt x="77021" y="88668"/>
                        <a:pt x="77021" y="88668"/>
                      </a:cubicBezTo>
                      <a:cubicBezTo>
                        <a:pt x="77021" y="88668"/>
                        <a:pt x="77021" y="88198"/>
                        <a:pt x="77021" y="88041"/>
                      </a:cubicBezTo>
                      <a:cubicBezTo>
                        <a:pt x="77446" y="88041"/>
                        <a:pt x="77446" y="87885"/>
                        <a:pt x="77446" y="87571"/>
                      </a:cubicBezTo>
                      <a:cubicBezTo>
                        <a:pt x="77872" y="87571"/>
                        <a:pt x="77021" y="86161"/>
                        <a:pt x="77021" y="85691"/>
                      </a:cubicBezTo>
                      <a:cubicBezTo>
                        <a:pt x="77446" y="85378"/>
                        <a:pt x="78297" y="86005"/>
                        <a:pt x="78297" y="86005"/>
                      </a:cubicBezTo>
                      <a:cubicBezTo>
                        <a:pt x="78723" y="86475"/>
                        <a:pt x="78723" y="86475"/>
                        <a:pt x="78723" y="86475"/>
                      </a:cubicBezTo>
                      <a:cubicBezTo>
                        <a:pt x="78723" y="87415"/>
                        <a:pt x="78723" y="87415"/>
                        <a:pt x="78723" y="87415"/>
                      </a:cubicBezTo>
                      <a:cubicBezTo>
                        <a:pt x="80000" y="87571"/>
                        <a:pt x="80000" y="87571"/>
                        <a:pt x="80000" y="87571"/>
                      </a:cubicBezTo>
                      <a:cubicBezTo>
                        <a:pt x="80425" y="88041"/>
                        <a:pt x="80425" y="88041"/>
                        <a:pt x="80425" y="88041"/>
                      </a:cubicBezTo>
                      <a:cubicBezTo>
                        <a:pt x="80425" y="88041"/>
                        <a:pt x="80000" y="88511"/>
                        <a:pt x="80425" y="88511"/>
                      </a:cubicBezTo>
                      <a:cubicBezTo>
                        <a:pt x="80851" y="88355"/>
                        <a:pt x="80851" y="88355"/>
                        <a:pt x="80851" y="88355"/>
                      </a:cubicBezTo>
                      <a:cubicBezTo>
                        <a:pt x="81276" y="87415"/>
                        <a:pt x="81276" y="87415"/>
                        <a:pt x="81276" y="87415"/>
                      </a:cubicBezTo>
                      <a:cubicBezTo>
                        <a:pt x="81276" y="87415"/>
                        <a:pt x="82978" y="87415"/>
                        <a:pt x="82553" y="87101"/>
                      </a:cubicBezTo>
                      <a:cubicBezTo>
                        <a:pt x="82553" y="86945"/>
                        <a:pt x="82127" y="86631"/>
                        <a:pt x="82553" y="86631"/>
                      </a:cubicBezTo>
                      <a:cubicBezTo>
                        <a:pt x="85106" y="86475"/>
                        <a:pt x="84255" y="86475"/>
                        <a:pt x="85531" y="86161"/>
                      </a:cubicBezTo>
                      <a:cubicBezTo>
                        <a:pt x="85531" y="86161"/>
                        <a:pt x="86382" y="85535"/>
                        <a:pt x="86382" y="85535"/>
                      </a:cubicBezTo>
                      <a:cubicBezTo>
                        <a:pt x="86382" y="85378"/>
                        <a:pt x="86808" y="85065"/>
                        <a:pt x="86808" y="85065"/>
                      </a:cubicBezTo>
                      <a:cubicBezTo>
                        <a:pt x="85957" y="84908"/>
                        <a:pt x="85957" y="84908"/>
                        <a:pt x="85957" y="84908"/>
                      </a:cubicBezTo>
                      <a:cubicBezTo>
                        <a:pt x="85531" y="84438"/>
                        <a:pt x="85531" y="84438"/>
                        <a:pt x="85531" y="84438"/>
                      </a:cubicBezTo>
                      <a:cubicBezTo>
                        <a:pt x="85531" y="84438"/>
                        <a:pt x="85957" y="84125"/>
                        <a:pt x="86382" y="84281"/>
                      </a:cubicBezTo>
                      <a:cubicBezTo>
                        <a:pt x="86382" y="84438"/>
                        <a:pt x="86808" y="84751"/>
                        <a:pt x="87234" y="84751"/>
                      </a:cubicBezTo>
                      <a:cubicBezTo>
                        <a:pt x="87659" y="84751"/>
                        <a:pt x="88936" y="84281"/>
                        <a:pt x="88936" y="84281"/>
                      </a:cubicBezTo>
                      <a:cubicBezTo>
                        <a:pt x="88936" y="83812"/>
                        <a:pt x="85957" y="83185"/>
                        <a:pt x="85106" y="83028"/>
                      </a:cubicBezTo>
                      <a:cubicBezTo>
                        <a:pt x="85106" y="82402"/>
                        <a:pt x="89361" y="81618"/>
                        <a:pt x="89361" y="81462"/>
                      </a:cubicBezTo>
                      <a:cubicBezTo>
                        <a:pt x="89787" y="81305"/>
                        <a:pt x="89787" y="81305"/>
                        <a:pt x="89787" y="81148"/>
                      </a:cubicBezTo>
                      <a:cubicBezTo>
                        <a:pt x="89787" y="80992"/>
                        <a:pt x="89361" y="80835"/>
                        <a:pt x="88936" y="80992"/>
                      </a:cubicBezTo>
                      <a:cubicBezTo>
                        <a:pt x="88936" y="80992"/>
                        <a:pt x="88510" y="81305"/>
                        <a:pt x="88085" y="81305"/>
                      </a:cubicBezTo>
                      <a:cubicBezTo>
                        <a:pt x="88085" y="81305"/>
                        <a:pt x="87234" y="81305"/>
                        <a:pt x="87234" y="81305"/>
                      </a:cubicBezTo>
                      <a:cubicBezTo>
                        <a:pt x="87234" y="81305"/>
                        <a:pt x="86808" y="80992"/>
                        <a:pt x="87234" y="80835"/>
                      </a:cubicBezTo>
                      <a:cubicBezTo>
                        <a:pt x="87659" y="80678"/>
                        <a:pt x="87234" y="80678"/>
                        <a:pt x="88085" y="80522"/>
                      </a:cubicBezTo>
                      <a:cubicBezTo>
                        <a:pt x="88510" y="80365"/>
                        <a:pt x="88936" y="80365"/>
                        <a:pt x="89361" y="80365"/>
                      </a:cubicBezTo>
                      <a:cubicBezTo>
                        <a:pt x="89361" y="80208"/>
                        <a:pt x="89787" y="80052"/>
                        <a:pt x="90212" y="80052"/>
                      </a:cubicBezTo>
                      <a:cubicBezTo>
                        <a:pt x="90638" y="80052"/>
                        <a:pt x="92765" y="79582"/>
                        <a:pt x="92765" y="79582"/>
                      </a:cubicBezTo>
                      <a:cubicBezTo>
                        <a:pt x="93191" y="79268"/>
                        <a:pt x="93191" y="79268"/>
                        <a:pt x="93191" y="79268"/>
                      </a:cubicBezTo>
                      <a:cubicBezTo>
                        <a:pt x="93191" y="79268"/>
                        <a:pt x="91914" y="78798"/>
                        <a:pt x="91914" y="78798"/>
                      </a:cubicBezTo>
                      <a:cubicBezTo>
                        <a:pt x="91914" y="78798"/>
                        <a:pt x="89787" y="78172"/>
                        <a:pt x="89787" y="78172"/>
                      </a:cubicBezTo>
                      <a:cubicBezTo>
                        <a:pt x="89787" y="78172"/>
                        <a:pt x="88936" y="78172"/>
                        <a:pt x="88936" y="78015"/>
                      </a:cubicBezTo>
                      <a:cubicBezTo>
                        <a:pt x="88936" y="78015"/>
                        <a:pt x="88085" y="77702"/>
                        <a:pt x="88085" y="77702"/>
                      </a:cubicBezTo>
                      <a:cubicBezTo>
                        <a:pt x="87234" y="76919"/>
                        <a:pt x="86382" y="77545"/>
                        <a:pt x="84680" y="77232"/>
                      </a:cubicBezTo>
                      <a:cubicBezTo>
                        <a:pt x="84680" y="77232"/>
                        <a:pt x="83829" y="76605"/>
                        <a:pt x="83829" y="76605"/>
                      </a:cubicBezTo>
                      <a:cubicBezTo>
                        <a:pt x="83829" y="76605"/>
                        <a:pt x="84680" y="76605"/>
                        <a:pt x="84680" y="76449"/>
                      </a:cubicBezTo>
                      <a:cubicBezTo>
                        <a:pt x="84680" y="76135"/>
                        <a:pt x="83829" y="75822"/>
                        <a:pt x="83829" y="75822"/>
                      </a:cubicBezTo>
                      <a:cubicBezTo>
                        <a:pt x="82978" y="75509"/>
                        <a:pt x="82978" y="75509"/>
                        <a:pt x="82978" y="75509"/>
                      </a:cubicBezTo>
                      <a:cubicBezTo>
                        <a:pt x="81276" y="74882"/>
                        <a:pt x="81702" y="76292"/>
                        <a:pt x="80425" y="75039"/>
                      </a:cubicBezTo>
                      <a:cubicBezTo>
                        <a:pt x="80425" y="75039"/>
                        <a:pt x="80000" y="75039"/>
                        <a:pt x="79574" y="74725"/>
                      </a:cubicBezTo>
                      <a:cubicBezTo>
                        <a:pt x="79148" y="74569"/>
                        <a:pt x="77872" y="74099"/>
                        <a:pt x="77872" y="74099"/>
                      </a:cubicBezTo>
                      <a:cubicBezTo>
                        <a:pt x="77872" y="74099"/>
                        <a:pt x="77446" y="73629"/>
                        <a:pt x="77446" y="73629"/>
                      </a:cubicBezTo>
                      <a:cubicBezTo>
                        <a:pt x="77021" y="73629"/>
                        <a:pt x="76595" y="73159"/>
                        <a:pt x="76595" y="73159"/>
                      </a:cubicBezTo>
                      <a:cubicBezTo>
                        <a:pt x="74468" y="73629"/>
                        <a:pt x="74468" y="73629"/>
                        <a:pt x="74468" y="73629"/>
                      </a:cubicBezTo>
                      <a:cubicBezTo>
                        <a:pt x="73191" y="74099"/>
                        <a:pt x="73191" y="74099"/>
                        <a:pt x="73191" y="74099"/>
                      </a:cubicBezTo>
                      <a:cubicBezTo>
                        <a:pt x="73191" y="74099"/>
                        <a:pt x="72765" y="73785"/>
                        <a:pt x="72765" y="73785"/>
                      </a:cubicBezTo>
                      <a:cubicBezTo>
                        <a:pt x="72765" y="73785"/>
                        <a:pt x="72765" y="73159"/>
                        <a:pt x="72765" y="73159"/>
                      </a:cubicBezTo>
                      <a:cubicBezTo>
                        <a:pt x="72765" y="73159"/>
                        <a:pt x="71489" y="73002"/>
                        <a:pt x="71063" y="73002"/>
                      </a:cubicBezTo>
                      <a:cubicBezTo>
                        <a:pt x="71063" y="73002"/>
                        <a:pt x="69787" y="73002"/>
                        <a:pt x="69787" y="73002"/>
                      </a:cubicBezTo>
                      <a:cubicBezTo>
                        <a:pt x="68085" y="72845"/>
                        <a:pt x="68085" y="72845"/>
                        <a:pt x="68085" y="72845"/>
                      </a:cubicBezTo>
                      <a:cubicBezTo>
                        <a:pt x="68085" y="72375"/>
                        <a:pt x="68085" y="72375"/>
                        <a:pt x="68085" y="72375"/>
                      </a:cubicBezTo>
                      <a:cubicBezTo>
                        <a:pt x="68085" y="72375"/>
                        <a:pt x="68936" y="72062"/>
                        <a:pt x="68510" y="71906"/>
                      </a:cubicBezTo>
                      <a:cubicBezTo>
                        <a:pt x="68510" y="71749"/>
                        <a:pt x="67234" y="71436"/>
                        <a:pt x="67234" y="71436"/>
                      </a:cubicBezTo>
                      <a:cubicBezTo>
                        <a:pt x="67234" y="71122"/>
                        <a:pt x="67234" y="71122"/>
                        <a:pt x="67234" y="71122"/>
                      </a:cubicBezTo>
                      <a:cubicBezTo>
                        <a:pt x="65957" y="70496"/>
                        <a:pt x="65957" y="70496"/>
                        <a:pt x="65957" y="70496"/>
                      </a:cubicBezTo>
                      <a:cubicBezTo>
                        <a:pt x="65957" y="70496"/>
                        <a:pt x="66808" y="70026"/>
                        <a:pt x="66808" y="70026"/>
                      </a:cubicBezTo>
                      <a:cubicBezTo>
                        <a:pt x="66808" y="69869"/>
                        <a:pt x="65106" y="68459"/>
                        <a:pt x="65106" y="68459"/>
                      </a:cubicBezTo>
                      <a:cubicBezTo>
                        <a:pt x="65106" y="68459"/>
                        <a:pt x="65957" y="67832"/>
                        <a:pt x="65957" y="67676"/>
                      </a:cubicBezTo>
                      <a:cubicBezTo>
                        <a:pt x="65957" y="67676"/>
                        <a:pt x="65106" y="67049"/>
                        <a:pt x="65106" y="67049"/>
                      </a:cubicBezTo>
                      <a:cubicBezTo>
                        <a:pt x="64255" y="67049"/>
                        <a:pt x="64255" y="67049"/>
                        <a:pt x="64255" y="67049"/>
                      </a:cubicBezTo>
                      <a:cubicBezTo>
                        <a:pt x="64255" y="66422"/>
                        <a:pt x="64255" y="66422"/>
                        <a:pt x="64255" y="66422"/>
                      </a:cubicBezTo>
                      <a:cubicBezTo>
                        <a:pt x="64680" y="65953"/>
                        <a:pt x="64680" y="65953"/>
                        <a:pt x="64680" y="65953"/>
                      </a:cubicBezTo>
                      <a:cubicBezTo>
                        <a:pt x="63829" y="65639"/>
                        <a:pt x="63829" y="65639"/>
                        <a:pt x="63829" y="65639"/>
                      </a:cubicBezTo>
                      <a:cubicBezTo>
                        <a:pt x="63829" y="65639"/>
                        <a:pt x="64255" y="65326"/>
                        <a:pt x="64680" y="65326"/>
                      </a:cubicBezTo>
                      <a:cubicBezTo>
                        <a:pt x="64680" y="65326"/>
                        <a:pt x="64680" y="64699"/>
                        <a:pt x="64680" y="64699"/>
                      </a:cubicBezTo>
                      <a:cubicBezTo>
                        <a:pt x="64680" y="64699"/>
                        <a:pt x="65106" y="64386"/>
                        <a:pt x="65531" y="64386"/>
                      </a:cubicBezTo>
                      <a:cubicBezTo>
                        <a:pt x="65531" y="64386"/>
                        <a:pt x="66808" y="64699"/>
                        <a:pt x="66808" y="64699"/>
                      </a:cubicBezTo>
                      <a:cubicBezTo>
                        <a:pt x="66808" y="64699"/>
                        <a:pt x="68085" y="64856"/>
                        <a:pt x="68085" y="64699"/>
                      </a:cubicBezTo>
                      <a:cubicBezTo>
                        <a:pt x="68085" y="64699"/>
                        <a:pt x="67659" y="64229"/>
                        <a:pt x="67659" y="64229"/>
                      </a:cubicBezTo>
                      <a:cubicBezTo>
                        <a:pt x="67659" y="64073"/>
                        <a:pt x="66808" y="63759"/>
                        <a:pt x="66808" y="63759"/>
                      </a:cubicBezTo>
                      <a:cubicBezTo>
                        <a:pt x="66382" y="63603"/>
                        <a:pt x="66382" y="62819"/>
                        <a:pt x="66382" y="62819"/>
                      </a:cubicBezTo>
                      <a:cubicBezTo>
                        <a:pt x="66382" y="62819"/>
                        <a:pt x="65531" y="62193"/>
                        <a:pt x="65957" y="62193"/>
                      </a:cubicBezTo>
                      <a:cubicBezTo>
                        <a:pt x="65957" y="62193"/>
                        <a:pt x="66382" y="61879"/>
                        <a:pt x="66382" y="61879"/>
                      </a:cubicBezTo>
                      <a:cubicBezTo>
                        <a:pt x="66808" y="60783"/>
                        <a:pt x="66808" y="60783"/>
                        <a:pt x="66808" y="60783"/>
                      </a:cubicBezTo>
                      <a:cubicBezTo>
                        <a:pt x="67234" y="59843"/>
                        <a:pt x="67234" y="59843"/>
                        <a:pt x="67234" y="59843"/>
                      </a:cubicBezTo>
                      <a:cubicBezTo>
                        <a:pt x="65957" y="59373"/>
                        <a:pt x="65957" y="59373"/>
                        <a:pt x="65957" y="59373"/>
                      </a:cubicBezTo>
                      <a:cubicBezTo>
                        <a:pt x="65531" y="59060"/>
                        <a:pt x="65531" y="59060"/>
                        <a:pt x="65531" y="59060"/>
                      </a:cubicBezTo>
                      <a:cubicBezTo>
                        <a:pt x="64680" y="58746"/>
                        <a:pt x="64680" y="58746"/>
                        <a:pt x="64680" y="58746"/>
                      </a:cubicBezTo>
                      <a:cubicBezTo>
                        <a:pt x="65531" y="57806"/>
                        <a:pt x="65531" y="57806"/>
                        <a:pt x="65531" y="57806"/>
                      </a:cubicBezTo>
                      <a:cubicBezTo>
                        <a:pt x="67234" y="57806"/>
                        <a:pt x="67234" y="57806"/>
                        <a:pt x="67234" y="57806"/>
                      </a:cubicBezTo>
                      <a:cubicBezTo>
                        <a:pt x="68085" y="57336"/>
                        <a:pt x="68085" y="57336"/>
                        <a:pt x="68085" y="57336"/>
                      </a:cubicBezTo>
                      <a:cubicBezTo>
                        <a:pt x="68085" y="57336"/>
                        <a:pt x="69361" y="57023"/>
                        <a:pt x="69361" y="56866"/>
                      </a:cubicBezTo>
                      <a:cubicBezTo>
                        <a:pt x="69361" y="56866"/>
                        <a:pt x="69787" y="56240"/>
                        <a:pt x="69787" y="56240"/>
                      </a:cubicBezTo>
                      <a:cubicBezTo>
                        <a:pt x="69361" y="55770"/>
                        <a:pt x="69361" y="55770"/>
                        <a:pt x="69361" y="55770"/>
                      </a:cubicBezTo>
                      <a:cubicBezTo>
                        <a:pt x="70212" y="55926"/>
                        <a:pt x="70212" y="55926"/>
                        <a:pt x="70212" y="55926"/>
                      </a:cubicBezTo>
                      <a:cubicBezTo>
                        <a:pt x="70212" y="55456"/>
                        <a:pt x="70212" y="55456"/>
                        <a:pt x="70212" y="55456"/>
                      </a:cubicBezTo>
                      <a:cubicBezTo>
                        <a:pt x="70212" y="55456"/>
                        <a:pt x="70638" y="54986"/>
                        <a:pt x="70638" y="54986"/>
                      </a:cubicBezTo>
                      <a:cubicBezTo>
                        <a:pt x="71063" y="54986"/>
                        <a:pt x="71489" y="54830"/>
                        <a:pt x="71489" y="54830"/>
                      </a:cubicBezTo>
                      <a:cubicBezTo>
                        <a:pt x="71489" y="54830"/>
                        <a:pt x="72340" y="54203"/>
                        <a:pt x="72340" y="54203"/>
                      </a:cubicBezTo>
                      <a:cubicBezTo>
                        <a:pt x="72340" y="54203"/>
                        <a:pt x="72765" y="54360"/>
                        <a:pt x="73191" y="54203"/>
                      </a:cubicBezTo>
                      <a:cubicBezTo>
                        <a:pt x="73617" y="54046"/>
                        <a:pt x="73617" y="54046"/>
                        <a:pt x="73617" y="53890"/>
                      </a:cubicBezTo>
                      <a:cubicBezTo>
                        <a:pt x="74042" y="53577"/>
                        <a:pt x="74893" y="52950"/>
                        <a:pt x="74893" y="52950"/>
                      </a:cubicBezTo>
                      <a:cubicBezTo>
                        <a:pt x="74893" y="52950"/>
                        <a:pt x="74893" y="52793"/>
                        <a:pt x="74893" y="52637"/>
                      </a:cubicBezTo>
                      <a:cubicBezTo>
                        <a:pt x="75319" y="52637"/>
                        <a:pt x="76170" y="52637"/>
                        <a:pt x="76170" y="52480"/>
                      </a:cubicBezTo>
                      <a:cubicBezTo>
                        <a:pt x="75744" y="52323"/>
                        <a:pt x="74893" y="51853"/>
                        <a:pt x="74893" y="51853"/>
                      </a:cubicBezTo>
                      <a:cubicBezTo>
                        <a:pt x="76170" y="51383"/>
                        <a:pt x="76170" y="51383"/>
                        <a:pt x="76170" y="51383"/>
                      </a:cubicBezTo>
                      <a:cubicBezTo>
                        <a:pt x="76170" y="51383"/>
                        <a:pt x="77446" y="50913"/>
                        <a:pt x="77446" y="50913"/>
                      </a:cubicBezTo>
                      <a:cubicBezTo>
                        <a:pt x="77446" y="51070"/>
                        <a:pt x="77872" y="51070"/>
                        <a:pt x="78297" y="50913"/>
                      </a:cubicBezTo>
                      <a:cubicBezTo>
                        <a:pt x="78297" y="50913"/>
                        <a:pt x="78723" y="50757"/>
                        <a:pt x="79148" y="50600"/>
                      </a:cubicBezTo>
                      <a:cubicBezTo>
                        <a:pt x="79148" y="50600"/>
                        <a:pt x="79574" y="50443"/>
                        <a:pt x="80000" y="50443"/>
                      </a:cubicBezTo>
                      <a:cubicBezTo>
                        <a:pt x="80000" y="50287"/>
                        <a:pt x="80425" y="49973"/>
                        <a:pt x="80425" y="49817"/>
                      </a:cubicBezTo>
                      <a:cubicBezTo>
                        <a:pt x="80425" y="49817"/>
                        <a:pt x="81276" y="49033"/>
                        <a:pt x="81276" y="49033"/>
                      </a:cubicBezTo>
                      <a:cubicBezTo>
                        <a:pt x="81276" y="48563"/>
                        <a:pt x="81276" y="48563"/>
                        <a:pt x="81276" y="48563"/>
                      </a:cubicBezTo>
                      <a:cubicBezTo>
                        <a:pt x="81702" y="48407"/>
                        <a:pt x="81702" y="48407"/>
                        <a:pt x="81702" y="48407"/>
                      </a:cubicBezTo>
                      <a:cubicBezTo>
                        <a:pt x="82553" y="48093"/>
                        <a:pt x="82553" y="48093"/>
                        <a:pt x="82553" y="48093"/>
                      </a:cubicBezTo>
                      <a:cubicBezTo>
                        <a:pt x="82553" y="48093"/>
                        <a:pt x="83404" y="47937"/>
                        <a:pt x="83404" y="48093"/>
                      </a:cubicBezTo>
                      <a:cubicBezTo>
                        <a:pt x="83404" y="48093"/>
                        <a:pt x="82978" y="48407"/>
                        <a:pt x="82978" y="48407"/>
                      </a:cubicBezTo>
                      <a:cubicBezTo>
                        <a:pt x="84255" y="48407"/>
                        <a:pt x="84255" y="48407"/>
                        <a:pt x="84255" y="48407"/>
                      </a:cubicBezTo>
                      <a:cubicBezTo>
                        <a:pt x="84255" y="48407"/>
                        <a:pt x="84255" y="48093"/>
                        <a:pt x="84255" y="48250"/>
                      </a:cubicBezTo>
                      <a:cubicBezTo>
                        <a:pt x="84680" y="48250"/>
                        <a:pt x="85106" y="48407"/>
                        <a:pt x="85106" y="48407"/>
                      </a:cubicBezTo>
                      <a:cubicBezTo>
                        <a:pt x="85106" y="48250"/>
                        <a:pt x="85531" y="47937"/>
                        <a:pt x="85531" y="47937"/>
                      </a:cubicBezTo>
                      <a:cubicBezTo>
                        <a:pt x="85531" y="47467"/>
                        <a:pt x="85531" y="47467"/>
                        <a:pt x="85531" y="47467"/>
                      </a:cubicBezTo>
                      <a:cubicBezTo>
                        <a:pt x="85531" y="47467"/>
                        <a:pt x="86382" y="47154"/>
                        <a:pt x="86808" y="46997"/>
                      </a:cubicBezTo>
                      <a:cubicBezTo>
                        <a:pt x="86808" y="46840"/>
                        <a:pt x="88085" y="46370"/>
                        <a:pt x="88085" y="46370"/>
                      </a:cubicBezTo>
                      <a:cubicBezTo>
                        <a:pt x="89361" y="46214"/>
                        <a:pt x="89361" y="46214"/>
                        <a:pt x="89361" y="46214"/>
                      </a:cubicBezTo>
                      <a:cubicBezTo>
                        <a:pt x="89361" y="46214"/>
                        <a:pt x="89787" y="46057"/>
                        <a:pt x="90212" y="46057"/>
                      </a:cubicBezTo>
                      <a:cubicBezTo>
                        <a:pt x="90212" y="46057"/>
                        <a:pt x="91489" y="45430"/>
                        <a:pt x="91489" y="45430"/>
                      </a:cubicBezTo>
                      <a:cubicBezTo>
                        <a:pt x="91489" y="45430"/>
                        <a:pt x="91489" y="45274"/>
                        <a:pt x="91914" y="45117"/>
                      </a:cubicBezTo>
                      <a:cubicBezTo>
                        <a:pt x="91914" y="44960"/>
                        <a:pt x="92765" y="44960"/>
                        <a:pt x="92765" y="44804"/>
                      </a:cubicBezTo>
                      <a:cubicBezTo>
                        <a:pt x="93191" y="44804"/>
                        <a:pt x="94042" y="44020"/>
                        <a:pt x="94042" y="44020"/>
                      </a:cubicBezTo>
                      <a:cubicBezTo>
                        <a:pt x="94042" y="44020"/>
                        <a:pt x="94468" y="44020"/>
                        <a:pt x="94468" y="43864"/>
                      </a:cubicBezTo>
                      <a:cubicBezTo>
                        <a:pt x="94468" y="43550"/>
                        <a:pt x="94893" y="43237"/>
                        <a:pt x="94893" y="43237"/>
                      </a:cubicBezTo>
                      <a:cubicBezTo>
                        <a:pt x="95744" y="42610"/>
                        <a:pt x="95744" y="42610"/>
                        <a:pt x="95744" y="42610"/>
                      </a:cubicBezTo>
                      <a:cubicBezTo>
                        <a:pt x="95744" y="41671"/>
                        <a:pt x="95744" y="41671"/>
                        <a:pt x="95744" y="41671"/>
                      </a:cubicBezTo>
                      <a:cubicBezTo>
                        <a:pt x="96595" y="40887"/>
                        <a:pt x="96595" y="40887"/>
                        <a:pt x="96595" y="40887"/>
                      </a:cubicBezTo>
                      <a:cubicBezTo>
                        <a:pt x="96595" y="40887"/>
                        <a:pt x="97021" y="40731"/>
                        <a:pt x="97021" y="40574"/>
                      </a:cubicBezTo>
                      <a:cubicBezTo>
                        <a:pt x="97446" y="40574"/>
                        <a:pt x="97872" y="40104"/>
                        <a:pt x="97872" y="40104"/>
                      </a:cubicBezTo>
                      <a:cubicBezTo>
                        <a:pt x="97872" y="40104"/>
                        <a:pt x="99148" y="39477"/>
                        <a:pt x="99148" y="39477"/>
                      </a:cubicBezTo>
                      <a:cubicBezTo>
                        <a:pt x="99148" y="39477"/>
                        <a:pt x="99574" y="39007"/>
                        <a:pt x="99574" y="38851"/>
                      </a:cubicBezTo>
                      <a:cubicBezTo>
                        <a:pt x="100000" y="38851"/>
                        <a:pt x="100000" y="38851"/>
                        <a:pt x="100000" y="38851"/>
                      </a:cubicBezTo>
                      <a:cubicBezTo>
                        <a:pt x="100000" y="38381"/>
                        <a:pt x="100000" y="38381"/>
                        <a:pt x="100000" y="38381"/>
                      </a:cubicBezTo>
                      <a:cubicBezTo>
                        <a:pt x="99148" y="37754"/>
                        <a:pt x="99148" y="37754"/>
                        <a:pt x="99148" y="37754"/>
                      </a:cubicBezTo>
                      <a:cubicBezTo>
                        <a:pt x="97446" y="37284"/>
                        <a:pt x="97446" y="37284"/>
                        <a:pt x="97446" y="37284"/>
                      </a:cubicBezTo>
                      <a:cubicBezTo>
                        <a:pt x="96170" y="37284"/>
                        <a:pt x="96170" y="37284"/>
                        <a:pt x="96170" y="37284"/>
                      </a:cubicBezTo>
                      <a:cubicBezTo>
                        <a:pt x="95319" y="36971"/>
                        <a:pt x="95319" y="36971"/>
                        <a:pt x="95319" y="36971"/>
                      </a:cubicBezTo>
                      <a:cubicBezTo>
                        <a:pt x="95744" y="36657"/>
                        <a:pt x="95744" y="36657"/>
                        <a:pt x="95744" y="36657"/>
                      </a:cubicBezTo>
                      <a:cubicBezTo>
                        <a:pt x="94893" y="36187"/>
                        <a:pt x="94893" y="36187"/>
                        <a:pt x="94893" y="36187"/>
                      </a:cubicBezTo>
                      <a:cubicBezTo>
                        <a:pt x="94468" y="35874"/>
                        <a:pt x="94468" y="35874"/>
                        <a:pt x="94468" y="35874"/>
                      </a:cubicBezTo>
                      <a:cubicBezTo>
                        <a:pt x="93617" y="35561"/>
                        <a:pt x="93617" y="35561"/>
                        <a:pt x="93617" y="35561"/>
                      </a:cubicBezTo>
                      <a:cubicBezTo>
                        <a:pt x="93617" y="35561"/>
                        <a:pt x="94468" y="35091"/>
                        <a:pt x="94468" y="35091"/>
                      </a:cubicBezTo>
                      <a:cubicBezTo>
                        <a:pt x="94468" y="35091"/>
                        <a:pt x="94893" y="34934"/>
                        <a:pt x="94893" y="34778"/>
                      </a:cubicBezTo>
                      <a:cubicBezTo>
                        <a:pt x="94893" y="34778"/>
                        <a:pt x="95744" y="34308"/>
                        <a:pt x="95744" y="34308"/>
                      </a:cubicBezTo>
                      <a:cubicBezTo>
                        <a:pt x="95744" y="34308"/>
                        <a:pt x="96595" y="33838"/>
                        <a:pt x="96595" y="33838"/>
                      </a:cubicBezTo>
                      <a:cubicBezTo>
                        <a:pt x="96595" y="33838"/>
                        <a:pt x="97021" y="33681"/>
                        <a:pt x="97021" y="33524"/>
                      </a:cubicBezTo>
                      <a:cubicBezTo>
                        <a:pt x="97021" y="33368"/>
                        <a:pt x="96595" y="32741"/>
                        <a:pt x="96595" y="32741"/>
                      </a:cubicBezTo>
                      <a:cubicBezTo>
                        <a:pt x="96595" y="32741"/>
                        <a:pt x="96595" y="32271"/>
                        <a:pt x="97021" y="32271"/>
                      </a:cubicBezTo>
                      <a:cubicBezTo>
                        <a:pt x="97021" y="32114"/>
                        <a:pt x="97446" y="31958"/>
                        <a:pt x="97446" y="31958"/>
                      </a:cubicBezTo>
                      <a:cubicBezTo>
                        <a:pt x="97446" y="31958"/>
                        <a:pt x="97872" y="31958"/>
                        <a:pt x="98297" y="32114"/>
                      </a:cubicBezTo>
                      <a:cubicBezTo>
                        <a:pt x="98723" y="32114"/>
                        <a:pt x="98723" y="31801"/>
                        <a:pt x="98723" y="31801"/>
                      </a:cubicBezTo>
                      <a:cubicBezTo>
                        <a:pt x="98723" y="31801"/>
                        <a:pt x="98723" y="31331"/>
                        <a:pt x="98297" y="31331"/>
                      </a:cubicBezTo>
                      <a:cubicBezTo>
                        <a:pt x="97872" y="31331"/>
                        <a:pt x="97446" y="31018"/>
                        <a:pt x="97446" y="31018"/>
                      </a:cubicBezTo>
                      <a:cubicBezTo>
                        <a:pt x="97446" y="31018"/>
                        <a:pt x="97872" y="30861"/>
                        <a:pt x="97872" y="30861"/>
                      </a:cubicBezTo>
                      <a:cubicBezTo>
                        <a:pt x="97872" y="30704"/>
                        <a:pt x="98723" y="30548"/>
                        <a:pt x="98723" y="30548"/>
                      </a:cubicBezTo>
                      <a:cubicBezTo>
                        <a:pt x="100000" y="30391"/>
                        <a:pt x="100000" y="30391"/>
                        <a:pt x="100000" y="30391"/>
                      </a:cubicBezTo>
                      <a:cubicBezTo>
                        <a:pt x="99574" y="29921"/>
                        <a:pt x="99574" y="29921"/>
                        <a:pt x="99574" y="29921"/>
                      </a:cubicBezTo>
                      <a:cubicBezTo>
                        <a:pt x="99574" y="29451"/>
                        <a:pt x="99574" y="29451"/>
                        <a:pt x="99574" y="29451"/>
                      </a:cubicBezTo>
                      <a:cubicBezTo>
                        <a:pt x="99574" y="29451"/>
                        <a:pt x="101276" y="29608"/>
                        <a:pt x="101276" y="29608"/>
                      </a:cubicBezTo>
                      <a:cubicBezTo>
                        <a:pt x="101276" y="29765"/>
                        <a:pt x="101702" y="30078"/>
                        <a:pt x="102127" y="30078"/>
                      </a:cubicBezTo>
                      <a:cubicBezTo>
                        <a:pt x="102127" y="29921"/>
                        <a:pt x="102127" y="29608"/>
                        <a:pt x="102127" y="29608"/>
                      </a:cubicBezTo>
                      <a:cubicBezTo>
                        <a:pt x="102127" y="29608"/>
                        <a:pt x="102553" y="29138"/>
                        <a:pt x="102978" y="29295"/>
                      </a:cubicBezTo>
                      <a:cubicBezTo>
                        <a:pt x="103829" y="29451"/>
                        <a:pt x="104255" y="29138"/>
                        <a:pt x="104680" y="29138"/>
                      </a:cubicBezTo>
                      <a:cubicBezTo>
                        <a:pt x="104680" y="28981"/>
                        <a:pt x="105106" y="28668"/>
                        <a:pt x="105106" y="28668"/>
                      </a:cubicBezTo>
                      <a:cubicBezTo>
                        <a:pt x="105106" y="28668"/>
                        <a:pt x="105531" y="28198"/>
                        <a:pt x="105106" y="28041"/>
                      </a:cubicBezTo>
                      <a:cubicBezTo>
                        <a:pt x="104680" y="28041"/>
                        <a:pt x="104255" y="28041"/>
                        <a:pt x="104255" y="27885"/>
                      </a:cubicBezTo>
                      <a:cubicBezTo>
                        <a:pt x="104255" y="27885"/>
                        <a:pt x="104680" y="27571"/>
                        <a:pt x="105106" y="27571"/>
                      </a:cubicBezTo>
                      <a:cubicBezTo>
                        <a:pt x="105531" y="27571"/>
                        <a:pt x="105531" y="27571"/>
                        <a:pt x="106382" y="27415"/>
                      </a:cubicBezTo>
                      <a:cubicBezTo>
                        <a:pt x="106808" y="27258"/>
                        <a:pt x="106808" y="27101"/>
                        <a:pt x="106808" y="27101"/>
                      </a:cubicBezTo>
                      <a:cubicBezTo>
                        <a:pt x="106808" y="27101"/>
                        <a:pt x="108085" y="26945"/>
                        <a:pt x="108085" y="26945"/>
                      </a:cubicBezTo>
                      <a:cubicBezTo>
                        <a:pt x="109787" y="26631"/>
                        <a:pt x="109787" y="26631"/>
                        <a:pt x="109787" y="26631"/>
                      </a:cubicBezTo>
                      <a:cubicBezTo>
                        <a:pt x="109787" y="26318"/>
                        <a:pt x="109787" y="26318"/>
                        <a:pt x="109787" y="26318"/>
                      </a:cubicBezTo>
                      <a:cubicBezTo>
                        <a:pt x="109787" y="26318"/>
                        <a:pt x="110638" y="26318"/>
                        <a:pt x="110638" y="26318"/>
                      </a:cubicBezTo>
                      <a:cubicBezTo>
                        <a:pt x="111063" y="26318"/>
                        <a:pt x="111489" y="26475"/>
                        <a:pt x="111489" y="26475"/>
                      </a:cubicBezTo>
                      <a:cubicBezTo>
                        <a:pt x="111489" y="26475"/>
                        <a:pt x="112340" y="26475"/>
                        <a:pt x="112340" y="26475"/>
                      </a:cubicBezTo>
                      <a:cubicBezTo>
                        <a:pt x="112340" y="26318"/>
                        <a:pt x="111914" y="26161"/>
                        <a:pt x="112340" y="26161"/>
                      </a:cubicBezTo>
                      <a:cubicBezTo>
                        <a:pt x="112765" y="26318"/>
                        <a:pt x="112765" y="26318"/>
                        <a:pt x="112765" y="26475"/>
                      </a:cubicBezTo>
                      <a:cubicBezTo>
                        <a:pt x="113191" y="26475"/>
                        <a:pt x="113191" y="26475"/>
                        <a:pt x="113191" y="26475"/>
                      </a:cubicBezTo>
                      <a:cubicBezTo>
                        <a:pt x="113617" y="26475"/>
                        <a:pt x="114042" y="26631"/>
                        <a:pt x="114468" y="26788"/>
                      </a:cubicBezTo>
                      <a:cubicBezTo>
                        <a:pt x="114468" y="26788"/>
                        <a:pt x="114468" y="26945"/>
                        <a:pt x="114468" y="27101"/>
                      </a:cubicBezTo>
                      <a:cubicBezTo>
                        <a:pt x="114468" y="27258"/>
                        <a:pt x="114468" y="27258"/>
                        <a:pt x="114468" y="27415"/>
                      </a:cubicBezTo>
                      <a:cubicBezTo>
                        <a:pt x="114468" y="27571"/>
                        <a:pt x="114468" y="27571"/>
                        <a:pt x="114468" y="27571"/>
                      </a:cubicBezTo>
                      <a:cubicBezTo>
                        <a:pt x="114468" y="27571"/>
                        <a:pt x="115744" y="27885"/>
                        <a:pt x="115744" y="27728"/>
                      </a:cubicBezTo>
                      <a:cubicBezTo>
                        <a:pt x="115744" y="27571"/>
                        <a:pt x="115744" y="27728"/>
                        <a:pt x="115744" y="27415"/>
                      </a:cubicBezTo>
                      <a:cubicBezTo>
                        <a:pt x="115319" y="27258"/>
                        <a:pt x="115744" y="27101"/>
                        <a:pt x="115744" y="26945"/>
                      </a:cubicBezTo>
                      <a:cubicBezTo>
                        <a:pt x="115319" y="26788"/>
                        <a:pt x="114893" y="26475"/>
                        <a:pt x="114893" y="26318"/>
                      </a:cubicBezTo>
                      <a:cubicBezTo>
                        <a:pt x="114893" y="26318"/>
                        <a:pt x="115319" y="26161"/>
                        <a:pt x="115744" y="26161"/>
                      </a:cubicBezTo>
                      <a:cubicBezTo>
                        <a:pt x="116170" y="26161"/>
                        <a:pt x="115744" y="26005"/>
                        <a:pt x="116170" y="26161"/>
                      </a:cubicBezTo>
                      <a:cubicBezTo>
                        <a:pt x="116595" y="26318"/>
                        <a:pt x="116595" y="26475"/>
                        <a:pt x="117021" y="26475"/>
                      </a:cubicBezTo>
                      <a:cubicBezTo>
                        <a:pt x="117446" y="26475"/>
                        <a:pt x="117446" y="26475"/>
                        <a:pt x="117446" y="26475"/>
                      </a:cubicBezTo>
                      <a:cubicBezTo>
                        <a:pt x="117446" y="26631"/>
                        <a:pt x="117872" y="26788"/>
                        <a:pt x="117872" y="26945"/>
                      </a:cubicBezTo>
                      <a:cubicBezTo>
                        <a:pt x="117872" y="27101"/>
                        <a:pt x="117872" y="27101"/>
                        <a:pt x="117872" y="27258"/>
                      </a:cubicBezTo>
                      <a:cubicBezTo>
                        <a:pt x="117872" y="27258"/>
                        <a:pt x="118723" y="27728"/>
                        <a:pt x="118723" y="27728"/>
                      </a:cubicBezTo>
                      <a:cubicBezTo>
                        <a:pt x="118723" y="27728"/>
                        <a:pt x="119574" y="27415"/>
                        <a:pt x="119574" y="27415"/>
                      </a:cubicBezTo>
                      <a:cubicBezTo>
                        <a:pt x="119574" y="27258"/>
                        <a:pt x="119574" y="27101"/>
                        <a:pt x="119574" y="27101"/>
                      </a:cubicBezTo>
                      <a:cubicBezTo>
                        <a:pt x="119574" y="26945"/>
                        <a:pt x="119574" y="26788"/>
                        <a:pt x="119574" y="26788"/>
                      </a:cubicBezTo>
                      <a:cubicBezTo>
                        <a:pt x="119574" y="26631"/>
                        <a:pt x="118297" y="26161"/>
                        <a:pt x="118297" y="26161"/>
                      </a:cubicBezTo>
                      <a:cubicBezTo>
                        <a:pt x="118297" y="26161"/>
                        <a:pt x="118297" y="26005"/>
                        <a:pt x="118723" y="25848"/>
                      </a:cubicBezTo>
                      <a:cubicBezTo>
                        <a:pt x="118723" y="25848"/>
                        <a:pt x="119148" y="25691"/>
                        <a:pt x="120000" y="25535"/>
                      </a:cubicBezTo>
                      <a:cubicBezTo>
                        <a:pt x="117446" y="23498"/>
                        <a:pt x="117446" y="23498"/>
                        <a:pt x="117446" y="23498"/>
                      </a:cubicBezTo>
                      <a:cubicBezTo>
                        <a:pt x="114893" y="23028"/>
                        <a:pt x="114893" y="23028"/>
                        <a:pt x="114893" y="23028"/>
                      </a:cubicBezTo>
                      <a:cubicBezTo>
                        <a:pt x="113191" y="22402"/>
                        <a:pt x="113191" y="22402"/>
                        <a:pt x="113191" y="22402"/>
                      </a:cubicBezTo>
                      <a:cubicBezTo>
                        <a:pt x="113191" y="21618"/>
                        <a:pt x="113191" y="21618"/>
                        <a:pt x="113191" y="21618"/>
                      </a:cubicBezTo>
                      <a:cubicBezTo>
                        <a:pt x="111914" y="20992"/>
                        <a:pt x="111914" y="20992"/>
                        <a:pt x="111914" y="20992"/>
                      </a:cubicBezTo>
                      <a:cubicBezTo>
                        <a:pt x="111914" y="20992"/>
                        <a:pt x="112340" y="20522"/>
                        <a:pt x="112340" y="20365"/>
                      </a:cubicBezTo>
                      <a:cubicBezTo>
                        <a:pt x="112765" y="20208"/>
                        <a:pt x="113617" y="19425"/>
                        <a:pt x="113617" y="19425"/>
                      </a:cubicBezTo>
                      <a:cubicBezTo>
                        <a:pt x="113617" y="19425"/>
                        <a:pt x="113191" y="18798"/>
                        <a:pt x="113191" y="18642"/>
                      </a:cubicBezTo>
                      <a:cubicBezTo>
                        <a:pt x="113191" y="18485"/>
                        <a:pt x="113617" y="17702"/>
                        <a:pt x="113617" y="17702"/>
                      </a:cubicBezTo>
                      <a:cubicBezTo>
                        <a:pt x="113191" y="16919"/>
                        <a:pt x="113191" y="16919"/>
                        <a:pt x="113191" y="16919"/>
                      </a:cubicBezTo>
                      <a:cubicBezTo>
                        <a:pt x="108085" y="14725"/>
                        <a:pt x="108085" y="14725"/>
                        <a:pt x="108085" y="14725"/>
                      </a:cubicBezTo>
                      <a:cubicBezTo>
                        <a:pt x="108510" y="13785"/>
                        <a:pt x="108510" y="13785"/>
                        <a:pt x="108510" y="13785"/>
                      </a:cubicBezTo>
                      <a:cubicBezTo>
                        <a:pt x="108510" y="13785"/>
                        <a:pt x="108510" y="13785"/>
                        <a:pt x="108510" y="13785"/>
                      </a:cubicBezTo>
                      <a:close/>
                      <a:moveTo>
                        <a:pt x="70212" y="111227"/>
                      </a:moveTo>
                      <a:cubicBezTo>
                        <a:pt x="70212" y="111227"/>
                        <a:pt x="70212" y="111227"/>
                        <a:pt x="70212" y="111227"/>
                      </a:cubicBezTo>
                      <a:cubicBezTo>
                        <a:pt x="70638" y="109973"/>
                        <a:pt x="70638" y="109973"/>
                        <a:pt x="70638" y="109973"/>
                      </a:cubicBezTo>
                      <a:cubicBezTo>
                        <a:pt x="70638" y="109973"/>
                        <a:pt x="69787" y="109503"/>
                        <a:pt x="69787" y="109503"/>
                      </a:cubicBezTo>
                      <a:cubicBezTo>
                        <a:pt x="69787" y="109347"/>
                        <a:pt x="69361" y="109033"/>
                        <a:pt x="69361" y="108563"/>
                      </a:cubicBezTo>
                      <a:cubicBezTo>
                        <a:pt x="69787" y="108093"/>
                        <a:pt x="69787" y="107937"/>
                        <a:pt x="70212" y="107624"/>
                      </a:cubicBezTo>
                      <a:cubicBezTo>
                        <a:pt x="70212" y="107310"/>
                        <a:pt x="71063" y="107154"/>
                        <a:pt x="71063" y="106840"/>
                      </a:cubicBezTo>
                      <a:cubicBezTo>
                        <a:pt x="71063" y="106370"/>
                        <a:pt x="71063" y="106214"/>
                        <a:pt x="71489" y="105900"/>
                      </a:cubicBezTo>
                      <a:cubicBezTo>
                        <a:pt x="71489" y="105587"/>
                        <a:pt x="71914" y="105274"/>
                        <a:pt x="72340" y="105274"/>
                      </a:cubicBezTo>
                      <a:cubicBezTo>
                        <a:pt x="72340" y="105117"/>
                        <a:pt x="73191" y="104490"/>
                        <a:pt x="73191" y="104490"/>
                      </a:cubicBezTo>
                      <a:cubicBezTo>
                        <a:pt x="73617" y="103707"/>
                        <a:pt x="73617" y="103707"/>
                        <a:pt x="73617" y="103707"/>
                      </a:cubicBezTo>
                      <a:cubicBezTo>
                        <a:pt x="73617" y="103707"/>
                        <a:pt x="74468" y="102924"/>
                        <a:pt x="74468" y="102767"/>
                      </a:cubicBezTo>
                      <a:cubicBezTo>
                        <a:pt x="74468" y="102610"/>
                        <a:pt x="74042" y="101984"/>
                        <a:pt x="74042" y="101827"/>
                      </a:cubicBezTo>
                      <a:cubicBezTo>
                        <a:pt x="74468" y="101671"/>
                        <a:pt x="75319" y="101357"/>
                        <a:pt x="75319" y="101357"/>
                      </a:cubicBezTo>
                      <a:cubicBezTo>
                        <a:pt x="76595" y="101357"/>
                        <a:pt x="76595" y="101357"/>
                        <a:pt x="76595" y="101357"/>
                      </a:cubicBezTo>
                      <a:cubicBezTo>
                        <a:pt x="76595" y="101357"/>
                        <a:pt x="76595" y="101827"/>
                        <a:pt x="76170" y="101984"/>
                      </a:cubicBezTo>
                      <a:cubicBezTo>
                        <a:pt x="75744" y="101984"/>
                        <a:pt x="75319" y="102140"/>
                        <a:pt x="75319" y="102140"/>
                      </a:cubicBezTo>
                      <a:cubicBezTo>
                        <a:pt x="75319" y="102297"/>
                        <a:pt x="76170" y="102610"/>
                        <a:pt x="76170" y="102610"/>
                      </a:cubicBezTo>
                      <a:cubicBezTo>
                        <a:pt x="76170" y="103237"/>
                        <a:pt x="76170" y="103237"/>
                        <a:pt x="76170" y="103237"/>
                      </a:cubicBezTo>
                      <a:cubicBezTo>
                        <a:pt x="75319" y="103864"/>
                        <a:pt x="75319" y="103864"/>
                        <a:pt x="75319" y="103864"/>
                      </a:cubicBezTo>
                      <a:cubicBezTo>
                        <a:pt x="74468" y="104647"/>
                        <a:pt x="74468" y="104647"/>
                        <a:pt x="74468" y="104647"/>
                      </a:cubicBezTo>
                      <a:cubicBezTo>
                        <a:pt x="74468" y="105430"/>
                        <a:pt x="74468" y="105430"/>
                        <a:pt x="74468" y="105430"/>
                      </a:cubicBezTo>
                      <a:cubicBezTo>
                        <a:pt x="74042" y="105900"/>
                        <a:pt x="74042" y="105900"/>
                        <a:pt x="74042" y="105900"/>
                      </a:cubicBezTo>
                      <a:cubicBezTo>
                        <a:pt x="73617" y="106370"/>
                        <a:pt x="73617" y="106370"/>
                        <a:pt x="73617" y="106370"/>
                      </a:cubicBezTo>
                      <a:cubicBezTo>
                        <a:pt x="72765" y="107310"/>
                        <a:pt x="72765" y="107310"/>
                        <a:pt x="72765" y="107310"/>
                      </a:cubicBezTo>
                      <a:cubicBezTo>
                        <a:pt x="73191" y="108093"/>
                        <a:pt x="73191" y="108093"/>
                        <a:pt x="73191" y="108093"/>
                      </a:cubicBezTo>
                      <a:cubicBezTo>
                        <a:pt x="71914" y="109033"/>
                        <a:pt x="71914" y="109033"/>
                        <a:pt x="71914" y="109033"/>
                      </a:cubicBezTo>
                      <a:cubicBezTo>
                        <a:pt x="71914" y="109033"/>
                        <a:pt x="71914" y="109503"/>
                        <a:pt x="71914" y="109660"/>
                      </a:cubicBezTo>
                      <a:cubicBezTo>
                        <a:pt x="71914" y="109817"/>
                        <a:pt x="71914" y="110757"/>
                        <a:pt x="71914" y="110757"/>
                      </a:cubicBezTo>
                      <a:cubicBezTo>
                        <a:pt x="71914" y="110757"/>
                        <a:pt x="71914" y="111227"/>
                        <a:pt x="71489" y="111227"/>
                      </a:cubicBezTo>
                      <a:cubicBezTo>
                        <a:pt x="71063" y="111227"/>
                        <a:pt x="70212" y="111227"/>
                        <a:pt x="70212" y="111227"/>
                      </a:cubicBezTo>
                      <a:close/>
                      <a:moveTo>
                        <a:pt x="87659" y="101671"/>
                      </a:moveTo>
                      <a:cubicBezTo>
                        <a:pt x="87659" y="101671"/>
                        <a:pt x="87659" y="101671"/>
                        <a:pt x="87659" y="101671"/>
                      </a:cubicBezTo>
                      <a:cubicBezTo>
                        <a:pt x="87234" y="101357"/>
                        <a:pt x="87234" y="101357"/>
                        <a:pt x="87234" y="101357"/>
                      </a:cubicBezTo>
                      <a:cubicBezTo>
                        <a:pt x="88510" y="101201"/>
                        <a:pt x="88510" y="101201"/>
                        <a:pt x="88510" y="101201"/>
                      </a:cubicBezTo>
                      <a:cubicBezTo>
                        <a:pt x="88510" y="101201"/>
                        <a:pt x="88085" y="100574"/>
                        <a:pt x="88085" y="100417"/>
                      </a:cubicBezTo>
                      <a:cubicBezTo>
                        <a:pt x="88085" y="100261"/>
                        <a:pt x="87659" y="100417"/>
                        <a:pt x="87234" y="100104"/>
                      </a:cubicBezTo>
                      <a:cubicBezTo>
                        <a:pt x="86808" y="99947"/>
                        <a:pt x="86808" y="99477"/>
                        <a:pt x="86808" y="99477"/>
                      </a:cubicBezTo>
                      <a:cubicBezTo>
                        <a:pt x="86808" y="99321"/>
                        <a:pt x="87234" y="98851"/>
                        <a:pt x="87234" y="98851"/>
                      </a:cubicBezTo>
                      <a:cubicBezTo>
                        <a:pt x="87234" y="98851"/>
                        <a:pt x="88510" y="98224"/>
                        <a:pt x="89361" y="97911"/>
                      </a:cubicBezTo>
                      <a:cubicBezTo>
                        <a:pt x="90638" y="97441"/>
                        <a:pt x="90212" y="97441"/>
                        <a:pt x="90212" y="97127"/>
                      </a:cubicBezTo>
                      <a:cubicBezTo>
                        <a:pt x="89787" y="96971"/>
                        <a:pt x="90638" y="96814"/>
                        <a:pt x="90638" y="96814"/>
                      </a:cubicBezTo>
                      <a:cubicBezTo>
                        <a:pt x="91914" y="96344"/>
                        <a:pt x="91914" y="96344"/>
                        <a:pt x="91914" y="96344"/>
                      </a:cubicBezTo>
                      <a:cubicBezTo>
                        <a:pt x="92765" y="95561"/>
                        <a:pt x="92765" y="95561"/>
                        <a:pt x="92765" y="95561"/>
                      </a:cubicBezTo>
                      <a:cubicBezTo>
                        <a:pt x="92765" y="95561"/>
                        <a:pt x="94042" y="96031"/>
                        <a:pt x="94042" y="96031"/>
                      </a:cubicBezTo>
                      <a:cubicBezTo>
                        <a:pt x="94468" y="96031"/>
                        <a:pt x="94468" y="95874"/>
                        <a:pt x="94468" y="95718"/>
                      </a:cubicBezTo>
                      <a:cubicBezTo>
                        <a:pt x="94468" y="95561"/>
                        <a:pt x="95319" y="95561"/>
                        <a:pt x="95319" y="95561"/>
                      </a:cubicBezTo>
                      <a:cubicBezTo>
                        <a:pt x="95744" y="95561"/>
                        <a:pt x="97021" y="95404"/>
                        <a:pt x="97021" y="95404"/>
                      </a:cubicBezTo>
                      <a:cubicBezTo>
                        <a:pt x="97446" y="95091"/>
                        <a:pt x="97446" y="95091"/>
                        <a:pt x="97446" y="95091"/>
                      </a:cubicBezTo>
                      <a:cubicBezTo>
                        <a:pt x="97446" y="95091"/>
                        <a:pt x="99148" y="94934"/>
                        <a:pt x="100000" y="95091"/>
                      </a:cubicBezTo>
                      <a:cubicBezTo>
                        <a:pt x="100425" y="95248"/>
                        <a:pt x="99574" y="95248"/>
                        <a:pt x="99574" y="95404"/>
                      </a:cubicBezTo>
                      <a:cubicBezTo>
                        <a:pt x="99574" y="95561"/>
                        <a:pt x="99574" y="95561"/>
                        <a:pt x="99574" y="95718"/>
                      </a:cubicBezTo>
                      <a:cubicBezTo>
                        <a:pt x="99574" y="95874"/>
                        <a:pt x="99148" y="96031"/>
                        <a:pt x="97872" y="96031"/>
                      </a:cubicBezTo>
                      <a:cubicBezTo>
                        <a:pt x="96595" y="96187"/>
                        <a:pt x="97446" y="96501"/>
                        <a:pt x="97446" y="96501"/>
                      </a:cubicBezTo>
                      <a:cubicBezTo>
                        <a:pt x="97446" y="96501"/>
                        <a:pt x="97446" y="97127"/>
                        <a:pt x="97446" y="97127"/>
                      </a:cubicBezTo>
                      <a:cubicBezTo>
                        <a:pt x="97021" y="97284"/>
                        <a:pt x="96170" y="97597"/>
                        <a:pt x="95319" y="97597"/>
                      </a:cubicBezTo>
                      <a:cubicBezTo>
                        <a:pt x="94893" y="97754"/>
                        <a:pt x="94893" y="98067"/>
                        <a:pt x="94893" y="98067"/>
                      </a:cubicBezTo>
                      <a:cubicBezTo>
                        <a:pt x="94893" y="98224"/>
                        <a:pt x="95319" y="98537"/>
                        <a:pt x="95319" y="98851"/>
                      </a:cubicBezTo>
                      <a:cubicBezTo>
                        <a:pt x="95319" y="99007"/>
                        <a:pt x="95319" y="99007"/>
                        <a:pt x="95744" y="99321"/>
                      </a:cubicBezTo>
                      <a:cubicBezTo>
                        <a:pt x="95744" y="99477"/>
                        <a:pt x="96595" y="99477"/>
                        <a:pt x="97021" y="99477"/>
                      </a:cubicBezTo>
                      <a:cubicBezTo>
                        <a:pt x="97021" y="99634"/>
                        <a:pt x="97872" y="99947"/>
                        <a:pt x="97446" y="100104"/>
                      </a:cubicBezTo>
                      <a:cubicBezTo>
                        <a:pt x="97021" y="100261"/>
                        <a:pt x="96595" y="100417"/>
                        <a:pt x="96170" y="100417"/>
                      </a:cubicBezTo>
                      <a:cubicBezTo>
                        <a:pt x="96170" y="100574"/>
                        <a:pt x="95319" y="101044"/>
                        <a:pt x="95319" y="101044"/>
                      </a:cubicBezTo>
                      <a:cubicBezTo>
                        <a:pt x="95319" y="101044"/>
                        <a:pt x="95744" y="101357"/>
                        <a:pt x="95319" y="101671"/>
                      </a:cubicBezTo>
                      <a:cubicBezTo>
                        <a:pt x="95319" y="101984"/>
                        <a:pt x="94468" y="101827"/>
                        <a:pt x="94042" y="101984"/>
                      </a:cubicBezTo>
                      <a:cubicBezTo>
                        <a:pt x="94042" y="101984"/>
                        <a:pt x="92765" y="102454"/>
                        <a:pt x="92765" y="102454"/>
                      </a:cubicBezTo>
                      <a:cubicBezTo>
                        <a:pt x="92340" y="102454"/>
                        <a:pt x="91914" y="103080"/>
                        <a:pt x="91914" y="103394"/>
                      </a:cubicBezTo>
                      <a:cubicBezTo>
                        <a:pt x="91914" y="103550"/>
                        <a:pt x="91914" y="103864"/>
                        <a:pt x="91914" y="104020"/>
                      </a:cubicBezTo>
                      <a:cubicBezTo>
                        <a:pt x="91914" y="104177"/>
                        <a:pt x="91914" y="104020"/>
                        <a:pt x="91063" y="104490"/>
                      </a:cubicBezTo>
                      <a:cubicBezTo>
                        <a:pt x="89787" y="104960"/>
                        <a:pt x="90212" y="104647"/>
                        <a:pt x="88936" y="104490"/>
                      </a:cubicBezTo>
                      <a:cubicBezTo>
                        <a:pt x="87234" y="104490"/>
                        <a:pt x="88936" y="104334"/>
                        <a:pt x="89361" y="104020"/>
                      </a:cubicBezTo>
                      <a:cubicBezTo>
                        <a:pt x="89787" y="103707"/>
                        <a:pt x="90212" y="103394"/>
                        <a:pt x="90212" y="103394"/>
                      </a:cubicBezTo>
                      <a:cubicBezTo>
                        <a:pt x="89787" y="102767"/>
                        <a:pt x="89787" y="102767"/>
                        <a:pt x="89787" y="102767"/>
                      </a:cubicBezTo>
                      <a:cubicBezTo>
                        <a:pt x="88936" y="102297"/>
                        <a:pt x="88936" y="102297"/>
                        <a:pt x="88936" y="102297"/>
                      </a:cubicBezTo>
                      <a:lnTo>
                        <a:pt x="87659" y="101671"/>
                      </a:lnTo>
                      <a:close/>
                    </a:path>
                  </a:pathLst>
                </a:custGeom>
                <a:solidFill>
                  <a:schemeClr val="bg1">
                    <a:lumMod val="75000"/>
                  </a:scheme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99" name="Shape 2051"/>
                <p:cNvSpPr/>
                <p:nvPr/>
              </p:nvSpPr>
              <p:spPr>
                <a:xfrm>
                  <a:off x="4686242" y="235947"/>
                  <a:ext cx="1226963" cy="1680165"/>
                </a:xfrm>
                <a:custGeom>
                  <a:avLst/>
                  <a:gdLst/>
                  <a:ahLst/>
                  <a:cxnLst/>
                  <a:rect l="0" t="0" r="0" b="0"/>
                  <a:pathLst>
                    <a:path w="120000" h="120000" extrusionOk="0">
                      <a:moveTo>
                        <a:pt x="82527" y="9000"/>
                      </a:moveTo>
                      <a:cubicBezTo>
                        <a:pt x="82081" y="9000"/>
                        <a:pt x="81412" y="9157"/>
                        <a:pt x="81412" y="8842"/>
                      </a:cubicBezTo>
                      <a:cubicBezTo>
                        <a:pt x="81412" y="8684"/>
                        <a:pt x="80743" y="8210"/>
                        <a:pt x="80743" y="8210"/>
                      </a:cubicBezTo>
                      <a:cubicBezTo>
                        <a:pt x="80743" y="8052"/>
                        <a:pt x="80297" y="7736"/>
                        <a:pt x="80966" y="7578"/>
                      </a:cubicBezTo>
                      <a:cubicBezTo>
                        <a:pt x="81412" y="7263"/>
                        <a:pt x="82973" y="6789"/>
                        <a:pt x="83197" y="6789"/>
                      </a:cubicBezTo>
                      <a:cubicBezTo>
                        <a:pt x="83197" y="6789"/>
                        <a:pt x="83866" y="6000"/>
                        <a:pt x="84089" y="5842"/>
                      </a:cubicBezTo>
                      <a:cubicBezTo>
                        <a:pt x="84312" y="5842"/>
                        <a:pt x="85650" y="5842"/>
                        <a:pt x="85650" y="5842"/>
                      </a:cubicBezTo>
                      <a:cubicBezTo>
                        <a:pt x="85650" y="5842"/>
                        <a:pt x="85873" y="6000"/>
                        <a:pt x="86319" y="6000"/>
                      </a:cubicBezTo>
                      <a:cubicBezTo>
                        <a:pt x="86765" y="6157"/>
                        <a:pt x="87657" y="5684"/>
                        <a:pt x="87211" y="6157"/>
                      </a:cubicBezTo>
                      <a:cubicBezTo>
                        <a:pt x="86542" y="6473"/>
                        <a:pt x="86319" y="6631"/>
                        <a:pt x="86096" y="6631"/>
                      </a:cubicBezTo>
                      <a:cubicBezTo>
                        <a:pt x="85873" y="6789"/>
                        <a:pt x="84758" y="7421"/>
                        <a:pt x="84758" y="7736"/>
                      </a:cubicBezTo>
                      <a:cubicBezTo>
                        <a:pt x="84535" y="8052"/>
                        <a:pt x="84758" y="8052"/>
                        <a:pt x="84535" y="8210"/>
                      </a:cubicBezTo>
                      <a:cubicBezTo>
                        <a:pt x="84089" y="8368"/>
                        <a:pt x="82750" y="8842"/>
                        <a:pt x="82527" y="9000"/>
                      </a:cubicBezTo>
                      <a:close/>
                      <a:moveTo>
                        <a:pt x="85427" y="9631"/>
                      </a:moveTo>
                      <a:cubicBezTo>
                        <a:pt x="85427" y="9631"/>
                        <a:pt x="85427" y="9631"/>
                        <a:pt x="85427" y="9631"/>
                      </a:cubicBezTo>
                      <a:cubicBezTo>
                        <a:pt x="85427" y="9631"/>
                        <a:pt x="86096" y="9789"/>
                        <a:pt x="86096" y="9631"/>
                      </a:cubicBezTo>
                      <a:cubicBezTo>
                        <a:pt x="86096" y="9631"/>
                        <a:pt x="86319" y="9315"/>
                        <a:pt x="86319" y="8842"/>
                      </a:cubicBezTo>
                      <a:cubicBezTo>
                        <a:pt x="86542" y="8368"/>
                        <a:pt x="86988" y="8368"/>
                        <a:pt x="87211" y="8210"/>
                      </a:cubicBezTo>
                      <a:cubicBezTo>
                        <a:pt x="87434" y="8052"/>
                        <a:pt x="87211" y="8052"/>
                        <a:pt x="87434" y="7736"/>
                      </a:cubicBezTo>
                      <a:cubicBezTo>
                        <a:pt x="87434" y="7421"/>
                        <a:pt x="87211" y="7421"/>
                        <a:pt x="86765" y="7263"/>
                      </a:cubicBezTo>
                      <a:cubicBezTo>
                        <a:pt x="86096" y="7263"/>
                        <a:pt x="86096" y="7578"/>
                        <a:pt x="85650" y="7578"/>
                      </a:cubicBezTo>
                      <a:cubicBezTo>
                        <a:pt x="85427" y="7736"/>
                        <a:pt x="85427" y="8052"/>
                        <a:pt x="85650" y="8210"/>
                      </a:cubicBezTo>
                      <a:cubicBezTo>
                        <a:pt x="85650" y="8368"/>
                        <a:pt x="85204" y="8526"/>
                        <a:pt x="84758" y="8684"/>
                      </a:cubicBezTo>
                      <a:cubicBezTo>
                        <a:pt x="84312" y="9000"/>
                        <a:pt x="84312" y="9315"/>
                        <a:pt x="84312" y="9315"/>
                      </a:cubicBezTo>
                      <a:cubicBezTo>
                        <a:pt x="85427" y="9631"/>
                        <a:pt x="85427" y="9631"/>
                        <a:pt x="85427" y="9631"/>
                      </a:cubicBezTo>
                      <a:close/>
                      <a:moveTo>
                        <a:pt x="80966" y="19894"/>
                      </a:moveTo>
                      <a:cubicBezTo>
                        <a:pt x="80966" y="19894"/>
                        <a:pt x="80966" y="19894"/>
                        <a:pt x="80966" y="19894"/>
                      </a:cubicBezTo>
                      <a:cubicBezTo>
                        <a:pt x="81858" y="20052"/>
                        <a:pt x="81858" y="20052"/>
                        <a:pt x="81858" y="20052"/>
                      </a:cubicBezTo>
                      <a:cubicBezTo>
                        <a:pt x="83420" y="21315"/>
                        <a:pt x="83420" y="21315"/>
                        <a:pt x="83420" y="21315"/>
                      </a:cubicBezTo>
                      <a:cubicBezTo>
                        <a:pt x="84758" y="22421"/>
                        <a:pt x="84758" y="22421"/>
                        <a:pt x="84758" y="22421"/>
                      </a:cubicBezTo>
                      <a:cubicBezTo>
                        <a:pt x="84758" y="22421"/>
                        <a:pt x="86765" y="23526"/>
                        <a:pt x="87211" y="23684"/>
                      </a:cubicBezTo>
                      <a:cubicBezTo>
                        <a:pt x="87657" y="23842"/>
                        <a:pt x="90111" y="24157"/>
                        <a:pt x="90334" y="24315"/>
                      </a:cubicBezTo>
                      <a:cubicBezTo>
                        <a:pt x="91003" y="23684"/>
                        <a:pt x="91003" y="23684"/>
                        <a:pt x="91003" y="23684"/>
                      </a:cubicBezTo>
                      <a:cubicBezTo>
                        <a:pt x="91895" y="23210"/>
                        <a:pt x="91895" y="23210"/>
                        <a:pt x="91895" y="23210"/>
                      </a:cubicBezTo>
                      <a:cubicBezTo>
                        <a:pt x="91672" y="22894"/>
                        <a:pt x="91672" y="22894"/>
                        <a:pt x="91672" y="22894"/>
                      </a:cubicBezTo>
                      <a:cubicBezTo>
                        <a:pt x="92788" y="22421"/>
                        <a:pt x="92788" y="22421"/>
                        <a:pt x="92788" y="22421"/>
                      </a:cubicBezTo>
                      <a:cubicBezTo>
                        <a:pt x="93680" y="22894"/>
                        <a:pt x="93680" y="22894"/>
                        <a:pt x="93680" y="22894"/>
                      </a:cubicBezTo>
                      <a:cubicBezTo>
                        <a:pt x="95910" y="23210"/>
                        <a:pt x="95910" y="23210"/>
                        <a:pt x="95910" y="23210"/>
                      </a:cubicBezTo>
                      <a:cubicBezTo>
                        <a:pt x="96802" y="23684"/>
                        <a:pt x="96802" y="23684"/>
                        <a:pt x="96802" y="23684"/>
                      </a:cubicBezTo>
                      <a:cubicBezTo>
                        <a:pt x="96802" y="23684"/>
                        <a:pt x="96802" y="23684"/>
                        <a:pt x="97026" y="23684"/>
                      </a:cubicBezTo>
                      <a:cubicBezTo>
                        <a:pt x="97026" y="23684"/>
                        <a:pt x="97026" y="23684"/>
                        <a:pt x="97026" y="23684"/>
                      </a:cubicBezTo>
                      <a:cubicBezTo>
                        <a:pt x="97026" y="23684"/>
                        <a:pt x="97026" y="23684"/>
                        <a:pt x="97026" y="23684"/>
                      </a:cubicBezTo>
                      <a:cubicBezTo>
                        <a:pt x="97249" y="23526"/>
                        <a:pt x="97249" y="23526"/>
                        <a:pt x="97249" y="23526"/>
                      </a:cubicBezTo>
                      <a:cubicBezTo>
                        <a:pt x="97249" y="23526"/>
                        <a:pt x="97249" y="23526"/>
                        <a:pt x="97249" y="23526"/>
                      </a:cubicBezTo>
                      <a:cubicBezTo>
                        <a:pt x="97249" y="23526"/>
                        <a:pt x="97249" y="23526"/>
                        <a:pt x="97249" y="23526"/>
                      </a:cubicBezTo>
                      <a:cubicBezTo>
                        <a:pt x="97249" y="23526"/>
                        <a:pt x="97249" y="23526"/>
                        <a:pt x="97249" y="23526"/>
                      </a:cubicBezTo>
                      <a:cubicBezTo>
                        <a:pt x="97249" y="23526"/>
                        <a:pt x="97472" y="23526"/>
                        <a:pt x="97472" y="23526"/>
                      </a:cubicBezTo>
                      <a:cubicBezTo>
                        <a:pt x="97472" y="23526"/>
                        <a:pt x="97472" y="23526"/>
                        <a:pt x="97472" y="23526"/>
                      </a:cubicBezTo>
                      <a:cubicBezTo>
                        <a:pt x="97472" y="23526"/>
                        <a:pt x="97472" y="23526"/>
                        <a:pt x="97472" y="23526"/>
                      </a:cubicBezTo>
                      <a:cubicBezTo>
                        <a:pt x="97472" y="23526"/>
                        <a:pt x="97472" y="23526"/>
                        <a:pt x="97472" y="23526"/>
                      </a:cubicBezTo>
                      <a:cubicBezTo>
                        <a:pt x="97472" y="23526"/>
                        <a:pt x="97472" y="23526"/>
                        <a:pt x="97472"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210"/>
                        <a:pt x="97695" y="23210"/>
                        <a:pt x="97695" y="23210"/>
                      </a:cubicBezTo>
                      <a:cubicBezTo>
                        <a:pt x="97695" y="23052"/>
                        <a:pt x="97695" y="22105"/>
                        <a:pt x="97695" y="22105"/>
                      </a:cubicBezTo>
                      <a:cubicBezTo>
                        <a:pt x="97695" y="22105"/>
                        <a:pt x="97026" y="21789"/>
                        <a:pt x="97695" y="21473"/>
                      </a:cubicBezTo>
                      <a:cubicBezTo>
                        <a:pt x="98364" y="21000"/>
                        <a:pt x="99256" y="20526"/>
                        <a:pt x="99256" y="20526"/>
                      </a:cubicBezTo>
                      <a:cubicBezTo>
                        <a:pt x="99256" y="20526"/>
                        <a:pt x="99702" y="20368"/>
                        <a:pt x="99702" y="19894"/>
                      </a:cubicBezTo>
                      <a:cubicBezTo>
                        <a:pt x="99702" y="19421"/>
                        <a:pt x="99256" y="18157"/>
                        <a:pt x="99256" y="18157"/>
                      </a:cubicBezTo>
                      <a:cubicBezTo>
                        <a:pt x="99256" y="18157"/>
                        <a:pt x="98810" y="17368"/>
                        <a:pt x="98810" y="17052"/>
                      </a:cubicBezTo>
                      <a:cubicBezTo>
                        <a:pt x="99256" y="15157"/>
                        <a:pt x="98141" y="13894"/>
                        <a:pt x="98810" y="13578"/>
                      </a:cubicBezTo>
                      <a:cubicBezTo>
                        <a:pt x="98810" y="13578"/>
                        <a:pt x="98810" y="13578"/>
                        <a:pt x="98810" y="13578"/>
                      </a:cubicBezTo>
                      <a:cubicBezTo>
                        <a:pt x="98810" y="13578"/>
                        <a:pt x="98810" y="13578"/>
                        <a:pt x="98810" y="13578"/>
                      </a:cubicBezTo>
                      <a:cubicBezTo>
                        <a:pt x="99256" y="13421"/>
                        <a:pt x="99256" y="13421"/>
                        <a:pt x="99256" y="13421"/>
                      </a:cubicBezTo>
                      <a:cubicBezTo>
                        <a:pt x="99925" y="13105"/>
                        <a:pt x="99925" y="13105"/>
                        <a:pt x="99925" y="13105"/>
                      </a:cubicBezTo>
                      <a:cubicBezTo>
                        <a:pt x="99925" y="13105"/>
                        <a:pt x="99925" y="12947"/>
                        <a:pt x="99925" y="12947"/>
                      </a:cubicBezTo>
                      <a:cubicBezTo>
                        <a:pt x="99925" y="12157"/>
                        <a:pt x="98587" y="11368"/>
                        <a:pt x="100148" y="11210"/>
                      </a:cubicBezTo>
                      <a:cubicBezTo>
                        <a:pt x="100817" y="10894"/>
                        <a:pt x="100817" y="10894"/>
                        <a:pt x="100817" y="10894"/>
                      </a:cubicBezTo>
                      <a:cubicBezTo>
                        <a:pt x="102825" y="10894"/>
                        <a:pt x="102825" y="10894"/>
                        <a:pt x="102825" y="10894"/>
                      </a:cubicBezTo>
                      <a:cubicBezTo>
                        <a:pt x="103271" y="9947"/>
                        <a:pt x="103271" y="9947"/>
                        <a:pt x="103271" y="9947"/>
                      </a:cubicBezTo>
                      <a:cubicBezTo>
                        <a:pt x="104163" y="9315"/>
                        <a:pt x="104163" y="9315"/>
                        <a:pt x="104163" y="9315"/>
                      </a:cubicBezTo>
                      <a:cubicBezTo>
                        <a:pt x="104832" y="9315"/>
                        <a:pt x="105724" y="9157"/>
                        <a:pt x="106171" y="9315"/>
                      </a:cubicBezTo>
                      <a:cubicBezTo>
                        <a:pt x="106617" y="9789"/>
                        <a:pt x="106617" y="10105"/>
                        <a:pt x="107509" y="10263"/>
                      </a:cubicBezTo>
                      <a:cubicBezTo>
                        <a:pt x="110185" y="10894"/>
                        <a:pt x="110185" y="10894"/>
                        <a:pt x="110185" y="10894"/>
                      </a:cubicBezTo>
                      <a:cubicBezTo>
                        <a:pt x="111524" y="11052"/>
                        <a:pt x="111524" y="11052"/>
                        <a:pt x="111524" y="11052"/>
                      </a:cubicBezTo>
                      <a:cubicBezTo>
                        <a:pt x="111524" y="11052"/>
                        <a:pt x="111524" y="11052"/>
                        <a:pt x="111524" y="11052"/>
                      </a:cubicBezTo>
                      <a:cubicBezTo>
                        <a:pt x="111747" y="11052"/>
                        <a:pt x="111747" y="11052"/>
                        <a:pt x="111747" y="11052"/>
                      </a:cubicBezTo>
                      <a:cubicBezTo>
                        <a:pt x="111747" y="11052"/>
                        <a:pt x="111747" y="11052"/>
                        <a:pt x="111747" y="11052"/>
                      </a:cubicBezTo>
                      <a:cubicBezTo>
                        <a:pt x="112193" y="11368"/>
                        <a:pt x="112193" y="11368"/>
                        <a:pt x="112193" y="11368"/>
                      </a:cubicBezTo>
                      <a:cubicBezTo>
                        <a:pt x="112193" y="11368"/>
                        <a:pt x="112193" y="11368"/>
                        <a:pt x="112193" y="11368"/>
                      </a:cubicBezTo>
                      <a:cubicBezTo>
                        <a:pt x="112193" y="11368"/>
                        <a:pt x="112193" y="11368"/>
                        <a:pt x="112193" y="11368"/>
                      </a:cubicBezTo>
                      <a:cubicBezTo>
                        <a:pt x="112193" y="11368"/>
                        <a:pt x="112193" y="11368"/>
                        <a:pt x="112193" y="11368"/>
                      </a:cubicBezTo>
                      <a:cubicBezTo>
                        <a:pt x="112193" y="11684"/>
                        <a:pt x="112193" y="12000"/>
                        <a:pt x="112416" y="12157"/>
                      </a:cubicBezTo>
                      <a:cubicBezTo>
                        <a:pt x="112416" y="12473"/>
                        <a:pt x="112639" y="12947"/>
                        <a:pt x="112639" y="12947"/>
                      </a:cubicBezTo>
                      <a:cubicBezTo>
                        <a:pt x="112639" y="12947"/>
                        <a:pt x="112416" y="13421"/>
                        <a:pt x="112416" y="13736"/>
                      </a:cubicBezTo>
                      <a:cubicBezTo>
                        <a:pt x="112193" y="13894"/>
                        <a:pt x="112193" y="14368"/>
                        <a:pt x="112193" y="14526"/>
                      </a:cubicBezTo>
                      <a:cubicBezTo>
                        <a:pt x="112193" y="14684"/>
                        <a:pt x="112193" y="14842"/>
                        <a:pt x="112193" y="15000"/>
                      </a:cubicBezTo>
                      <a:cubicBezTo>
                        <a:pt x="112193" y="15315"/>
                        <a:pt x="112416" y="15789"/>
                        <a:pt x="112639" y="15947"/>
                      </a:cubicBezTo>
                      <a:cubicBezTo>
                        <a:pt x="112639" y="16105"/>
                        <a:pt x="113754" y="16578"/>
                        <a:pt x="113754" y="16578"/>
                      </a:cubicBezTo>
                      <a:cubicBezTo>
                        <a:pt x="113754" y="16578"/>
                        <a:pt x="113754" y="16578"/>
                        <a:pt x="113531" y="16736"/>
                      </a:cubicBezTo>
                      <a:cubicBezTo>
                        <a:pt x="113531" y="16736"/>
                        <a:pt x="113531" y="16894"/>
                        <a:pt x="113754" y="16894"/>
                      </a:cubicBezTo>
                      <a:cubicBezTo>
                        <a:pt x="114200" y="16894"/>
                        <a:pt x="114869" y="16736"/>
                        <a:pt x="114869" y="16736"/>
                      </a:cubicBezTo>
                      <a:cubicBezTo>
                        <a:pt x="114869" y="16736"/>
                        <a:pt x="114869" y="15315"/>
                        <a:pt x="114646" y="14842"/>
                      </a:cubicBezTo>
                      <a:cubicBezTo>
                        <a:pt x="114423" y="14210"/>
                        <a:pt x="115539" y="13578"/>
                        <a:pt x="115539" y="13578"/>
                      </a:cubicBezTo>
                      <a:cubicBezTo>
                        <a:pt x="117100" y="12473"/>
                        <a:pt x="117100" y="12473"/>
                        <a:pt x="117100" y="12473"/>
                      </a:cubicBezTo>
                      <a:cubicBezTo>
                        <a:pt x="116877" y="11210"/>
                        <a:pt x="116877" y="11210"/>
                        <a:pt x="116877" y="11210"/>
                      </a:cubicBezTo>
                      <a:cubicBezTo>
                        <a:pt x="118661" y="11368"/>
                        <a:pt x="118661" y="11368"/>
                        <a:pt x="118661" y="11368"/>
                      </a:cubicBezTo>
                      <a:cubicBezTo>
                        <a:pt x="118661" y="11368"/>
                        <a:pt x="120000" y="10894"/>
                        <a:pt x="119553" y="10263"/>
                      </a:cubicBezTo>
                      <a:cubicBezTo>
                        <a:pt x="119107" y="9473"/>
                        <a:pt x="118661" y="8210"/>
                        <a:pt x="118215" y="8526"/>
                      </a:cubicBezTo>
                      <a:cubicBezTo>
                        <a:pt x="117546" y="8842"/>
                        <a:pt x="116431" y="9789"/>
                        <a:pt x="116431" y="9789"/>
                      </a:cubicBezTo>
                      <a:cubicBezTo>
                        <a:pt x="116208" y="8210"/>
                        <a:pt x="116208" y="8210"/>
                        <a:pt x="116208" y="8210"/>
                      </a:cubicBezTo>
                      <a:cubicBezTo>
                        <a:pt x="114423" y="8684"/>
                        <a:pt x="114423" y="8684"/>
                        <a:pt x="114423" y="8684"/>
                      </a:cubicBezTo>
                      <a:cubicBezTo>
                        <a:pt x="112639" y="8368"/>
                        <a:pt x="112639" y="8368"/>
                        <a:pt x="112639" y="8368"/>
                      </a:cubicBezTo>
                      <a:cubicBezTo>
                        <a:pt x="112639" y="8368"/>
                        <a:pt x="111970" y="7736"/>
                        <a:pt x="111301" y="7894"/>
                      </a:cubicBezTo>
                      <a:cubicBezTo>
                        <a:pt x="110631" y="7894"/>
                        <a:pt x="109516" y="7894"/>
                        <a:pt x="109516" y="7894"/>
                      </a:cubicBezTo>
                      <a:cubicBezTo>
                        <a:pt x="109516" y="7894"/>
                        <a:pt x="108624" y="7421"/>
                        <a:pt x="109070" y="7263"/>
                      </a:cubicBezTo>
                      <a:cubicBezTo>
                        <a:pt x="109739" y="7263"/>
                        <a:pt x="111078" y="7421"/>
                        <a:pt x="111747" y="7263"/>
                      </a:cubicBezTo>
                      <a:cubicBezTo>
                        <a:pt x="112193" y="7263"/>
                        <a:pt x="115762" y="6631"/>
                        <a:pt x="115762" y="6631"/>
                      </a:cubicBezTo>
                      <a:cubicBezTo>
                        <a:pt x="115985" y="5526"/>
                        <a:pt x="115985" y="5526"/>
                        <a:pt x="115985" y="5526"/>
                      </a:cubicBezTo>
                      <a:cubicBezTo>
                        <a:pt x="117546" y="4578"/>
                        <a:pt x="117546" y="4578"/>
                        <a:pt x="117546" y="4578"/>
                      </a:cubicBezTo>
                      <a:cubicBezTo>
                        <a:pt x="114869" y="3157"/>
                        <a:pt x="114869" y="3157"/>
                        <a:pt x="114869" y="3157"/>
                      </a:cubicBezTo>
                      <a:cubicBezTo>
                        <a:pt x="113754" y="1894"/>
                        <a:pt x="113754" y="1894"/>
                        <a:pt x="113754" y="1894"/>
                      </a:cubicBezTo>
                      <a:cubicBezTo>
                        <a:pt x="113754" y="1894"/>
                        <a:pt x="113531" y="1421"/>
                        <a:pt x="113085" y="1421"/>
                      </a:cubicBezTo>
                      <a:cubicBezTo>
                        <a:pt x="112416" y="1421"/>
                        <a:pt x="110631" y="2052"/>
                        <a:pt x="110631" y="2052"/>
                      </a:cubicBezTo>
                      <a:cubicBezTo>
                        <a:pt x="109293" y="1421"/>
                        <a:pt x="109293" y="1421"/>
                        <a:pt x="109293" y="1421"/>
                      </a:cubicBezTo>
                      <a:cubicBezTo>
                        <a:pt x="107286" y="1578"/>
                        <a:pt x="107286" y="1578"/>
                        <a:pt x="107286" y="1578"/>
                      </a:cubicBezTo>
                      <a:cubicBezTo>
                        <a:pt x="104386" y="947"/>
                        <a:pt x="104386" y="947"/>
                        <a:pt x="104386" y="947"/>
                      </a:cubicBezTo>
                      <a:cubicBezTo>
                        <a:pt x="104386" y="1421"/>
                        <a:pt x="104386" y="1421"/>
                        <a:pt x="104386" y="1421"/>
                      </a:cubicBezTo>
                      <a:cubicBezTo>
                        <a:pt x="104386" y="1421"/>
                        <a:pt x="103494" y="1263"/>
                        <a:pt x="103271" y="947"/>
                      </a:cubicBezTo>
                      <a:cubicBezTo>
                        <a:pt x="103271" y="631"/>
                        <a:pt x="103271" y="315"/>
                        <a:pt x="103271" y="315"/>
                      </a:cubicBezTo>
                      <a:cubicBezTo>
                        <a:pt x="102156" y="473"/>
                        <a:pt x="102156" y="473"/>
                        <a:pt x="102156" y="473"/>
                      </a:cubicBezTo>
                      <a:cubicBezTo>
                        <a:pt x="101710" y="473"/>
                        <a:pt x="101710" y="473"/>
                        <a:pt x="101710" y="473"/>
                      </a:cubicBezTo>
                      <a:cubicBezTo>
                        <a:pt x="100371" y="0"/>
                        <a:pt x="100371" y="0"/>
                        <a:pt x="100371" y="0"/>
                      </a:cubicBezTo>
                      <a:cubicBezTo>
                        <a:pt x="99702" y="947"/>
                        <a:pt x="99702" y="947"/>
                        <a:pt x="99702" y="947"/>
                      </a:cubicBezTo>
                      <a:cubicBezTo>
                        <a:pt x="100594" y="2052"/>
                        <a:pt x="100594" y="2052"/>
                        <a:pt x="100594" y="2052"/>
                      </a:cubicBezTo>
                      <a:cubicBezTo>
                        <a:pt x="99702" y="3315"/>
                        <a:pt x="99702" y="3315"/>
                        <a:pt x="99702" y="3315"/>
                      </a:cubicBezTo>
                      <a:cubicBezTo>
                        <a:pt x="100371" y="4105"/>
                        <a:pt x="100371" y="4105"/>
                        <a:pt x="100371" y="4105"/>
                      </a:cubicBezTo>
                      <a:cubicBezTo>
                        <a:pt x="100371" y="5210"/>
                        <a:pt x="100371" y="5210"/>
                        <a:pt x="100371" y="5210"/>
                      </a:cubicBezTo>
                      <a:cubicBezTo>
                        <a:pt x="99479" y="6473"/>
                        <a:pt x="99479" y="6473"/>
                        <a:pt x="99479" y="6473"/>
                      </a:cubicBezTo>
                      <a:cubicBezTo>
                        <a:pt x="98141" y="5684"/>
                        <a:pt x="98141" y="5684"/>
                        <a:pt x="98141" y="5684"/>
                      </a:cubicBezTo>
                      <a:cubicBezTo>
                        <a:pt x="98364" y="4578"/>
                        <a:pt x="98364" y="4578"/>
                        <a:pt x="98364" y="4578"/>
                      </a:cubicBezTo>
                      <a:cubicBezTo>
                        <a:pt x="99033" y="3315"/>
                        <a:pt x="99033" y="3315"/>
                        <a:pt x="99033" y="3315"/>
                      </a:cubicBezTo>
                      <a:cubicBezTo>
                        <a:pt x="98141" y="2052"/>
                        <a:pt x="98141" y="2052"/>
                        <a:pt x="98141" y="2052"/>
                      </a:cubicBezTo>
                      <a:cubicBezTo>
                        <a:pt x="96356" y="3157"/>
                        <a:pt x="96356" y="3157"/>
                        <a:pt x="96356" y="3157"/>
                      </a:cubicBezTo>
                      <a:cubicBezTo>
                        <a:pt x="96356" y="4736"/>
                        <a:pt x="96356" y="4736"/>
                        <a:pt x="96356" y="4736"/>
                      </a:cubicBezTo>
                      <a:cubicBezTo>
                        <a:pt x="95464" y="5842"/>
                        <a:pt x="95464" y="5842"/>
                        <a:pt x="95464" y="5842"/>
                      </a:cubicBezTo>
                      <a:cubicBezTo>
                        <a:pt x="95464" y="7263"/>
                        <a:pt x="95464" y="7263"/>
                        <a:pt x="95464" y="7263"/>
                      </a:cubicBezTo>
                      <a:cubicBezTo>
                        <a:pt x="95018" y="8368"/>
                        <a:pt x="95018" y="8368"/>
                        <a:pt x="95018" y="8368"/>
                      </a:cubicBezTo>
                      <a:cubicBezTo>
                        <a:pt x="94795" y="9789"/>
                        <a:pt x="94795" y="9789"/>
                        <a:pt x="94795" y="9789"/>
                      </a:cubicBezTo>
                      <a:cubicBezTo>
                        <a:pt x="94795" y="9789"/>
                        <a:pt x="94795" y="10105"/>
                        <a:pt x="94349" y="10105"/>
                      </a:cubicBezTo>
                      <a:cubicBezTo>
                        <a:pt x="93903" y="10263"/>
                        <a:pt x="93011" y="9947"/>
                        <a:pt x="93011" y="9947"/>
                      </a:cubicBezTo>
                      <a:cubicBezTo>
                        <a:pt x="93011" y="7894"/>
                        <a:pt x="93011" y="7894"/>
                        <a:pt x="93011" y="7894"/>
                      </a:cubicBezTo>
                      <a:cubicBezTo>
                        <a:pt x="93457" y="6789"/>
                        <a:pt x="93457" y="6789"/>
                        <a:pt x="93457" y="6789"/>
                      </a:cubicBezTo>
                      <a:cubicBezTo>
                        <a:pt x="94126" y="5842"/>
                        <a:pt x="94126" y="5842"/>
                        <a:pt x="94126" y="5842"/>
                      </a:cubicBezTo>
                      <a:cubicBezTo>
                        <a:pt x="95018" y="4578"/>
                        <a:pt x="95018" y="4578"/>
                        <a:pt x="95018" y="4578"/>
                      </a:cubicBezTo>
                      <a:cubicBezTo>
                        <a:pt x="95018" y="4578"/>
                        <a:pt x="95018" y="3789"/>
                        <a:pt x="94795" y="3631"/>
                      </a:cubicBezTo>
                      <a:cubicBezTo>
                        <a:pt x="94795" y="3631"/>
                        <a:pt x="94349" y="3473"/>
                        <a:pt x="94572" y="3473"/>
                      </a:cubicBezTo>
                      <a:cubicBezTo>
                        <a:pt x="94572" y="3315"/>
                        <a:pt x="95464" y="2684"/>
                        <a:pt x="95464" y="2684"/>
                      </a:cubicBezTo>
                      <a:cubicBezTo>
                        <a:pt x="95464" y="2684"/>
                        <a:pt x="95464" y="2210"/>
                        <a:pt x="94795" y="1894"/>
                      </a:cubicBezTo>
                      <a:cubicBezTo>
                        <a:pt x="94349" y="1736"/>
                        <a:pt x="93903" y="1421"/>
                        <a:pt x="93457" y="1578"/>
                      </a:cubicBezTo>
                      <a:cubicBezTo>
                        <a:pt x="93234" y="1736"/>
                        <a:pt x="92118" y="2052"/>
                        <a:pt x="92118" y="2210"/>
                      </a:cubicBezTo>
                      <a:cubicBezTo>
                        <a:pt x="91895" y="2368"/>
                        <a:pt x="92118" y="2684"/>
                        <a:pt x="92342" y="2842"/>
                      </a:cubicBezTo>
                      <a:cubicBezTo>
                        <a:pt x="92565" y="2842"/>
                        <a:pt x="92788" y="3000"/>
                        <a:pt x="93011" y="3000"/>
                      </a:cubicBezTo>
                      <a:cubicBezTo>
                        <a:pt x="93011" y="3157"/>
                        <a:pt x="93234" y="3631"/>
                        <a:pt x="93011" y="3789"/>
                      </a:cubicBezTo>
                      <a:cubicBezTo>
                        <a:pt x="92788" y="3947"/>
                        <a:pt x="93011" y="4421"/>
                        <a:pt x="92342" y="4263"/>
                      </a:cubicBezTo>
                      <a:cubicBezTo>
                        <a:pt x="91895" y="4105"/>
                        <a:pt x="90557" y="3473"/>
                        <a:pt x="90557" y="3473"/>
                      </a:cubicBezTo>
                      <a:cubicBezTo>
                        <a:pt x="90334" y="3473"/>
                        <a:pt x="90557" y="2842"/>
                        <a:pt x="90111" y="3473"/>
                      </a:cubicBezTo>
                      <a:cubicBezTo>
                        <a:pt x="89665" y="3947"/>
                        <a:pt x="89442" y="4105"/>
                        <a:pt x="89665" y="4421"/>
                      </a:cubicBezTo>
                      <a:cubicBezTo>
                        <a:pt x="89888" y="4736"/>
                        <a:pt x="90111" y="4736"/>
                        <a:pt x="90111" y="4894"/>
                      </a:cubicBezTo>
                      <a:cubicBezTo>
                        <a:pt x="90111" y="5052"/>
                        <a:pt x="89219" y="5052"/>
                        <a:pt x="89219" y="5210"/>
                      </a:cubicBezTo>
                      <a:cubicBezTo>
                        <a:pt x="89219" y="5368"/>
                        <a:pt x="88996" y="5526"/>
                        <a:pt x="89442" y="5842"/>
                      </a:cubicBezTo>
                      <a:cubicBezTo>
                        <a:pt x="89888" y="6000"/>
                        <a:pt x="90334" y="6157"/>
                        <a:pt x="90334" y="6157"/>
                      </a:cubicBezTo>
                      <a:cubicBezTo>
                        <a:pt x="90334" y="6157"/>
                        <a:pt x="90780" y="6631"/>
                        <a:pt x="90557" y="6631"/>
                      </a:cubicBezTo>
                      <a:cubicBezTo>
                        <a:pt x="90557" y="6789"/>
                        <a:pt x="89219" y="6631"/>
                        <a:pt x="89219" y="6789"/>
                      </a:cubicBezTo>
                      <a:cubicBezTo>
                        <a:pt x="89219" y="6947"/>
                        <a:pt x="89219" y="7263"/>
                        <a:pt x="89219" y="7421"/>
                      </a:cubicBezTo>
                      <a:cubicBezTo>
                        <a:pt x="89219" y="7578"/>
                        <a:pt x="89219" y="7894"/>
                        <a:pt x="89219" y="7894"/>
                      </a:cubicBezTo>
                      <a:cubicBezTo>
                        <a:pt x="89219" y="8052"/>
                        <a:pt x="88327" y="8052"/>
                        <a:pt x="88104" y="8210"/>
                      </a:cubicBezTo>
                      <a:cubicBezTo>
                        <a:pt x="87657" y="8368"/>
                        <a:pt x="87434" y="8842"/>
                        <a:pt x="87434" y="9157"/>
                      </a:cubicBezTo>
                      <a:cubicBezTo>
                        <a:pt x="87211" y="9473"/>
                        <a:pt x="87211" y="9789"/>
                        <a:pt x="87211" y="9947"/>
                      </a:cubicBezTo>
                      <a:cubicBezTo>
                        <a:pt x="87211" y="10105"/>
                        <a:pt x="86765" y="10421"/>
                        <a:pt x="86765" y="10421"/>
                      </a:cubicBezTo>
                      <a:cubicBezTo>
                        <a:pt x="86765" y="10421"/>
                        <a:pt x="86765" y="10578"/>
                        <a:pt x="86319" y="10421"/>
                      </a:cubicBezTo>
                      <a:cubicBezTo>
                        <a:pt x="85873" y="10421"/>
                        <a:pt x="84312" y="9789"/>
                        <a:pt x="84089" y="9789"/>
                      </a:cubicBezTo>
                      <a:cubicBezTo>
                        <a:pt x="83643" y="9789"/>
                        <a:pt x="83197" y="9947"/>
                        <a:pt x="83197" y="10263"/>
                      </a:cubicBezTo>
                      <a:cubicBezTo>
                        <a:pt x="83197" y="10421"/>
                        <a:pt x="83866" y="10894"/>
                        <a:pt x="84089" y="10894"/>
                      </a:cubicBezTo>
                      <a:cubicBezTo>
                        <a:pt x="84089" y="10894"/>
                        <a:pt x="85204" y="11052"/>
                        <a:pt x="85427" y="11210"/>
                      </a:cubicBezTo>
                      <a:cubicBezTo>
                        <a:pt x="85427" y="11368"/>
                        <a:pt x="85427" y="12473"/>
                        <a:pt x="85427" y="12473"/>
                      </a:cubicBezTo>
                      <a:cubicBezTo>
                        <a:pt x="85427" y="12473"/>
                        <a:pt x="86319" y="13736"/>
                        <a:pt x="84758" y="12631"/>
                      </a:cubicBezTo>
                      <a:cubicBezTo>
                        <a:pt x="82973" y="11526"/>
                        <a:pt x="82973" y="11368"/>
                        <a:pt x="82750" y="11210"/>
                      </a:cubicBezTo>
                      <a:cubicBezTo>
                        <a:pt x="82527" y="11210"/>
                        <a:pt x="80966" y="10894"/>
                        <a:pt x="80966" y="10894"/>
                      </a:cubicBezTo>
                      <a:cubicBezTo>
                        <a:pt x="80966" y="10894"/>
                        <a:pt x="80743" y="10421"/>
                        <a:pt x="80520" y="10894"/>
                      </a:cubicBezTo>
                      <a:cubicBezTo>
                        <a:pt x="80297" y="11210"/>
                        <a:pt x="80966" y="12000"/>
                        <a:pt x="80966" y="12000"/>
                      </a:cubicBezTo>
                      <a:cubicBezTo>
                        <a:pt x="80743" y="11842"/>
                        <a:pt x="80743" y="11842"/>
                        <a:pt x="80743" y="11842"/>
                      </a:cubicBezTo>
                      <a:cubicBezTo>
                        <a:pt x="80743" y="11842"/>
                        <a:pt x="80074" y="11526"/>
                        <a:pt x="79628" y="11368"/>
                      </a:cubicBezTo>
                      <a:cubicBezTo>
                        <a:pt x="79405" y="11052"/>
                        <a:pt x="78736" y="11368"/>
                        <a:pt x="78736" y="11368"/>
                      </a:cubicBezTo>
                      <a:cubicBezTo>
                        <a:pt x="78736" y="11368"/>
                        <a:pt x="78513" y="11526"/>
                        <a:pt x="78066" y="11842"/>
                      </a:cubicBezTo>
                      <a:cubicBezTo>
                        <a:pt x="77843" y="12000"/>
                        <a:pt x="76951" y="11368"/>
                        <a:pt x="77843" y="12157"/>
                      </a:cubicBezTo>
                      <a:cubicBezTo>
                        <a:pt x="78513" y="12789"/>
                        <a:pt x="79182" y="12947"/>
                        <a:pt x="79405" y="13105"/>
                      </a:cubicBezTo>
                      <a:cubicBezTo>
                        <a:pt x="79405" y="13105"/>
                        <a:pt x="80297" y="13263"/>
                        <a:pt x="80520" y="13421"/>
                      </a:cubicBezTo>
                      <a:cubicBezTo>
                        <a:pt x="80743" y="13578"/>
                        <a:pt x="80743" y="14052"/>
                        <a:pt x="80743" y="14210"/>
                      </a:cubicBezTo>
                      <a:cubicBezTo>
                        <a:pt x="80743" y="14210"/>
                        <a:pt x="81412" y="14842"/>
                        <a:pt x="80297" y="14368"/>
                      </a:cubicBezTo>
                      <a:cubicBezTo>
                        <a:pt x="79182" y="13736"/>
                        <a:pt x="79182" y="13578"/>
                        <a:pt x="78736" y="13578"/>
                      </a:cubicBezTo>
                      <a:cubicBezTo>
                        <a:pt x="78513" y="13578"/>
                        <a:pt x="78066" y="13894"/>
                        <a:pt x="78066" y="13894"/>
                      </a:cubicBezTo>
                      <a:cubicBezTo>
                        <a:pt x="78066" y="13894"/>
                        <a:pt x="76728" y="13736"/>
                        <a:pt x="76728" y="13263"/>
                      </a:cubicBezTo>
                      <a:cubicBezTo>
                        <a:pt x="76505" y="12789"/>
                        <a:pt x="76951" y="12000"/>
                        <a:pt x="76059" y="12157"/>
                      </a:cubicBezTo>
                      <a:cubicBezTo>
                        <a:pt x="74944" y="12157"/>
                        <a:pt x="74721" y="12473"/>
                        <a:pt x="74721" y="12631"/>
                      </a:cubicBezTo>
                      <a:cubicBezTo>
                        <a:pt x="74721" y="12789"/>
                        <a:pt x="74052" y="12947"/>
                        <a:pt x="74721" y="13421"/>
                      </a:cubicBezTo>
                      <a:cubicBezTo>
                        <a:pt x="75390" y="13894"/>
                        <a:pt x="75836" y="14210"/>
                        <a:pt x="76059" y="14210"/>
                      </a:cubicBezTo>
                      <a:cubicBezTo>
                        <a:pt x="76059" y="14210"/>
                        <a:pt x="77397" y="14210"/>
                        <a:pt x="76728" y="14368"/>
                      </a:cubicBezTo>
                      <a:cubicBezTo>
                        <a:pt x="76282" y="14684"/>
                        <a:pt x="75390" y="14684"/>
                        <a:pt x="75167" y="14684"/>
                      </a:cubicBezTo>
                      <a:cubicBezTo>
                        <a:pt x="74944" y="14684"/>
                        <a:pt x="75167" y="14526"/>
                        <a:pt x="74944" y="14684"/>
                      </a:cubicBezTo>
                      <a:cubicBezTo>
                        <a:pt x="74498" y="14842"/>
                        <a:pt x="73382" y="15631"/>
                        <a:pt x="73382" y="15631"/>
                      </a:cubicBezTo>
                      <a:cubicBezTo>
                        <a:pt x="73382" y="15631"/>
                        <a:pt x="73159" y="15315"/>
                        <a:pt x="73159" y="15157"/>
                      </a:cubicBezTo>
                      <a:cubicBezTo>
                        <a:pt x="73159" y="15000"/>
                        <a:pt x="74052" y="14684"/>
                        <a:pt x="74052" y="14368"/>
                      </a:cubicBezTo>
                      <a:cubicBezTo>
                        <a:pt x="74052" y="14052"/>
                        <a:pt x="73605" y="12947"/>
                        <a:pt x="73605" y="12947"/>
                      </a:cubicBezTo>
                      <a:cubicBezTo>
                        <a:pt x="73605" y="12947"/>
                        <a:pt x="72713" y="12631"/>
                        <a:pt x="72713" y="12631"/>
                      </a:cubicBezTo>
                      <a:cubicBezTo>
                        <a:pt x="72490" y="12473"/>
                        <a:pt x="71821" y="12157"/>
                        <a:pt x="71598" y="12315"/>
                      </a:cubicBezTo>
                      <a:cubicBezTo>
                        <a:pt x="71375" y="12473"/>
                        <a:pt x="70929" y="12947"/>
                        <a:pt x="71375" y="13263"/>
                      </a:cubicBezTo>
                      <a:cubicBezTo>
                        <a:pt x="71821" y="13736"/>
                        <a:pt x="72267" y="14052"/>
                        <a:pt x="72044" y="14052"/>
                      </a:cubicBezTo>
                      <a:cubicBezTo>
                        <a:pt x="71598" y="14210"/>
                        <a:pt x="71375" y="14368"/>
                        <a:pt x="71152" y="14210"/>
                      </a:cubicBezTo>
                      <a:cubicBezTo>
                        <a:pt x="70929" y="14210"/>
                        <a:pt x="70483" y="13894"/>
                        <a:pt x="69814" y="14052"/>
                      </a:cubicBezTo>
                      <a:cubicBezTo>
                        <a:pt x="69144" y="14210"/>
                        <a:pt x="68475" y="15157"/>
                        <a:pt x="68475" y="15157"/>
                      </a:cubicBezTo>
                      <a:cubicBezTo>
                        <a:pt x="68475" y="15157"/>
                        <a:pt x="69144" y="16105"/>
                        <a:pt x="69368" y="16263"/>
                      </a:cubicBezTo>
                      <a:cubicBezTo>
                        <a:pt x="69591" y="16263"/>
                        <a:pt x="69814" y="16578"/>
                        <a:pt x="69814" y="16894"/>
                      </a:cubicBezTo>
                      <a:cubicBezTo>
                        <a:pt x="69591" y="17210"/>
                        <a:pt x="69814" y="16736"/>
                        <a:pt x="69368" y="16894"/>
                      </a:cubicBezTo>
                      <a:cubicBezTo>
                        <a:pt x="68698" y="17052"/>
                        <a:pt x="68475" y="17210"/>
                        <a:pt x="68029" y="17210"/>
                      </a:cubicBezTo>
                      <a:cubicBezTo>
                        <a:pt x="67583" y="17210"/>
                        <a:pt x="66468" y="18157"/>
                        <a:pt x="66468" y="18157"/>
                      </a:cubicBezTo>
                      <a:cubicBezTo>
                        <a:pt x="67137" y="18789"/>
                        <a:pt x="67137" y="18789"/>
                        <a:pt x="67137" y="18789"/>
                      </a:cubicBezTo>
                      <a:cubicBezTo>
                        <a:pt x="67137" y="18789"/>
                        <a:pt x="65353" y="19263"/>
                        <a:pt x="64907" y="19421"/>
                      </a:cubicBezTo>
                      <a:cubicBezTo>
                        <a:pt x="64684" y="19421"/>
                        <a:pt x="65576" y="19263"/>
                        <a:pt x="64460" y="19421"/>
                      </a:cubicBezTo>
                      <a:cubicBezTo>
                        <a:pt x="63568" y="19736"/>
                        <a:pt x="62899" y="20368"/>
                        <a:pt x="62676" y="20684"/>
                      </a:cubicBezTo>
                      <a:cubicBezTo>
                        <a:pt x="62676" y="20842"/>
                        <a:pt x="61784" y="20842"/>
                        <a:pt x="61784" y="21315"/>
                      </a:cubicBezTo>
                      <a:cubicBezTo>
                        <a:pt x="61784" y="21631"/>
                        <a:pt x="62007" y="22263"/>
                        <a:pt x="61784" y="22421"/>
                      </a:cubicBezTo>
                      <a:cubicBezTo>
                        <a:pt x="61784" y="22578"/>
                        <a:pt x="61784" y="22578"/>
                        <a:pt x="61784" y="22894"/>
                      </a:cubicBezTo>
                      <a:cubicBezTo>
                        <a:pt x="61784" y="23210"/>
                        <a:pt x="61561" y="23526"/>
                        <a:pt x="62230" y="23526"/>
                      </a:cubicBezTo>
                      <a:cubicBezTo>
                        <a:pt x="62899" y="23526"/>
                        <a:pt x="63791" y="23210"/>
                        <a:pt x="64014" y="23052"/>
                      </a:cubicBezTo>
                      <a:cubicBezTo>
                        <a:pt x="64014" y="22894"/>
                        <a:pt x="64237" y="22263"/>
                        <a:pt x="64460" y="22578"/>
                      </a:cubicBezTo>
                      <a:cubicBezTo>
                        <a:pt x="64907" y="22736"/>
                        <a:pt x="64907" y="23368"/>
                        <a:pt x="64907" y="23368"/>
                      </a:cubicBezTo>
                      <a:cubicBezTo>
                        <a:pt x="64907" y="23368"/>
                        <a:pt x="64907" y="24000"/>
                        <a:pt x="64907" y="24157"/>
                      </a:cubicBezTo>
                      <a:cubicBezTo>
                        <a:pt x="64684" y="24473"/>
                        <a:pt x="66245" y="24157"/>
                        <a:pt x="64684" y="24631"/>
                      </a:cubicBezTo>
                      <a:cubicBezTo>
                        <a:pt x="63122" y="25263"/>
                        <a:pt x="62676" y="25263"/>
                        <a:pt x="62676" y="25421"/>
                      </a:cubicBezTo>
                      <a:cubicBezTo>
                        <a:pt x="62676" y="25736"/>
                        <a:pt x="63568" y="26526"/>
                        <a:pt x="62453" y="26210"/>
                      </a:cubicBezTo>
                      <a:cubicBezTo>
                        <a:pt x="61338" y="26052"/>
                        <a:pt x="61338" y="26210"/>
                        <a:pt x="61338" y="26052"/>
                      </a:cubicBezTo>
                      <a:cubicBezTo>
                        <a:pt x="61115" y="25894"/>
                        <a:pt x="61561" y="26842"/>
                        <a:pt x="60223" y="25421"/>
                      </a:cubicBezTo>
                      <a:cubicBezTo>
                        <a:pt x="58884" y="24000"/>
                        <a:pt x="58884" y="24157"/>
                        <a:pt x="58884" y="23842"/>
                      </a:cubicBezTo>
                      <a:cubicBezTo>
                        <a:pt x="58884" y="23526"/>
                        <a:pt x="58661" y="22421"/>
                        <a:pt x="58661" y="22421"/>
                      </a:cubicBezTo>
                      <a:cubicBezTo>
                        <a:pt x="58661" y="22421"/>
                        <a:pt x="58438" y="21315"/>
                        <a:pt x="57769" y="21789"/>
                      </a:cubicBezTo>
                      <a:cubicBezTo>
                        <a:pt x="56877" y="22263"/>
                        <a:pt x="56877" y="23052"/>
                        <a:pt x="56877" y="23052"/>
                      </a:cubicBezTo>
                      <a:cubicBezTo>
                        <a:pt x="56877" y="23052"/>
                        <a:pt x="55762" y="23842"/>
                        <a:pt x="55539" y="24000"/>
                      </a:cubicBezTo>
                      <a:cubicBezTo>
                        <a:pt x="55315" y="24000"/>
                        <a:pt x="54869" y="24000"/>
                        <a:pt x="54200" y="24315"/>
                      </a:cubicBezTo>
                      <a:cubicBezTo>
                        <a:pt x="53754" y="24789"/>
                        <a:pt x="52193" y="26368"/>
                        <a:pt x="52193" y="26368"/>
                      </a:cubicBezTo>
                      <a:cubicBezTo>
                        <a:pt x="52193" y="26368"/>
                        <a:pt x="51301" y="27473"/>
                        <a:pt x="51524" y="27789"/>
                      </a:cubicBezTo>
                      <a:cubicBezTo>
                        <a:pt x="51747" y="28105"/>
                        <a:pt x="52416" y="28578"/>
                        <a:pt x="52416" y="28578"/>
                      </a:cubicBezTo>
                      <a:cubicBezTo>
                        <a:pt x="52416" y="28578"/>
                        <a:pt x="52639" y="28421"/>
                        <a:pt x="52639" y="28894"/>
                      </a:cubicBezTo>
                      <a:cubicBezTo>
                        <a:pt x="52639" y="29368"/>
                        <a:pt x="53754" y="29526"/>
                        <a:pt x="53754" y="29526"/>
                      </a:cubicBezTo>
                      <a:cubicBezTo>
                        <a:pt x="53754" y="29526"/>
                        <a:pt x="54200" y="29684"/>
                        <a:pt x="53754" y="30000"/>
                      </a:cubicBezTo>
                      <a:cubicBezTo>
                        <a:pt x="53085" y="30315"/>
                        <a:pt x="51301" y="30473"/>
                        <a:pt x="51301" y="30473"/>
                      </a:cubicBezTo>
                      <a:cubicBezTo>
                        <a:pt x="49516" y="30473"/>
                        <a:pt x="49516" y="30473"/>
                        <a:pt x="49516" y="30473"/>
                      </a:cubicBezTo>
                      <a:cubicBezTo>
                        <a:pt x="49516" y="30473"/>
                        <a:pt x="48624" y="31263"/>
                        <a:pt x="48401" y="31263"/>
                      </a:cubicBezTo>
                      <a:cubicBezTo>
                        <a:pt x="47955" y="31421"/>
                        <a:pt x="47286" y="31736"/>
                        <a:pt x="47063" y="32210"/>
                      </a:cubicBezTo>
                      <a:cubicBezTo>
                        <a:pt x="47063" y="32526"/>
                        <a:pt x="45055" y="33789"/>
                        <a:pt x="45055" y="33789"/>
                      </a:cubicBezTo>
                      <a:cubicBezTo>
                        <a:pt x="45055" y="33789"/>
                        <a:pt x="45055" y="34263"/>
                        <a:pt x="45055" y="34421"/>
                      </a:cubicBezTo>
                      <a:cubicBezTo>
                        <a:pt x="45055" y="34578"/>
                        <a:pt x="44163" y="34894"/>
                        <a:pt x="44609" y="35052"/>
                      </a:cubicBezTo>
                      <a:cubicBezTo>
                        <a:pt x="45055" y="35210"/>
                        <a:pt x="45724" y="35368"/>
                        <a:pt x="46171" y="34736"/>
                      </a:cubicBezTo>
                      <a:cubicBezTo>
                        <a:pt x="46617" y="34263"/>
                        <a:pt x="46617" y="33473"/>
                        <a:pt x="46617" y="33473"/>
                      </a:cubicBezTo>
                      <a:cubicBezTo>
                        <a:pt x="46617" y="33473"/>
                        <a:pt x="47063" y="33157"/>
                        <a:pt x="47509" y="33157"/>
                      </a:cubicBezTo>
                      <a:cubicBezTo>
                        <a:pt x="48178" y="33157"/>
                        <a:pt x="48847" y="32684"/>
                        <a:pt x="49516" y="32526"/>
                      </a:cubicBezTo>
                      <a:cubicBezTo>
                        <a:pt x="50185" y="32526"/>
                        <a:pt x="51078" y="31736"/>
                        <a:pt x="51301" y="31736"/>
                      </a:cubicBezTo>
                      <a:cubicBezTo>
                        <a:pt x="51747" y="31736"/>
                        <a:pt x="51524" y="31894"/>
                        <a:pt x="52416" y="31736"/>
                      </a:cubicBezTo>
                      <a:cubicBezTo>
                        <a:pt x="53308" y="31736"/>
                        <a:pt x="54200" y="31736"/>
                        <a:pt x="54423" y="31578"/>
                      </a:cubicBezTo>
                      <a:cubicBezTo>
                        <a:pt x="54869" y="31421"/>
                        <a:pt x="56654" y="32210"/>
                        <a:pt x="56877" y="32368"/>
                      </a:cubicBezTo>
                      <a:cubicBezTo>
                        <a:pt x="56877" y="32526"/>
                        <a:pt x="55315" y="32684"/>
                        <a:pt x="55985" y="33000"/>
                      </a:cubicBezTo>
                      <a:cubicBezTo>
                        <a:pt x="56877" y="33315"/>
                        <a:pt x="56877" y="33473"/>
                        <a:pt x="57100" y="33473"/>
                      </a:cubicBezTo>
                      <a:cubicBezTo>
                        <a:pt x="57323" y="33473"/>
                        <a:pt x="57769" y="33315"/>
                        <a:pt x="58438" y="33157"/>
                      </a:cubicBezTo>
                      <a:cubicBezTo>
                        <a:pt x="58884" y="32842"/>
                        <a:pt x="57992" y="32368"/>
                        <a:pt x="59330" y="32684"/>
                      </a:cubicBezTo>
                      <a:cubicBezTo>
                        <a:pt x="60446" y="33000"/>
                        <a:pt x="60446" y="33315"/>
                        <a:pt x="60446" y="33315"/>
                      </a:cubicBezTo>
                      <a:cubicBezTo>
                        <a:pt x="60223" y="33631"/>
                        <a:pt x="60223" y="33631"/>
                        <a:pt x="60223" y="33631"/>
                      </a:cubicBezTo>
                      <a:cubicBezTo>
                        <a:pt x="59330" y="33789"/>
                        <a:pt x="59330" y="33789"/>
                        <a:pt x="59330" y="33789"/>
                      </a:cubicBezTo>
                      <a:cubicBezTo>
                        <a:pt x="57992" y="33631"/>
                        <a:pt x="57992" y="33631"/>
                        <a:pt x="57992" y="33631"/>
                      </a:cubicBezTo>
                      <a:cubicBezTo>
                        <a:pt x="57100" y="33947"/>
                        <a:pt x="57100" y="33947"/>
                        <a:pt x="57100" y="33947"/>
                      </a:cubicBezTo>
                      <a:cubicBezTo>
                        <a:pt x="57100" y="33947"/>
                        <a:pt x="56877" y="34105"/>
                        <a:pt x="56654" y="34105"/>
                      </a:cubicBezTo>
                      <a:cubicBezTo>
                        <a:pt x="56654" y="34105"/>
                        <a:pt x="54646" y="34263"/>
                        <a:pt x="54646" y="34263"/>
                      </a:cubicBezTo>
                      <a:cubicBezTo>
                        <a:pt x="53754" y="35210"/>
                        <a:pt x="53754" y="35210"/>
                        <a:pt x="53754" y="35210"/>
                      </a:cubicBezTo>
                      <a:cubicBezTo>
                        <a:pt x="53754" y="35210"/>
                        <a:pt x="54423" y="35842"/>
                        <a:pt x="54423" y="35842"/>
                      </a:cubicBezTo>
                      <a:cubicBezTo>
                        <a:pt x="54646" y="35842"/>
                        <a:pt x="55985" y="35526"/>
                        <a:pt x="55985" y="35684"/>
                      </a:cubicBezTo>
                      <a:cubicBezTo>
                        <a:pt x="56208" y="35684"/>
                        <a:pt x="56431" y="36000"/>
                        <a:pt x="56208" y="36157"/>
                      </a:cubicBezTo>
                      <a:cubicBezTo>
                        <a:pt x="56208" y="36315"/>
                        <a:pt x="55315" y="36789"/>
                        <a:pt x="55315" y="36789"/>
                      </a:cubicBezTo>
                      <a:cubicBezTo>
                        <a:pt x="54869" y="37421"/>
                        <a:pt x="54869" y="37421"/>
                        <a:pt x="54869" y="37421"/>
                      </a:cubicBezTo>
                      <a:cubicBezTo>
                        <a:pt x="54869" y="37421"/>
                        <a:pt x="55762" y="37578"/>
                        <a:pt x="55985" y="37578"/>
                      </a:cubicBezTo>
                      <a:cubicBezTo>
                        <a:pt x="55985" y="37578"/>
                        <a:pt x="57323" y="37578"/>
                        <a:pt x="57100" y="37736"/>
                      </a:cubicBezTo>
                      <a:cubicBezTo>
                        <a:pt x="57100" y="37736"/>
                        <a:pt x="55092" y="37894"/>
                        <a:pt x="55092" y="37894"/>
                      </a:cubicBezTo>
                      <a:cubicBezTo>
                        <a:pt x="55092" y="37894"/>
                        <a:pt x="53308" y="37736"/>
                        <a:pt x="53531" y="37736"/>
                      </a:cubicBezTo>
                      <a:cubicBezTo>
                        <a:pt x="53531" y="37894"/>
                        <a:pt x="53308" y="38210"/>
                        <a:pt x="53308" y="38368"/>
                      </a:cubicBezTo>
                      <a:cubicBezTo>
                        <a:pt x="53308" y="38368"/>
                        <a:pt x="52862" y="38842"/>
                        <a:pt x="52862" y="38842"/>
                      </a:cubicBezTo>
                      <a:cubicBezTo>
                        <a:pt x="52639" y="38842"/>
                        <a:pt x="52193" y="38842"/>
                        <a:pt x="51970" y="39000"/>
                      </a:cubicBezTo>
                      <a:cubicBezTo>
                        <a:pt x="51970" y="39157"/>
                        <a:pt x="51747" y="39473"/>
                        <a:pt x="51747" y="39789"/>
                      </a:cubicBezTo>
                      <a:cubicBezTo>
                        <a:pt x="51747" y="39947"/>
                        <a:pt x="52416" y="40421"/>
                        <a:pt x="52416" y="40421"/>
                      </a:cubicBezTo>
                      <a:cubicBezTo>
                        <a:pt x="52193" y="40736"/>
                        <a:pt x="52193" y="40736"/>
                        <a:pt x="52193" y="40736"/>
                      </a:cubicBezTo>
                      <a:cubicBezTo>
                        <a:pt x="51301" y="41368"/>
                        <a:pt x="51301" y="41368"/>
                        <a:pt x="51301" y="41368"/>
                      </a:cubicBezTo>
                      <a:cubicBezTo>
                        <a:pt x="51301" y="41368"/>
                        <a:pt x="50855" y="41526"/>
                        <a:pt x="50855" y="41684"/>
                      </a:cubicBezTo>
                      <a:cubicBezTo>
                        <a:pt x="51078" y="41684"/>
                        <a:pt x="50185" y="42000"/>
                        <a:pt x="50185" y="42000"/>
                      </a:cubicBezTo>
                      <a:cubicBezTo>
                        <a:pt x="48624" y="42631"/>
                        <a:pt x="48624" y="42631"/>
                        <a:pt x="48624" y="42631"/>
                      </a:cubicBezTo>
                      <a:cubicBezTo>
                        <a:pt x="48624" y="42631"/>
                        <a:pt x="48847" y="43105"/>
                        <a:pt x="48847" y="43263"/>
                      </a:cubicBezTo>
                      <a:cubicBezTo>
                        <a:pt x="48847" y="43263"/>
                        <a:pt x="49516" y="43578"/>
                        <a:pt x="49070" y="43894"/>
                      </a:cubicBezTo>
                      <a:cubicBezTo>
                        <a:pt x="48624" y="44052"/>
                        <a:pt x="48178" y="44210"/>
                        <a:pt x="47955" y="44368"/>
                      </a:cubicBezTo>
                      <a:cubicBezTo>
                        <a:pt x="47955" y="44368"/>
                        <a:pt x="47509" y="44526"/>
                        <a:pt x="47509" y="45000"/>
                      </a:cubicBezTo>
                      <a:cubicBezTo>
                        <a:pt x="47732" y="45315"/>
                        <a:pt x="47286" y="45789"/>
                        <a:pt x="47063" y="45789"/>
                      </a:cubicBezTo>
                      <a:cubicBezTo>
                        <a:pt x="47063" y="45789"/>
                        <a:pt x="46617" y="45947"/>
                        <a:pt x="46617" y="46421"/>
                      </a:cubicBezTo>
                      <a:cubicBezTo>
                        <a:pt x="46840" y="46736"/>
                        <a:pt x="46617" y="47842"/>
                        <a:pt x="46617" y="47842"/>
                      </a:cubicBezTo>
                      <a:cubicBezTo>
                        <a:pt x="46617" y="47842"/>
                        <a:pt x="47286" y="48473"/>
                        <a:pt x="47509" y="48473"/>
                      </a:cubicBezTo>
                      <a:cubicBezTo>
                        <a:pt x="47509" y="48473"/>
                        <a:pt x="48624" y="48157"/>
                        <a:pt x="48847" y="48315"/>
                      </a:cubicBezTo>
                      <a:cubicBezTo>
                        <a:pt x="49293" y="48315"/>
                        <a:pt x="49962" y="48631"/>
                        <a:pt x="49962" y="48631"/>
                      </a:cubicBezTo>
                      <a:cubicBezTo>
                        <a:pt x="49962" y="48631"/>
                        <a:pt x="49739" y="49421"/>
                        <a:pt x="49516" y="49578"/>
                      </a:cubicBezTo>
                      <a:cubicBezTo>
                        <a:pt x="49293" y="49578"/>
                        <a:pt x="47955" y="49736"/>
                        <a:pt x="47955" y="49736"/>
                      </a:cubicBezTo>
                      <a:cubicBezTo>
                        <a:pt x="47955" y="49736"/>
                        <a:pt x="47286" y="49421"/>
                        <a:pt x="47063" y="49421"/>
                      </a:cubicBezTo>
                      <a:cubicBezTo>
                        <a:pt x="46840" y="49578"/>
                        <a:pt x="45724" y="50368"/>
                        <a:pt x="45724" y="50368"/>
                      </a:cubicBezTo>
                      <a:cubicBezTo>
                        <a:pt x="45724" y="50368"/>
                        <a:pt x="45724" y="50842"/>
                        <a:pt x="45501" y="50842"/>
                      </a:cubicBezTo>
                      <a:cubicBezTo>
                        <a:pt x="45055" y="51000"/>
                        <a:pt x="44832" y="50684"/>
                        <a:pt x="44832" y="51000"/>
                      </a:cubicBezTo>
                      <a:cubicBezTo>
                        <a:pt x="44832" y="51157"/>
                        <a:pt x="44832" y="51631"/>
                        <a:pt x="44832" y="51789"/>
                      </a:cubicBezTo>
                      <a:cubicBezTo>
                        <a:pt x="44832" y="52105"/>
                        <a:pt x="44832" y="52578"/>
                        <a:pt x="44832" y="52578"/>
                      </a:cubicBezTo>
                      <a:cubicBezTo>
                        <a:pt x="44832" y="52578"/>
                        <a:pt x="44386" y="53210"/>
                        <a:pt x="44163" y="53526"/>
                      </a:cubicBezTo>
                      <a:cubicBezTo>
                        <a:pt x="43940" y="53842"/>
                        <a:pt x="43494" y="54631"/>
                        <a:pt x="43494" y="54789"/>
                      </a:cubicBezTo>
                      <a:cubicBezTo>
                        <a:pt x="43717" y="54947"/>
                        <a:pt x="44163" y="55736"/>
                        <a:pt x="44163" y="55736"/>
                      </a:cubicBezTo>
                      <a:cubicBezTo>
                        <a:pt x="42602" y="56368"/>
                        <a:pt x="42602" y="56368"/>
                        <a:pt x="42602" y="56368"/>
                      </a:cubicBezTo>
                      <a:cubicBezTo>
                        <a:pt x="43048" y="57157"/>
                        <a:pt x="43048" y="57157"/>
                        <a:pt x="43048" y="57157"/>
                      </a:cubicBezTo>
                      <a:cubicBezTo>
                        <a:pt x="43048" y="57157"/>
                        <a:pt x="43271" y="57157"/>
                        <a:pt x="43271" y="57315"/>
                      </a:cubicBezTo>
                      <a:cubicBezTo>
                        <a:pt x="43271" y="57631"/>
                        <a:pt x="42156" y="58105"/>
                        <a:pt x="42156" y="58105"/>
                      </a:cubicBezTo>
                      <a:cubicBezTo>
                        <a:pt x="42156" y="58105"/>
                        <a:pt x="42156" y="58894"/>
                        <a:pt x="42156" y="59052"/>
                      </a:cubicBezTo>
                      <a:cubicBezTo>
                        <a:pt x="42156" y="59210"/>
                        <a:pt x="41040" y="58578"/>
                        <a:pt x="41040" y="58578"/>
                      </a:cubicBezTo>
                      <a:cubicBezTo>
                        <a:pt x="40148" y="58736"/>
                        <a:pt x="40148" y="58736"/>
                        <a:pt x="40148" y="58736"/>
                      </a:cubicBezTo>
                      <a:cubicBezTo>
                        <a:pt x="40148" y="59368"/>
                        <a:pt x="40148" y="59368"/>
                        <a:pt x="40148" y="59368"/>
                      </a:cubicBezTo>
                      <a:cubicBezTo>
                        <a:pt x="39702" y="60000"/>
                        <a:pt x="39702" y="60000"/>
                        <a:pt x="39702" y="60000"/>
                      </a:cubicBezTo>
                      <a:cubicBezTo>
                        <a:pt x="38141" y="60000"/>
                        <a:pt x="38141" y="60000"/>
                        <a:pt x="38141" y="60000"/>
                      </a:cubicBezTo>
                      <a:cubicBezTo>
                        <a:pt x="38141" y="60000"/>
                        <a:pt x="36802" y="60631"/>
                        <a:pt x="36802" y="60631"/>
                      </a:cubicBezTo>
                      <a:cubicBezTo>
                        <a:pt x="37026" y="60789"/>
                        <a:pt x="36356" y="61263"/>
                        <a:pt x="37026" y="61263"/>
                      </a:cubicBezTo>
                      <a:cubicBezTo>
                        <a:pt x="37472" y="61263"/>
                        <a:pt x="37695" y="61263"/>
                        <a:pt x="37918" y="61263"/>
                      </a:cubicBezTo>
                      <a:cubicBezTo>
                        <a:pt x="38364" y="61105"/>
                        <a:pt x="39256" y="60789"/>
                        <a:pt x="39479" y="60789"/>
                      </a:cubicBezTo>
                      <a:cubicBezTo>
                        <a:pt x="39702" y="60789"/>
                        <a:pt x="40371" y="60789"/>
                        <a:pt x="39925" y="61105"/>
                      </a:cubicBezTo>
                      <a:cubicBezTo>
                        <a:pt x="39479" y="61421"/>
                        <a:pt x="39033" y="61421"/>
                        <a:pt x="38810" y="61578"/>
                      </a:cubicBezTo>
                      <a:cubicBezTo>
                        <a:pt x="38364" y="61736"/>
                        <a:pt x="37695" y="61736"/>
                        <a:pt x="37695" y="62210"/>
                      </a:cubicBezTo>
                      <a:cubicBezTo>
                        <a:pt x="37695" y="62684"/>
                        <a:pt x="37472" y="63157"/>
                        <a:pt x="37472" y="63157"/>
                      </a:cubicBezTo>
                      <a:cubicBezTo>
                        <a:pt x="39033" y="62842"/>
                        <a:pt x="39033" y="62842"/>
                        <a:pt x="39033" y="62842"/>
                      </a:cubicBezTo>
                      <a:cubicBezTo>
                        <a:pt x="39033" y="62842"/>
                        <a:pt x="39479" y="62684"/>
                        <a:pt x="39479" y="63157"/>
                      </a:cubicBezTo>
                      <a:cubicBezTo>
                        <a:pt x="39702" y="63789"/>
                        <a:pt x="39033" y="63947"/>
                        <a:pt x="38587" y="63947"/>
                      </a:cubicBezTo>
                      <a:cubicBezTo>
                        <a:pt x="38364" y="63947"/>
                        <a:pt x="37249" y="63315"/>
                        <a:pt x="37249" y="63315"/>
                      </a:cubicBezTo>
                      <a:cubicBezTo>
                        <a:pt x="36356" y="63789"/>
                        <a:pt x="36356" y="63789"/>
                        <a:pt x="36356" y="63789"/>
                      </a:cubicBezTo>
                      <a:cubicBezTo>
                        <a:pt x="36356" y="63789"/>
                        <a:pt x="36133" y="63631"/>
                        <a:pt x="35241" y="64105"/>
                      </a:cubicBezTo>
                      <a:cubicBezTo>
                        <a:pt x="34349" y="64736"/>
                        <a:pt x="33903" y="65526"/>
                        <a:pt x="33903" y="65684"/>
                      </a:cubicBezTo>
                      <a:cubicBezTo>
                        <a:pt x="33903" y="65842"/>
                        <a:pt x="33903" y="66157"/>
                        <a:pt x="33234" y="66473"/>
                      </a:cubicBezTo>
                      <a:cubicBezTo>
                        <a:pt x="32788" y="66631"/>
                        <a:pt x="32118" y="67105"/>
                        <a:pt x="32118" y="67105"/>
                      </a:cubicBezTo>
                      <a:cubicBezTo>
                        <a:pt x="32118" y="67105"/>
                        <a:pt x="31895" y="67578"/>
                        <a:pt x="31672" y="67894"/>
                      </a:cubicBezTo>
                      <a:cubicBezTo>
                        <a:pt x="31449" y="68210"/>
                        <a:pt x="31449" y="68210"/>
                        <a:pt x="31449" y="68210"/>
                      </a:cubicBezTo>
                      <a:cubicBezTo>
                        <a:pt x="32342" y="68842"/>
                        <a:pt x="32342" y="68842"/>
                        <a:pt x="32342" y="68842"/>
                      </a:cubicBezTo>
                      <a:cubicBezTo>
                        <a:pt x="30780" y="69473"/>
                        <a:pt x="30780" y="69473"/>
                        <a:pt x="30780" y="69473"/>
                      </a:cubicBezTo>
                      <a:cubicBezTo>
                        <a:pt x="30111" y="69789"/>
                        <a:pt x="30111" y="69789"/>
                        <a:pt x="30111" y="69789"/>
                      </a:cubicBezTo>
                      <a:cubicBezTo>
                        <a:pt x="30111" y="69789"/>
                        <a:pt x="28773" y="70736"/>
                        <a:pt x="29665" y="70894"/>
                      </a:cubicBezTo>
                      <a:cubicBezTo>
                        <a:pt x="30780" y="71052"/>
                        <a:pt x="31449" y="71052"/>
                        <a:pt x="31449" y="71052"/>
                      </a:cubicBezTo>
                      <a:cubicBezTo>
                        <a:pt x="31449" y="71052"/>
                        <a:pt x="31226" y="72000"/>
                        <a:pt x="31449" y="72000"/>
                      </a:cubicBezTo>
                      <a:cubicBezTo>
                        <a:pt x="31672" y="72000"/>
                        <a:pt x="33680" y="72000"/>
                        <a:pt x="33680" y="72000"/>
                      </a:cubicBezTo>
                      <a:cubicBezTo>
                        <a:pt x="34795" y="71368"/>
                        <a:pt x="34795" y="71368"/>
                        <a:pt x="34795" y="71368"/>
                      </a:cubicBezTo>
                      <a:cubicBezTo>
                        <a:pt x="35464" y="71052"/>
                        <a:pt x="35464" y="71052"/>
                        <a:pt x="35464" y="71052"/>
                      </a:cubicBezTo>
                      <a:cubicBezTo>
                        <a:pt x="35910" y="71684"/>
                        <a:pt x="35910" y="71684"/>
                        <a:pt x="35910" y="71684"/>
                      </a:cubicBezTo>
                      <a:cubicBezTo>
                        <a:pt x="35910" y="71684"/>
                        <a:pt x="35464" y="72157"/>
                        <a:pt x="35018" y="72157"/>
                      </a:cubicBezTo>
                      <a:cubicBezTo>
                        <a:pt x="34349" y="72157"/>
                        <a:pt x="34572" y="72157"/>
                        <a:pt x="34126" y="72473"/>
                      </a:cubicBezTo>
                      <a:cubicBezTo>
                        <a:pt x="33457" y="72947"/>
                        <a:pt x="33234" y="73105"/>
                        <a:pt x="32788" y="73105"/>
                      </a:cubicBezTo>
                      <a:cubicBezTo>
                        <a:pt x="32565" y="73105"/>
                        <a:pt x="32118" y="73578"/>
                        <a:pt x="31672" y="72947"/>
                      </a:cubicBezTo>
                      <a:cubicBezTo>
                        <a:pt x="31449" y="72473"/>
                        <a:pt x="31003" y="72000"/>
                        <a:pt x="31003" y="72000"/>
                      </a:cubicBezTo>
                      <a:cubicBezTo>
                        <a:pt x="28996" y="71368"/>
                        <a:pt x="28996" y="71368"/>
                        <a:pt x="28996" y="71368"/>
                      </a:cubicBezTo>
                      <a:cubicBezTo>
                        <a:pt x="28550" y="71526"/>
                        <a:pt x="28550" y="71526"/>
                        <a:pt x="28550" y="71526"/>
                      </a:cubicBezTo>
                      <a:cubicBezTo>
                        <a:pt x="28550" y="71526"/>
                        <a:pt x="28327" y="72157"/>
                        <a:pt x="28104" y="72157"/>
                      </a:cubicBezTo>
                      <a:cubicBezTo>
                        <a:pt x="27881" y="72157"/>
                        <a:pt x="26542" y="72157"/>
                        <a:pt x="26096" y="72157"/>
                      </a:cubicBezTo>
                      <a:cubicBezTo>
                        <a:pt x="25873" y="72157"/>
                        <a:pt x="25427" y="72157"/>
                        <a:pt x="25427" y="72000"/>
                      </a:cubicBezTo>
                      <a:cubicBezTo>
                        <a:pt x="25204" y="71684"/>
                        <a:pt x="25427" y="71684"/>
                        <a:pt x="25204" y="71526"/>
                      </a:cubicBezTo>
                      <a:cubicBezTo>
                        <a:pt x="24981" y="71368"/>
                        <a:pt x="24535" y="70736"/>
                        <a:pt x="24089" y="70894"/>
                      </a:cubicBezTo>
                      <a:cubicBezTo>
                        <a:pt x="23866" y="70894"/>
                        <a:pt x="22750" y="71210"/>
                        <a:pt x="22750" y="71210"/>
                      </a:cubicBezTo>
                      <a:cubicBezTo>
                        <a:pt x="22527" y="72473"/>
                        <a:pt x="22527" y="72473"/>
                        <a:pt x="22527" y="72473"/>
                      </a:cubicBezTo>
                      <a:cubicBezTo>
                        <a:pt x="22527" y="72473"/>
                        <a:pt x="21858" y="72473"/>
                        <a:pt x="22081" y="72789"/>
                      </a:cubicBezTo>
                      <a:cubicBezTo>
                        <a:pt x="22081" y="73105"/>
                        <a:pt x="22973" y="73421"/>
                        <a:pt x="22973" y="73421"/>
                      </a:cubicBezTo>
                      <a:cubicBezTo>
                        <a:pt x="22973" y="73421"/>
                        <a:pt x="23420" y="73736"/>
                        <a:pt x="23420" y="73894"/>
                      </a:cubicBezTo>
                      <a:cubicBezTo>
                        <a:pt x="23643" y="74210"/>
                        <a:pt x="22973" y="74526"/>
                        <a:pt x="22973" y="74526"/>
                      </a:cubicBezTo>
                      <a:cubicBezTo>
                        <a:pt x="22973" y="74526"/>
                        <a:pt x="21858" y="74526"/>
                        <a:pt x="21635" y="74842"/>
                      </a:cubicBezTo>
                      <a:cubicBezTo>
                        <a:pt x="21635" y="75000"/>
                        <a:pt x="21858" y="75473"/>
                        <a:pt x="21635" y="75473"/>
                      </a:cubicBezTo>
                      <a:cubicBezTo>
                        <a:pt x="21412" y="75631"/>
                        <a:pt x="21189" y="75947"/>
                        <a:pt x="21189" y="76105"/>
                      </a:cubicBezTo>
                      <a:cubicBezTo>
                        <a:pt x="21189" y="76105"/>
                        <a:pt x="21635" y="76894"/>
                        <a:pt x="21635" y="76894"/>
                      </a:cubicBezTo>
                      <a:cubicBezTo>
                        <a:pt x="21635" y="76894"/>
                        <a:pt x="21635" y="77526"/>
                        <a:pt x="21189" y="77210"/>
                      </a:cubicBezTo>
                      <a:cubicBezTo>
                        <a:pt x="20743" y="76894"/>
                        <a:pt x="19405" y="76421"/>
                        <a:pt x="19405" y="76421"/>
                      </a:cubicBezTo>
                      <a:cubicBezTo>
                        <a:pt x="18513" y="75947"/>
                        <a:pt x="18513" y="75947"/>
                        <a:pt x="18513" y="75947"/>
                      </a:cubicBezTo>
                      <a:cubicBezTo>
                        <a:pt x="18513" y="75947"/>
                        <a:pt x="17620" y="76421"/>
                        <a:pt x="17397" y="76421"/>
                      </a:cubicBezTo>
                      <a:cubicBezTo>
                        <a:pt x="17397" y="76578"/>
                        <a:pt x="15836" y="76421"/>
                        <a:pt x="15390" y="76578"/>
                      </a:cubicBezTo>
                      <a:cubicBezTo>
                        <a:pt x="15167" y="76736"/>
                        <a:pt x="15167" y="76894"/>
                        <a:pt x="14944" y="77210"/>
                      </a:cubicBezTo>
                      <a:cubicBezTo>
                        <a:pt x="14498" y="77526"/>
                        <a:pt x="13828" y="77526"/>
                        <a:pt x="14498" y="78000"/>
                      </a:cubicBezTo>
                      <a:cubicBezTo>
                        <a:pt x="14944" y="78473"/>
                        <a:pt x="16059" y="78631"/>
                        <a:pt x="16059" y="78631"/>
                      </a:cubicBezTo>
                      <a:cubicBezTo>
                        <a:pt x="16059" y="78631"/>
                        <a:pt x="16505" y="78789"/>
                        <a:pt x="16059" y="79263"/>
                      </a:cubicBezTo>
                      <a:cubicBezTo>
                        <a:pt x="15613" y="79894"/>
                        <a:pt x="14721" y="79421"/>
                        <a:pt x="14498" y="79421"/>
                      </a:cubicBezTo>
                      <a:cubicBezTo>
                        <a:pt x="14275" y="79263"/>
                        <a:pt x="13382" y="78789"/>
                        <a:pt x="13159" y="78947"/>
                      </a:cubicBezTo>
                      <a:cubicBezTo>
                        <a:pt x="12936" y="79105"/>
                        <a:pt x="12267" y="79894"/>
                        <a:pt x="12267" y="79894"/>
                      </a:cubicBezTo>
                      <a:cubicBezTo>
                        <a:pt x="12267" y="79894"/>
                        <a:pt x="11598" y="80052"/>
                        <a:pt x="11375" y="79894"/>
                      </a:cubicBezTo>
                      <a:cubicBezTo>
                        <a:pt x="11152" y="79894"/>
                        <a:pt x="10483" y="79105"/>
                        <a:pt x="10260" y="79263"/>
                      </a:cubicBezTo>
                      <a:cubicBezTo>
                        <a:pt x="10037" y="79421"/>
                        <a:pt x="9814" y="79736"/>
                        <a:pt x="9814" y="79894"/>
                      </a:cubicBezTo>
                      <a:cubicBezTo>
                        <a:pt x="9814" y="80052"/>
                        <a:pt x="10260" y="80368"/>
                        <a:pt x="10037" y="80526"/>
                      </a:cubicBezTo>
                      <a:cubicBezTo>
                        <a:pt x="10037" y="80684"/>
                        <a:pt x="8921" y="80842"/>
                        <a:pt x="8698" y="81000"/>
                      </a:cubicBezTo>
                      <a:cubicBezTo>
                        <a:pt x="8698" y="81157"/>
                        <a:pt x="8698" y="80842"/>
                        <a:pt x="8252" y="81473"/>
                      </a:cubicBezTo>
                      <a:cubicBezTo>
                        <a:pt x="8029" y="82105"/>
                        <a:pt x="8252" y="82105"/>
                        <a:pt x="8029" y="82105"/>
                      </a:cubicBezTo>
                      <a:cubicBezTo>
                        <a:pt x="7583" y="82263"/>
                        <a:pt x="6691" y="81789"/>
                        <a:pt x="6691" y="81789"/>
                      </a:cubicBezTo>
                      <a:cubicBezTo>
                        <a:pt x="6691" y="81789"/>
                        <a:pt x="6022" y="81315"/>
                        <a:pt x="6022" y="81789"/>
                      </a:cubicBezTo>
                      <a:cubicBezTo>
                        <a:pt x="6022" y="82421"/>
                        <a:pt x="5799" y="83052"/>
                        <a:pt x="5799" y="83052"/>
                      </a:cubicBezTo>
                      <a:cubicBezTo>
                        <a:pt x="6468" y="83368"/>
                        <a:pt x="6468" y="83368"/>
                        <a:pt x="6468" y="83368"/>
                      </a:cubicBezTo>
                      <a:cubicBezTo>
                        <a:pt x="6468" y="83368"/>
                        <a:pt x="6245" y="83684"/>
                        <a:pt x="6022" y="83684"/>
                      </a:cubicBezTo>
                      <a:cubicBezTo>
                        <a:pt x="6022" y="83684"/>
                        <a:pt x="5576" y="83526"/>
                        <a:pt x="5353" y="83210"/>
                      </a:cubicBezTo>
                      <a:cubicBezTo>
                        <a:pt x="5130" y="83052"/>
                        <a:pt x="5353" y="83052"/>
                        <a:pt x="4684" y="82894"/>
                      </a:cubicBezTo>
                      <a:cubicBezTo>
                        <a:pt x="4014" y="82736"/>
                        <a:pt x="3568" y="82421"/>
                        <a:pt x="3568" y="82736"/>
                      </a:cubicBezTo>
                      <a:cubicBezTo>
                        <a:pt x="3568" y="82894"/>
                        <a:pt x="3345" y="83210"/>
                        <a:pt x="3568" y="83368"/>
                      </a:cubicBezTo>
                      <a:cubicBezTo>
                        <a:pt x="3791" y="83684"/>
                        <a:pt x="4237" y="84000"/>
                        <a:pt x="4237" y="84000"/>
                      </a:cubicBezTo>
                      <a:cubicBezTo>
                        <a:pt x="4460" y="84000"/>
                        <a:pt x="4460" y="84000"/>
                        <a:pt x="4460" y="84000"/>
                      </a:cubicBezTo>
                      <a:cubicBezTo>
                        <a:pt x="4460" y="84000"/>
                        <a:pt x="4237" y="84473"/>
                        <a:pt x="4014" y="84473"/>
                      </a:cubicBezTo>
                      <a:cubicBezTo>
                        <a:pt x="3791" y="84631"/>
                        <a:pt x="3568" y="84315"/>
                        <a:pt x="3345" y="84315"/>
                      </a:cubicBezTo>
                      <a:cubicBezTo>
                        <a:pt x="3345" y="84315"/>
                        <a:pt x="2676" y="84631"/>
                        <a:pt x="2676" y="84631"/>
                      </a:cubicBezTo>
                      <a:cubicBezTo>
                        <a:pt x="2676" y="84631"/>
                        <a:pt x="2899" y="84947"/>
                        <a:pt x="2899" y="85105"/>
                      </a:cubicBezTo>
                      <a:cubicBezTo>
                        <a:pt x="2899" y="85263"/>
                        <a:pt x="2230" y="85421"/>
                        <a:pt x="2230" y="85578"/>
                      </a:cubicBezTo>
                      <a:cubicBezTo>
                        <a:pt x="2007" y="85578"/>
                        <a:pt x="1784" y="85736"/>
                        <a:pt x="1784" y="85894"/>
                      </a:cubicBezTo>
                      <a:cubicBezTo>
                        <a:pt x="1784" y="86052"/>
                        <a:pt x="2007" y="86526"/>
                        <a:pt x="2230" y="86368"/>
                      </a:cubicBezTo>
                      <a:cubicBezTo>
                        <a:pt x="2453" y="86368"/>
                        <a:pt x="3568" y="86526"/>
                        <a:pt x="3568" y="86526"/>
                      </a:cubicBezTo>
                      <a:cubicBezTo>
                        <a:pt x="3568" y="86526"/>
                        <a:pt x="3345" y="86842"/>
                        <a:pt x="3122" y="87000"/>
                      </a:cubicBezTo>
                      <a:cubicBezTo>
                        <a:pt x="2899" y="87000"/>
                        <a:pt x="2676" y="87315"/>
                        <a:pt x="2453" y="87473"/>
                      </a:cubicBezTo>
                      <a:cubicBezTo>
                        <a:pt x="2230" y="87789"/>
                        <a:pt x="2676" y="88421"/>
                        <a:pt x="3122" y="88578"/>
                      </a:cubicBezTo>
                      <a:cubicBezTo>
                        <a:pt x="3791" y="88736"/>
                        <a:pt x="4460" y="88736"/>
                        <a:pt x="4460" y="89052"/>
                      </a:cubicBezTo>
                      <a:cubicBezTo>
                        <a:pt x="4237" y="89210"/>
                        <a:pt x="3122" y="89842"/>
                        <a:pt x="2899" y="90000"/>
                      </a:cubicBezTo>
                      <a:cubicBezTo>
                        <a:pt x="2676" y="90000"/>
                        <a:pt x="2230" y="90157"/>
                        <a:pt x="2230" y="90473"/>
                      </a:cubicBezTo>
                      <a:cubicBezTo>
                        <a:pt x="2230" y="90789"/>
                        <a:pt x="2230" y="90947"/>
                        <a:pt x="1784" y="91105"/>
                      </a:cubicBezTo>
                      <a:cubicBezTo>
                        <a:pt x="1338" y="91263"/>
                        <a:pt x="1115" y="91105"/>
                        <a:pt x="1115" y="91578"/>
                      </a:cubicBezTo>
                      <a:cubicBezTo>
                        <a:pt x="1115" y="91894"/>
                        <a:pt x="1338" y="92052"/>
                        <a:pt x="1561" y="92052"/>
                      </a:cubicBezTo>
                      <a:cubicBezTo>
                        <a:pt x="1784" y="92052"/>
                        <a:pt x="1784" y="92052"/>
                        <a:pt x="1784" y="92052"/>
                      </a:cubicBezTo>
                      <a:cubicBezTo>
                        <a:pt x="3568" y="91894"/>
                        <a:pt x="3568" y="91894"/>
                        <a:pt x="3568" y="91894"/>
                      </a:cubicBezTo>
                      <a:cubicBezTo>
                        <a:pt x="3568" y="91894"/>
                        <a:pt x="3345" y="92368"/>
                        <a:pt x="3345" y="92526"/>
                      </a:cubicBezTo>
                      <a:cubicBezTo>
                        <a:pt x="3345" y="92684"/>
                        <a:pt x="2007" y="93631"/>
                        <a:pt x="2007" y="93631"/>
                      </a:cubicBezTo>
                      <a:cubicBezTo>
                        <a:pt x="2007" y="93631"/>
                        <a:pt x="2230" y="94105"/>
                        <a:pt x="2007" y="94105"/>
                      </a:cubicBezTo>
                      <a:cubicBezTo>
                        <a:pt x="1561" y="94263"/>
                        <a:pt x="1115" y="94421"/>
                        <a:pt x="892" y="94578"/>
                      </a:cubicBezTo>
                      <a:cubicBezTo>
                        <a:pt x="892" y="94736"/>
                        <a:pt x="892" y="95052"/>
                        <a:pt x="892" y="95210"/>
                      </a:cubicBezTo>
                      <a:cubicBezTo>
                        <a:pt x="1115" y="95526"/>
                        <a:pt x="1561" y="96000"/>
                        <a:pt x="1561" y="96157"/>
                      </a:cubicBezTo>
                      <a:cubicBezTo>
                        <a:pt x="1784" y="96315"/>
                        <a:pt x="1338" y="96631"/>
                        <a:pt x="1338" y="96631"/>
                      </a:cubicBezTo>
                      <a:cubicBezTo>
                        <a:pt x="892" y="97894"/>
                        <a:pt x="892" y="97894"/>
                        <a:pt x="892" y="97894"/>
                      </a:cubicBezTo>
                      <a:cubicBezTo>
                        <a:pt x="892" y="97894"/>
                        <a:pt x="892" y="98526"/>
                        <a:pt x="892" y="98684"/>
                      </a:cubicBezTo>
                      <a:cubicBezTo>
                        <a:pt x="892" y="98842"/>
                        <a:pt x="0" y="99000"/>
                        <a:pt x="446" y="99473"/>
                      </a:cubicBezTo>
                      <a:cubicBezTo>
                        <a:pt x="892" y="99789"/>
                        <a:pt x="1115" y="99947"/>
                        <a:pt x="1338" y="100105"/>
                      </a:cubicBezTo>
                      <a:cubicBezTo>
                        <a:pt x="1784" y="100105"/>
                        <a:pt x="2899" y="100105"/>
                        <a:pt x="2899" y="100263"/>
                      </a:cubicBezTo>
                      <a:cubicBezTo>
                        <a:pt x="2899" y="100263"/>
                        <a:pt x="2899" y="100421"/>
                        <a:pt x="2230" y="100578"/>
                      </a:cubicBezTo>
                      <a:cubicBezTo>
                        <a:pt x="1784" y="100578"/>
                        <a:pt x="1338" y="100421"/>
                        <a:pt x="1338" y="100736"/>
                      </a:cubicBezTo>
                      <a:cubicBezTo>
                        <a:pt x="1115" y="100894"/>
                        <a:pt x="223" y="101842"/>
                        <a:pt x="223" y="101842"/>
                      </a:cubicBezTo>
                      <a:cubicBezTo>
                        <a:pt x="1338" y="102789"/>
                        <a:pt x="1338" y="102789"/>
                        <a:pt x="1338" y="102789"/>
                      </a:cubicBezTo>
                      <a:cubicBezTo>
                        <a:pt x="1338" y="102789"/>
                        <a:pt x="1784" y="102473"/>
                        <a:pt x="2007" y="102473"/>
                      </a:cubicBezTo>
                      <a:cubicBezTo>
                        <a:pt x="2230" y="102315"/>
                        <a:pt x="2899" y="102473"/>
                        <a:pt x="2899" y="102631"/>
                      </a:cubicBezTo>
                      <a:cubicBezTo>
                        <a:pt x="2899" y="102631"/>
                        <a:pt x="2453" y="103105"/>
                        <a:pt x="2230" y="103105"/>
                      </a:cubicBezTo>
                      <a:cubicBezTo>
                        <a:pt x="2230" y="103263"/>
                        <a:pt x="1561" y="103421"/>
                        <a:pt x="1561" y="103578"/>
                      </a:cubicBezTo>
                      <a:cubicBezTo>
                        <a:pt x="1561" y="103578"/>
                        <a:pt x="2230" y="104210"/>
                        <a:pt x="2230" y="104210"/>
                      </a:cubicBezTo>
                      <a:cubicBezTo>
                        <a:pt x="2230" y="104210"/>
                        <a:pt x="2676" y="104210"/>
                        <a:pt x="2676" y="104526"/>
                      </a:cubicBezTo>
                      <a:cubicBezTo>
                        <a:pt x="2676" y="104684"/>
                        <a:pt x="1784" y="105000"/>
                        <a:pt x="1784" y="105000"/>
                      </a:cubicBezTo>
                      <a:cubicBezTo>
                        <a:pt x="2007" y="105473"/>
                        <a:pt x="2007" y="105473"/>
                        <a:pt x="2007" y="105473"/>
                      </a:cubicBezTo>
                      <a:cubicBezTo>
                        <a:pt x="1338" y="106421"/>
                        <a:pt x="1338" y="106421"/>
                        <a:pt x="1338" y="106421"/>
                      </a:cubicBezTo>
                      <a:cubicBezTo>
                        <a:pt x="2453" y="106894"/>
                        <a:pt x="2453" y="106894"/>
                        <a:pt x="2453" y="106894"/>
                      </a:cubicBezTo>
                      <a:cubicBezTo>
                        <a:pt x="2453" y="106894"/>
                        <a:pt x="3345" y="106894"/>
                        <a:pt x="3122" y="107368"/>
                      </a:cubicBezTo>
                      <a:cubicBezTo>
                        <a:pt x="2676" y="107684"/>
                        <a:pt x="2007" y="108000"/>
                        <a:pt x="2007" y="108157"/>
                      </a:cubicBezTo>
                      <a:cubicBezTo>
                        <a:pt x="2007" y="108473"/>
                        <a:pt x="1784" y="108789"/>
                        <a:pt x="2230" y="108947"/>
                      </a:cubicBezTo>
                      <a:cubicBezTo>
                        <a:pt x="2676" y="108947"/>
                        <a:pt x="2676" y="109105"/>
                        <a:pt x="2899" y="108947"/>
                      </a:cubicBezTo>
                      <a:cubicBezTo>
                        <a:pt x="3345" y="108789"/>
                        <a:pt x="3791" y="108631"/>
                        <a:pt x="3791" y="108631"/>
                      </a:cubicBezTo>
                      <a:cubicBezTo>
                        <a:pt x="3791" y="108631"/>
                        <a:pt x="4460" y="108315"/>
                        <a:pt x="4907" y="108315"/>
                      </a:cubicBezTo>
                      <a:cubicBezTo>
                        <a:pt x="5130" y="108315"/>
                        <a:pt x="5576" y="108473"/>
                        <a:pt x="5799" y="108631"/>
                      </a:cubicBezTo>
                      <a:cubicBezTo>
                        <a:pt x="5799" y="108789"/>
                        <a:pt x="5799" y="108947"/>
                        <a:pt x="6022" y="109105"/>
                      </a:cubicBezTo>
                      <a:cubicBezTo>
                        <a:pt x="6245" y="109105"/>
                        <a:pt x="5799" y="109894"/>
                        <a:pt x="5799" y="109894"/>
                      </a:cubicBezTo>
                      <a:cubicBezTo>
                        <a:pt x="5130" y="110526"/>
                        <a:pt x="5130" y="110526"/>
                        <a:pt x="5130" y="110526"/>
                      </a:cubicBezTo>
                      <a:cubicBezTo>
                        <a:pt x="5130" y="110526"/>
                        <a:pt x="5799" y="111157"/>
                        <a:pt x="5576" y="111157"/>
                      </a:cubicBezTo>
                      <a:cubicBezTo>
                        <a:pt x="5576" y="111157"/>
                        <a:pt x="4460" y="111315"/>
                        <a:pt x="4237" y="111315"/>
                      </a:cubicBezTo>
                      <a:cubicBezTo>
                        <a:pt x="4014" y="111315"/>
                        <a:pt x="3791" y="111157"/>
                        <a:pt x="3791" y="111473"/>
                      </a:cubicBezTo>
                      <a:cubicBezTo>
                        <a:pt x="3568" y="111789"/>
                        <a:pt x="2899" y="112578"/>
                        <a:pt x="2899" y="112578"/>
                      </a:cubicBezTo>
                      <a:cubicBezTo>
                        <a:pt x="2899" y="112578"/>
                        <a:pt x="2676" y="112894"/>
                        <a:pt x="2899" y="113210"/>
                      </a:cubicBezTo>
                      <a:cubicBezTo>
                        <a:pt x="3122" y="113526"/>
                        <a:pt x="4014" y="114631"/>
                        <a:pt x="4014" y="114631"/>
                      </a:cubicBezTo>
                      <a:cubicBezTo>
                        <a:pt x="4014" y="114789"/>
                        <a:pt x="4460" y="115263"/>
                        <a:pt x="5130" y="115578"/>
                      </a:cubicBezTo>
                      <a:cubicBezTo>
                        <a:pt x="5799" y="115894"/>
                        <a:pt x="6245" y="115894"/>
                        <a:pt x="6245" y="116210"/>
                      </a:cubicBezTo>
                      <a:cubicBezTo>
                        <a:pt x="6468" y="116526"/>
                        <a:pt x="6468" y="116526"/>
                        <a:pt x="6468" y="116526"/>
                      </a:cubicBezTo>
                      <a:cubicBezTo>
                        <a:pt x="7360" y="117157"/>
                        <a:pt x="7360" y="117157"/>
                        <a:pt x="7360" y="117157"/>
                      </a:cubicBezTo>
                      <a:cubicBezTo>
                        <a:pt x="7360" y="117157"/>
                        <a:pt x="7806" y="117315"/>
                        <a:pt x="8475" y="117315"/>
                      </a:cubicBezTo>
                      <a:cubicBezTo>
                        <a:pt x="9144" y="117473"/>
                        <a:pt x="10037" y="117473"/>
                        <a:pt x="10037" y="117631"/>
                      </a:cubicBezTo>
                      <a:cubicBezTo>
                        <a:pt x="10260" y="117631"/>
                        <a:pt x="9368" y="118105"/>
                        <a:pt x="9368" y="118105"/>
                      </a:cubicBezTo>
                      <a:cubicBezTo>
                        <a:pt x="9368" y="118105"/>
                        <a:pt x="8252" y="118736"/>
                        <a:pt x="8698" y="118894"/>
                      </a:cubicBezTo>
                      <a:cubicBezTo>
                        <a:pt x="9144" y="119052"/>
                        <a:pt x="12267" y="119526"/>
                        <a:pt x="12267" y="119526"/>
                      </a:cubicBezTo>
                      <a:cubicBezTo>
                        <a:pt x="12267" y="119526"/>
                        <a:pt x="12713" y="119684"/>
                        <a:pt x="12713" y="119842"/>
                      </a:cubicBezTo>
                      <a:cubicBezTo>
                        <a:pt x="12713" y="120000"/>
                        <a:pt x="13382" y="119684"/>
                        <a:pt x="13382" y="119684"/>
                      </a:cubicBezTo>
                      <a:cubicBezTo>
                        <a:pt x="13605" y="119526"/>
                        <a:pt x="14498" y="119842"/>
                        <a:pt x="14721" y="119842"/>
                      </a:cubicBezTo>
                      <a:cubicBezTo>
                        <a:pt x="14721" y="119842"/>
                        <a:pt x="16059" y="119684"/>
                        <a:pt x="16059" y="119684"/>
                      </a:cubicBezTo>
                      <a:cubicBezTo>
                        <a:pt x="17174" y="119368"/>
                        <a:pt x="17174" y="119368"/>
                        <a:pt x="17174" y="119368"/>
                      </a:cubicBezTo>
                      <a:cubicBezTo>
                        <a:pt x="17174" y="119368"/>
                        <a:pt x="17843" y="118578"/>
                        <a:pt x="18289" y="118736"/>
                      </a:cubicBezTo>
                      <a:cubicBezTo>
                        <a:pt x="18959" y="118894"/>
                        <a:pt x="18736" y="119210"/>
                        <a:pt x="19182" y="119210"/>
                      </a:cubicBezTo>
                      <a:cubicBezTo>
                        <a:pt x="19405" y="119210"/>
                        <a:pt x="19851" y="119210"/>
                        <a:pt x="20297" y="118736"/>
                      </a:cubicBezTo>
                      <a:cubicBezTo>
                        <a:pt x="20743" y="118421"/>
                        <a:pt x="21189" y="118105"/>
                        <a:pt x="21412" y="117947"/>
                      </a:cubicBezTo>
                      <a:cubicBezTo>
                        <a:pt x="21635" y="117947"/>
                        <a:pt x="24312" y="116842"/>
                        <a:pt x="24312" y="116842"/>
                      </a:cubicBezTo>
                      <a:cubicBezTo>
                        <a:pt x="26096" y="114631"/>
                        <a:pt x="26096" y="114631"/>
                        <a:pt x="26096" y="114631"/>
                      </a:cubicBezTo>
                      <a:cubicBezTo>
                        <a:pt x="26765" y="113052"/>
                        <a:pt x="26765" y="113052"/>
                        <a:pt x="26765" y="113052"/>
                      </a:cubicBezTo>
                      <a:cubicBezTo>
                        <a:pt x="26765" y="113052"/>
                        <a:pt x="27657" y="112263"/>
                        <a:pt x="28327" y="112263"/>
                      </a:cubicBezTo>
                      <a:cubicBezTo>
                        <a:pt x="28773" y="112263"/>
                        <a:pt x="30334" y="111789"/>
                        <a:pt x="30111" y="111473"/>
                      </a:cubicBezTo>
                      <a:cubicBezTo>
                        <a:pt x="30111" y="111000"/>
                        <a:pt x="30780" y="110842"/>
                        <a:pt x="30780" y="111473"/>
                      </a:cubicBezTo>
                      <a:cubicBezTo>
                        <a:pt x="31003" y="112105"/>
                        <a:pt x="30780" y="112736"/>
                        <a:pt x="31226" y="112421"/>
                      </a:cubicBezTo>
                      <a:cubicBezTo>
                        <a:pt x="31895" y="112105"/>
                        <a:pt x="33011" y="111157"/>
                        <a:pt x="33011" y="111157"/>
                      </a:cubicBezTo>
                      <a:cubicBezTo>
                        <a:pt x="33011" y="111157"/>
                        <a:pt x="33680" y="110684"/>
                        <a:pt x="34126" y="110526"/>
                      </a:cubicBezTo>
                      <a:cubicBezTo>
                        <a:pt x="34572" y="110526"/>
                        <a:pt x="35241" y="109421"/>
                        <a:pt x="35241" y="109421"/>
                      </a:cubicBezTo>
                      <a:cubicBezTo>
                        <a:pt x="35241" y="109421"/>
                        <a:pt x="36133" y="108947"/>
                        <a:pt x="36579" y="109421"/>
                      </a:cubicBezTo>
                      <a:cubicBezTo>
                        <a:pt x="36802" y="110052"/>
                        <a:pt x="37695" y="110842"/>
                        <a:pt x="37695" y="111157"/>
                      </a:cubicBezTo>
                      <a:cubicBezTo>
                        <a:pt x="37695" y="111157"/>
                        <a:pt x="38141" y="111315"/>
                        <a:pt x="38587" y="111473"/>
                      </a:cubicBezTo>
                      <a:cubicBezTo>
                        <a:pt x="38587" y="111157"/>
                        <a:pt x="38587" y="111157"/>
                        <a:pt x="38587" y="111157"/>
                      </a:cubicBezTo>
                      <a:cubicBezTo>
                        <a:pt x="38587" y="110210"/>
                        <a:pt x="38587" y="110210"/>
                        <a:pt x="38587" y="110210"/>
                      </a:cubicBezTo>
                      <a:cubicBezTo>
                        <a:pt x="38587" y="110210"/>
                        <a:pt x="40148" y="111157"/>
                        <a:pt x="40148" y="111157"/>
                      </a:cubicBezTo>
                      <a:cubicBezTo>
                        <a:pt x="40371" y="111315"/>
                        <a:pt x="40371" y="112263"/>
                        <a:pt x="40371" y="112263"/>
                      </a:cubicBezTo>
                      <a:cubicBezTo>
                        <a:pt x="40817" y="112263"/>
                        <a:pt x="40817" y="112263"/>
                        <a:pt x="40817" y="112263"/>
                      </a:cubicBezTo>
                      <a:cubicBezTo>
                        <a:pt x="40817" y="112105"/>
                        <a:pt x="40817" y="112105"/>
                        <a:pt x="40817" y="112105"/>
                      </a:cubicBezTo>
                      <a:cubicBezTo>
                        <a:pt x="41263" y="112263"/>
                        <a:pt x="41263" y="112263"/>
                        <a:pt x="41263" y="112263"/>
                      </a:cubicBezTo>
                      <a:cubicBezTo>
                        <a:pt x="41486" y="112105"/>
                        <a:pt x="41486" y="112105"/>
                        <a:pt x="41486" y="112105"/>
                      </a:cubicBezTo>
                      <a:cubicBezTo>
                        <a:pt x="41710" y="111157"/>
                        <a:pt x="41710" y="111157"/>
                        <a:pt x="41710" y="111157"/>
                      </a:cubicBezTo>
                      <a:cubicBezTo>
                        <a:pt x="41933" y="110052"/>
                        <a:pt x="41933" y="110052"/>
                        <a:pt x="41933" y="110052"/>
                      </a:cubicBezTo>
                      <a:cubicBezTo>
                        <a:pt x="42602" y="109105"/>
                        <a:pt x="42602" y="109105"/>
                        <a:pt x="42602" y="109105"/>
                      </a:cubicBezTo>
                      <a:cubicBezTo>
                        <a:pt x="42602" y="108157"/>
                        <a:pt x="42602" y="108157"/>
                        <a:pt x="42602" y="108157"/>
                      </a:cubicBezTo>
                      <a:cubicBezTo>
                        <a:pt x="41710" y="107052"/>
                        <a:pt x="41710" y="107052"/>
                        <a:pt x="41710" y="107052"/>
                      </a:cubicBezTo>
                      <a:cubicBezTo>
                        <a:pt x="41263" y="106105"/>
                        <a:pt x="41263" y="106105"/>
                        <a:pt x="41263" y="106105"/>
                      </a:cubicBezTo>
                      <a:cubicBezTo>
                        <a:pt x="41933" y="105947"/>
                        <a:pt x="41933" y="105947"/>
                        <a:pt x="41933" y="105947"/>
                      </a:cubicBezTo>
                      <a:cubicBezTo>
                        <a:pt x="41933" y="105789"/>
                        <a:pt x="41933" y="105789"/>
                        <a:pt x="41933" y="105789"/>
                      </a:cubicBezTo>
                      <a:cubicBezTo>
                        <a:pt x="42156" y="105789"/>
                        <a:pt x="42156" y="105789"/>
                        <a:pt x="42156" y="105789"/>
                      </a:cubicBezTo>
                      <a:cubicBezTo>
                        <a:pt x="42602" y="105473"/>
                        <a:pt x="42602" y="105473"/>
                        <a:pt x="42602" y="105473"/>
                      </a:cubicBezTo>
                      <a:cubicBezTo>
                        <a:pt x="42825" y="104684"/>
                        <a:pt x="42825" y="104684"/>
                        <a:pt x="42825" y="104684"/>
                      </a:cubicBezTo>
                      <a:cubicBezTo>
                        <a:pt x="42379" y="104368"/>
                        <a:pt x="42379" y="104368"/>
                        <a:pt x="42379" y="104368"/>
                      </a:cubicBezTo>
                      <a:cubicBezTo>
                        <a:pt x="42379" y="103894"/>
                        <a:pt x="42379" y="103894"/>
                        <a:pt x="42379" y="103894"/>
                      </a:cubicBezTo>
                      <a:cubicBezTo>
                        <a:pt x="42379" y="103894"/>
                        <a:pt x="42825" y="103578"/>
                        <a:pt x="42825" y="103578"/>
                      </a:cubicBezTo>
                      <a:cubicBezTo>
                        <a:pt x="42825" y="103578"/>
                        <a:pt x="42825" y="103578"/>
                        <a:pt x="42825" y="103578"/>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271" y="103421"/>
                        <a:pt x="43271" y="103421"/>
                        <a:pt x="43271" y="103421"/>
                      </a:cubicBezTo>
                      <a:cubicBezTo>
                        <a:pt x="43271" y="103421"/>
                        <a:pt x="43271" y="103421"/>
                        <a:pt x="43271" y="103421"/>
                      </a:cubicBezTo>
                      <a:cubicBezTo>
                        <a:pt x="43271" y="103421"/>
                        <a:pt x="43271" y="103421"/>
                        <a:pt x="43271" y="103421"/>
                      </a:cubicBezTo>
                      <a:cubicBezTo>
                        <a:pt x="43271" y="103421"/>
                        <a:pt x="43271" y="103421"/>
                        <a:pt x="43271" y="103421"/>
                      </a:cubicBezTo>
                      <a:cubicBezTo>
                        <a:pt x="43271" y="103421"/>
                        <a:pt x="43494" y="103263"/>
                        <a:pt x="43494" y="103263"/>
                      </a:cubicBezTo>
                      <a:cubicBezTo>
                        <a:pt x="43717" y="103263"/>
                        <a:pt x="44163" y="103263"/>
                        <a:pt x="44163" y="103263"/>
                      </a:cubicBezTo>
                      <a:cubicBezTo>
                        <a:pt x="44386" y="103263"/>
                        <a:pt x="44386" y="103263"/>
                        <a:pt x="44386" y="103263"/>
                      </a:cubicBezTo>
                      <a:cubicBezTo>
                        <a:pt x="44832" y="102947"/>
                        <a:pt x="44832" y="102947"/>
                        <a:pt x="44832" y="102947"/>
                      </a:cubicBezTo>
                      <a:cubicBezTo>
                        <a:pt x="44832" y="102947"/>
                        <a:pt x="45724" y="102473"/>
                        <a:pt x="45724" y="102315"/>
                      </a:cubicBezTo>
                      <a:cubicBezTo>
                        <a:pt x="45724" y="102157"/>
                        <a:pt x="46171" y="101684"/>
                        <a:pt x="46171" y="101684"/>
                      </a:cubicBezTo>
                      <a:cubicBezTo>
                        <a:pt x="46171" y="100894"/>
                        <a:pt x="46171" y="100894"/>
                        <a:pt x="46171" y="100894"/>
                      </a:cubicBezTo>
                      <a:cubicBezTo>
                        <a:pt x="45724" y="100105"/>
                        <a:pt x="45724" y="100105"/>
                        <a:pt x="45724" y="100105"/>
                      </a:cubicBezTo>
                      <a:cubicBezTo>
                        <a:pt x="46171" y="99631"/>
                        <a:pt x="46171" y="99631"/>
                        <a:pt x="46171" y="99631"/>
                      </a:cubicBezTo>
                      <a:cubicBezTo>
                        <a:pt x="46840" y="98684"/>
                        <a:pt x="46840" y="98684"/>
                        <a:pt x="46840" y="98684"/>
                      </a:cubicBezTo>
                      <a:cubicBezTo>
                        <a:pt x="46394" y="97736"/>
                        <a:pt x="46394" y="97736"/>
                        <a:pt x="46394" y="97736"/>
                      </a:cubicBezTo>
                      <a:cubicBezTo>
                        <a:pt x="45055" y="96631"/>
                        <a:pt x="45055" y="96631"/>
                        <a:pt x="45055" y="96631"/>
                      </a:cubicBezTo>
                      <a:cubicBezTo>
                        <a:pt x="44386" y="95210"/>
                        <a:pt x="44386" y="95210"/>
                        <a:pt x="44386" y="95210"/>
                      </a:cubicBezTo>
                      <a:cubicBezTo>
                        <a:pt x="43940" y="94263"/>
                        <a:pt x="43940" y="94263"/>
                        <a:pt x="43940" y="94263"/>
                      </a:cubicBezTo>
                      <a:cubicBezTo>
                        <a:pt x="45055" y="93473"/>
                        <a:pt x="45055" y="93473"/>
                        <a:pt x="45055" y="93473"/>
                      </a:cubicBezTo>
                      <a:cubicBezTo>
                        <a:pt x="45278" y="93315"/>
                        <a:pt x="45278" y="93315"/>
                        <a:pt x="45278" y="93315"/>
                      </a:cubicBezTo>
                      <a:cubicBezTo>
                        <a:pt x="45278" y="93315"/>
                        <a:pt x="45278" y="93315"/>
                        <a:pt x="45278" y="93315"/>
                      </a:cubicBezTo>
                      <a:cubicBezTo>
                        <a:pt x="45501" y="93315"/>
                        <a:pt x="45501" y="93315"/>
                        <a:pt x="45501" y="93315"/>
                      </a:cubicBezTo>
                      <a:cubicBezTo>
                        <a:pt x="46171" y="93315"/>
                        <a:pt x="46171" y="93315"/>
                        <a:pt x="46171" y="93315"/>
                      </a:cubicBezTo>
                      <a:cubicBezTo>
                        <a:pt x="46171" y="93315"/>
                        <a:pt x="47286" y="93315"/>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000"/>
                        <a:pt x="47286" y="93000"/>
                        <a:pt x="47286" y="93000"/>
                      </a:cubicBezTo>
                      <a:cubicBezTo>
                        <a:pt x="47286" y="93000"/>
                        <a:pt x="47286" y="93000"/>
                        <a:pt x="47286" y="93000"/>
                      </a:cubicBezTo>
                      <a:cubicBezTo>
                        <a:pt x="47286" y="93000"/>
                        <a:pt x="47286" y="93000"/>
                        <a:pt x="47286" y="93000"/>
                      </a:cubicBezTo>
                      <a:cubicBezTo>
                        <a:pt x="47286" y="93000"/>
                        <a:pt x="47286" y="93000"/>
                        <a:pt x="47286" y="93000"/>
                      </a:cubicBezTo>
                      <a:cubicBezTo>
                        <a:pt x="47509" y="93000"/>
                        <a:pt x="47509" y="93000"/>
                        <a:pt x="47509" y="93000"/>
                      </a:cubicBezTo>
                      <a:cubicBezTo>
                        <a:pt x="47509" y="93000"/>
                        <a:pt x="47509" y="93000"/>
                        <a:pt x="47509" y="93000"/>
                      </a:cubicBezTo>
                      <a:cubicBezTo>
                        <a:pt x="47509" y="93000"/>
                        <a:pt x="47509" y="93000"/>
                        <a:pt x="47509" y="93000"/>
                      </a:cubicBezTo>
                      <a:cubicBezTo>
                        <a:pt x="47509" y="93000"/>
                        <a:pt x="47509" y="93000"/>
                        <a:pt x="47509" y="93000"/>
                      </a:cubicBezTo>
                      <a:cubicBezTo>
                        <a:pt x="47509" y="93000"/>
                        <a:pt x="47509" y="93000"/>
                        <a:pt x="47509" y="93000"/>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526"/>
                        <a:pt x="47509" y="92526"/>
                        <a:pt x="47509" y="92526"/>
                      </a:cubicBezTo>
                      <a:cubicBezTo>
                        <a:pt x="47509" y="92526"/>
                        <a:pt x="47509" y="92526"/>
                        <a:pt x="47509" y="92526"/>
                      </a:cubicBezTo>
                      <a:cubicBezTo>
                        <a:pt x="47509" y="92526"/>
                        <a:pt x="47509" y="92526"/>
                        <a:pt x="47509" y="92526"/>
                      </a:cubicBezTo>
                      <a:cubicBezTo>
                        <a:pt x="47509" y="92526"/>
                        <a:pt x="47509" y="92526"/>
                        <a:pt x="47509" y="92526"/>
                      </a:cubicBezTo>
                      <a:cubicBezTo>
                        <a:pt x="47509" y="92526"/>
                        <a:pt x="47509" y="92526"/>
                        <a:pt x="47509" y="92526"/>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732" y="92052"/>
                        <a:pt x="47732" y="92052"/>
                        <a:pt x="47732" y="92052"/>
                      </a:cubicBezTo>
                      <a:cubicBezTo>
                        <a:pt x="47732" y="92052"/>
                        <a:pt x="47732" y="92052"/>
                        <a:pt x="47732" y="92052"/>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509" y="90473"/>
                        <a:pt x="47509" y="90473"/>
                        <a:pt x="47509" y="90473"/>
                      </a:cubicBezTo>
                      <a:cubicBezTo>
                        <a:pt x="46171" y="89684"/>
                        <a:pt x="46171" y="89684"/>
                        <a:pt x="46171" y="89684"/>
                      </a:cubicBezTo>
                      <a:cubicBezTo>
                        <a:pt x="44609" y="88894"/>
                        <a:pt x="44609" y="88894"/>
                        <a:pt x="44609" y="88894"/>
                      </a:cubicBezTo>
                      <a:cubicBezTo>
                        <a:pt x="43940" y="87631"/>
                        <a:pt x="43940" y="87631"/>
                        <a:pt x="43940" y="87631"/>
                      </a:cubicBezTo>
                      <a:cubicBezTo>
                        <a:pt x="43717" y="82736"/>
                        <a:pt x="43717" y="82736"/>
                        <a:pt x="43717" y="82736"/>
                      </a:cubicBezTo>
                      <a:cubicBezTo>
                        <a:pt x="43717" y="82736"/>
                        <a:pt x="42156" y="80684"/>
                        <a:pt x="42156" y="80526"/>
                      </a:cubicBezTo>
                      <a:cubicBezTo>
                        <a:pt x="41933" y="80210"/>
                        <a:pt x="41933" y="79894"/>
                        <a:pt x="42379" y="79578"/>
                      </a:cubicBezTo>
                      <a:cubicBezTo>
                        <a:pt x="42602" y="79421"/>
                        <a:pt x="42379" y="79105"/>
                        <a:pt x="42379" y="79105"/>
                      </a:cubicBezTo>
                      <a:cubicBezTo>
                        <a:pt x="42156" y="78000"/>
                        <a:pt x="42156" y="78000"/>
                        <a:pt x="42156" y="78000"/>
                      </a:cubicBezTo>
                      <a:cubicBezTo>
                        <a:pt x="42602" y="77526"/>
                        <a:pt x="42602" y="77526"/>
                        <a:pt x="42602" y="77526"/>
                      </a:cubicBezTo>
                      <a:cubicBezTo>
                        <a:pt x="42602" y="76578"/>
                        <a:pt x="42602" y="76578"/>
                        <a:pt x="42602" y="76578"/>
                      </a:cubicBezTo>
                      <a:cubicBezTo>
                        <a:pt x="41710" y="75315"/>
                        <a:pt x="41710" y="75315"/>
                        <a:pt x="41710" y="75315"/>
                      </a:cubicBezTo>
                      <a:cubicBezTo>
                        <a:pt x="41710" y="75315"/>
                        <a:pt x="41710" y="74368"/>
                        <a:pt x="41710" y="74210"/>
                      </a:cubicBezTo>
                      <a:cubicBezTo>
                        <a:pt x="41710" y="73894"/>
                        <a:pt x="42379" y="73263"/>
                        <a:pt x="42379" y="73263"/>
                      </a:cubicBezTo>
                      <a:cubicBezTo>
                        <a:pt x="42602" y="72157"/>
                        <a:pt x="42602" y="72157"/>
                        <a:pt x="42602" y="72157"/>
                      </a:cubicBezTo>
                      <a:cubicBezTo>
                        <a:pt x="43048" y="70578"/>
                        <a:pt x="43048" y="70578"/>
                        <a:pt x="43048" y="70578"/>
                      </a:cubicBezTo>
                      <a:cubicBezTo>
                        <a:pt x="45947" y="67894"/>
                        <a:pt x="45947" y="67894"/>
                        <a:pt x="45947" y="67894"/>
                      </a:cubicBezTo>
                      <a:cubicBezTo>
                        <a:pt x="46617" y="67894"/>
                        <a:pt x="46617" y="67894"/>
                        <a:pt x="46617" y="67894"/>
                      </a:cubicBezTo>
                      <a:cubicBezTo>
                        <a:pt x="51301" y="67736"/>
                        <a:pt x="51301" y="67736"/>
                        <a:pt x="51301" y="67736"/>
                      </a:cubicBezTo>
                      <a:cubicBezTo>
                        <a:pt x="51524" y="67421"/>
                        <a:pt x="51524" y="67421"/>
                        <a:pt x="51524" y="67421"/>
                      </a:cubicBezTo>
                      <a:cubicBezTo>
                        <a:pt x="51747" y="67263"/>
                        <a:pt x="51747" y="67263"/>
                        <a:pt x="51747" y="67263"/>
                      </a:cubicBezTo>
                      <a:cubicBezTo>
                        <a:pt x="52193" y="66315"/>
                        <a:pt x="52193" y="66315"/>
                        <a:pt x="52193" y="66315"/>
                      </a:cubicBezTo>
                      <a:cubicBezTo>
                        <a:pt x="51970" y="63789"/>
                        <a:pt x="51970" y="63789"/>
                        <a:pt x="51970" y="63789"/>
                      </a:cubicBezTo>
                      <a:cubicBezTo>
                        <a:pt x="49962" y="63473"/>
                        <a:pt x="49962" y="63473"/>
                        <a:pt x="49962" y="63473"/>
                      </a:cubicBezTo>
                      <a:cubicBezTo>
                        <a:pt x="49516" y="62684"/>
                        <a:pt x="49516" y="62684"/>
                        <a:pt x="49516" y="62684"/>
                      </a:cubicBezTo>
                      <a:cubicBezTo>
                        <a:pt x="52862" y="58578"/>
                        <a:pt x="52862" y="58578"/>
                        <a:pt x="52862" y="58578"/>
                      </a:cubicBezTo>
                      <a:cubicBezTo>
                        <a:pt x="52639" y="57631"/>
                        <a:pt x="52639" y="57631"/>
                        <a:pt x="52639" y="57631"/>
                      </a:cubicBezTo>
                      <a:cubicBezTo>
                        <a:pt x="53531" y="57157"/>
                        <a:pt x="53531" y="57157"/>
                        <a:pt x="53531" y="57157"/>
                      </a:cubicBezTo>
                      <a:cubicBezTo>
                        <a:pt x="53531" y="57157"/>
                        <a:pt x="53308" y="56526"/>
                        <a:pt x="53085" y="56210"/>
                      </a:cubicBezTo>
                      <a:cubicBezTo>
                        <a:pt x="52862" y="56052"/>
                        <a:pt x="53308" y="55105"/>
                        <a:pt x="53308" y="55105"/>
                      </a:cubicBezTo>
                      <a:cubicBezTo>
                        <a:pt x="53531" y="54000"/>
                        <a:pt x="53531" y="54000"/>
                        <a:pt x="53531" y="54000"/>
                      </a:cubicBezTo>
                      <a:cubicBezTo>
                        <a:pt x="53977" y="52736"/>
                        <a:pt x="53977" y="52736"/>
                        <a:pt x="53977" y="52736"/>
                      </a:cubicBezTo>
                      <a:cubicBezTo>
                        <a:pt x="52862" y="50052"/>
                        <a:pt x="52862" y="50052"/>
                        <a:pt x="52862" y="50052"/>
                      </a:cubicBezTo>
                      <a:cubicBezTo>
                        <a:pt x="53531" y="49578"/>
                        <a:pt x="53531" y="49578"/>
                        <a:pt x="53531" y="49578"/>
                      </a:cubicBezTo>
                      <a:cubicBezTo>
                        <a:pt x="54423" y="49578"/>
                        <a:pt x="54423" y="49578"/>
                        <a:pt x="54423" y="49578"/>
                      </a:cubicBezTo>
                      <a:cubicBezTo>
                        <a:pt x="54646" y="49578"/>
                        <a:pt x="55092" y="49421"/>
                        <a:pt x="55539" y="49421"/>
                      </a:cubicBezTo>
                      <a:cubicBezTo>
                        <a:pt x="55985" y="49263"/>
                        <a:pt x="56208" y="49105"/>
                        <a:pt x="56877" y="48631"/>
                      </a:cubicBezTo>
                      <a:cubicBezTo>
                        <a:pt x="57100" y="48315"/>
                        <a:pt x="57100" y="48315"/>
                        <a:pt x="57100" y="48315"/>
                      </a:cubicBezTo>
                      <a:cubicBezTo>
                        <a:pt x="57323" y="47526"/>
                        <a:pt x="57323" y="47526"/>
                        <a:pt x="57323" y="47526"/>
                      </a:cubicBezTo>
                      <a:cubicBezTo>
                        <a:pt x="57323" y="46105"/>
                        <a:pt x="57323" y="46105"/>
                        <a:pt x="57323" y="46105"/>
                      </a:cubicBezTo>
                      <a:cubicBezTo>
                        <a:pt x="58438" y="44052"/>
                        <a:pt x="58438" y="44052"/>
                        <a:pt x="58438" y="44052"/>
                      </a:cubicBezTo>
                      <a:cubicBezTo>
                        <a:pt x="58438" y="44052"/>
                        <a:pt x="60223" y="42473"/>
                        <a:pt x="60446" y="42157"/>
                      </a:cubicBezTo>
                      <a:cubicBezTo>
                        <a:pt x="60669" y="41842"/>
                        <a:pt x="61338" y="40736"/>
                        <a:pt x="61338" y="40736"/>
                      </a:cubicBezTo>
                      <a:cubicBezTo>
                        <a:pt x="61338" y="40736"/>
                        <a:pt x="60892" y="39473"/>
                        <a:pt x="60669" y="39157"/>
                      </a:cubicBezTo>
                      <a:cubicBezTo>
                        <a:pt x="60223" y="39000"/>
                        <a:pt x="59553" y="38052"/>
                        <a:pt x="59553" y="38052"/>
                      </a:cubicBezTo>
                      <a:cubicBezTo>
                        <a:pt x="59553" y="37263"/>
                        <a:pt x="59553" y="37263"/>
                        <a:pt x="59553" y="37263"/>
                      </a:cubicBezTo>
                      <a:cubicBezTo>
                        <a:pt x="60892" y="36631"/>
                        <a:pt x="60892" y="36631"/>
                        <a:pt x="60892" y="36631"/>
                      </a:cubicBezTo>
                      <a:cubicBezTo>
                        <a:pt x="61338" y="36000"/>
                        <a:pt x="61338" y="36000"/>
                        <a:pt x="61338" y="36000"/>
                      </a:cubicBezTo>
                      <a:cubicBezTo>
                        <a:pt x="61338" y="36000"/>
                        <a:pt x="61338" y="34894"/>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421"/>
                        <a:pt x="61338" y="34421"/>
                        <a:pt x="61338" y="34421"/>
                      </a:cubicBezTo>
                      <a:cubicBezTo>
                        <a:pt x="61338" y="34421"/>
                        <a:pt x="61338" y="34421"/>
                        <a:pt x="61338" y="34421"/>
                      </a:cubicBezTo>
                      <a:cubicBezTo>
                        <a:pt x="61338" y="34421"/>
                        <a:pt x="61338" y="34421"/>
                        <a:pt x="61338" y="34421"/>
                      </a:cubicBezTo>
                      <a:cubicBezTo>
                        <a:pt x="61338" y="34421"/>
                        <a:pt x="61338" y="34421"/>
                        <a:pt x="61338"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784" y="34105"/>
                        <a:pt x="61784" y="34105"/>
                        <a:pt x="61784" y="34105"/>
                      </a:cubicBezTo>
                      <a:cubicBezTo>
                        <a:pt x="61784" y="34105"/>
                        <a:pt x="61784" y="34105"/>
                        <a:pt x="61784" y="34105"/>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631"/>
                        <a:pt x="62676" y="33000"/>
                        <a:pt x="62676" y="33000"/>
                      </a:cubicBezTo>
                      <a:cubicBezTo>
                        <a:pt x="63568" y="31736"/>
                        <a:pt x="63568" y="31736"/>
                        <a:pt x="63568" y="31736"/>
                      </a:cubicBezTo>
                      <a:cubicBezTo>
                        <a:pt x="65799" y="32526"/>
                        <a:pt x="65799" y="32526"/>
                        <a:pt x="65799" y="32526"/>
                      </a:cubicBezTo>
                      <a:cubicBezTo>
                        <a:pt x="66914" y="32526"/>
                        <a:pt x="66914" y="32526"/>
                        <a:pt x="66914" y="32526"/>
                      </a:cubicBezTo>
                      <a:cubicBezTo>
                        <a:pt x="67360" y="31894"/>
                        <a:pt x="67360" y="31894"/>
                        <a:pt x="67360" y="31894"/>
                      </a:cubicBezTo>
                      <a:cubicBezTo>
                        <a:pt x="67137" y="31421"/>
                        <a:pt x="66914" y="28105"/>
                        <a:pt x="67583" y="27473"/>
                      </a:cubicBezTo>
                      <a:cubicBezTo>
                        <a:pt x="67583" y="27473"/>
                        <a:pt x="70706" y="27631"/>
                        <a:pt x="71152" y="27473"/>
                      </a:cubicBezTo>
                      <a:cubicBezTo>
                        <a:pt x="71375" y="27473"/>
                        <a:pt x="72490" y="27789"/>
                        <a:pt x="72713" y="27947"/>
                      </a:cubicBezTo>
                      <a:cubicBezTo>
                        <a:pt x="72713" y="27947"/>
                        <a:pt x="72713" y="27947"/>
                        <a:pt x="72713" y="27947"/>
                      </a:cubicBezTo>
                      <a:cubicBezTo>
                        <a:pt x="72713" y="27947"/>
                        <a:pt x="72713" y="27947"/>
                        <a:pt x="72713" y="27947"/>
                      </a:cubicBezTo>
                      <a:cubicBezTo>
                        <a:pt x="72936" y="28105"/>
                        <a:pt x="73159" y="28105"/>
                        <a:pt x="73382" y="28105"/>
                      </a:cubicBezTo>
                      <a:cubicBezTo>
                        <a:pt x="73828" y="28263"/>
                        <a:pt x="74275" y="28263"/>
                        <a:pt x="74275" y="28263"/>
                      </a:cubicBezTo>
                      <a:cubicBezTo>
                        <a:pt x="75613" y="28105"/>
                        <a:pt x="75613" y="28105"/>
                        <a:pt x="75613" y="28105"/>
                      </a:cubicBezTo>
                      <a:cubicBezTo>
                        <a:pt x="76505" y="27315"/>
                        <a:pt x="76505" y="27315"/>
                        <a:pt x="76505" y="27315"/>
                      </a:cubicBezTo>
                      <a:cubicBezTo>
                        <a:pt x="75613" y="26684"/>
                        <a:pt x="75613" y="26684"/>
                        <a:pt x="75613" y="26684"/>
                      </a:cubicBezTo>
                      <a:cubicBezTo>
                        <a:pt x="76505" y="25894"/>
                        <a:pt x="76505" y="24789"/>
                        <a:pt x="76282" y="24631"/>
                      </a:cubicBezTo>
                      <a:cubicBezTo>
                        <a:pt x="76059" y="24315"/>
                        <a:pt x="75613" y="22894"/>
                        <a:pt x="75390" y="22736"/>
                      </a:cubicBezTo>
                      <a:cubicBezTo>
                        <a:pt x="75390" y="22578"/>
                        <a:pt x="75836" y="22421"/>
                        <a:pt x="75836" y="22421"/>
                      </a:cubicBezTo>
                      <a:cubicBezTo>
                        <a:pt x="76282" y="22421"/>
                        <a:pt x="76282" y="22421"/>
                        <a:pt x="76282" y="22421"/>
                      </a:cubicBezTo>
                      <a:cubicBezTo>
                        <a:pt x="76282" y="22421"/>
                        <a:pt x="76505" y="22263"/>
                        <a:pt x="76728" y="22263"/>
                      </a:cubicBezTo>
                      <a:cubicBezTo>
                        <a:pt x="77843" y="21631"/>
                        <a:pt x="77843" y="21631"/>
                        <a:pt x="77843" y="21631"/>
                      </a:cubicBezTo>
                      <a:cubicBezTo>
                        <a:pt x="78959" y="21789"/>
                        <a:pt x="78959" y="21789"/>
                        <a:pt x="78959" y="21789"/>
                      </a:cubicBezTo>
                      <a:cubicBezTo>
                        <a:pt x="78959" y="21789"/>
                        <a:pt x="78959" y="21631"/>
                        <a:pt x="79182" y="21631"/>
                      </a:cubicBezTo>
                      <a:cubicBezTo>
                        <a:pt x="79405" y="21631"/>
                        <a:pt x="79405" y="21473"/>
                        <a:pt x="79405" y="21473"/>
                      </a:cubicBezTo>
                      <a:cubicBezTo>
                        <a:pt x="79405" y="21473"/>
                        <a:pt x="78736" y="20526"/>
                        <a:pt x="79182" y="20052"/>
                      </a:cubicBezTo>
                      <a:cubicBezTo>
                        <a:pt x="79405" y="19736"/>
                        <a:pt x="79628"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743" y="19736"/>
                        <a:pt x="80743" y="19736"/>
                        <a:pt x="80743" y="19736"/>
                      </a:cubicBezTo>
                      <a:cubicBezTo>
                        <a:pt x="80743" y="19736"/>
                        <a:pt x="80743" y="19736"/>
                        <a:pt x="80743" y="19736"/>
                      </a:cubicBezTo>
                      <a:cubicBezTo>
                        <a:pt x="80743" y="19736"/>
                        <a:pt x="80743" y="19736"/>
                        <a:pt x="80743" y="19736"/>
                      </a:cubicBezTo>
                      <a:cubicBezTo>
                        <a:pt x="80743" y="19736"/>
                        <a:pt x="80743" y="19736"/>
                        <a:pt x="80743" y="19736"/>
                      </a:cubicBezTo>
                      <a:cubicBezTo>
                        <a:pt x="80966" y="19736"/>
                        <a:pt x="80966" y="19736"/>
                        <a:pt x="80966" y="19736"/>
                      </a:cubicBezTo>
                      <a:cubicBezTo>
                        <a:pt x="80966" y="19736"/>
                        <a:pt x="80966" y="19736"/>
                        <a:pt x="80966" y="19736"/>
                      </a:cubicBezTo>
                      <a:cubicBezTo>
                        <a:pt x="80966" y="19736"/>
                        <a:pt x="80966" y="19736"/>
                        <a:pt x="80966" y="19736"/>
                      </a:cubicBezTo>
                      <a:cubicBezTo>
                        <a:pt x="80966" y="19736"/>
                        <a:pt x="80966" y="19736"/>
                        <a:pt x="80966" y="19736"/>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101" name="Shape 2053"/>
                <p:cNvSpPr/>
                <p:nvPr/>
              </p:nvSpPr>
              <p:spPr>
                <a:xfrm>
                  <a:off x="3733035" y="1542150"/>
                  <a:ext cx="664055" cy="1216708"/>
                </a:xfrm>
                <a:custGeom>
                  <a:avLst/>
                  <a:gdLst/>
                  <a:ahLst/>
                  <a:cxnLst/>
                  <a:rect l="0" t="0" r="0" b="0"/>
                  <a:pathLst>
                    <a:path w="120000" h="120000" extrusionOk="0">
                      <a:moveTo>
                        <a:pt x="30103" y="109309"/>
                      </a:moveTo>
                      <a:cubicBezTo>
                        <a:pt x="28453" y="109963"/>
                        <a:pt x="28453" y="109963"/>
                        <a:pt x="28453" y="109963"/>
                      </a:cubicBezTo>
                      <a:cubicBezTo>
                        <a:pt x="28453" y="110836"/>
                        <a:pt x="28453" y="110836"/>
                        <a:pt x="28453" y="110836"/>
                      </a:cubicBezTo>
                      <a:cubicBezTo>
                        <a:pt x="27628" y="111709"/>
                        <a:pt x="27628" y="111709"/>
                        <a:pt x="27628" y="111709"/>
                      </a:cubicBezTo>
                      <a:cubicBezTo>
                        <a:pt x="27628" y="111709"/>
                        <a:pt x="26804" y="111927"/>
                        <a:pt x="26804" y="112145"/>
                      </a:cubicBezTo>
                      <a:cubicBezTo>
                        <a:pt x="26391" y="112363"/>
                        <a:pt x="24742" y="113018"/>
                        <a:pt x="24742" y="113018"/>
                      </a:cubicBezTo>
                      <a:cubicBezTo>
                        <a:pt x="24742" y="113018"/>
                        <a:pt x="24742" y="113236"/>
                        <a:pt x="24329" y="113236"/>
                      </a:cubicBezTo>
                      <a:cubicBezTo>
                        <a:pt x="23917" y="113236"/>
                        <a:pt x="21030" y="113890"/>
                        <a:pt x="21030" y="113890"/>
                      </a:cubicBezTo>
                      <a:cubicBezTo>
                        <a:pt x="20206" y="114763"/>
                        <a:pt x="20206" y="114763"/>
                        <a:pt x="20206" y="114763"/>
                      </a:cubicBezTo>
                      <a:cubicBezTo>
                        <a:pt x="18556" y="114981"/>
                        <a:pt x="18556" y="114981"/>
                        <a:pt x="18556" y="114981"/>
                      </a:cubicBezTo>
                      <a:cubicBezTo>
                        <a:pt x="17319" y="116072"/>
                        <a:pt x="17319" y="116072"/>
                        <a:pt x="17319" y="116072"/>
                      </a:cubicBezTo>
                      <a:cubicBezTo>
                        <a:pt x="15257" y="116509"/>
                        <a:pt x="15257" y="116509"/>
                        <a:pt x="15257" y="116509"/>
                      </a:cubicBezTo>
                      <a:cubicBezTo>
                        <a:pt x="13608" y="116727"/>
                        <a:pt x="13608" y="116727"/>
                        <a:pt x="13608" y="116727"/>
                      </a:cubicBezTo>
                      <a:cubicBezTo>
                        <a:pt x="11958" y="116290"/>
                        <a:pt x="11958" y="116290"/>
                        <a:pt x="11958" y="116290"/>
                      </a:cubicBezTo>
                      <a:cubicBezTo>
                        <a:pt x="10721" y="116727"/>
                        <a:pt x="10721" y="116727"/>
                        <a:pt x="10721" y="116727"/>
                      </a:cubicBezTo>
                      <a:cubicBezTo>
                        <a:pt x="9484" y="117163"/>
                        <a:pt x="9484" y="117163"/>
                        <a:pt x="9484" y="117163"/>
                      </a:cubicBezTo>
                      <a:cubicBezTo>
                        <a:pt x="9896" y="118036"/>
                        <a:pt x="9896" y="118036"/>
                        <a:pt x="9896" y="118036"/>
                      </a:cubicBezTo>
                      <a:cubicBezTo>
                        <a:pt x="11134" y="118472"/>
                        <a:pt x="11134" y="118472"/>
                        <a:pt x="11134" y="118472"/>
                      </a:cubicBezTo>
                      <a:cubicBezTo>
                        <a:pt x="11958" y="117818"/>
                        <a:pt x="11958" y="117818"/>
                        <a:pt x="11958" y="117818"/>
                      </a:cubicBezTo>
                      <a:cubicBezTo>
                        <a:pt x="14432" y="118254"/>
                        <a:pt x="14432" y="118254"/>
                        <a:pt x="14432" y="118254"/>
                      </a:cubicBezTo>
                      <a:cubicBezTo>
                        <a:pt x="14432" y="118254"/>
                        <a:pt x="15257" y="118909"/>
                        <a:pt x="15670" y="119127"/>
                      </a:cubicBezTo>
                      <a:cubicBezTo>
                        <a:pt x="15670" y="119345"/>
                        <a:pt x="15670" y="120000"/>
                        <a:pt x="16082" y="120000"/>
                      </a:cubicBezTo>
                      <a:cubicBezTo>
                        <a:pt x="16494" y="119781"/>
                        <a:pt x="18556" y="119127"/>
                        <a:pt x="18556" y="119127"/>
                      </a:cubicBezTo>
                      <a:cubicBezTo>
                        <a:pt x="17731" y="118254"/>
                        <a:pt x="17731" y="118254"/>
                        <a:pt x="17731" y="118254"/>
                      </a:cubicBezTo>
                      <a:cubicBezTo>
                        <a:pt x="17731" y="118254"/>
                        <a:pt x="18969" y="118036"/>
                        <a:pt x="19793" y="118036"/>
                      </a:cubicBezTo>
                      <a:cubicBezTo>
                        <a:pt x="20618" y="118036"/>
                        <a:pt x="21443" y="118254"/>
                        <a:pt x="21855" y="117818"/>
                      </a:cubicBezTo>
                      <a:cubicBezTo>
                        <a:pt x="21855" y="117600"/>
                        <a:pt x="23092" y="117600"/>
                        <a:pt x="23092" y="117600"/>
                      </a:cubicBezTo>
                      <a:cubicBezTo>
                        <a:pt x="23092" y="117600"/>
                        <a:pt x="23917" y="116945"/>
                        <a:pt x="23917" y="116945"/>
                      </a:cubicBezTo>
                      <a:cubicBezTo>
                        <a:pt x="23917" y="116727"/>
                        <a:pt x="25154" y="116290"/>
                        <a:pt x="25154" y="116290"/>
                      </a:cubicBezTo>
                      <a:cubicBezTo>
                        <a:pt x="25154" y="116290"/>
                        <a:pt x="28041" y="116945"/>
                        <a:pt x="28453" y="116945"/>
                      </a:cubicBezTo>
                      <a:cubicBezTo>
                        <a:pt x="28865" y="116945"/>
                        <a:pt x="31752" y="116509"/>
                        <a:pt x="31752" y="116509"/>
                      </a:cubicBezTo>
                      <a:cubicBezTo>
                        <a:pt x="32989" y="117163"/>
                        <a:pt x="32989" y="117163"/>
                        <a:pt x="32989" y="117163"/>
                      </a:cubicBezTo>
                      <a:cubicBezTo>
                        <a:pt x="32989" y="117163"/>
                        <a:pt x="32989" y="117600"/>
                        <a:pt x="33814" y="117818"/>
                      </a:cubicBezTo>
                      <a:cubicBezTo>
                        <a:pt x="34639" y="117818"/>
                        <a:pt x="35051" y="117818"/>
                        <a:pt x="35051" y="117818"/>
                      </a:cubicBezTo>
                      <a:cubicBezTo>
                        <a:pt x="36288" y="118690"/>
                        <a:pt x="36288" y="118690"/>
                        <a:pt x="36288" y="118690"/>
                      </a:cubicBezTo>
                      <a:cubicBezTo>
                        <a:pt x="37525" y="119127"/>
                        <a:pt x="37525" y="119127"/>
                        <a:pt x="37525" y="119127"/>
                      </a:cubicBezTo>
                      <a:cubicBezTo>
                        <a:pt x="37525" y="119127"/>
                        <a:pt x="38762" y="119127"/>
                        <a:pt x="38762" y="118909"/>
                      </a:cubicBezTo>
                      <a:cubicBezTo>
                        <a:pt x="38762" y="118690"/>
                        <a:pt x="39175" y="118254"/>
                        <a:pt x="39587" y="118036"/>
                      </a:cubicBezTo>
                      <a:cubicBezTo>
                        <a:pt x="40000" y="118036"/>
                        <a:pt x="41237" y="117818"/>
                        <a:pt x="41237" y="117818"/>
                      </a:cubicBezTo>
                      <a:cubicBezTo>
                        <a:pt x="41237" y="117818"/>
                        <a:pt x="41237" y="117381"/>
                        <a:pt x="41237" y="117163"/>
                      </a:cubicBezTo>
                      <a:cubicBezTo>
                        <a:pt x="41237" y="116727"/>
                        <a:pt x="41237" y="116072"/>
                        <a:pt x="41649" y="115854"/>
                      </a:cubicBezTo>
                      <a:cubicBezTo>
                        <a:pt x="41649" y="115854"/>
                        <a:pt x="42886" y="114981"/>
                        <a:pt x="42886" y="114981"/>
                      </a:cubicBezTo>
                      <a:cubicBezTo>
                        <a:pt x="44948" y="114763"/>
                        <a:pt x="44948" y="114763"/>
                        <a:pt x="44948" y="114763"/>
                      </a:cubicBezTo>
                      <a:cubicBezTo>
                        <a:pt x="49896" y="114545"/>
                        <a:pt x="49896" y="114545"/>
                        <a:pt x="49896" y="114545"/>
                      </a:cubicBezTo>
                      <a:cubicBezTo>
                        <a:pt x="51546" y="114545"/>
                        <a:pt x="51546" y="114545"/>
                        <a:pt x="51546" y="114545"/>
                      </a:cubicBezTo>
                      <a:cubicBezTo>
                        <a:pt x="53608" y="115418"/>
                        <a:pt x="53608" y="115418"/>
                        <a:pt x="53608" y="115418"/>
                      </a:cubicBezTo>
                      <a:cubicBezTo>
                        <a:pt x="55670" y="116509"/>
                        <a:pt x="55670" y="116509"/>
                        <a:pt x="55670" y="116509"/>
                      </a:cubicBezTo>
                      <a:cubicBezTo>
                        <a:pt x="55670" y="116509"/>
                        <a:pt x="56907" y="117381"/>
                        <a:pt x="56907" y="117163"/>
                      </a:cubicBezTo>
                      <a:cubicBezTo>
                        <a:pt x="57319" y="116727"/>
                        <a:pt x="57731" y="115854"/>
                        <a:pt x="58144" y="115854"/>
                      </a:cubicBezTo>
                      <a:cubicBezTo>
                        <a:pt x="58556" y="115854"/>
                        <a:pt x="59793" y="116727"/>
                        <a:pt x="59793" y="116727"/>
                      </a:cubicBezTo>
                      <a:cubicBezTo>
                        <a:pt x="61443" y="116945"/>
                        <a:pt x="61443" y="116945"/>
                        <a:pt x="61443" y="116945"/>
                      </a:cubicBezTo>
                      <a:cubicBezTo>
                        <a:pt x="62680" y="116945"/>
                        <a:pt x="62680" y="116945"/>
                        <a:pt x="62680" y="116945"/>
                      </a:cubicBezTo>
                      <a:cubicBezTo>
                        <a:pt x="63917" y="116290"/>
                        <a:pt x="63917" y="116290"/>
                        <a:pt x="63917" y="116290"/>
                      </a:cubicBezTo>
                      <a:cubicBezTo>
                        <a:pt x="63092" y="115636"/>
                        <a:pt x="63092" y="115636"/>
                        <a:pt x="63092" y="115636"/>
                      </a:cubicBezTo>
                      <a:cubicBezTo>
                        <a:pt x="64742" y="115854"/>
                        <a:pt x="64742" y="115854"/>
                        <a:pt x="64742" y="115854"/>
                      </a:cubicBezTo>
                      <a:cubicBezTo>
                        <a:pt x="69278" y="116072"/>
                        <a:pt x="69278" y="116072"/>
                        <a:pt x="69278" y="116072"/>
                      </a:cubicBezTo>
                      <a:cubicBezTo>
                        <a:pt x="71340" y="115854"/>
                        <a:pt x="71340" y="115854"/>
                        <a:pt x="71340" y="115854"/>
                      </a:cubicBezTo>
                      <a:cubicBezTo>
                        <a:pt x="72989" y="115636"/>
                        <a:pt x="72989" y="115636"/>
                        <a:pt x="72989" y="115636"/>
                      </a:cubicBezTo>
                      <a:cubicBezTo>
                        <a:pt x="72989" y="116072"/>
                        <a:pt x="72989" y="116072"/>
                        <a:pt x="72989" y="116072"/>
                      </a:cubicBezTo>
                      <a:cubicBezTo>
                        <a:pt x="70515" y="116509"/>
                        <a:pt x="70515" y="116509"/>
                        <a:pt x="70515" y="116509"/>
                      </a:cubicBezTo>
                      <a:cubicBezTo>
                        <a:pt x="70515" y="116509"/>
                        <a:pt x="69278" y="116509"/>
                        <a:pt x="69690" y="116727"/>
                      </a:cubicBezTo>
                      <a:cubicBezTo>
                        <a:pt x="70103" y="117163"/>
                        <a:pt x="72164" y="117600"/>
                        <a:pt x="72164" y="117600"/>
                      </a:cubicBezTo>
                      <a:cubicBezTo>
                        <a:pt x="72164" y="117600"/>
                        <a:pt x="70927" y="117818"/>
                        <a:pt x="72577" y="117818"/>
                      </a:cubicBezTo>
                      <a:cubicBezTo>
                        <a:pt x="74226" y="117818"/>
                        <a:pt x="75051" y="117600"/>
                        <a:pt x="75051" y="117600"/>
                      </a:cubicBezTo>
                      <a:cubicBezTo>
                        <a:pt x="76288" y="116945"/>
                        <a:pt x="76288" y="116945"/>
                        <a:pt x="76288" y="116945"/>
                      </a:cubicBezTo>
                      <a:cubicBezTo>
                        <a:pt x="75463" y="116509"/>
                        <a:pt x="75463" y="116509"/>
                        <a:pt x="75463" y="116509"/>
                      </a:cubicBezTo>
                      <a:cubicBezTo>
                        <a:pt x="73402" y="116290"/>
                        <a:pt x="73402" y="116290"/>
                        <a:pt x="73402" y="116290"/>
                      </a:cubicBezTo>
                      <a:cubicBezTo>
                        <a:pt x="73814" y="115418"/>
                        <a:pt x="73814" y="115418"/>
                        <a:pt x="73814" y="115418"/>
                      </a:cubicBezTo>
                      <a:cubicBezTo>
                        <a:pt x="74226" y="115418"/>
                        <a:pt x="74226" y="115418"/>
                        <a:pt x="74226" y="115418"/>
                      </a:cubicBezTo>
                      <a:cubicBezTo>
                        <a:pt x="75463" y="116072"/>
                        <a:pt x="75463" y="116072"/>
                        <a:pt x="75463" y="116072"/>
                      </a:cubicBezTo>
                      <a:cubicBezTo>
                        <a:pt x="76701" y="115636"/>
                        <a:pt x="76701" y="115636"/>
                        <a:pt x="76701" y="115636"/>
                      </a:cubicBezTo>
                      <a:cubicBezTo>
                        <a:pt x="78350" y="115854"/>
                        <a:pt x="78350" y="115854"/>
                        <a:pt x="78350" y="115854"/>
                      </a:cubicBezTo>
                      <a:cubicBezTo>
                        <a:pt x="79175" y="116727"/>
                        <a:pt x="79175" y="116727"/>
                        <a:pt x="79175" y="116727"/>
                      </a:cubicBezTo>
                      <a:cubicBezTo>
                        <a:pt x="79175" y="116727"/>
                        <a:pt x="80000" y="117163"/>
                        <a:pt x="80824" y="116727"/>
                      </a:cubicBezTo>
                      <a:cubicBezTo>
                        <a:pt x="81649" y="116509"/>
                        <a:pt x="82474" y="116290"/>
                        <a:pt x="82474" y="116290"/>
                      </a:cubicBezTo>
                      <a:cubicBezTo>
                        <a:pt x="87422" y="116509"/>
                        <a:pt x="87422" y="116509"/>
                        <a:pt x="87422" y="116509"/>
                      </a:cubicBezTo>
                      <a:cubicBezTo>
                        <a:pt x="87422" y="116509"/>
                        <a:pt x="89896" y="116290"/>
                        <a:pt x="90309" y="116727"/>
                      </a:cubicBezTo>
                      <a:cubicBezTo>
                        <a:pt x="90721" y="116945"/>
                        <a:pt x="91958" y="117381"/>
                        <a:pt x="91958" y="117381"/>
                      </a:cubicBezTo>
                      <a:cubicBezTo>
                        <a:pt x="94020" y="117600"/>
                        <a:pt x="94020" y="117600"/>
                        <a:pt x="94020" y="117600"/>
                      </a:cubicBezTo>
                      <a:cubicBezTo>
                        <a:pt x="96082" y="117600"/>
                        <a:pt x="96082" y="117600"/>
                        <a:pt x="96082" y="117600"/>
                      </a:cubicBezTo>
                      <a:cubicBezTo>
                        <a:pt x="96082" y="117600"/>
                        <a:pt x="96907" y="117163"/>
                        <a:pt x="97319" y="116945"/>
                      </a:cubicBezTo>
                      <a:cubicBezTo>
                        <a:pt x="98144" y="116945"/>
                        <a:pt x="99381" y="116509"/>
                        <a:pt x="99793" y="116509"/>
                      </a:cubicBezTo>
                      <a:cubicBezTo>
                        <a:pt x="100618" y="116509"/>
                        <a:pt x="102680" y="116290"/>
                        <a:pt x="102680" y="116290"/>
                      </a:cubicBezTo>
                      <a:cubicBezTo>
                        <a:pt x="103092" y="116290"/>
                        <a:pt x="103505" y="116509"/>
                        <a:pt x="104329" y="116290"/>
                      </a:cubicBezTo>
                      <a:cubicBezTo>
                        <a:pt x="104742" y="116290"/>
                        <a:pt x="105979" y="115200"/>
                        <a:pt x="105979" y="115200"/>
                      </a:cubicBezTo>
                      <a:cubicBezTo>
                        <a:pt x="105979" y="115200"/>
                        <a:pt x="106391" y="114763"/>
                        <a:pt x="107216" y="114763"/>
                      </a:cubicBezTo>
                      <a:cubicBezTo>
                        <a:pt x="108041" y="114763"/>
                        <a:pt x="109278" y="114763"/>
                        <a:pt x="109690" y="114545"/>
                      </a:cubicBezTo>
                      <a:cubicBezTo>
                        <a:pt x="110103" y="114109"/>
                        <a:pt x="110515" y="113890"/>
                        <a:pt x="110927" y="113672"/>
                      </a:cubicBezTo>
                      <a:cubicBezTo>
                        <a:pt x="111340" y="113454"/>
                        <a:pt x="112164" y="112800"/>
                        <a:pt x="111752" y="112581"/>
                      </a:cubicBezTo>
                      <a:cubicBezTo>
                        <a:pt x="111752" y="112363"/>
                        <a:pt x="112164" y="111490"/>
                        <a:pt x="112164" y="111490"/>
                      </a:cubicBezTo>
                      <a:cubicBezTo>
                        <a:pt x="112164" y="111490"/>
                        <a:pt x="110927" y="111490"/>
                        <a:pt x="110515" y="111490"/>
                      </a:cubicBezTo>
                      <a:cubicBezTo>
                        <a:pt x="110103" y="111272"/>
                        <a:pt x="108453" y="111490"/>
                        <a:pt x="108041" y="111272"/>
                      </a:cubicBezTo>
                      <a:cubicBezTo>
                        <a:pt x="107628" y="111272"/>
                        <a:pt x="105979" y="111272"/>
                        <a:pt x="105979" y="111272"/>
                      </a:cubicBezTo>
                      <a:cubicBezTo>
                        <a:pt x="105567" y="110836"/>
                        <a:pt x="105567" y="110836"/>
                        <a:pt x="105567" y="110836"/>
                      </a:cubicBezTo>
                      <a:cubicBezTo>
                        <a:pt x="105567" y="110836"/>
                        <a:pt x="105154" y="110618"/>
                        <a:pt x="104742" y="110400"/>
                      </a:cubicBezTo>
                      <a:cubicBezTo>
                        <a:pt x="104329" y="110400"/>
                        <a:pt x="104742" y="110400"/>
                        <a:pt x="103917" y="110181"/>
                      </a:cubicBezTo>
                      <a:cubicBezTo>
                        <a:pt x="103505" y="110181"/>
                        <a:pt x="102680" y="109745"/>
                        <a:pt x="102680" y="109745"/>
                      </a:cubicBezTo>
                      <a:cubicBezTo>
                        <a:pt x="101443" y="109527"/>
                        <a:pt x="101443" y="109527"/>
                        <a:pt x="101443" y="109527"/>
                      </a:cubicBezTo>
                      <a:cubicBezTo>
                        <a:pt x="99793" y="109527"/>
                        <a:pt x="99793" y="109527"/>
                        <a:pt x="99793" y="109527"/>
                      </a:cubicBezTo>
                      <a:cubicBezTo>
                        <a:pt x="101443" y="109090"/>
                        <a:pt x="101443" y="109090"/>
                        <a:pt x="101443" y="109090"/>
                      </a:cubicBezTo>
                      <a:cubicBezTo>
                        <a:pt x="101443" y="109090"/>
                        <a:pt x="103092" y="109090"/>
                        <a:pt x="103505" y="109090"/>
                      </a:cubicBezTo>
                      <a:cubicBezTo>
                        <a:pt x="103917" y="109309"/>
                        <a:pt x="105567" y="109309"/>
                        <a:pt x="105567" y="109090"/>
                      </a:cubicBezTo>
                      <a:cubicBezTo>
                        <a:pt x="105979" y="109090"/>
                        <a:pt x="107216" y="108000"/>
                        <a:pt x="107216" y="108000"/>
                      </a:cubicBezTo>
                      <a:cubicBezTo>
                        <a:pt x="106804" y="107345"/>
                        <a:pt x="106804" y="107345"/>
                        <a:pt x="106804" y="107345"/>
                      </a:cubicBezTo>
                      <a:cubicBezTo>
                        <a:pt x="105979" y="106909"/>
                        <a:pt x="105979" y="106909"/>
                        <a:pt x="105979" y="106909"/>
                      </a:cubicBezTo>
                      <a:cubicBezTo>
                        <a:pt x="104329" y="107127"/>
                        <a:pt x="104329" y="107127"/>
                        <a:pt x="104329" y="107127"/>
                      </a:cubicBezTo>
                      <a:cubicBezTo>
                        <a:pt x="106804" y="106472"/>
                        <a:pt x="106804" y="106472"/>
                        <a:pt x="106804" y="106472"/>
                      </a:cubicBezTo>
                      <a:cubicBezTo>
                        <a:pt x="107628" y="106036"/>
                        <a:pt x="107628" y="106036"/>
                        <a:pt x="107628" y="106036"/>
                      </a:cubicBezTo>
                      <a:cubicBezTo>
                        <a:pt x="108865" y="106472"/>
                        <a:pt x="108865" y="106472"/>
                        <a:pt x="108865" y="106472"/>
                      </a:cubicBezTo>
                      <a:cubicBezTo>
                        <a:pt x="108865" y="106472"/>
                        <a:pt x="110927" y="106690"/>
                        <a:pt x="110927" y="106472"/>
                      </a:cubicBezTo>
                      <a:cubicBezTo>
                        <a:pt x="111340" y="106254"/>
                        <a:pt x="111752" y="105818"/>
                        <a:pt x="111752" y="105818"/>
                      </a:cubicBezTo>
                      <a:cubicBezTo>
                        <a:pt x="111752" y="105163"/>
                        <a:pt x="111752" y="105163"/>
                        <a:pt x="111752" y="105163"/>
                      </a:cubicBezTo>
                      <a:cubicBezTo>
                        <a:pt x="115876" y="103636"/>
                        <a:pt x="115876" y="103636"/>
                        <a:pt x="115876" y="103636"/>
                      </a:cubicBezTo>
                      <a:cubicBezTo>
                        <a:pt x="117525" y="102327"/>
                        <a:pt x="117525" y="102327"/>
                        <a:pt x="117525" y="102327"/>
                      </a:cubicBezTo>
                      <a:cubicBezTo>
                        <a:pt x="117938" y="101018"/>
                        <a:pt x="117938" y="101018"/>
                        <a:pt x="117938" y="101018"/>
                      </a:cubicBezTo>
                      <a:cubicBezTo>
                        <a:pt x="120000" y="99054"/>
                        <a:pt x="120000" y="99054"/>
                        <a:pt x="120000" y="99054"/>
                      </a:cubicBezTo>
                      <a:cubicBezTo>
                        <a:pt x="119587" y="96436"/>
                        <a:pt x="119587" y="96436"/>
                        <a:pt x="119587" y="96436"/>
                      </a:cubicBezTo>
                      <a:cubicBezTo>
                        <a:pt x="117525" y="94690"/>
                        <a:pt x="117525" y="94690"/>
                        <a:pt x="117525" y="94690"/>
                      </a:cubicBezTo>
                      <a:cubicBezTo>
                        <a:pt x="117525" y="94690"/>
                        <a:pt x="115051" y="93600"/>
                        <a:pt x="114226" y="93381"/>
                      </a:cubicBezTo>
                      <a:cubicBezTo>
                        <a:pt x="113402" y="93381"/>
                        <a:pt x="108865" y="92727"/>
                        <a:pt x="108865" y="92727"/>
                      </a:cubicBezTo>
                      <a:cubicBezTo>
                        <a:pt x="105567" y="92290"/>
                        <a:pt x="105567" y="92290"/>
                        <a:pt x="105567" y="92290"/>
                      </a:cubicBezTo>
                      <a:cubicBezTo>
                        <a:pt x="103917" y="92727"/>
                        <a:pt x="103917" y="92727"/>
                        <a:pt x="103917" y="92727"/>
                      </a:cubicBezTo>
                      <a:cubicBezTo>
                        <a:pt x="103505" y="93381"/>
                        <a:pt x="103505" y="93381"/>
                        <a:pt x="103505" y="93381"/>
                      </a:cubicBezTo>
                      <a:cubicBezTo>
                        <a:pt x="102268" y="93818"/>
                        <a:pt x="102268" y="93818"/>
                        <a:pt x="102268" y="93818"/>
                      </a:cubicBezTo>
                      <a:cubicBezTo>
                        <a:pt x="102268" y="93818"/>
                        <a:pt x="101030" y="94254"/>
                        <a:pt x="101030" y="94254"/>
                      </a:cubicBezTo>
                      <a:cubicBezTo>
                        <a:pt x="100618" y="94254"/>
                        <a:pt x="99793" y="93600"/>
                        <a:pt x="99793" y="93600"/>
                      </a:cubicBezTo>
                      <a:cubicBezTo>
                        <a:pt x="99793" y="93600"/>
                        <a:pt x="98556" y="92945"/>
                        <a:pt x="98556" y="92945"/>
                      </a:cubicBezTo>
                      <a:cubicBezTo>
                        <a:pt x="98144" y="92945"/>
                        <a:pt x="96907" y="92727"/>
                        <a:pt x="96907" y="92727"/>
                      </a:cubicBezTo>
                      <a:cubicBezTo>
                        <a:pt x="98556" y="92072"/>
                        <a:pt x="98556" y="92072"/>
                        <a:pt x="98556" y="92072"/>
                      </a:cubicBezTo>
                      <a:cubicBezTo>
                        <a:pt x="100618" y="91636"/>
                        <a:pt x="100618" y="91636"/>
                        <a:pt x="100618" y="91636"/>
                      </a:cubicBezTo>
                      <a:cubicBezTo>
                        <a:pt x="100618" y="91636"/>
                        <a:pt x="101443" y="91200"/>
                        <a:pt x="101443" y="90981"/>
                      </a:cubicBezTo>
                      <a:cubicBezTo>
                        <a:pt x="101855" y="90981"/>
                        <a:pt x="102680" y="90545"/>
                        <a:pt x="102680" y="90545"/>
                      </a:cubicBezTo>
                      <a:cubicBezTo>
                        <a:pt x="103092" y="88800"/>
                        <a:pt x="103092" y="88800"/>
                        <a:pt x="103092" y="88800"/>
                      </a:cubicBezTo>
                      <a:cubicBezTo>
                        <a:pt x="102268" y="87054"/>
                        <a:pt x="102268" y="87054"/>
                        <a:pt x="102268" y="87054"/>
                      </a:cubicBezTo>
                      <a:cubicBezTo>
                        <a:pt x="101030" y="86181"/>
                        <a:pt x="101030" y="86181"/>
                        <a:pt x="101030" y="86181"/>
                      </a:cubicBezTo>
                      <a:cubicBezTo>
                        <a:pt x="100206" y="85309"/>
                        <a:pt x="100206" y="85309"/>
                        <a:pt x="100206" y="85309"/>
                      </a:cubicBezTo>
                      <a:cubicBezTo>
                        <a:pt x="99381" y="85309"/>
                        <a:pt x="99381" y="85309"/>
                        <a:pt x="99381" y="85309"/>
                      </a:cubicBezTo>
                      <a:cubicBezTo>
                        <a:pt x="97731" y="84654"/>
                        <a:pt x="97731" y="84654"/>
                        <a:pt x="97731" y="84654"/>
                      </a:cubicBezTo>
                      <a:cubicBezTo>
                        <a:pt x="96494" y="83781"/>
                        <a:pt x="96494" y="83781"/>
                        <a:pt x="96494" y="83781"/>
                      </a:cubicBezTo>
                      <a:cubicBezTo>
                        <a:pt x="96082" y="83127"/>
                        <a:pt x="96082" y="83127"/>
                        <a:pt x="96082" y="83127"/>
                      </a:cubicBezTo>
                      <a:cubicBezTo>
                        <a:pt x="96494" y="82690"/>
                        <a:pt x="96494" y="82690"/>
                        <a:pt x="96494" y="82690"/>
                      </a:cubicBezTo>
                      <a:cubicBezTo>
                        <a:pt x="96907" y="82909"/>
                        <a:pt x="96907" y="82909"/>
                        <a:pt x="96907" y="82909"/>
                      </a:cubicBezTo>
                      <a:cubicBezTo>
                        <a:pt x="96907" y="82909"/>
                        <a:pt x="96907" y="83345"/>
                        <a:pt x="97319" y="83345"/>
                      </a:cubicBezTo>
                      <a:cubicBezTo>
                        <a:pt x="97319" y="83563"/>
                        <a:pt x="97731" y="83781"/>
                        <a:pt x="97731" y="83781"/>
                      </a:cubicBezTo>
                      <a:cubicBezTo>
                        <a:pt x="98144" y="84000"/>
                        <a:pt x="99793" y="84436"/>
                        <a:pt x="99793" y="84436"/>
                      </a:cubicBezTo>
                      <a:cubicBezTo>
                        <a:pt x="100618" y="84436"/>
                        <a:pt x="100618" y="84436"/>
                        <a:pt x="100618" y="84436"/>
                      </a:cubicBezTo>
                      <a:cubicBezTo>
                        <a:pt x="101443" y="85090"/>
                        <a:pt x="101443" y="85090"/>
                        <a:pt x="101443" y="85090"/>
                      </a:cubicBezTo>
                      <a:cubicBezTo>
                        <a:pt x="101443" y="85090"/>
                        <a:pt x="101855" y="84436"/>
                        <a:pt x="101855" y="84436"/>
                      </a:cubicBezTo>
                      <a:cubicBezTo>
                        <a:pt x="101855" y="84218"/>
                        <a:pt x="100618" y="83345"/>
                        <a:pt x="100618" y="83345"/>
                      </a:cubicBezTo>
                      <a:cubicBezTo>
                        <a:pt x="100206" y="83345"/>
                        <a:pt x="99793" y="82472"/>
                        <a:pt x="99793" y="82472"/>
                      </a:cubicBezTo>
                      <a:cubicBezTo>
                        <a:pt x="99381" y="82254"/>
                        <a:pt x="98556" y="80945"/>
                        <a:pt x="98556" y="80945"/>
                      </a:cubicBezTo>
                      <a:cubicBezTo>
                        <a:pt x="98556" y="80945"/>
                        <a:pt x="98144" y="80509"/>
                        <a:pt x="98144" y="80290"/>
                      </a:cubicBezTo>
                      <a:cubicBezTo>
                        <a:pt x="98144" y="80290"/>
                        <a:pt x="98144" y="79200"/>
                        <a:pt x="98144" y="79200"/>
                      </a:cubicBezTo>
                      <a:cubicBezTo>
                        <a:pt x="98969" y="78981"/>
                        <a:pt x="98969" y="78981"/>
                        <a:pt x="98969" y="78981"/>
                      </a:cubicBezTo>
                      <a:cubicBezTo>
                        <a:pt x="99793" y="78545"/>
                        <a:pt x="99793" y="78545"/>
                        <a:pt x="99793" y="78545"/>
                      </a:cubicBezTo>
                      <a:cubicBezTo>
                        <a:pt x="99793" y="78545"/>
                        <a:pt x="99381" y="78545"/>
                        <a:pt x="99381" y="78327"/>
                      </a:cubicBezTo>
                      <a:cubicBezTo>
                        <a:pt x="98969" y="77890"/>
                        <a:pt x="98144" y="77454"/>
                        <a:pt x="98144" y="77454"/>
                      </a:cubicBezTo>
                      <a:cubicBezTo>
                        <a:pt x="98144" y="77454"/>
                        <a:pt x="97319" y="77236"/>
                        <a:pt x="96907" y="77018"/>
                      </a:cubicBezTo>
                      <a:cubicBezTo>
                        <a:pt x="96907" y="76581"/>
                        <a:pt x="96494" y="76145"/>
                        <a:pt x="96494" y="76145"/>
                      </a:cubicBezTo>
                      <a:cubicBezTo>
                        <a:pt x="96494" y="75927"/>
                        <a:pt x="96082" y="74618"/>
                        <a:pt x="96082" y="74618"/>
                      </a:cubicBezTo>
                      <a:cubicBezTo>
                        <a:pt x="94020" y="73527"/>
                        <a:pt x="94020" y="73527"/>
                        <a:pt x="94020" y="73527"/>
                      </a:cubicBezTo>
                      <a:cubicBezTo>
                        <a:pt x="94020" y="73527"/>
                        <a:pt x="93195" y="73090"/>
                        <a:pt x="92783" y="72872"/>
                      </a:cubicBezTo>
                      <a:cubicBezTo>
                        <a:pt x="92783" y="72872"/>
                        <a:pt x="91546" y="72654"/>
                        <a:pt x="91546" y="72654"/>
                      </a:cubicBezTo>
                      <a:cubicBezTo>
                        <a:pt x="91134" y="72654"/>
                        <a:pt x="89072" y="72000"/>
                        <a:pt x="89072" y="72000"/>
                      </a:cubicBezTo>
                      <a:cubicBezTo>
                        <a:pt x="89072" y="72000"/>
                        <a:pt x="87422" y="70909"/>
                        <a:pt x="87422" y="70690"/>
                      </a:cubicBezTo>
                      <a:cubicBezTo>
                        <a:pt x="87422" y="70472"/>
                        <a:pt x="86597" y="69163"/>
                        <a:pt x="86597" y="69163"/>
                      </a:cubicBezTo>
                      <a:cubicBezTo>
                        <a:pt x="86597" y="68290"/>
                        <a:pt x="86597" y="68290"/>
                        <a:pt x="86597" y="68290"/>
                      </a:cubicBezTo>
                      <a:cubicBezTo>
                        <a:pt x="85773" y="66545"/>
                        <a:pt x="85773" y="66545"/>
                        <a:pt x="85773" y="66545"/>
                      </a:cubicBezTo>
                      <a:cubicBezTo>
                        <a:pt x="85360" y="64800"/>
                        <a:pt x="85360" y="64800"/>
                        <a:pt x="85360" y="64800"/>
                      </a:cubicBezTo>
                      <a:cubicBezTo>
                        <a:pt x="85360" y="63054"/>
                        <a:pt x="85360" y="63054"/>
                        <a:pt x="85360" y="63054"/>
                      </a:cubicBezTo>
                      <a:cubicBezTo>
                        <a:pt x="85360" y="61527"/>
                        <a:pt x="85360" y="61527"/>
                        <a:pt x="85360" y="61527"/>
                      </a:cubicBezTo>
                      <a:cubicBezTo>
                        <a:pt x="85360" y="60218"/>
                        <a:pt x="85360" y="60218"/>
                        <a:pt x="85360" y="60218"/>
                      </a:cubicBezTo>
                      <a:cubicBezTo>
                        <a:pt x="83298" y="58909"/>
                        <a:pt x="83298" y="58909"/>
                        <a:pt x="83298" y="58909"/>
                      </a:cubicBezTo>
                      <a:cubicBezTo>
                        <a:pt x="82474" y="57600"/>
                        <a:pt x="82474" y="57600"/>
                        <a:pt x="82474" y="57600"/>
                      </a:cubicBezTo>
                      <a:cubicBezTo>
                        <a:pt x="80000" y="56290"/>
                        <a:pt x="80000" y="56290"/>
                        <a:pt x="80000" y="56290"/>
                      </a:cubicBezTo>
                      <a:cubicBezTo>
                        <a:pt x="78350" y="55200"/>
                        <a:pt x="78350" y="55200"/>
                        <a:pt x="78350" y="55200"/>
                      </a:cubicBezTo>
                      <a:cubicBezTo>
                        <a:pt x="77113" y="54981"/>
                        <a:pt x="77113" y="54981"/>
                        <a:pt x="77113" y="54981"/>
                      </a:cubicBezTo>
                      <a:cubicBezTo>
                        <a:pt x="75051" y="53672"/>
                        <a:pt x="75051" y="53672"/>
                        <a:pt x="75051" y="53672"/>
                      </a:cubicBezTo>
                      <a:cubicBezTo>
                        <a:pt x="73402" y="53454"/>
                        <a:pt x="73402" y="53454"/>
                        <a:pt x="73402" y="53454"/>
                      </a:cubicBezTo>
                      <a:cubicBezTo>
                        <a:pt x="71752" y="53890"/>
                        <a:pt x="71752" y="53890"/>
                        <a:pt x="71752" y="53890"/>
                      </a:cubicBezTo>
                      <a:cubicBezTo>
                        <a:pt x="70103" y="54109"/>
                        <a:pt x="70103" y="54109"/>
                        <a:pt x="70103" y="54109"/>
                      </a:cubicBezTo>
                      <a:cubicBezTo>
                        <a:pt x="68453" y="54327"/>
                        <a:pt x="68453" y="54327"/>
                        <a:pt x="68453" y="54327"/>
                      </a:cubicBezTo>
                      <a:cubicBezTo>
                        <a:pt x="65567" y="53672"/>
                        <a:pt x="65567" y="53672"/>
                        <a:pt x="65567" y="53672"/>
                      </a:cubicBezTo>
                      <a:cubicBezTo>
                        <a:pt x="64329" y="53018"/>
                        <a:pt x="64329" y="53018"/>
                        <a:pt x="64329" y="53018"/>
                      </a:cubicBezTo>
                      <a:cubicBezTo>
                        <a:pt x="62680" y="52800"/>
                        <a:pt x="62680" y="52800"/>
                        <a:pt x="62680" y="52800"/>
                      </a:cubicBezTo>
                      <a:cubicBezTo>
                        <a:pt x="61855" y="52800"/>
                        <a:pt x="61855" y="52800"/>
                        <a:pt x="61855" y="52800"/>
                      </a:cubicBezTo>
                      <a:cubicBezTo>
                        <a:pt x="61855" y="52800"/>
                        <a:pt x="61855" y="52581"/>
                        <a:pt x="61855" y="52581"/>
                      </a:cubicBezTo>
                      <a:cubicBezTo>
                        <a:pt x="61855" y="52581"/>
                        <a:pt x="62680" y="52581"/>
                        <a:pt x="62680" y="52581"/>
                      </a:cubicBezTo>
                      <a:cubicBezTo>
                        <a:pt x="62680" y="52581"/>
                        <a:pt x="63505" y="52800"/>
                        <a:pt x="63917" y="52800"/>
                      </a:cubicBezTo>
                      <a:cubicBezTo>
                        <a:pt x="63917" y="52800"/>
                        <a:pt x="65154" y="53018"/>
                        <a:pt x="65154" y="53018"/>
                      </a:cubicBezTo>
                      <a:cubicBezTo>
                        <a:pt x="65154" y="53018"/>
                        <a:pt x="65567" y="53236"/>
                        <a:pt x="65979" y="53236"/>
                      </a:cubicBezTo>
                      <a:cubicBezTo>
                        <a:pt x="66391" y="53236"/>
                        <a:pt x="67628" y="53236"/>
                        <a:pt x="67628" y="53236"/>
                      </a:cubicBezTo>
                      <a:cubicBezTo>
                        <a:pt x="68865" y="52800"/>
                        <a:pt x="68865" y="52800"/>
                        <a:pt x="68865" y="52800"/>
                      </a:cubicBezTo>
                      <a:cubicBezTo>
                        <a:pt x="69278" y="52145"/>
                        <a:pt x="69278" y="52145"/>
                        <a:pt x="69278" y="52145"/>
                      </a:cubicBezTo>
                      <a:cubicBezTo>
                        <a:pt x="70515" y="51927"/>
                        <a:pt x="70515" y="51927"/>
                        <a:pt x="70515" y="51927"/>
                      </a:cubicBezTo>
                      <a:cubicBezTo>
                        <a:pt x="71340" y="51709"/>
                        <a:pt x="71340" y="51709"/>
                        <a:pt x="71340" y="51709"/>
                      </a:cubicBezTo>
                      <a:cubicBezTo>
                        <a:pt x="72164" y="51709"/>
                        <a:pt x="72164" y="51709"/>
                        <a:pt x="72164" y="51709"/>
                      </a:cubicBezTo>
                      <a:cubicBezTo>
                        <a:pt x="72164" y="51709"/>
                        <a:pt x="72577" y="52145"/>
                        <a:pt x="73402" y="51927"/>
                      </a:cubicBezTo>
                      <a:cubicBezTo>
                        <a:pt x="74226" y="51927"/>
                        <a:pt x="74639" y="51709"/>
                        <a:pt x="74639" y="51709"/>
                      </a:cubicBezTo>
                      <a:cubicBezTo>
                        <a:pt x="74639" y="51709"/>
                        <a:pt x="76288" y="51272"/>
                        <a:pt x="75876" y="51272"/>
                      </a:cubicBezTo>
                      <a:cubicBezTo>
                        <a:pt x="75876" y="51054"/>
                        <a:pt x="75876" y="50836"/>
                        <a:pt x="75463" y="50836"/>
                      </a:cubicBezTo>
                      <a:cubicBezTo>
                        <a:pt x="75463" y="50618"/>
                        <a:pt x="74639" y="50181"/>
                        <a:pt x="74639" y="50181"/>
                      </a:cubicBezTo>
                      <a:cubicBezTo>
                        <a:pt x="74639" y="50181"/>
                        <a:pt x="74226" y="50181"/>
                        <a:pt x="74226" y="49963"/>
                      </a:cubicBezTo>
                      <a:cubicBezTo>
                        <a:pt x="74226" y="49745"/>
                        <a:pt x="74226" y="49309"/>
                        <a:pt x="74226" y="49309"/>
                      </a:cubicBezTo>
                      <a:cubicBezTo>
                        <a:pt x="73402" y="48872"/>
                        <a:pt x="73402" y="48872"/>
                        <a:pt x="73402" y="48872"/>
                      </a:cubicBezTo>
                      <a:cubicBezTo>
                        <a:pt x="73402" y="48872"/>
                        <a:pt x="72989" y="48872"/>
                        <a:pt x="72577" y="48872"/>
                      </a:cubicBezTo>
                      <a:cubicBezTo>
                        <a:pt x="72164" y="48872"/>
                        <a:pt x="71752" y="49090"/>
                        <a:pt x="71752" y="49090"/>
                      </a:cubicBezTo>
                      <a:cubicBezTo>
                        <a:pt x="70103" y="49309"/>
                        <a:pt x="70103" y="49309"/>
                        <a:pt x="70103" y="49309"/>
                      </a:cubicBezTo>
                      <a:cubicBezTo>
                        <a:pt x="68041" y="49527"/>
                        <a:pt x="68041" y="49527"/>
                        <a:pt x="68041" y="49527"/>
                      </a:cubicBezTo>
                      <a:cubicBezTo>
                        <a:pt x="68041" y="49309"/>
                        <a:pt x="68041" y="49309"/>
                        <a:pt x="68041" y="49309"/>
                      </a:cubicBezTo>
                      <a:cubicBezTo>
                        <a:pt x="70103" y="49090"/>
                        <a:pt x="70103" y="49090"/>
                        <a:pt x="70103" y="49090"/>
                      </a:cubicBezTo>
                      <a:cubicBezTo>
                        <a:pt x="71340" y="48654"/>
                        <a:pt x="71340" y="48654"/>
                        <a:pt x="71340" y="48654"/>
                      </a:cubicBezTo>
                      <a:cubicBezTo>
                        <a:pt x="71340" y="48654"/>
                        <a:pt x="71340" y="48436"/>
                        <a:pt x="71752" y="48436"/>
                      </a:cubicBezTo>
                      <a:cubicBezTo>
                        <a:pt x="72164" y="48436"/>
                        <a:pt x="73402" y="48654"/>
                        <a:pt x="73402" y="48654"/>
                      </a:cubicBezTo>
                      <a:cubicBezTo>
                        <a:pt x="73814" y="48654"/>
                        <a:pt x="75463" y="48654"/>
                        <a:pt x="75463" y="48654"/>
                      </a:cubicBezTo>
                      <a:cubicBezTo>
                        <a:pt x="75463" y="48654"/>
                        <a:pt x="76701" y="48218"/>
                        <a:pt x="76701" y="48000"/>
                      </a:cubicBezTo>
                      <a:cubicBezTo>
                        <a:pt x="77113" y="48000"/>
                        <a:pt x="78762" y="47563"/>
                        <a:pt x="78762" y="47563"/>
                      </a:cubicBezTo>
                      <a:cubicBezTo>
                        <a:pt x="78762" y="46909"/>
                        <a:pt x="78762" y="46909"/>
                        <a:pt x="78762" y="46909"/>
                      </a:cubicBezTo>
                      <a:cubicBezTo>
                        <a:pt x="78762" y="46909"/>
                        <a:pt x="79175" y="46254"/>
                        <a:pt x="79587" y="46254"/>
                      </a:cubicBezTo>
                      <a:cubicBezTo>
                        <a:pt x="79587" y="46254"/>
                        <a:pt x="81237" y="45600"/>
                        <a:pt x="81237" y="45600"/>
                      </a:cubicBezTo>
                      <a:cubicBezTo>
                        <a:pt x="82886" y="44727"/>
                        <a:pt x="82886" y="44727"/>
                        <a:pt x="82886" y="44727"/>
                      </a:cubicBezTo>
                      <a:cubicBezTo>
                        <a:pt x="83711" y="43636"/>
                        <a:pt x="83711" y="43636"/>
                        <a:pt x="83711" y="43636"/>
                      </a:cubicBezTo>
                      <a:cubicBezTo>
                        <a:pt x="84536" y="42763"/>
                        <a:pt x="84536" y="42763"/>
                        <a:pt x="84536" y="42763"/>
                      </a:cubicBezTo>
                      <a:cubicBezTo>
                        <a:pt x="84536" y="42763"/>
                        <a:pt x="86185" y="42109"/>
                        <a:pt x="85773" y="41890"/>
                      </a:cubicBezTo>
                      <a:cubicBezTo>
                        <a:pt x="85773" y="41454"/>
                        <a:pt x="85773" y="40800"/>
                        <a:pt x="85773" y="40800"/>
                      </a:cubicBezTo>
                      <a:cubicBezTo>
                        <a:pt x="85773" y="40800"/>
                        <a:pt x="87010" y="40363"/>
                        <a:pt x="87422" y="40145"/>
                      </a:cubicBezTo>
                      <a:cubicBezTo>
                        <a:pt x="87422" y="39927"/>
                        <a:pt x="90309" y="38836"/>
                        <a:pt x="90309" y="38836"/>
                      </a:cubicBezTo>
                      <a:cubicBezTo>
                        <a:pt x="90721" y="37745"/>
                        <a:pt x="90721" y="37745"/>
                        <a:pt x="90721" y="37745"/>
                      </a:cubicBezTo>
                      <a:cubicBezTo>
                        <a:pt x="90309" y="37309"/>
                        <a:pt x="90309" y="37309"/>
                        <a:pt x="90309" y="37309"/>
                      </a:cubicBezTo>
                      <a:cubicBezTo>
                        <a:pt x="89896" y="36654"/>
                        <a:pt x="89896" y="36654"/>
                        <a:pt x="89896" y="36654"/>
                      </a:cubicBezTo>
                      <a:cubicBezTo>
                        <a:pt x="89072" y="36000"/>
                        <a:pt x="89072" y="36000"/>
                        <a:pt x="89072" y="36000"/>
                      </a:cubicBezTo>
                      <a:cubicBezTo>
                        <a:pt x="88247" y="35345"/>
                        <a:pt x="88247" y="35345"/>
                        <a:pt x="88247" y="35345"/>
                      </a:cubicBezTo>
                      <a:cubicBezTo>
                        <a:pt x="86597" y="35345"/>
                        <a:pt x="86597" y="35345"/>
                        <a:pt x="86597" y="35345"/>
                      </a:cubicBezTo>
                      <a:cubicBezTo>
                        <a:pt x="86597" y="35345"/>
                        <a:pt x="86185" y="35781"/>
                        <a:pt x="86185" y="35563"/>
                      </a:cubicBezTo>
                      <a:cubicBezTo>
                        <a:pt x="85773" y="35563"/>
                        <a:pt x="84948" y="35127"/>
                        <a:pt x="84948" y="35127"/>
                      </a:cubicBezTo>
                      <a:cubicBezTo>
                        <a:pt x="83298" y="35345"/>
                        <a:pt x="83298" y="35345"/>
                        <a:pt x="83298" y="35345"/>
                      </a:cubicBezTo>
                      <a:cubicBezTo>
                        <a:pt x="81237" y="35127"/>
                        <a:pt x="81237" y="35127"/>
                        <a:pt x="81237" y="35127"/>
                      </a:cubicBezTo>
                      <a:cubicBezTo>
                        <a:pt x="80824" y="34690"/>
                        <a:pt x="80824" y="34690"/>
                        <a:pt x="80824" y="34690"/>
                      </a:cubicBezTo>
                      <a:cubicBezTo>
                        <a:pt x="79175" y="34690"/>
                        <a:pt x="79175" y="34690"/>
                        <a:pt x="79175" y="34690"/>
                      </a:cubicBezTo>
                      <a:cubicBezTo>
                        <a:pt x="78350" y="34472"/>
                        <a:pt x="78350" y="34472"/>
                        <a:pt x="78350" y="34472"/>
                      </a:cubicBezTo>
                      <a:cubicBezTo>
                        <a:pt x="76701" y="34690"/>
                        <a:pt x="76701" y="34690"/>
                        <a:pt x="76701" y="34690"/>
                      </a:cubicBezTo>
                      <a:cubicBezTo>
                        <a:pt x="75463" y="34690"/>
                        <a:pt x="75463" y="34690"/>
                        <a:pt x="75463" y="34690"/>
                      </a:cubicBezTo>
                      <a:cubicBezTo>
                        <a:pt x="74639" y="34472"/>
                        <a:pt x="74639" y="34472"/>
                        <a:pt x="74639" y="34472"/>
                      </a:cubicBezTo>
                      <a:cubicBezTo>
                        <a:pt x="73402" y="33818"/>
                        <a:pt x="73402" y="33818"/>
                        <a:pt x="73402" y="33818"/>
                      </a:cubicBezTo>
                      <a:cubicBezTo>
                        <a:pt x="70927" y="33818"/>
                        <a:pt x="70927" y="33818"/>
                        <a:pt x="70927" y="33818"/>
                      </a:cubicBezTo>
                      <a:cubicBezTo>
                        <a:pt x="70515" y="34254"/>
                        <a:pt x="70515" y="34254"/>
                        <a:pt x="70515" y="34254"/>
                      </a:cubicBezTo>
                      <a:cubicBezTo>
                        <a:pt x="68865" y="34254"/>
                        <a:pt x="68865" y="34254"/>
                        <a:pt x="68865" y="34254"/>
                      </a:cubicBezTo>
                      <a:cubicBezTo>
                        <a:pt x="68865" y="34254"/>
                        <a:pt x="68453" y="34254"/>
                        <a:pt x="68041" y="34254"/>
                      </a:cubicBezTo>
                      <a:cubicBezTo>
                        <a:pt x="68041" y="34254"/>
                        <a:pt x="67216" y="34472"/>
                        <a:pt x="67216" y="34472"/>
                      </a:cubicBezTo>
                      <a:cubicBezTo>
                        <a:pt x="66391" y="34690"/>
                        <a:pt x="66391" y="34690"/>
                        <a:pt x="66391" y="34690"/>
                      </a:cubicBezTo>
                      <a:cubicBezTo>
                        <a:pt x="65567" y="34690"/>
                        <a:pt x="65567" y="34690"/>
                        <a:pt x="65567" y="34690"/>
                      </a:cubicBezTo>
                      <a:cubicBezTo>
                        <a:pt x="63917" y="34472"/>
                        <a:pt x="63917" y="34472"/>
                        <a:pt x="63917" y="34472"/>
                      </a:cubicBezTo>
                      <a:cubicBezTo>
                        <a:pt x="63092" y="35127"/>
                        <a:pt x="63092" y="35127"/>
                        <a:pt x="63092" y="35127"/>
                      </a:cubicBezTo>
                      <a:cubicBezTo>
                        <a:pt x="61855" y="35345"/>
                        <a:pt x="61855" y="35345"/>
                        <a:pt x="61855" y="35345"/>
                      </a:cubicBezTo>
                      <a:cubicBezTo>
                        <a:pt x="60618" y="36000"/>
                        <a:pt x="60618" y="36000"/>
                        <a:pt x="60618" y="36000"/>
                      </a:cubicBezTo>
                      <a:cubicBezTo>
                        <a:pt x="61030" y="35345"/>
                        <a:pt x="61030" y="35345"/>
                        <a:pt x="61030" y="35345"/>
                      </a:cubicBezTo>
                      <a:cubicBezTo>
                        <a:pt x="61855" y="34909"/>
                        <a:pt x="61855" y="34909"/>
                        <a:pt x="61855" y="34909"/>
                      </a:cubicBezTo>
                      <a:cubicBezTo>
                        <a:pt x="63092" y="34690"/>
                        <a:pt x="63092" y="34690"/>
                        <a:pt x="63092" y="34690"/>
                      </a:cubicBezTo>
                      <a:cubicBezTo>
                        <a:pt x="63917" y="34036"/>
                        <a:pt x="63917" y="34036"/>
                        <a:pt x="63917" y="34036"/>
                      </a:cubicBezTo>
                      <a:cubicBezTo>
                        <a:pt x="63917" y="34036"/>
                        <a:pt x="64742" y="33818"/>
                        <a:pt x="64742" y="33600"/>
                      </a:cubicBezTo>
                      <a:cubicBezTo>
                        <a:pt x="65154" y="33600"/>
                        <a:pt x="65979" y="33163"/>
                        <a:pt x="65979" y="33163"/>
                      </a:cubicBezTo>
                      <a:cubicBezTo>
                        <a:pt x="64742" y="32945"/>
                        <a:pt x="64742" y="32945"/>
                        <a:pt x="64742" y="32945"/>
                      </a:cubicBezTo>
                      <a:cubicBezTo>
                        <a:pt x="63505" y="33381"/>
                        <a:pt x="63505" y="33381"/>
                        <a:pt x="63505" y="33381"/>
                      </a:cubicBezTo>
                      <a:cubicBezTo>
                        <a:pt x="63505" y="33381"/>
                        <a:pt x="63092" y="33381"/>
                        <a:pt x="62680" y="33381"/>
                      </a:cubicBezTo>
                      <a:cubicBezTo>
                        <a:pt x="62680" y="33381"/>
                        <a:pt x="61443" y="33600"/>
                        <a:pt x="61443" y="33600"/>
                      </a:cubicBezTo>
                      <a:cubicBezTo>
                        <a:pt x="58969" y="34036"/>
                        <a:pt x="58969" y="34036"/>
                        <a:pt x="58969" y="34036"/>
                      </a:cubicBezTo>
                      <a:cubicBezTo>
                        <a:pt x="61443" y="33381"/>
                        <a:pt x="61443" y="33381"/>
                        <a:pt x="61443" y="33381"/>
                      </a:cubicBezTo>
                      <a:cubicBezTo>
                        <a:pt x="61443" y="33381"/>
                        <a:pt x="62268" y="33163"/>
                        <a:pt x="62680" y="32945"/>
                      </a:cubicBezTo>
                      <a:cubicBezTo>
                        <a:pt x="63092" y="32945"/>
                        <a:pt x="63917" y="32727"/>
                        <a:pt x="63917" y="32727"/>
                      </a:cubicBezTo>
                      <a:cubicBezTo>
                        <a:pt x="64329" y="32727"/>
                        <a:pt x="65154" y="32509"/>
                        <a:pt x="65154" y="32509"/>
                      </a:cubicBezTo>
                      <a:cubicBezTo>
                        <a:pt x="65567" y="32727"/>
                        <a:pt x="66391" y="32945"/>
                        <a:pt x="66804" y="32727"/>
                      </a:cubicBezTo>
                      <a:cubicBezTo>
                        <a:pt x="66804" y="32727"/>
                        <a:pt x="67216" y="32290"/>
                        <a:pt x="67628" y="32290"/>
                      </a:cubicBezTo>
                      <a:cubicBezTo>
                        <a:pt x="67628" y="32072"/>
                        <a:pt x="68453" y="31636"/>
                        <a:pt x="68453" y="31636"/>
                      </a:cubicBezTo>
                      <a:cubicBezTo>
                        <a:pt x="65979" y="31636"/>
                        <a:pt x="65979" y="31636"/>
                        <a:pt x="65979" y="31636"/>
                      </a:cubicBezTo>
                      <a:cubicBezTo>
                        <a:pt x="65979" y="31636"/>
                        <a:pt x="65567" y="31854"/>
                        <a:pt x="65154" y="31854"/>
                      </a:cubicBezTo>
                      <a:cubicBezTo>
                        <a:pt x="64742" y="31636"/>
                        <a:pt x="63917" y="31636"/>
                        <a:pt x="63505" y="31418"/>
                      </a:cubicBezTo>
                      <a:cubicBezTo>
                        <a:pt x="63505" y="31418"/>
                        <a:pt x="63092" y="31200"/>
                        <a:pt x="63092" y="31200"/>
                      </a:cubicBezTo>
                      <a:cubicBezTo>
                        <a:pt x="62680" y="31200"/>
                        <a:pt x="61855" y="30763"/>
                        <a:pt x="61855" y="30763"/>
                      </a:cubicBezTo>
                      <a:cubicBezTo>
                        <a:pt x="62268" y="30545"/>
                        <a:pt x="62268" y="30545"/>
                        <a:pt x="62268" y="30545"/>
                      </a:cubicBezTo>
                      <a:cubicBezTo>
                        <a:pt x="63092" y="30981"/>
                        <a:pt x="63092" y="30981"/>
                        <a:pt x="63092" y="30981"/>
                      </a:cubicBezTo>
                      <a:cubicBezTo>
                        <a:pt x="63092" y="30981"/>
                        <a:pt x="63505" y="31200"/>
                        <a:pt x="63917" y="31200"/>
                      </a:cubicBezTo>
                      <a:cubicBezTo>
                        <a:pt x="64329" y="31200"/>
                        <a:pt x="64742" y="30981"/>
                        <a:pt x="65567" y="30981"/>
                      </a:cubicBezTo>
                      <a:cubicBezTo>
                        <a:pt x="65979" y="31200"/>
                        <a:pt x="66804" y="30545"/>
                        <a:pt x="66804" y="30545"/>
                      </a:cubicBezTo>
                      <a:cubicBezTo>
                        <a:pt x="66804" y="30545"/>
                        <a:pt x="65979" y="30545"/>
                        <a:pt x="67216" y="30327"/>
                      </a:cubicBezTo>
                      <a:cubicBezTo>
                        <a:pt x="68041" y="29890"/>
                        <a:pt x="67628" y="30109"/>
                        <a:pt x="68453" y="29672"/>
                      </a:cubicBezTo>
                      <a:cubicBezTo>
                        <a:pt x="69278" y="29454"/>
                        <a:pt x="71340" y="28800"/>
                        <a:pt x="71340" y="28800"/>
                      </a:cubicBezTo>
                      <a:cubicBezTo>
                        <a:pt x="73814" y="28363"/>
                        <a:pt x="73814" y="28363"/>
                        <a:pt x="73814" y="28363"/>
                      </a:cubicBezTo>
                      <a:cubicBezTo>
                        <a:pt x="75463" y="27272"/>
                        <a:pt x="75463" y="27272"/>
                        <a:pt x="75463" y="27272"/>
                      </a:cubicBezTo>
                      <a:cubicBezTo>
                        <a:pt x="76701" y="27272"/>
                        <a:pt x="76701" y="27272"/>
                        <a:pt x="76701" y="27272"/>
                      </a:cubicBezTo>
                      <a:cubicBezTo>
                        <a:pt x="78350" y="26400"/>
                        <a:pt x="78350" y="26400"/>
                        <a:pt x="78350" y="26400"/>
                      </a:cubicBezTo>
                      <a:cubicBezTo>
                        <a:pt x="79175" y="25963"/>
                        <a:pt x="79175" y="25963"/>
                        <a:pt x="79175" y="25963"/>
                      </a:cubicBezTo>
                      <a:cubicBezTo>
                        <a:pt x="78762" y="24872"/>
                        <a:pt x="78762" y="24872"/>
                        <a:pt x="78762" y="24872"/>
                      </a:cubicBezTo>
                      <a:cubicBezTo>
                        <a:pt x="79587" y="24000"/>
                        <a:pt x="79587" y="24000"/>
                        <a:pt x="79587" y="24000"/>
                      </a:cubicBezTo>
                      <a:cubicBezTo>
                        <a:pt x="79587" y="23345"/>
                        <a:pt x="79587" y="23345"/>
                        <a:pt x="79587" y="23345"/>
                      </a:cubicBezTo>
                      <a:cubicBezTo>
                        <a:pt x="78350" y="23127"/>
                        <a:pt x="78350" y="23127"/>
                        <a:pt x="78350" y="23127"/>
                      </a:cubicBezTo>
                      <a:cubicBezTo>
                        <a:pt x="75876" y="23127"/>
                        <a:pt x="75876" y="23127"/>
                        <a:pt x="75876" y="23127"/>
                      </a:cubicBezTo>
                      <a:cubicBezTo>
                        <a:pt x="75876" y="23127"/>
                        <a:pt x="75463" y="23781"/>
                        <a:pt x="75051" y="23563"/>
                      </a:cubicBezTo>
                      <a:cubicBezTo>
                        <a:pt x="75051" y="23563"/>
                        <a:pt x="73402" y="22909"/>
                        <a:pt x="72989" y="22909"/>
                      </a:cubicBezTo>
                      <a:cubicBezTo>
                        <a:pt x="72989" y="22909"/>
                        <a:pt x="71340" y="23563"/>
                        <a:pt x="71340" y="23563"/>
                      </a:cubicBezTo>
                      <a:cubicBezTo>
                        <a:pt x="70515" y="23563"/>
                        <a:pt x="70515" y="23563"/>
                        <a:pt x="70515" y="23563"/>
                      </a:cubicBezTo>
                      <a:cubicBezTo>
                        <a:pt x="70515" y="23563"/>
                        <a:pt x="70103" y="23563"/>
                        <a:pt x="69278" y="23563"/>
                      </a:cubicBezTo>
                      <a:cubicBezTo>
                        <a:pt x="68453" y="23345"/>
                        <a:pt x="66804" y="23127"/>
                        <a:pt x="66804" y="23127"/>
                      </a:cubicBezTo>
                      <a:cubicBezTo>
                        <a:pt x="65567" y="23563"/>
                        <a:pt x="65567" y="23563"/>
                        <a:pt x="65567" y="23563"/>
                      </a:cubicBezTo>
                      <a:cubicBezTo>
                        <a:pt x="64742" y="23345"/>
                        <a:pt x="64742" y="23345"/>
                        <a:pt x="64742" y="23345"/>
                      </a:cubicBezTo>
                      <a:cubicBezTo>
                        <a:pt x="63092" y="24000"/>
                        <a:pt x="63092" y="24000"/>
                        <a:pt x="63092" y="24000"/>
                      </a:cubicBezTo>
                      <a:cubicBezTo>
                        <a:pt x="63092" y="23563"/>
                        <a:pt x="63092" y="23563"/>
                        <a:pt x="63092" y="23563"/>
                      </a:cubicBezTo>
                      <a:cubicBezTo>
                        <a:pt x="63917" y="22909"/>
                        <a:pt x="63917" y="22909"/>
                        <a:pt x="63917" y="22909"/>
                      </a:cubicBezTo>
                      <a:cubicBezTo>
                        <a:pt x="63917" y="22909"/>
                        <a:pt x="63505" y="22690"/>
                        <a:pt x="63092" y="22690"/>
                      </a:cubicBezTo>
                      <a:cubicBezTo>
                        <a:pt x="63092" y="22690"/>
                        <a:pt x="62268" y="22472"/>
                        <a:pt x="62268" y="22472"/>
                      </a:cubicBezTo>
                      <a:cubicBezTo>
                        <a:pt x="61443" y="23127"/>
                        <a:pt x="61443" y="23127"/>
                        <a:pt x="61443" y="23127"/>
                      </a:cubicBezTo>
                      <a:cubicBezTo>
                        <a:pt x="59793" y="23563"/>
                        <a:pt x="59793" y="23563"/>
                        <a:pt x="59793" y="23563"/>
                      </a:cubicBezTo>
                      <a:cubicBezTo>
                        <a:pt x="60206" y="23345"/>
                        <a:pt x="60206" y="23345"/>
                        <a:pt x="60206" y="23345"/>
                      </a:cubicBezTo>
                      <a:cubicBezTo>
                        <a:pt x="61443" y="22909"/>
                        <a:pt x="61443" y="22909"/>
                        <a:pt x="61443" y="22909"/>
                      </a:cubicBezTo>
                      <a:cubicBezTo>
                        <a:pt x="61443" y="22472"/>
                        <a:pt x="61443" y="22472"/>
                        <a:pt x="61443" y="22472"/>
                      </a:cubicBezTo>
                      <a:cubicBezTo>
                        <a:pt x="61443" y="22472"/>
                        <a:pt x="61030" y="22472"/>
                        <a:pt x="61030" y="22472"/>
                      </a:cubicBezTo>
                      <a:cubicBezTo>
                        <a:pt x="60618" y="22472"/>
                        <a:pt x="60206" y="22254"/>
                        <a:pt x="60206" y="22254"/>
                      </a:cubicBezTo>
                      <a:cubicBezTo>
                        <a:pt x="59381" y="22036"/>
                        <a:pt x="59381" y="22036"/>
                        <a:pt x="59381" y="22036"/>
                      </a:cubicBezTo>
                      <a:cubicBezTo>
                        <a:pt x="58969" y="21600"/>
                        <a:pt x="58969" y="21600"/>
                        <a:pt x="58969" y="21600"/>
                      </a:cubicBezTo>
                      <a:cubicBezTo>
                        <a:pt x="57731" y="21818"/>
                        <a:pt x="57731" y="21818"/>
                        <a:pt x="57731" y="21818"/>
                      </a:cubicBezTo>
                      <a:cubicBezTo>
                        <a:pt x="57319" y="22254"/>
                        <a:pt x="57319" y="22254"/>
                        <a:pt x="57319" y="22254"/>
                      </a:cubicBezTo>
                      <a:cubicBezTo>
                        <a:pt x="56494" y="22472"/>
                        <a:pt x="56494" y="22472"/>
                        <a:pt x="56494" y="22472"/>
                      </a:cubicBezTo>
                      <a:cubicBezTo>
                        <a:pt x="55670" y="22472"/>
                        <a:pt x="55670" y="22472"/>
                        <a:pt x="55670" y="22472"/>
                      </a:cubicBezTo>
                      <a:cubicBezTo>
                        <a:pt x="56082" y="23127"/>
                        <a:pt x="56082" y="23127"/>
                        <a:pt x="56082" y="23127"/>
                      </a:cubicBezTo>
                      <a:cubicBezTo>
                        <a:pt x="55670" y="23781"/>
                        <a:pt x="55670" y="23781"/>
                        <a:pt x="55670" y="23781"/>
                      </a:cubicBezTo>
                      <a:cubicBezTo>
                        <a:pt x="54432" y="23781"/>
                        <a:pt x="54432" y="23781"/>
                        <a:pt x="54432" y="23781"/>
                      </a:cubicBezTo>
                      <a:cubicBezTo>
                        <a:pt x="54432" y="23781"/>
                        <a:pt x="54432" y="24654"/>
                        <a:pt x="54845" y="24654"/>
                      </a:cubicBezTo>
                      <a:cubicBezTo>
                        <a:pt x="54845" y="24654"/>
                        <a:pt x="55257" y="25090"/>
                        <a:pt x="55257" y="25090"/>
                      </a:cubicBezTo>
                      <a:cubicBezTo>
                        <a:pt x="55257" y="25527"/>
                        <a:pt x="55257" y="25527"/>
                        <a:pt x="55257" y="25527"/>
                      </a:cubicBezTo>
                      <a:cubicBezTo>
                        <a:pt x="55670" y="25745"/>
                        <a:pt x="55670" y="25745"/>
                        <a:pt x="55670" y="25745"/>
                      </a:cubicBezTo>
                      <a:cubicBezTo>
                        <a:pt x="55670" y="25745"/>
                        <a:pt x="55257" y="25745"/>
                        <a:pt x="54845" y="25745"/>
                      </a:cubicBezTo>
                      <a:cubicBezTo>
                        <a:pt x="54845" y="25745"/>
                        <a:pt x="54432" y="25309"/>
                        <a:pt x="54432" y="25309"/>
                      </a:cubicBezTo>
                      <a:cubicBezTo>
                        <a:pt x="52783" y="25309"/>
                        <a:pt x="52783" y="25309"/>
                        <a:pt x="52783" y="25309"/>
                      </a:cubicBezTo>
                      <a:cubicBezTo>
                        <a:pt x="52371" y="25309"/>
                        <a:pt x="52371" y="25309"/>
                        <a:pt x="52371" y="25309"/>
                      </a:cubicBezTo>
                      <a:cubicBezTo>
                        <a:pt x="51958" y="25963"/>
                        <a:pt x="51958" y="25963"/>
                        <a:pt x="51958" y="25963"/>
                      </a:cubicBezTo>
                      <a:cubicBezTo>
                        <a:pt x="52371" y="26618"/>
                        <a:pt x="52371" y="26618"/>
                        <a:pt x="52371" y="26618"/>
                      </a:cubicBezTo>
                      <a:cubicBezTo>
                        <a:pt x="51958" y="27054"/>
                        <a:pt x="51958" y="27054"/>
                        <a:pt x="51958" y="27054"/>
                      </a:cubicBezTo>
                      <a:cubicBezTo>
                        <a:pt x="51546" y="27272"/>
                        <a:pt x="51546" y="27272"/>
                        <a:pt x="51546" y="27272"/>
                      </a:cubicBezTo>
                      <a:cubicBezTo>
                        <a:pt x="51546" y="27272"/>
                        <a:pt x="50721" y="27709"/>
                        <a:pt x="50721" y="27709"/>
                      </a:cubicBezTo>
                      <a:cubicBezTo>
                        <a:pt x="50721" y="27927"/>
                        <a:pt x="51134" y="28581"/>
                        <a:pt x="51134" y="28581"/>
                      </a:cubicBezTo>
                      <a:cubicBezTo>
                        <a:pt x="51134" y="28581"/>
                        <a:pt x="51546" y="29018"/>
                        <a:pt x="51958" y="29018"/>
                      </a:cubicBezTo>
                      <a:cubicBezTo>
                        <a:pt x="51958" y="29236"/>
                        <a:pt x="52783" y="29454"/>
                        <a:pt x="52783" y="29454"/>
                      </a:cubicBezTo>
                      <a:cubicBezTo>
                        <a:pt x="52783" y="30109"/>
                        <a:pt x="52783" y="30109"/>
                        <a:pt x="52783" y="30109"/>
                      </a:cubicBezTo>
                      <a:cubicBezTo>
                        <a:pt x="51958" y="29454"/>
                        <a:pt x="51958" y="29454"/>
                        <a:pt x="51958" y="29454"/>
                      </a:cubicBezTo>
                      <a:cubicBezTo>
                        <a:pt x="51958" y="29454"/>
                        <a:pt x="51546" y="29236"/>
                        <a:pt x="51134" y="29018"/>
                      </a:cubicBezTo>
                      <a:cubicBezTo>
                        <a:pt x="51134" y="29018"/>
                        <a:pt x="50721" y="28581"/>
                        <a:pt x="50721" y="28581"/>
                      </a:cubicBezTo>
                      <a:cubicBezTo>
                        <a:pt x="50721" y="28581"/>
                        <a:pt x="49896" y="28800"/>
                        <a:pt x="49896" y="28800"/>
                      </a:cubicBezTo>
                      <a:cubicBezTo>
                        <a:pt x="49896" y="28800"/>
                        <a:pt x="49484" y="28800"/>
                        <a:pt x="49896" y="29018"/>
                      </a:cubicBezTo>
                      <a:cubicBezTo>
                        <a:pt x="49896" y="29236"/>
                        <a:pt x="49072" y="29454"/>
                        <a:pt x="49072" y="29454"/>
                      </a:cubicBezTo>
                      <a:cubicBezTo>
                        <a:pt x="49072" y="29454"/>
                        <a:pt x="47835" y="29672"/>
                        <a:pt x="47835" y="29454"/>
                      </a:cubicBezTo>
                      <a:cubicBezTo>
                        <a:pt x="47835" y="29236"/>
                        <a:pt x="47835" y="29018"/>
                        <a:pt x="47422" y="28800"/>
                      </a:cubicBezTo>
                      <a:cubicBezTo>
                        <a:pt x="47422" y="28800"/>
                        <a:pt x="47010" y="28800"/>
                        <a:pt x="47010" y="28800"/>
                      </a:cubicBezTo>
                      <a:cubicBezTo>
                        <a:pt x="47010" y="29018"/>
                        <a:pt x="46597" y="29236"/>
                        <a:pt x="46597" y="29236"/>
                      </a:cubicBezTo>
                      <a:cubicBezTo>
                        <a:pt x="47010" y="29890"/>
                        <a:pt x="47010" y="29890"/>
                        <a:pt x="47010" y="29890"/>
                      </a:cubicBezTo>
                      <a:cubicBezTo>
                        <a:pt x="47010" y="29890"/>
                        <a:pt x="46597" y="30327"/>
                        <a:pt x="46597" y="30327"/>
                      </a:cubicBezTo>
                      <a:cubicBezTo>
                        <a:pt x="46597" y="30109"/>
                        <a:pt x="46185" y="29672"/>
                        <a:pt x="46185" y="29454"/>
                      </a:cubicBezTo>
                      <a:cubicBezTo>
                        <a:pt x="46185" y="29454"/>
                        <a:pt x="46185" y="29018"/>
                        <a:pt x="45773" y="29018"/>
                      </a:cubicBezTo>
                      <a:cubicBezTo>
                        <a:pt x="45773" y="29018"/>
                        <a:pt x="44948" y="29454"/>
                        <a:pt x="44948" y="29454"/>
                      </a:cubicBezTo>
                      <a:cubicBezTo>
                        <a:pt x="44948" y="29454"/>
                        <a:pt x="44536" y="29454"/>
                        <a:pt x="44536" y="29672"/>
                      </a:cubicBezTo>
                      <a:cubicBezTo>
                        <a:pt x="44536" y="29672"/>
                        <a:pt x="44123" y="30327"/>
                        <a:pt x="44536" y="30545"/>
                      </a:cubicBezTo>
                      <a:cubicBezTo>
                        <a:pt x="44948" y="30763"/>
                        <a:pt x="44948" y="30763"/>
                        <a:pt x="45360" y="30763"/>
                      </a:cubicBezTo>
                      <a:cubicBezTo>
                        <a:pt x="45773" y="30763"/>
                        <a:pt x="45773" y="30981"/>
                        <a:pt x="45773" y="30981"/>
                      </a:cubicBezTo>
                      <a:cubicBezTo>
                        <a:pt x="44123" y="30981"/>
                        <a:pt x="44123" y="30981"/>
                        <a:pt x="44123" y="30981"/>
                      </a:cubicBezTo>
                      <a:cubicBezTo>
                        <a:pt x="44123" y="30981"/>
                        <a:pt x="43711" y="31200"/>
                        <a:pt x="44123" y="31418"/>
                      </a:cubicBezTo>
                      <a:cubicBezTo>
                        <a:pt x="44123" y="31418"/>
                        <a:pt x="44123" y="31854"/>
                        <a:pt x="44123" y="31854"/>
                      </a:cubicBezTo>
                      <a:cubicBezTo>
                        <a:pt x="44123" y="31854"/>
                        <a:pt x="44948" y="32290"/>
                        <a:pt x="44948" y="32290"/>
                      </a:cubicBezTo>
                      <a:cubicBezTo>
                        <a:pt x="44948" y="32290"/>
                        <a:pt x="44536" y="32727"/>
                        <a:pt x="44536" y="32727"/>
                      </a:cubicBezTo>
                      <a:cubicBezTo>
                        <a:pt x="44536" y="32727"/>
                        <a:pt x="43711" y="32509"/>
                        <a:pt x="43711" y="32509"/>
                      </a:cubicBezTo>
                      <a:cubicBezTo>
                        <a:pt x="43298" y="32290"/>
                        <a:pt x="43298" y="32509"/>
                        <a:pt x="42886" y="32509"/>
                      </a:cubicBezTo>
                      <a:cubicBezTo>
                        <a:pt x="42886" y="32727"/>
                        <a:pt x="42474" y="32945"/>
                        <a:pt x="42474" y="33163"/>
                      </a:cubicBezTo>
                      <a:cubicBezTo>
                        <a:pt x="42474" y="33163"/>
                        <a:pt x="42886" y="33381"/>
                        <a:pt x="42886" y="33600"/>
                      </a:cubicBezTo>
                      <a:cubicBezTo>
                        <a:pt x="42474" y="34036"/>
                        <a:pt x="42474" y="34472"/>
                        <a:pt x="42474" y="34472"/>
                      </a:cubicBezTo>
                      <a:cubicBezTo>
                        <a:pt x="42474" y="34472"/>
                        <a:pt x="42061" y="34472"/>
                        <a:pt x="42474" y="34690"/>
                      </a:cubicBezTo>
                      <a:cubicBezTo>
                        <a:pt x="42886" y="34909"/>
                        <a:pt x="43711" y="34909"/>
                        <a:pt x="44123" y="34909"/>
                      </a:cubicBezTo>
                      <a:cubicBezTo>
                        <a:pt x="44536" y="34909"/>
                        <a:pt x="44536" y="34909"/>
                        <a:pt x="44536" y="34909"/>
                      </a:cubicBezTo>
                      <a:cubicBezTo>
                        <a:pt x="44948" y="34909"/>
                        <a:pt x="45360" y="34909"/>
                        <a:pt x="45773" y="35127"/>
                      </a:cubicBezTo>
                      <a:cubicBezTo>
                        <a:pt x="45773" y="35127"/>
                        <a:pt x="46185" y="35127"/>
                        <a:pt x="46185" y="35127"/>
                      </a:cubicBezTo>
                      <a:cubicBezTo>
                        <a:pt x="46185" y="35127"/>
                        <a:pt x="45773" y="35563"/>
                        <a:pt x="45360" y="35345"/>
                      </a:cubicBezTo>
                      <a:cubicBezTo>
                        <a:pt x="44948" y="35127"/>
                        <a:pt x="44123" y="35127"/>
                        <a:pt x="43711" y="35127"/>
                      </a:cubicBezTo>
                      <a:cubicBezTo>
                        <a:pt x="43298" y="35127"/>
                        <a:pt x="43711" y="35563"/>
                        <a:pt x="43711" y="35563"/>
                      </a:cubicBezTo>
                      <a:cubicBezTo>
                        <a:pt x="44123" y="36000"/>
                        <a:pt x="44123" y="36000"/>
                        <a:pt x="44123" y="36000"/>
                      </a:cubicBezTo>
                      <a:cubicBezTo>
                        <a:pt x="44123" y="36000"/>
                        <a:pt x="44536" y="36218"/>
                        <a:pt x="44123" y="36218"/>
                      </a:cubicBezTo>
                      <a:cubicBezTo>
                        <a:pt x="43711" y="36218"/>
                        <a:pt x="42886" y="36000"/>
                        <a:pt x="42886" y="36000"/>
                      </a:cubicBezTo>
                      <a:cubicBezTo>
                        <a:pt x="42886" y="36000"/>
                        <a:pt x="42886" y="36000"/>
                        <a:pt x="42474" y="36000"/>
                      </a:cubicBezTo>
                      <a:cubicBezTo>
                        <a:pt x="42474" y="36000"/>
                        <a:pt x="42061" y="36218"/>
                        <a:pt x="41649" y="36218"/>
                      </a:cubicBezTo>
                      <a:cubicBezTo>
                        <a:pt x="41237" y="36218"/>
                        <a:pt x="41237" y="36218"/>
                        <a:pt x="40824" y="36000"/>
                      </a:cubicBezTo>
                      <a:cubicBezTo>
                        <a:pt x="40412" y="36000"/>
                        <a:pt x="39587" y="35563"/>
                        <a:pt x="39587" y="35563"/>
                      </a:cubicBezTo>
                      <a:cubicBezTo>
                        <a:pt x="39587" y="35563"/>
                        <a:pt x="39175" y="35563"/>
                        <a:pt x="39175" y="35345"/>
                      </a:cubicBezTo>
                      <a:cubicBezTo>
                        <a:pt x="39175" y="35127"/>
                        <a:pt x="39587" y="34690"/>
                        <a:pt x="39587" y="34690"/>
                      </a:cubicBezTo>
                      <a:cubicBezTo>
                        <a:pt x="40000" y="34472"/>
                        <a:pt x="39587" y="34472"/>
                        <a:pt x="40000" y="34472"/>
                      </a:cubicBezTo>
                      <a:cubicBezTo>
                        <a:pt x="40412" y="34472"/>
                        <a:pt x="41649" y="34472"/>
                        <a:pt x="40824" y="34036"/>
                      </a:cubicBezTo>
                      <a:cubicBezTo>
                        <a:pt x="40412" y="33600"/>
                        <a:pt x="40412" y="33600"/>
                        <a:pt x="40000" y="33600"/>
                      </a:cubicBezTo>
                      <a:cubicBezTo>
                        <a:pt x="39587" y="33818"/>
                        <a:pt x="38762" y="34036"/>
                        <a:pt x="38762" y="34036"/>
                      </a:cubicBezTo>
                      <a:cubicBezTo>
                        <a:pt x="38762" y="34036"/>
                        <a:pt x="38350" y="33818"/>
                        <a:pt x="38762" y="33163"/>
                      </a:cubicBezTo>
                      <a:cubicBezTo>
                        <a:pt x="39175" y="32509"/>
                        <a:pt x="38762" y="32509"/>
                        <a:pt x="39175" y="32290"/>
                      </a:cubicBezTo>
                      <a:cubicBezTo>
                        <a:pt x="39587" y="32072"/>
                        <a:pt x="40000" y="31854"/>
                        <a:pt x="40000" y="31854"/>
                      </a:cubicBezTo>
                      <a:cubicBezTo>
                        <a:pt x="40000" y="31854"/>
                        <a:pt x="40000" y="31636"/>
                        <a:pt x="39175" y="31200"/>
                      </a:cubicBezTo>
                      <a:cubicBezTo>
                        <a:pt x="38762" y="30763"/>
                        <a:pt x="38350" y="30327"/>
                        <a:pt x="38350" y="30327"/>
                      </a:cubicBezTo>
                      <a:cubicBezTo>
                        <a:pt x="37938" y="30109"/>
                        <a:pt x="37113" y="30545"/>
                        <a:pt x="37113" y="30545"/>
                      </a:cubicBezTo>
                      <a:cubicBezTo>
                        <a:pt x="37113" y="30763"/>
                        <a:pt x="36701" y="31200"/>
                        <a:pt x="37113" y="31418"/>
                      </a:cubicBezTo>
                      <a:cubicBezTo>
                        <a:pt x="37113" y="31636"/>
                        <a:pt x="37113" y="31854"/>
                        <a:pt x="36701" y="32072"/>
                      </a:cubicBezTo>
                      <a:cubicBezTo>
                        <a:pt x="36288" y="32072"/>
                        <a:pt x="36288" y="32290"/>
                        <a:pt x="35876" y="32072"/>
                      </a:cubicBezTo>
                      <a:cubicBezTo>
                        <a:pt x="35463" y="31854"/>
                        <a:pt x="35876" y="32072"/>
                        <a:pt x="35463" y="31636"/>
                      </a:cubicBezTo>
                      <a:cubicBezTo>
                        <a:pt x="35051" y="31418"/>
                        <a:pt x="35463" y="31418"/>
                        <a:pt x="35051" y="31418"/>
                      </a:cubicBezTo>
                      <a:cubicBezTo>
                        <a:pt x="34639" y="31200"/>
                        <a:pt x="34226" y="30981"/>
                        <a:pt x="34226" y="30981"/>
                      </a:cubicBezTo>
                      <a:cubicBezTo>
                        <a:pt x="34226" y="30981"/>
                        <a:pt x="32989" y="30763"/>
                        <a:pt x="32989" y="30981"/>
                      </a:cubicBezTo>
                      <a:cubicBezTo>
                        <a:pt x="32989" y="31200"/>
                        <a:pt x="32989" y="31200"/>
                        <a:pt x="33402" y="31418"/>
                      </a:cubicBezTo>
                      <a:cubicBezTo>
                        <a:pt x="33402" y="31636"/>
                        <a:pt x="33814" y="31636"/>
                        <a:pt x="33814" y="31854"/>
                      </a:cubicBezTo>
                      <a:cubicBezTo>
                        <a:pt x="33814" y="32072"/>
                        <a:pt x="33402" y="32072"/>
                        <a:pt x="33402" y="32072"/>
                      </a:cubicBezTo>
                      <a:cubicBezTo>
                        <a:pt x="33402" y="32072"/>
                        <a:pt x="32989" y="31854"/>
                        <a:pt x="32577" y="31854"/>
                      </a:cubicBezTo>
                      <a:cubicBezTo>
                        <a:pt x="32577" y="31854"/>
                        <a:pt x="31752" y="32290"/>
                        <a:pt x="31752" y="32290"/>
                      </a:cubicBezTo>
                      <a:cubicBezTo>
                        <a:pt x="31752" y="32290"/>
                        <a:pt x="31752" y="32509"/>
                        <a:pt x="31752" y="32727"/>
                      </a:cubicBezTo>
                      <a:cubicBezTo>
                        <a:pt x="31752" y="32727"/>
                        <a:pt x="31752" y="32945"/>
                        <a:pt x="31752" y="33163"/>
                      </a:cubicBezTo>
                      <a:cubicBezTo>
                        <a:pt x="32164" y="33381"/>
                        <a:pt x="32164" y="33818"/>
                        <a:pt x="32577" y="33818"/>
                      </a:cubicBezTo>
                      <a:cubicBezTo>
                        <a:pt x="33402" y="33818"/>
                        <a:pt x="35051" y="33381"/>
                        <a:pt x="35051" y="33381"/>
                      </a:cubicBezTo>
                      <a:cubicBezTo>
                        <a:pt x="35051" y="33600"/>
                        <a:pt x="35876" y="33818"/>
                        <a:pt x="36288" y="34036"/>
                      </a:cubicBezTo>
                      <a:cubicBezTo>
                        <a:pt x="36288" y="34036"/>
                        <a:pt x="36288" y="34472"/>
                        <a:pt x="36288" y="34472"/>
                      </a:cubicBezTo>
                      <a:cubicBezTo>
                        <a:pt x="36288" y="34472"/>
                        <a:pt x="35876" y="34690"/>
                        <a:pt x="35463" y="34690"/>
                      </a:cubicBezTo>
                      <a:cubicBezTo>
                        <a:pt x="35051" y="34690"/>
                        <a:pt x="34639" y="34254"/>
                        <a:pt x="34639" y="34690"/>
                      </a:cubicBezTo>
                      <a:cubicBezTo>
                        <a:pt x="34639" y="34909"/>
                        <a:pt x="34226" y="35345"/>
                        <a:pt x="34639" y="35563"/>
                      </a:cubicBezTo>
                      <a:cubicBezTo>
                        <a:pt x="35051" y="35781"/>
                        <a:pt x="35051" y="36218"/>
                        <a:pt x="35876" y="36218"/>
                      </a:cubicBezTo>
                      <a:cubicBezTo>
                        <a:pt x="36701" y="36436"/>
                        <a:pt x="36701" y="36654"/>
                        <a:pt x="37113" y="36436"/>
                      </a:cubicBezTo>
                      <a:cubicBezTo>
                        <a:pt x="37525" y="36218"/>
                        <a:pt x="37525" y="36000"/>
                        <a:pt x="37938" y="36218"/>
                      </a:cubicBezTo>
                      <a:cubicBezTo>
                        <a:pt x="38350" y="36218"/>
                        <a:pt x="38762" y="36218"/>
                        <a:pt x="39175" y="36436"/>
                      </a:cubicBezTo>
                      <a:cubicBezTo>
                        <a:pt x="39175" y="36654"/>
                        <a:pt x="38762" y="36654"/>
                        <a:pt x="38762" y="36654"/>
                      </a:cubicBezTo>
                      <a:cubicBezTo>
                        <a:pt x="38762" y="36654"/>
                        <a:pt x="38350" y="36654"/>
                        <a:pt x="38350" y="36872"/>
                      </a:cubicBezTo>
                      <a:cubicBezTo>
                        <a:pt x="38350" y="36872"/>
                        <a:pt x="37938" y="37090"/>
                        <a:pt x="38350" y="37090"/>
                      </a:cubicBezTo>
                      <a:cubicBezTo>
                        <a:pt x="39175" y="37090"/>
                        <a:pt x="39587" y="37090"/>
                        <a:pt x="39587" y="37090"/>
                      </a:cubicBezTo>
                      <a:cubicBezTo>
                        <a:pt x="39587" y="37090"/>
                        <a:pt x="40000" y="36654"/>
                        <a:pt x="40412" y="36872"/>
                      </a:cubicBezTo>
                      <a:cubicBezTo>
                        <a:pt x="40412" y="37090"/>
                        <a:pt x="40000" y="37090"/>
                        <a:pt x="39587" y="37309"/>
                      </a:cubicBezTo>
                      <a:cubicBezTo>
                        <a:pt x="39175" y="37527"/>
                        <a:pt x="39175" y="37527"/>
                        <a:pt x="39175" y="37745"/>
                      </a:cubicBezTo>
                      <a:cubicBezTo>
                        <a:pt x="39175" y="37963"/>
                        <a:pt x="38762" y="37963"/>
                        <a:pt x="38762" y="38181"/>
                      </a:cubicBezTo>
                      <a:cubicBezTo>
                        <a:pt x="38762" y="38400"/>
                        <a:pt x="37938" y="39272"/>
                        <a:pt x="39175" y="38618"/>
                      </a:cubicBezTo>
                      <a:cubicBezTo>
                        <a:pt x="40824" y="37963"/>
                        <a:pt x="40824" y="38181"/>
                        <a:pt x="40824" y="37963"/>
                      </a:cubicBezTo>
                      <a:cubicBezTo>
                        <a:pt x="40824" y="37745"/>
                        <a:pt x="40824" y="37745"/>
                        <a:pt x="41649" y="37527"/>
                      </a:cubicBezTo>
                      <a:cubicBezTo>
                        <a:pt x="42061" y="37309"/>
                        <a:pt x="42474" y="37309"/>
                        <a:pt x="42886" y="37309"/>
                      </a:cubicBezTo>
                      <a:cubicBezTo>
                        <a:pt x="42886" y="37090"/>
                        <a:pt x="43711" y="37090"/>
                        <a:pt x="43298" y="37309"/>
                      </a:cubicBezTo>
                      <a:cubicBezTo>
                        <a:pt x="42886" y="37527"/>
                        <a:pt x="42474" y="37309"/>
                        <a:pt x="42886" y="37527"/>
                      </a:cubicBezTo>
                      <a:cubicBezTo>
                        <a:pt x="43298" y="37745"/>
                        <a:pt x="43298" y="37963"/>
                        <a:pt x="43711" y="37963"/>
                      </a:cubicBezTo>
                      <a:cubicBezTo>
                        <a:pt x="44123" y="37963"/>
                        <a:pt x="44123" y="37963"/>
                        <a:pt x="44123" y="37963"/>
                      </a:cubicBezTo>
                      <a:cubicBezTo>
                        <a:pt x="44123" y="37963"/>
                        <a:pt x="43298" y="37963"/>
                        <a:pt x="42886" y="37963"/>
                      </a:cubicBezTo>
                      <a:cubicBezTo>
                        <a:pt x="42886" y="37963"/>
                        <a:pt x="42474" y="37963"/>
                        <a:pt x="42474" y="37963"/>
                      </a:cubicBezTo>
                      <a:cubicBezTo>
                        <a:pt x="42061" y="37963"/>
                        <a:pt x="42061" y="38181"/>
                        <a:pt x="42061" y="38181"/>
                      </a:cubicBezTo>
                      <a:cubicBezTo>
                        <a:pt x="41649" y="38400"/>
                        <a:pt x="41649" y="38400"/>
                        <a:pt x="41649" y="38400"/>
                      </a:cubicBezTo>
                      <a:cubicBezTo>
                        <a:pt x="41649" y="38400"/>
                        <a:pt x="42061" y="38618"/>
                        <a:pt x="42061" y="38836"/>
                      </a:cubicBezTo>
                      <a:cubicBezTo>
                        <a:pt x="42061" y="38836"/>
                        <a:pt x="42061" y="38836"/>
                        <a:pt x="41649" y="38836"/>
                      </a:cubicBezTo>
                      <a:cubicBezTo>
                        <a:pt x="41237" y="38836"/>
                        <a:pt x="41649" y="38618"/>
                        <a:pt x="40824" y="38836"/>
                      </a:cubicBezTo>
                      <a:cubicBezTo>
                        <a:pt x="40000" y="38836"/>
                        <a:pt x="40412" y="38400"/>
                        <a:pt x="40000" y="39054"/>
                      </a:cubicBezTo>
                      <a:cubicBezTo>
                        <a:pt x="39587" y="39709"/>
                        <a:pt x="39175" y="39709"/>
                        <a:pt x="39175" y="39709"/>
                      </a:cubicBezTo>
                      <a:cubicBezTo>
                        <a:pt x="39175" y="39709"/>
                        <a:pt x="39175" y="39709"/>
                        <a:pt x="39175" y="39927"/>
                      </a:cubicBezTo>
                      <a:cubicBezTo>
                        <a:pt x="39175" y="39927"/>
                        <a:pt x="39587" y="40145"/>
                        <a:pt x="40000" y="40363"/>
                      </a:cubicBezTo>
                      <a:cubicBezTo>
                        <a:pt x="40824" y="40581"/>
                        <a:pt x="41237" y="40800"/>
                        <a:pt x="41237" y="40800"/>
                      </a:cubicBezTo>
                      <a:cubicBezTo>
                        <a:pt x="41237" y="40800"/>
                        <a:pt x="40824" y="40800"/>
                        <a:pt x="40412" y="40800"/>
                      </a:cubicBezTo>
                      <a:cubicBezTo>
                        <a:pt x="39587" y="41018"/>
                        <a:pt x="39175" y="41018"/>
                        <a:pt x="38762" y="41236"/>
                      </a:cubicBezTo>
                      <a:cubicBezTo>
                        <a:pt x="38762" y="41236"/>
                        <a:pt x="38350" y="41454"/>
                        <a:pt x="37938" y="41454"/>
                      </a:cubicBezTo>
                      <a:cubicBezTo>
                        <a:pt x="37525" y="41454"/>
                        <a:pt x="36288" y="41236"/>
                        <a:pt x="35876" y="41454"/>
                      </a:cubicBezTo>
                      <a:cubicBezTo>
                        <a:pt x="35463" y="41454"/>
                        <a:pt x="35051" y="41454"/>
                        <a:pt x="34639" y="41672"/>
                      </a:cubicBezTo>
                      <a:cubicBezTo>
                        <a:pt x="34639" y="41672"/>
                        <a:pt x="34639" y="41890"/>
                        <a:pt x="34639" y="41890"/>
                      </a:cubicBezTo>
                      <a:cubicBezTo>
                        <a:pt x="34639" y="41890"/>
                        <a:pt x="34226" y="42109"/>
                        <a:pt x="34639" y="42109"/>
                      </a:cubicBezTo>
                      <a:cubicBezTo>
                        <a:pt x="35051" y="42109"/>
                        <a:pt x="36701" y="42109"/>
                        <a:pt x="36701" y="42109"/>
                      </a:cubicBezTo>
                      <a:cubicBezTo>
                        <a:pt x="37113" y="42109"/>
                        <a:pt x="37113" y="42327"/>
                        <a:pt x="37113" y="42327"/>
                      </a:cubicBezTo>
                      <a:cubicBezTo>
                        <a:pt x="36288" y="42327"/>
                        <a:pt x="36288" y="42327"/>
                        <a:pt x="36288" y="42327"/>
                      </a:cubicBezTo>
                      <a:cubicBezTo>
                        <a:pt x="36288" y="42327"/>
                        <a:pt x="35463" y="42327"/>
                        <a:pt x="35051" y="42327"/>
                      </a:cubicBezTo>
                      <a:cubicBezTo>
                        <a:pt x="35051" y="42327"/>
                        <a:pt x="33814" y="42545"/>
                        <a:pt x="33814" y="42545"/>
                      </a:cubicBezTo>
                      <a:cubicBezTo>
                        <a:pt x="33814" y="42545"/>
                        <a:pt x="32989" y="42981"/>
                        <a:pt x="32989" y="43200"/>
                      </a:cubicBezTo>
                      <a:cubicBezTo>
                        <a:pt x="32989" y="43200"/>
                        <a:pt x="32989" y="43418"/>
                        <a:pt x="33402" y="43854"/>
                      </a:cubicBezTo>
                      <a:cubicBezTo>
                        <a:pt x="34226" y="44072"/>
                        <a:pt x="34226" y="44290"/>
                        <a:pt x="34226" y="44509"/>
                      </a:cubicBezTo>
                      <a:cubicBezTo>
                        <a:pt x="34226" y="44509"/>
                        <a:pt x="34226" y="44509"/>
                        <a:pt x="34226" y="44727"/>
                      </a:cubicBezTo>
                      <a:cubicBezTo>
                        <a:pt x="33814" y="44727"/>
                        <a:pt x="32989" y="45163"/>
                        <a:pt x="32989" y="45163"/>
                      </a:cubicBezTo>
                      <a:cubicBezTo>
                        <a:pt x="32989" y="45163"/>
                        <a:pt x="32989" y="45163"/>
                        <a:pt x="32989" y="45600"/>
                      </a:cubicBezTo>
                      <a:cubicBezTo>
                        <a:pt x="32577" y="45818"/>
                        <a:pt x="31752" y="46472"/>
                        <a:pt x="32577" y="46472"/>
                      </a:cubicBezTo>
                      <a:cubicBezTo>
                        <a:pt x="33402" y="46690"/>
                        <a:pt x="32989" y="46909"/>
                        <a:pt x="33814" y="46690"/>
                      </a:cubicBezTo>
                      <a:cubicBezTo>
                        <a:pt x="35051" y="46472"/>
                        <a:pt x="33814" y="46254"/>
                        <a:pt x="35463" y="46472"/>
                      </a:cubicBezTo>
                      <a:cubicBezTo>
                        <a:pt x="37113" y="46690"/>
                        <a:pt x="37525" y="46472"/>
                        <a:pt x="37938" y="46472"/>
                      </a:cubicBezTo>
                      <a:cubicBezTo>
                        <a:pt x="38350" y="46254"/>
                        <a:pt x="38350" y="46254"/>
                        <a:pt x="38762" y="46036"/>
                      </a:cubicBezTo>
                      <a:cubicBezTo>
                        <a:pt x="38762" y="46036"/>
                        <a:pt x="37938" y="45818"/>
                        <a:pt x="39175" y="45818"/>
                      </a:cubicBezTo>
                      <a:cubicBezTo>
                        <a:pt x="40412" y="45600"/>
                        <a:pt x="40412" y="45600"/>
                        <a:pt x="40412" y="45600"/>
                      </a:cubicBezTo>
                      <a:cubicBezTo>
                        <a:pt x="40412" y="45600"/>
                        <a:pt x="39587" y="44945"/>
                        <a:pt x="40412" y="45381"/>
                      </a:cubicBezTo>
                      <a:cubicBezTo>
                        <a:pt x="41649" y="45818"/>
                        <a:pt x="41649" y="46036"/>
                        <a:pt x="41649" y="46036"/>
                      </a:cubicBezTo>
                      <a:cubicBezTo>
                        <a:pt x="40824" y="46472"/>
                        <a:pt x="40824" y="46472"/>
                        <a:pt x="40824" y="46472"/>
                      </a:cubicBezTo>
                      <a:cubicBezTo>
                        <a:pt x="40824" y="46690"/>
                        <a:pt x="40824" y="46690"/>
                        <a:pt x="40824" y="46690"/>
                      </a:cubicBezTo>
                      <a:cubicBezTo>
                        <a:pt x="40824" y="46690"/>
                        <a:pt x="40000" y="46690"/>
                        <a:pt x="39587" y="47127"/>
                      </a:cubicBezTo>
                      <a:cubicBezTo>
                        <a:pt x="39175" y="47563"/>
                        <a:pt x="37938" y="48218"/>
                        <a:pt x="37938" y="48436"/>
                      </a:cubicBezTo>
                      <a:cubicBezTo>
                        <a:pt x="37938" y="48436"/>
                        <a:pt x="38350" y="48218"/>
                        <a:pt x="37525" y="48654"/>
                      </a:cubicBezTo>
                      <a:cubicBezTo>
                        <a:pt x="36288" y="49090"/>
                        <a:pt x="35876" y="49090"/>
                        <a:pt x="35051" y="49309"/>
                      </a:cubicBezTo>
                      <a:cubicBezTo>
                        <a:pt x="34639" y="49745"/>
                        <a:pt x="34639" y="49527"/>
                        <a:pt x="34226" y="49745"/>
                      </a:cubicBezTo>
                      <a:cubicBezTo>
                        <a:pt x="34226" y="49963"/>
                        <a:pt x="33814" y="50181"/>
                        <a:pt x="33814" y="50181"/>
                      </a:cubicBezTo>
                      <a:cubicBezTo>
                        <a:pt x="33402" y="50618"/>
                        <a:pt x="33402" y="50618"/>
                        <a:pt x="33402" y="50618"/>
                      </a:cubicBezTo>
                      <a:cubicBezTo>
                        <a:pt x="32164" y="50836"/>
                        <a:pt x="32164" y="50836"/>
                        <a:pt x="32164" y="50836"/>
                      </a:cubicBezTo>
                      <a:cubicBezTo>
                        <a:pt x="30927" y="50618"/>
                        <a:pt x="30927" y="50618"/>
                        <a:pt x="30927" y="50618"/>
                      </a:cubicBezTo>
                      <a:cubicBezTo>
                        <a:pt x="30103" y="51054"/>
                        <a:pt x="30103" y="51054"/>
                        <a:pt x="30103" y="51054"/>
                      </a:cubicBezTo>
                      <a:cubicBezTo>
                        <a:pt x="30103" y="51054"/>
                        <a:pt x="28865" y="50836"/>
                        <a:pt x="28453" y="50836"/>
                      </a:cubicBezTo>
                      <a:cubicBezTo>
                        <a:pt x="28041" y="51054"/>
                        <a:pt x="27628" y="51272"/>
                        <a:pt x="27628" y="51272"/>
                      </a:cubicBezTo>
                      <a:cubicBezTo>
                        <a:pt x="27628" y="51272"/>
                        <a:pt x="27216" y="51272"/>
                        <a:pt x="27216" y="51709"/>
                      </a:cubicBezTo>
                      <a:cubicBezTo>
                        <a:pt x="27216" y="51927"/>
                        <a:pt x="26804" y="52581"/>
                        <a:pt x="26804" y="52581"/>
                      </a:cubicBezTo>
                      <a:cubicBezTo>
                        <a:pt x="25979" y="53018"/>
                        <a:pt x="25979" y="53018"/>
                        <a:pt x="25979" y="53018"/>
                      </a:cubicBezTo>
                      <a:cubicBezTo>
                        <a:pt x="25979" y="53018"/>
                        <a:pt x="25567" y="53454"/>
                        <a:pt x="26391" y="53236"/>
                      </a:cubicBezTo>
                      <a:cubicBezTo>
                        <a:pt x="27216" y="53018"/>
                        <a:pt x="27628" y="52800"/>
                        <a:pt x="28041" y="52581"/>
                      </a:cubicBezTo>
                      <a:cubicBezTo>
                        <a:pt x="28041" y="52581"/>
                        <a:pt x="28865" y="52363"/>
                        <a:pt x="28865" y="52363"/>
                      </a:cubicBezTo>
                      <a:cubicBezTo>
                        <a:pt x="28865" y="52800"/>
                        <a:pt x="28865" y="52800"/>
                        <a:pt x="28865" y="52800"/>
                      </a:cubicBezTo>
                      <a:cubicBezTo>
                        <a:pt x="28453" y="53672"/>
                        <a:pt x="28453" y="53672"/>
                        <a:pt x="28453" y="53672"/>
                      </a:cubicBezTo>
                      <a:cubicBezTo>
                        <a:pt x="28041" y="53890"/>
                        <a:pt x="28041" y="53890"/>
                        <a:pt x="28041" y="53890"/>
                      </a:cubicBezTo>
                      <a:cubicBezTo>
                        <a:pt x="27628" y="54109"/>
                        <a:pt x="27628" y="54109"/>
                        <a:pt x="27628" y="54109"/>
                      </a:cubicBezTo>
                      <a:cubicBezTo>
                        <a:pt x="27628" y="54109"/>
                        <a:pt x="26804" y="54981"/>
                        <a:pt x="27628" y="54981"/>
                      </a:cubicBezTo>
                      <a:cubicBezTo>
                        <a:pt x="28453" y="54763"/>
                        <a:pt x="28041" y="54763"/>
                        <a:pt x="28865" y="54545"/>
                      </a:cubicBezTo>
                      <a:cubicBezTo>
                        <a:pt x="29690" y="54545"/>
                        <a:pt x="29278" y="54327"/>
                        <a:pt x="30927" y="54109"/>
                      </a:cubicBezTo>
                      <a:cubicBezTo>
                        <a:pt x="32164" y="54109"/>
                        <a:pt x="32164" y="53672"/>
                        <a:pt x="32164" y="53454"/>
                      </a:cubicBezTo>
                      <a:cubicBezTo>
                        <a:pt x="32164" y="53454"/>
                        <a:pt x="32164" y="53236"/>
                        <a:pt x="32164" y="53018"/>
                      </a:cubicBezTo>
                      <a:cubicBezTo>
                        <a:pt x="32164" y="52800"/>
                        <a:pt x="31340" y="52581"/>
                        <a:pt x="32577" y="52363"/>
                      </a:cubicBezTo>
                      <a:cubicBezTo>
                        <a:pt x="33402" y="52363"/>
                        <a:pt x="32989" y="52581"/>
                        <a:pt x="33402" y="52363"/>
                      </a:cubicBezTo>
                      <a:cubicBezTo>
                        <a:pt x="33814" y="52145"/>
                        <a:pt x="33814" y="52581"/>
                        <a:pt x="33814" y="51927"/>
                      </a:cubicBezTo>
                      <a:cubicBezTo>
                        <a:pt x="33814" y="51490"/>
                        <a:pt x="33814" y="51490"/>
                        <a:pt x="34639" y="51272"/>
                      </a:cubicBezTo>
                      <a:cubicBezTo>
                        <a:pt x="35463" y="50836"/>
                        <a:pt x="35051" y="51054"/>
                        <a:pt x="35463" y="50836"/>
                      </a:cubicBezTo>
                      <a:cubicBezTo>
                        <a:pt x="35876" y="50618"/>
                        <a:pt x="35463" y="50618"/>
                        <a:pt x="35876" y="50400"/>
                      </a:cubicBezTo>
                      <a:cubicBezTo>
                        <a:pt x="36701" y="50181"/>
                        <a:pt x="36701" y="50181"/>
                        <a:pt x="36701" y="50181"/>
                      </a:cubicBezTo>
                      <a:cubicBezTo>
                        <a:pt x="36701" y="49963"/>
                        <a:pt x="37938" y="49527"/>
                        <a:pt x="37938" y="49527"/>
                      </a:cubicBezTo>
                      <a:cubicBezTo>
                        <a:pt x="37938" y="49090"/>
                        <a:pt x="37938" y="49090"/>
                        <a:pt x="37938" y="49090"/>
                      </a:cubicBezTo>
                      <a:cubicBezTo>
                        <a:pt x="39587" y="48654"/>
                        <a:pt x="39587" y="48654"/>
                        <a:pt x="39587" y="48654"/>
                      </a:cubicBezTo>
                      <a:cubicBezTo>
                        <a:pt x="39587" y="48654"/>
                        <a:pt x="40000" y="48436"/>
                        <a:pt x="40000" y="48654"/>
                      </a:cubicBezTo>
                      <a:cubicBezTo>
                        <a:pt x="39587" y="48872"/>
                        <a:pt x="39175" y="49309"/>
                        <a:pt x="39175" y="49309"/>
                      </a:cubicBezTo>
                      <a:cubicBezTo>
                        <a:pt x="39175" y="49745"/>
                        <a:pt x="39175" y="49745"/>
                        <a:pt x="39175" y="49745"/>
                      </a:cubicBezTo>
                      <a:cubicBezTo>
                        <a:pt x="37938" y="50181"/>
                        <a:pt x="37938" y="50181"/>
                        <a:pt x="37938" y="50181"/>
                      </a:cubicBezTo>
                      <a:cubicBezTo>
                        <a:pt x="37938" y="50181"/>
                        <a:pt x="38762" y="50400"/>
                        <a:pt x="38350" y="50618"/>
                      </a:cubicBezTo>
                      <a:cubicBezTo>
                        <a:pt x="37938" y="50836"/>
                        <a:pt x="37113" y="51054"/>
                        <a:pt x="37113" y="51054"/>
                      </a:cubicBezTo>
                      <a:cubicBezTo>
                        <a:pt x="37113" y="51490"/>
                        <a:pt x="37113" y="51490"/>
                        <a:pt x="37113" y="51490"/>
                      </a:cubicBezTo>
                      <a:cubicBezTo>
                        <a:pt x="37525" y="51709"/>
                        <a:pt x="37525" y="51709"/>
                        <a:pt x="37525" y="51709"/>
                      </a:cubicBezTo>
                      <a:cubicBezTo>
                        <a:pt x="36701" y="52581"/>
                        <a:pt x="36701" y="52581"/>
                        <a:pt x="36701" y="52581"/>
                      </a:cubicBezTo>
                      <a:cubicBezTo>
                        <a:pt x="37525" y="53018"/>
                        <a:pt x="37525" y="53018"/>
                        <a:pt x="37525" y="53018"/>
                      </a:cubicBezTo>
                      <a:cubicBezTo>
                        <a:pt x="37938" y="53454"/>
                        <a:pt x="37938" y="53454"/>
                        <a:pt x="37938" y="53454"/>
                      </a:cubicBezTo>
                      <a:cubicBezTo>
                        <a:pt x="37938" y="53454"/>
                        <a:pt x="37525" y="53672"/>
                        <a:pt x="37113" y="53890"/>
                      </a:cubicBezTo>
                      <a:cubicBezTo>
                        <a:pt x="36701" y="53890"/>
                        <a:pt x="35876" y="54545"/>
                        <a:pt x="35876" y="54545"/>
                      </a:cubicBezTo>
                      <a:cubicBezTo>
                        <a:pt x="35051" y="55200"/>
                        <a:pt x="35051" y="55200"/>
                        <a:pt x="35051" y="55200"/>
                      </a:cubicBezTo>
                      <a:cubicBezTo>
                        <a:pt x="34226" y="55854"/>
                        <a:pt x="34226" y="55854"/>
                        <a:pt x="34226" y="55854"/>
                      </a:cubicBezTo>
                      <a:cubicBezTo>
                        <a:pt x="34226" y="56509"/>
                        <a:pt x="34226" y="56509"/>
                        <a:pt x="34226" y="56509"/>
                      </a:cubicBezTo>
                      <a:cubicBezTo>
                        <a:pt x="33814" y="57381"/>
                        <a:pt x="33814" y="57381"/>
                        <a:pt x="33814" y="57381"/>
                      </a:cubicBezTo>
                      <a:cubicBezTo>
                        <a:pt x="32989" y="57600"/>
                        <a:pt x="32989" y="57600"/>
                        <a:pt x="32989" y="57600"/>
                      </a:cubicBezTo>
                      <a:cubicBezTo>
                        <a:pt x="32989" y="57600"/>
                        <a:pt x="32577" y="58254"/>
                        <a:pt x="33402" y="58254"/>
                      </a:cubicBezTo>
                      <a:cubicBezTo>
                        <a:pt x="34226" y="58472"/>
                        <a:pt x="34226" y="58472"/>
                        <a:pt x="34639" y="58472"/>
                      </a:cubicBezTo>
                      <a:cubicBezTo>
                        <a:pt x="35463" y="58472"/>
                        <a:pt x="35051" y="58472"/>
                        <a:pt x="35463" y="58472"/>
                      </a:cubicBezTo>
                      <a:cubicBezTo>
                        <a:pt x="35876" y="58472"/>
                        <a:pt x="36701" y="58472"/>
                        <a:pt x="36701" y="58036"/>
                      </a:cubicBezTo>
                      <a:cubicBezTo>
                        <a:pt x="36701" y="57600"/>
                        <a:pt x="36701" y="57163"/>
                        <a:pt x="36701" y="56945"/>
                      </a:cubicBezTo>
                      <a:cubicBezTo>
                        <a:pt x="36701" y="56945"/>
                        <a:pt x="37525" y="56290"/>
                        <a:pt x="37525" y="56290"/>
                      </a:cubicBezTo>
                      <a:cubicBezTo>
                        <a:pt x="37525" y="55418"/>
                        <a:pt x="37525" y="55418"/>
                        <a:pt x="37525" y="55418"/>
                      </a:cubicBezTo>
                      <a:cubicBezTo>
                        <a:pt x="37525" y="55418"/>
                        <a:pt x="37525" y="55200"/>
                        <a:pt x="38350" y="54763"/>
                      </a:cubicBezTo>
                      <a:cubicBezTo>
                        <a:pt x="39175" y="54545"/>
                        <a:pt x="38762" y="54545"/>
                        <a:pt x="39175" y="54545"/>
                      </a:cubicBezTo>
                      <a:cubicBezTo>
                        <a:pt x="39587" y="54327"/>
                        <a:pt x="39587" y="54109"/>
                        <a:pt x="39587" y="53890"/>
                      </a:cubicBezTo>
                      <a:cubicBezTo>
                        <a:pt x="40000" y="53672"/>
                        <a:pt x="40000" y="53672"/>
                        <a:pt x="40000" y="53672"/>
                      </a:cubicBezTo>
                      <a:cubicBezTo>
                        <a:pt x="40412" y="53236"/>
                        <a:pt x="40412" y="53236"/>
                        <a:pt x="40412" y="53236"/>
                      </a:cubicBezTo>
                      <a:cubicBezTo>
                        <a:pt x="40412" y="51490"/>
                        <a:pt x="40412" y="51490"/>
                        <a:pt x="40412" y="51490"/>
                      </a:cubicBezTo>
                      <a:cubicBezTo>
                        <a:pt x="40412" y="51490"/>
                        <a:pt x="40412" y="51054"/>
                        <a:pt x="40824" y="51054"/>
                      </a:cubicBezTo>
                      <a:cubicBezTo>
                        <a:pt x="41237" y="51054"/>
                        <a:pt x="41649" y="51054"/>
                        <a:pt x="41649" y="51054"/>
                      </a:cubicBezTo>
                      <a:cubicBezTo>
                        <a:pt x="41649" y="51054"/>
                        <a:pt x="41649" y="51272"/>
                        <a:pt x="41649" y="51709"/>
                      </a:cubicBezTo>
                      <a:cubicBezTo>
                        <a:pt x="41237" y="52145"/>
                        <a:pt x="41649" y="52800"/>
                        <a:pt x="41649" y="52800"/>
                      </a:cubicBezTo>
                      <a:cubicBezTo>
                        <a:pt x="44536" y="54109"/>
                        <a:pt x="44536" y="54109"/>
                        <a:pt x="44536" y="54109"/>
                      </a:cubicBezTo>
                      <a:cubicBezTo>
                        <a:pt x="44536" y="54109"/>
                        <a:pt x="45773" y="55200"/>
                        <a:pt x="45773" y="55418"/>
                      </a:cubicBezTo>
                      <a:cubicBezTo>
                        <a:pt x="45773" y="55418"/>
                        <a:pt x="47835" y="56290"/>
                        <a:pt x="47835" y="56290"/>
                      </a:cubicBezTo>
                      <a:cubicBezTo>
                        <a:pt x="47835" y="56290"/>
                        <a:pt x="48247" y="56509"/>
                        <a:pt x="47835" y="56727"/>
                      </a:cubicBezTo>
                      <a:cubicBezTo>
                        <a:pt x="47835" y="56945"/>
                        <a:pt x="48247" y="57163"/>
                        <a:pt x="48247" y="57381"/>
                      </a:cubicBezTo>
                      <a:cubicBezTo>
                        <a:pt x="47835" y="57600"/>
                        <a:pt x="47422" y="58254"/>
                        <a:pt x="47422" y="58254"/>
                      </a:cubicBezTo>
                      <a:cubicBezTo>
                        <a:pt x="46597" y="58472"/>
                        <a:pt x="46597" y="58472"/>
                        <a:pt x="46597" y="58472"/>
                      </a:cubicBezTo>
                      <a:cubicBezTo>
                        <a:pt x="45360" y="59127"/>
                        <a:pt x="45360" y="59127"/>
                        <a:pt x="45360" y="59127"/>
                      </a:cubicBezTo>
                      <a:cubicBezTo>
                        <a:pt x="44948" y="60000"/>
                        <a:pt x="44948" y="60000"/>
                        <a:pt x="44948" y="60000"/>
                      </a:cubicBezTo>
                      <a:cubicBezTo>
                        <a:pt x="44123" y="60654"/>
                        <a:pt x="44123" y="60654"/>
                        <a:pt x="44123" y="60654"/>
                      </a:cubicBezTo>
                      <a:cubicBezTo>
                        <a:pt x="42474" y="61090"/>
                        <a:pt x="42474" y="61090"/>
                        <a:pt x="42474" y="61090"/>
                      </a:cubicBezTo>
                      <a:cubicBezTo>
                        <a:pt x="40412" y="62181"/>
                        <a:pt x="40412" y="62181"/>
                        <a:pt x="40412" y="62181"/>
                      </a:cubicBezTo>
                      <a:cubicBezTo>
                        <a:pt x="39587" y="63054"/>
                        <a:pt x="39587" y="63054"/>
                        <a:pt x="39587" y="63054"/>
                      </a:cubicBezTo>
                      <a:cubicBezTo>
                        <a:pt x="38350" y="63927"/>
                        <a:pt x="38350" y="63927"/>
                        <a:pt x="38350" y="63927"/>
                      </a:cubicBezTo>
                      <a:cubicBezTo>
                        <a:pt x="38350" y="64581"/>
                        <a:pt x="38350" y="64581"/>
                        <a:pt x="38350" y="64581"/>
                      </a:cubicBezTo>
                      <a:cubicBezTo>
                        <a:pt x="38350" y="64581"/>
                        <a:pt x="39175" y="65454"/>
                        <a:pt x="39587" y="65454"/>
                      </a:cubicBezTo>
                      <a:cubicBezTo>
                        <a:pt x="39587" y="65454"/>
                        <a:pt x="40000" y="65672"/>
                        <a:pt x="40000" y="65672"/>
                      </a:cubicBezTo>
                      <a:cubicBezTo>
                        <a:pt x="40412" y="66763"/>
                        <a:pt x="40412" y="66763"/>
                        <a:pt x="40412" y="66763"/>
                      </a:cubicBezTo>
                      <a:cubicBezTo>
                        <a:pt x="40412" y="66763"/>
                        <a:pt x="40412" y="67418"/>
                        <a:pt x="40824" y="67418"/>
                      </a:cubicBezTo>
                      <a:cubicBezTo>
                        <a:pt x="41237" y="67200"/>
                        <a:pt x="41649" y="66545"/>
                        <a:pt x="41649" y="66545"/>
                      </a:cubicBezTo>
                      <a:cubicBezTo>
                        <a:pt x="41649" y="66545"/>
                        <a:pt x="40824" y="66109"/>
                        <a:pt x="40824" y="65672"/>
                      </a:cubicBezTo>
                      <a:cubicBezTo>
                        <a:pt x="40824" y="65236"/>
                        <a:pt x="41649" y="64581"/>
                        <a:pt x="41649" y="64581"/>
                      </a:cubicBezTo>
                      <a:cubicBezTo>
                        <a:pt x="42474" y="64363"/>
                        <a:pt x="42474" y="64363"/>
                        <a:pt x="42474" y="64363"/>
                      </a:cubicBezTo>
                      <a:cubicBezTo>
                        <a:pt x="42474" y="64363"/>
                        <a:pt x="42061" y="64363"/>
                        <a:pt x="42474" y="64581"/>
                      </a:cubicBezTo>
                      <a:cubicBezTo>
                        <a:pt x="42886" y="65018"/>
                        <a:pt x="42886" y="64800"/>
                        <a:pt x="43298" y="65018"/>
                      </a:cubicBezTo>
                      <a:cubicBezTo>
                        <a:pt x="43298" y="65236"/>
                        <a:pt x="44536" y="65890"/>
                        <a:pt x="44536" y="65890"/>
                      </a:cubicBezTo>
                      <a:cubicBezTo>
                        <a:pt x="44536" y="65890"/>
                        <a:pt x="45773" y="66545"/>
                        <a:pt x="46185" y="66763"/>
                      </a:cubicBezTo>
                      <a:cubicBezTo>
                        <a:pt x="46597" y="66981"/>
                        <a:pt x="47010" y="67418"/>
                        <a:pt x="47422" y="67418"/>
                      </a:cubicBezTo>
                      <a:cubicBezTo>
                        <a:pt x="47835" y="67200"/>
                        <a:pt x="48247" y="67418"/>
                        <a:pt x="48247" y="66981"/>
                      </a:cubicBezTo>
                      <a:cubicBezTo>
                        <a:pt x="48247" y="66545"/>
                        <a:pt x="48659" y="66545"/>
                        <a:pt x="48659" y="66109"/>
                      </a:cubicBezTo>
                      <a:cubicBezTo>
                        <a:pt x="48247" y="65890"/>
                        <a:pt x="48247" y="65236"/>
                        <a:pt x="48247" y="65236"/>
                      </a:cubicBezTo>
                      <a:cubicBezTo>
                        <a:pt x="48247" y="65236"/>
                        <a:pt x="48247" y="65018"/>
                        <a:pt x="48659" y="65018"/>
                      </a:cubicBezTo>
                      <a:cubicBezTo>
                        <a:pt x="49484" y="65018"/>
                        <a:pt x="49484" y="65454"/>
                        <a:pt x="49484" y="65454"/>
                      </a:cubicBezTo>
                      <a:cubicBezTo>
                        <a:pt x="49484" y="65454"/>
                        <a:pt x="49896" y="66109"/>
                        <a:pt x="50309" y="66327"/>
                      </a:cubicBezTo>
                      <a:cubicBezTo>
                        <a:pt x="50721" y="66327"/>
                        <a:pt x="51134" y="66327"/>
                        <a:pt x="51546" y="66545"/>
                      </a:cubicBezTo>
                      <a:cubicBezTo>
                        <a:pt x="51958" y="66981"/>
                        <a:pt x="54020" y="67200"/>
                        <a:pt x="54020" y="67200"/>
                      </a:cubicBezTo>
                      <a:cubicBezTo>
                        <a:pt x="54020" y="67200"/>
                        <a:pt x="54432" y="66981"/>
                        <a:pt x="54845" y="66763"/>
                      </a:cubicBezTo>
                      <a:cubicBezTo>
                        <a:pt x="54845" y="66545"/>
                        <a:pt x="55670" y="66545"/>
                        <a:pt x="55670" y="66545"/>
                      </a:cubicBezTo>
                      <a:cubicBezTo>
                        <a:pt x="55670" y="66545"/>
                        <a:pt x="55257" y="66109"/>
                        <a:pt x="56494" y="66327"/>
                      </a:cubicBezTo>
                      <a:cubicBezTo>
                        <a:pt x="57319" y="66327"/>
                        <a:pt x="57731" y="66545"/>
                        <a:pt x="57731" y="66327"/>
                      </a:cubicBezTo>
                      <a:cubicBezTo>
                        <a:pt x="58144" y="66109"/>
                        <a:pt x="58969" y="65236"/>
                        <a:pt x="58969" y="65236"/>
                      </a:cubicBezTo>
                      <a:cubicBezTo>
                        <a:pt x="58969" y="65236"/>
                        <a:pt x="58556" y="64581"/>
                        <a:pt x="59793" y="64800"/>
                      </a:cubicBezTo>
                      <a:cubicBezTo>
                        <a:pt x="60618" y="65236"/>
                        <a:pt x="65154" y="65672"/>
                        <a:pt x="65154" y="65672"/>
                      </a:cubicBezTo>
                      <a:cubicBezTo>
                        <a:pt x="64742" y="66109"/>
                        <a:pt x="64742" y="66109"/>
                        <a:pt x="64742" y="66109"/>
                      </a:cubicBezTo>
                      <a:cubicBezTo>
                        <a:pt x="63092" y="65890"/>
                        <a:pt x="63092" y="65890"/>
                        <a:pt x="63092" y="65890"/>
                      </a:cubicBezTo>
                      <a:cubicBezTo>
                        <a:pt x="61855" y="66109"/>
                        <a:pt x="61855" y="66109"/>
                        <a:pt x="61855" y="66109"/>
                      </a:cubicBezTo>
                      <a:cubicBezTo>
                        <a:pt x="61855" y="66109"/>
                        <a:pt x="61443" y="66109"/>
                        <a:pt x="61030" y="66545"/>
                      </a:cubicBezTo>
                      <a:cubicBezTo>
                        <a:pt x="61030" y="66763"/>
                        <a:pt x="61030" y="66981"/>
                        <a:pt x="60618" y="67200"/>
                      </a:cubicBezTo>
                      <a:cubicBezTo>
                        <a:pt x="60618" y="67418"/>
                        <a:pt x="60206" y="67636"/>
                        <a:pt x="59793" y="67636"/>
                      </a:cubicBezTo>
                      <a:cubicBezTo>
                        <a:pt x="59793" y="67854"/>
                        <a:pt x="58144" y="68509"/>
                        <a:pt x="58144" y="68509"/>
                      </a:cubicBezTo>
                      <a:cubicBezTo>
                        <a:pt x="57319" y="69163"/>
                        <a:pt x="57319" y="69163"/>
                        <a:pt x="57319" y="69163"/>
                      </a:cubicBezTo>
                      <a:cubicBezTo>
                        <a:pt x="56494" y="70254"/>
                        <a:pt x="56494" y="70254"/>
                        <a:pt x="56494" y="70254"/>
                      </a:cubicBezTo>
                      <a:cubicBezTo>
                        <a:pt x="56494" y="70254"/>
                        <a:pt x="56494" y="71127"/>
                        <a:pt x="56907" y="71127"/>
                      </a:cubicBezTo>
                      <a:cubicBezTo>
                        <a:pt x="57319" y="71345"/>
                        <a:pt x="58144" y="72000"/>
                        <a:pt x="58144" y="72000"/>
                      </a:cubicBezTo>
                      <a:cubicBezTo>
                        <a:pt x="58144" y="72000"/>
                        <a:pt x="58144" y="72436"/>
                        <a:pt x="58144" y="72654"/>
                      </a:cubicBezTo>
                      <a:cubicBezTo>
                        <a:pt x="58144" y="72872"/>
                        <a:pt x="58144" y="73090"/>
                        <a:pt x="58556" y="73527"/>
                      </a:cubicBezTo>
                      <a:cubicBezTo>
                        <a:pt x="58969" y="73745"/>
                        <a:pt x="59381" y="74618"/>
                        <a:pt x="59381" y="74618"/>
                      </a:cubicBezTo>
                      <a:cubicBezTo>
                        <a:pt x="59793" y="74618"/>
                        <a:pt x="59793" y="74618"/>
                        <a:pt x="59793" y="74618"/>
                      </a:cubicBezTo>
                      <a:cubicBezTo>
                        <a:pt x="59793" y="75272"/>
                        <a:pt x="59793" y="75272"/>
                        <a:pt x="59793" y="75272"/>
                      </a:cubicBezTo>
                      <a:cubicBezTo>
                        <a:pt x="59793" y="75272"/>
                        <a:pt x="59793" y="75927"/>
                        <a:pt x="60206" y="75927"/>
                      </a:cubicBezTo>
                      <a:cubicBezTo>
                        <a:pt x="61030" y="75927"/>
                        <a:pt x="62268" y="75490"/>
                        <a:pt x="62268" y="75490"/>
                      </a:cubicBezTo>
                      <a:cubicBezTo>
                        <a:pt x="65567" y="75054"/>
                        <a:pt x="65567" y="75054"/>
                        <a:pt x="65567" y="75054"/>
                      </a:cubicBezTo>
                      <a:cubicBezTo>
                        <a:pt x="65567" y="75054"/>
                        <a:pt x="65154" y="75927"/>
                        <a:pt x="65154" y="76145"/>
                      </a:cubicBezTo>
                      <a:cubicBezTo>
                        <a:pt x="65154" y="76363"/>
                        <a:pt x="64329" y="76363"/>
                        <a:pt x="63917" y="76581"/>
                      </a:cubicBezTo>
                      <a:cubicBezTo>
                        <a:pt x="63917" y="76800"/>
                        <a:pt x="63917" y="77018"/>
                        <a:pt x="63917" y="77018"/>
                      </a:cubicBezTo>
                      <a:cubicBezTo>
                        <a:pt x="63917" y="77018"/>
                        <a:pt x="63505" y="77672"/>
                        <a:pt x="63092" y="77672"/>
                      </a:cubicBezTo>
                      <a:cubicBezTo>
                        <a:pt x="62268" y="77672"/>
                        <a:pt x="61443" y="77890"/>
                        <a:pt x="61443" y="77890"/>
                      </a:cubicBezTo>
                      <a:cubicBezTo>
                        <a:pt x="61443" y="77890"/>
                        <a:pt x="61030" y="77454"/>
                        <a:pt x="61030" y="78109"/>
                      </a:cubicBezTo>
                      <a:cubicBezTo>
                        <a:pt x="60618" y="78545"/>
                        <a:pt x="60206" y="78981"/>
                        <a:pt x="60206" y="79200"/>
                      </a:cubicBezTo>
                      <a:cubicBezTo>
                        <a:pt x="60206" y="79418"/>
                        <a:pt x="59381" y="79636"/>
                        <a:pt x="60618" y="79854"/>
                      </a:cubicBezTo>
                      <a:cubicBezTo>
                        <a:pt x="61443" y="79854"/>
                        <a:pt x="61443" y="80509"/>
                        <a:pt x="61443" y="80509"/>
                      </a:cubicBezTo>
                      <a:cubicBezTo>
                        <a:pt x="61443" y="80509"/>
                        <a:pt x="60618" y="80945"/>
                        <a:pt x="60206" y="81163"/>
                      </a:cubicBezTo>
                      <a:cubicBezTo>
                        <a:pt x="59793" y="81381"/>
                        <a:pt x="59381" y="81163"/>
                        <a:pt x="59381" y="81381"/>
                      </a:cubicBezTo>
                      <a:cubicBezTo>
                        <a:pt x="59381" y="81600"/>
                        <a:pt x="60206" y="82690"/>
                        <a:pt x="60206" y="82690"/>
                      </a:cubicBezTo>
                      <a:cubicBezTo>
                        <a:pt x="60206" y="82690"/>
                        <a:pt x="60206" y="83345"/>
                        <a:pt x="59381" y="83345"/>
                      </a:cubicBezTo>
                      <a:cubicBezTo>
                        <a:pt x="58556" y="83345"/>
                        <a:pt x="58556" y="83345"/>
                        <a:pt x="58144" y="83345"/>
                      </a:cubicBezTo>
                      <a:cubicBezTo>
                        <a:pt x="57731" y="83345"/>
                        <a:pt x="57319" y="83345"/>
                        <a:pt x="57319" y="83345"/>
                      </a:cubicBezTo>
                      <a:cubicBezTo>
                        <a:pt x="57319" y="83345"/>
                        <a:pt x="57731" y="83563"/>
                        <a:pt x="57731" y="84000"/>
                      </a:cubicBezTo>
                      <a:cubicBezTo>
                        <a:pt x="57731" y="84436"/>
                        <a:pt x="57731" y="84872"/>
                        <a:pt x="57731" y="84872"/>
                      </a:cubicBezTo>
                      <a:cubicBezTo>
                        <a:pt x="56494" y="84654"/>
                        <a:pt x="56494" y="84654"/>
                        <a:pt x="56494" y="84654"/>
                      </a:cubicBezTo>
                      <a:cubicBezTo>
                        <a:pt x="55257" y="84000"/>
                        <a:pt x="55257" y="84000"/>
                        <a:pt x="55257" y="84000"/>
                      </a:cubicBezTo>
                      <a:cubicBezTo>
                        <a:pt x="55257" y="84000"/>
                        <a:pt x="54020" y="84000"/>
                        <a:pt x="53608" y="84000"/>
                      </a:cubicBezTo>
                      <a:cubicBezTo>
                        <a:pt x="53195" y="84218"/>
                        <a:pt x="51958" y="84218"/>
                        <a:pt x="51958" y="84218"/>
                      </a:cubicBezTo>
                      <a:cubicBezTo>
                        <a:pt x="51958" y="84218"/>
                        <a:pt x="49896" y="83781"/>
                        <a:pt x="49484" y="83563"/>
                      </a:cubicBezTo>
                      <a:cubicBezTo>
                        <a:pt x="49484" y="83345"/>
                        <a:pt x="49484" y="83345"/>
                        <a:pt x="49072" y="83563"/>
                      </a:cubicBezTo>
                      <a:cubicBezTo>
                        <a:pt x="49072" y="83563"/>
                        <a:pt x="49484" y="83563"/>
                        <a:pt x="49072" y="83563"/>
                      </a:cubicBezTo>
                      <a:cubicBezTo>
                        <a:pt x="48659" y="83781"/>
                        <a:pt x="49484" y="83781"/>
                        <a:pt x="47835" y="83781"/>
                      </a:cubicBezTo>
                      <a:cubicBezTo>
                        <a:pt x="46185" y="84000"/>
                        <a:pt x="44536" y="84218"/>
                        <a:pt x="44536" y="84218"/>
                      </a:cubicBezTo>
                      <a:cubicBezTo>
                        <a:pt x="44536" y="84218"/>
                        <a:pt x="45773" y="83563"/>
                        <a:pt x="45360" y="83345"/>
                      </a:cubicBezTo>
                      <a:cubicBezTo>
                        <a:pt x="44948" y="83127"/>
                        <a:pt x="45360" y="83345"/>
                        <a:pt x="44536" y="83127"/>
                      </a:cubicBezTo>
                      <a:cubicBezTo>
                        <a:pt x="44123" y="82909"/>
                        <a:pt x="43298" y="82472"/>
                        <a:pt x="43298" y="82254"/>
                      </a:cubicBezTo>
                      <a:cubicBezTo>
                        <a:pt x="43298" y="82036"/>
                        <a:pt x="43298" y="81600"/>
                        <a:pt x="42474" y="81600"/>
                      </a:cubicBezTo>
                      <a:cubicBezTo>
                        <a:pt x="42061" y="81600"/>
                        <a:pt x="41649" y="81163"/>
                        <a:pt x="40824" y="81600"/>
                      </a:cubicBezTo>
                      <a:cubicBezTo>
                        <a:pt x="40412" y="81818"/>
                        <a:pt x="40000" y="81818"/>
                        <a:pt x="40000" y="82036"/>
                      </a:cubicBezTo>
                      <a:cubicBezTo>
                        <a:pt x="39587" y="82254"/>
                        <a:pt x="37938" y="82472"/>
                        <a:pt x="37938" y="82472"/>
                      </a:cubicBezTo>
                      <a:cubicBezTo>
                        <a:pt x="37938" y="82472"/>
                        <a:pt x="39175" y="83345"/>
                        <a:pt x="39175" y="83563"/>
                      </a:cubicBezTo>
                      <a:cubicBezTo>
                        <a:pt x="39175" y="83781"/>
                        <a:pt x="40000" y="84654"/>
                        <a:pt x="40000" y="84654"/>
                      </a:cubicBezTo>
                      <a:cubicBezTo>
                        <a:pt x="42886" y="84654"/>
                        <a:pt x="42886" y="84654"/>
                        <a:pt x="42886" y="84654"/>
                      </a:cubicBezTo>
                      <a:cubicBezTo>
                        <a:pt x="42886" y="84654"/>
                        <a:pt x="40824" y="85090"/>
                        <a:pt x="40824" y="85527"/>
                      </a:cubicBezTo>
                      <a:cubicBezTo>
                        <a:pt x="40412" y="85745"/>
                        <a:pt x="40412" y="85963"/>
                        <a:pt x="40000" y="86181"/>
                      </a:cubicBezTo>
                      <a:cubicBezTo>
                        <a:pt x="39587" y="86400"/>
                        <a:pt x="39587" y="86618"/>
                        <a:pt x="38762" y="86836"/>
                      </a:cubicBezTo>
                      <a:cubicBezTo>
                        <a:pt x="37525" y="86836"/>
                        <a:pt x="36288" y="87054"/>
                        <a:pt x="35463" y="87272"/>
                      </a:cubicBezTo>
                      <a:cubicBezTo>
                        <a:pt x="35051" y="87490"/>
                        <a:pt x="34639" y="87490"/>
                        <a:pt x="34639" y="87709"/>
                      </a:cubicBezTo>
                      <a:cubicBezTo>
                        <a:pt x="34639" y="88145"/>
                        <a:pt x="32164" y="87927"/>
                        <a:pt x="34639" y="88363"/>
                      </a:cubicBezTo>
                      <a:cubicBezTo>
                        <a:pt x="37113" y="88581"/>
                        <a:pt x="37525" y="88800"/>
                        <a:pt x="37525" y="88800"/>
                      </a:cubicBezTo>
                      <a:cubicBezTo>
                        <a:pt x="37525" y="88800"/>
                        <a:pt x="38762" y="88145"/>
                        <a:pt x="39175" y="87927"/>
                      </a:cubicBezTo>
                      <a:cubicBezTo>
                        <a:pt x="40000" y="87490"/>
                        <a:pt x="40000" y="87490"/>
                        <a:pt x="41649" y="87490"/>
                      </a:cubicBezTo>
                      <a:cubicBezTo>
                        <a:pt x="43298" y="87709"/>
                        <a:pt x="43298" y="87490"/>
                        <a:pt x="43298" y="87709"/>
                      </a:cubicBezTo>
                      <a:cubicBezTo>
                        <a:pt x="43298" y="88145"/>
                        <a:pt x="43298" y="88363"/>
                        <a:pt x="43298" y="88800"/>
                      </a:cubicBezTo>
                      <a:cubicBezTo>
                        <a:pt x="42886" y="89236"/>
                        <a:pt x="42061" y="89454"/>
                        <a:pt x="42886" y="90109"/>
                      </a:cubicBezTo>
                      <a:cubicBezTo>
                        <a:pt x="43711" y="90545"/>
                        <a:pt x="42474" y="90981"/>
                        <a:pt x="42474" y="91200"/>
                      </a:cubicBezTo>
                      <a:cubicBezTo>
                        <a:pt x="42474" y="91200"/>
                        <a:pt x="41649" y="91854"/>
                        <a:pt x="42061" y="91854"/>
                      </a:cubicBezTo>
                      <a:cubicBezTo>
                        <a:pt x="42474" y="92072"/>
                        <a:pt x="42474" y="92072"/>
                        <a:pt x="42474" y="92072"/>
                      </a:cubicBezTo>
                      <a:cubicBezTo>
                        <a:pt x="42474" y="92072"/>
                        <a:pt x="41649" y="93163"/>
                        <a:pt x="41649" y="93381"/>
                      </a:cubicBezTo>
                      <a:cubicBezTo>
                        <a:pt x="41649" y="93381"/>
                        <a:pt x="40412" y="94690"/>
                        <a:pt x="40000" y="94690"/>
                      </a:cubicBezTo>
                      <a:cubicBezTo>
                        <a:pt x="39587" y="94909"/>
                        <a:pt x="40412" y="94909"/>
                        <a:pt x="37938" y="95345"/>
                      </a:cubicBezTo>
                      <a:cubicBezTo>
                        <a:pt x="35463" y="95563"/>
                        <a:pt x="34226" y="95781"/>
                        <a:pt x="34226" y="95781"/>
                      </a:cubicBezTo>
                      <a:cubicBezTo>
                        <a:pt x="32164" y="96218"/>
                        <a:pt x="32164" y="96218"/>
                        <a:pt x="32164" y="96218"/>
                      </a:cubicBezTo>
                      <a:cubicBezTo>
                        <a:pt x="30515" y="96872"/>
                        <a:pt x="30515" y="96872"/>
                        <a:pt x="30515" y="96872"/>
                      </a:cubicBezTo>
                      <a:cubicBezTo>
                        <a:pt x="29278" y="96872"/>
                        <a:pt x="29278" y="96872"/>
                        <a:pt x="29278" y="96872"/>
                      </a:cubicBezTo>
                      <a:cubicBezTo>
                        <a:pt x="27216" y="96654"/>
                        <a:pt x="27216" y="96654"/>
                        <a:pt x="27216" y="96654"/>
                      </a:cubicBezTo>
                      <a:cubicBezTo>
                        <a:pt x="27216" y="96654"/>
                        <a:pt x="25154" y="97309"/>
                        <a:pt x="25154" y="97527"/>
                      </a:cubicBezTo>
                      <a:cubicBezTo>
                        <a:pt x="25154" y="97527"/>
                        <a:pt x="23917" y="97745"/>
                        <a:pt x="23505" y="97963"/>
                      </a:cubicBezTo>
                      <a:cubicBezTo>
                        <a:pt x="23505" y="98181"/>
                        <a:pt x="25567" y="98618"/>
                        <a:pt x="25567" y="98618"/>
                      </a:cubicBezTo>
                      <a:cubicBezTo>
                        <a:pt x="25979" y="99272"/>
                        <a:pt x="25979" y="99272"/>
                        <a:pt x="25979" y="99272"/>
                      </a:cubicBezTo>
                      <a:cubicBezTo>
                        <a:pt x="25154" y="99272"/>
                        <a:pt x="25154" y="99272"/>
                        <a:pt x="25154" y="99272"/>
                      </a:cubicBezTo>
                      <a:cubicBezTo>
                        <a:pt x="23505" y="99490"/>
                        <a:pt x="23505" y="99490"/>
                        <a:pt x="23505" y="99490"/>
                      </a:cubicBezTo>
                      <a:cubicBezTo>
                        <a:pt x="23505" y="99927"/>
                        <a:pt x="23505" y="99927"/>
                        <a:pt x="23505" y="99927"/>
                      </a:cubicBezTo>
                      <a:cubicBezTo>
                        <a:pt x="24329" y="100145"/>
                        <a:pt x="24329" y="100145"/>
                        <a:pt x="24329" y="100145"/>
                      </a:cubicBezTo>
                      <a:cubicBezTo>
                        <a:pt x="24329" y="100145"/>
                        <a:pt x="24742" y="100363"/>
                        <a:pt x="25154" y="100363"/>
                      </a:cubicBezTo>
                      <a:cubicBezTo>
                        <a:pt x="25979" y="100363"/>
                        <a:pt x="27628" y="99927"/>
                        <a:pt x="27628" y="99927"/>
                      </a:cubicBezTo>
                      <a:cubicBezTo>
                        <a:pt x="25567" y="100581"/>
                        <a:pt x="25567" y="100581"/>
                        <a:pt x="25567" y="100581"/>
                      </a:cubicBezTo>
                      <a:cubicBezTo>
                        <a:pt x="25154" y="101236"/>
                        <a:pt x="25154" y="101236"/>
                        <a:pt x="25154" y="101236"/>
                      </a:cubicBezTo>
                      <a:cubicBezTo>
                        <a:pt x="25154" y="101236"/>
                        <a:pt x="24742" y="101672"/>
                        <a:pt x="25567" y="101672"/>
                      </a:cubicBezTo>
                      <a:cubicBezTo>
                        <a:pt x="26391" y="101672"/>
                        <a:pt x="27216" y="101672"/>
                        <a:pt x="27216" y="101672"/>
                      </a:cubicBezTo>
                      <a:cubicBezTo>
                        <a:pt x="27216" y="101672"/>
                        <a:pt x="27628" y="101236"/>
                        <a:pt x="28453" y="101236"/>
                      </a:cubicBezTo>
                      <a:cubicBezTo>
                        <a:pt x="29690" y="101454"/>
                        <a:pt x="29690" y="101454"/>
                        <a:pt x="29690" y="101454"/>
                      </a:cubicBezTo>
                      <a:cubicBezTo>
                        <a:pt x="29690" y="101454"/>
                        <a:pt x="30103" y="100800"/>
                        <a:pt x="30515" y="100800"/>
                      </a:cubicBezTo>
                      <a:cubicBezTo>
                        <a:pt x="30515" y="100800"/>
                        <a:pt x="30103" y="100800"/>
                        <a:pt x="31340" y="100800"/>
                      </a:cubicBezTo>
                      <a:cubicBezTo>
                        <a:pt x="32164" y="101018"/>
                        <a:pt x="35051" y="100800"/>
                        <a:pt x="35051" y="100800"/>
                      </a:cubicBezTo>
                      <a:cubicBezTo>
                        <a:pt x="35051" y="100800"/>
                        <a:pt x="35463" y="100800"/>
                        <a:pt x="35463" y="101018"/>
                      </a:cubicBezTo>
                      <a:cubicBezTo>
                        <a:pt x="35463" y="101454"/>
                        <a:pt x="36288" y="101454"/>
                        <a:pt x="36701" y="101890"/>
                      </a:cubicBezTo>
                      <a:cubicBezTo>
                        <a:pt x="37525" y="102109"/>
                        <a:pt x="39175" y="102327"/>
                        <a:pt x="39175" y="102327"/>
                      </a:cubicBezTo>
                      <a:cubicBezTo>
                        <a:pt x="37938" y="102545"/>
                        <a:pt x="37938" y="102545"/>
                        <a:pt x="37938" y="102545"/>
                      </a:cubicBezTo>
                      <a:cubicBezTo>
                        <a:pt x="36288" y="102327"/>
                        <a:pt x="36288" y="102327"/>
                        <a:pt x="36288" y="102327"/>
                      </a:cubicBezTo>
                      <a:cubicBezTo>
                        <a:pt x="36288" y="102327"/>
                        <a:pt x="35463" y="102109"/>
                        <a:pt x="35463" y="102327"/>
                      </a:cubicBezTo>
                      <a:cubicBezTo>
                        <a:pt x="35463" y="102763"/>
                        <a:pt x="35051" y="103418"/>
                        <a:pt x="35051" y="103418"/>
                      </a:cubicBezTo>
                      <a:cubicBezTo>
                        <a:pt x="35463" y="103418"/>
                        <a:pt x="37525" y="103636"/>
                        <a:pt x="37525" y="103636"/>
                      </a:cubicBezTo>
                      <a:cubicBezTo>
                        <a:pt x="39587" y="103636"/>
                        <a:pt x="39587" y="103636"/>
                        <a:pt x="39587" y="103636"/>
                      </a:cubicBezTo>
                      <a:cubicBezTo>
                        <a:pt x="40412" y="103418"/>
                        <a:pt x="40412" y="103418"/>
                        <a:pt x="40412" y="103418"/>
                      </a:cubicBezTo>
                      <a:cubicBezTo>
                        <a:pt x="41649" y="102981"/>
                        <a:pt x="41649" y="102981"/>
                        <a:pt x="41649" y="102981"/>
                      </a:cubicBezTo>
                      <a:cubicBezTo>
                        <a:pt x="41649" y="102981"/>
                        <a:pt x="42061" y="103418"/>
                        <a:pt x="41649" y="103418"/>
                      </a:cubicBezTo>
                      <a:cubicBezTo>
                        <a:pt x="41649" y="103636"/>
                        <a:pt x="42061" y="104072"/>
                        <a:pt x="42061" y="104072"/>
                      </a:cubicBezTo>
                      <a:cubicBezTo>
                        <a:pt x="42061" y="104072"/>
                        <a:pt x="42061" y="104727"/>
                        <a:pt x="42474" y="104727"/>
                      </a:cubicBezTo>
                      <a:cubicBezTo>
                        <a:pt x="42886" y="104727"/>
                        <a:pt x="43711" y="105381"/>
                        <a:pt x="43711" y="105381"/>
                      </a:cubicBezTo>
                      <a:cubicBezTo>
                        <a:pt x="44536" y="106036"/>
                        <a:pt x="44536" y="106036"/>
                        <a:pt x="44536" y="106036"/>
                      </a:cubicBezTo>
                      <a:cubicBezTo>
                        <a:pt x="46185" y="106254"/>
                        <a:pt x="46185" y="106254"/>
                        <a:pt x="46185" y="106254"/>
                      </a:cubicBezTo>
                      <a:cubicBezTo>
                        <a:pt x="46185" y="106254"/>
                        <a:pt x="47422" y="106254"/>
                        <a:pt x="47835" y="106254"/>
                      </a:cubicBezTo>
                      <a:cubicBezTo>
                        <a:pt x="48247" y="106472"/>
                        <a:pt x="49072" y="106690"/>
                        <a:pt x="49072" y="106472"/>
                      </a:cubicBezTo>
                      <a:cubicBezTo>
                        <a:pt x="49484" y="106254"/>
                        <a:pt x="50309" y="105818"/>
                        <a:pt x="50309" y="105818"/>
                      </a:cubicBezTo>
                      <a:cubicBezTo>
                        <a:pt x="51958" y="105163"/>
                        <a:pt x="51958" y="105163"/>
                        <a:pt x="51958" y="105163"/>
                      </a:cubicBezTo>
                      <a:cubicBezTo>
                        <a:pt x="51958" y="105163"/>
                        <a:pt x="52783" y="105163"/>
                        <a:pt x="53608" y="105163"/>
                      </a:cubicBezTo>
                      <a:cubicBezTo>
                        <a:pt x="54020" y="105163"/>
                        <a:pt x="56907" y="104945"/>
                        <a:pt x="56907" y="104945"/>
                      </a:cubicBezTo>
                      <a:cubicBezTo>
                        <a:pt x="56907" y="104945"/>
                        <a:pt x="57319" y="104509"/>
                        <a:pt x="58144" y="104290"/>
                      </a:cubicBezTo>
                      <a:cubicBezTo>
                        <a:pt x="58556" y="104072"/>
                        <a:pt x="60206" y="103636"/>
                        <a:pt x="60206" y="103636"/>
                      </a:cubicBezTo>
                      <a:cubicBezTo>
                        <a:pt x="63092" y="103200"/>
                        <a:pt x="63092" y="103200"/>
                        <a:pt x="63092" y="103200"/>
                      </a:cubicBezTo>
                      <a:cubicBezTo>
                        <a:pt x="60618" y="103636"/>
                        <a:pt x="60618" y="103636"/>
                        <a:pt x="60618" y="103636"/>
                      </a:cubicBezTo>
                      <a:cubicBezTo>
                        <a:pt x="59793" y="104072"/>
                        <a:pt x="59793" y="104072"/>
                        <a:pt x="59793" y="104072"/>
                      </a:cubicBezTo>
                      <a:cubicBezTo>
                        <a:pt x="58144" y="104727"/>
                        <a:pt x="58144" y="104727"/>
                        <a:pt x="58144" y="104727"/>
                      </a:cubicBezTo>
                      <a:cubicBezTo>
                        <a:pt x="57319" y="105163"/>
                        <a:pt x="57319" y="105163"/>
                        <a:pt x="57319" y="105163"/>
                      </a:cubicBezTo>
                      <a:cubicBezTo>
                        <a:pt x="57319" y="105163"/>
                        <a:pt x="56494" y="105381"/>
                        <a:pt x="56082" y="105600"/>
                      </a:cubicBezTo>
                      <a:cubicBezTo>
                        <a:pt x="56082" y="105600"/>
                        <a:pt x="54845" y="106690"/>
                        <a:pt x="54845" y="106690"/>
                      </a:cubicBezTo>
                      <a:cubicBezTo>
                        <a:pt x="53608" y="106909"/>
                        <a:pt x="53608" y="106909"/>
                        <a:pt x="53608" y="106909"/>
                      </a:cubicBezTo>
                      <a:cubicBezTo>
                        <a:pt x="53608" y="106909"/>
                        <a:pt x="52371" y="107345"/>
                        <a:pt x="51958" y="107781"/>
                      </a:cubicBezTo>
                      <a:cubicBezTo>
                        <a:pt x="51546" y="108000"/>
                        <a:pt x="51134" y="108218"/>
                        <a:pt x="51134" y="108218"/>
                      </a:cubicBezTo>
                      <a:cubicBezTo>
                        <a:pt x="51134" y="108218"/>
                        <a:pt x="51546" y="108654"/>
                        <a:pt x="49484" y="108654"/>
                      </a:cubicBezTo>
                      <a:cubicBezTo>
                        <a:pt x="47422" y="108436"/>
                        <a:pt x="45773" y="108218"/>
                        <a:pt x="45773" y="108218"/>
                      </a:cubicBezTo>
                      <a:cubicBezTo>
                        <a:pt x="45773" y="108218"/>
                        <a:pt x="43711" y="108000"/>
                        <a:pt x="43298" y="108000"/>
                      </a:cubicBezTo>
                      <a:cubicBezTo>
                        <a:pt x="42886" y="107781"/>
                        <a:pt x="42886" y="107781"/>
                        <a:pt x="41649" y="107781"/>
                      </a:cubicBezTo>
                      <a:cubicBezTo>
                        <a:pt x="40824" y="107781"/>
                        <a:pt x="36701" y="107127"/>
                        <a:pt x="36701" y="107127"/>
                      </a:cubicBezTo>
                      <a:cubicBezTo>
                        <a:pt x="36701" y="107127"/>
                        <a:pt x="35876" y="107127"/>
                        <a:pt x="35463" y="107345"/>
                      </a:cubicBezTo>
                      <a:cubicBezTo>
                        <a:pt x="35051" y="107563"/>
                        <a:pt x="34226" y="107563"/>
                        <a:pt x="34226" y="107781"/>
                      </a:cubicBezTo>
                      <a:cubicBezTo>
                        <a:pt x="34226" y="108218"/>
                        <a:pt x="34226" y="108436"/>
                        <a:pt x="34226" y="108436"/>
                      </a:cubicBezTo>
                      <a:cubicBezTo>
                        <a:pt x="33814" y="109090"/>
                        <a:pt x="33814" y="109090"/>
                        <a:pt x="33814" y="109090"/>
                      </a:cubicBezTo>
                      <a:cubicBezTo>
                        <a:pt x="32164" y="109309"/>
                        <a:pt x="32164" y="109309"/>
                        <a:pt x="32164" y="109309"/>
                      </a:cubicBezTo>
                      <a:cubicBezTo>
                        <a:pt x="30103" y="109309"/>
                        <a:pt x="30103" y="109309"/>
                        <a:pt x="30103" y="109309"/>
                      </a:cubicBezTo>
                      <a:close/>
                      <a:moveTo>
                        <a:pt x="17731" y="58036"/>
                      </a:moveTo>
                      <a:cubicBezTo>
                        <a:pt x="17731" y="58036"/>
                        <a:pt x="17731" y="58036"/>
                        <a:pt x="17731" y="58036"/>
                      </a:cubicBezTo>
                      <a:cubicBezTo>
                        <a:pt x="18144" y="58036"/>
                        <a:pt x="20618" y="58036"/>
                        <a:pt x="20618" y="58036"/>
                      </a:cubicBezTo>
                      <a:cubicBezTo>
                        <a:pt x="22268" y="58036"/>
                        <a:pt x="22268" y="58036"/>
                        <a:pt x="22268" y="58036"/>
                      </a:cubicBezTo>
                      <a:cubicBezTo>
                        <a:pt x="22268" y="58036"/>
                        <a:pt x="24329" y="58036"/>
                        <a:pt x="24742" y="58036"/>
                      </a:cubicBezTo>
                      <a:cubicBezTo>
                        <a:pt x="25154" y="58036"/>
                        <a:pt x="25567" y="58254"/>
                        <a:pt x="25567" y="58254"/>
                      </a:cubicBezTo>
                      <a:cubicBezTo>
                        <a:pt x="25567" y="58254"/>
                        <a:pt x="26391" y="57818"/>
                        <a:pt x="26804" y="58036"/>
                      </a:cubicBezTo>
                      <a:cubicBezTo>
                        <a:pt x="27216" y="58036"/>
                        <a:pt x="28041" y="58690"/>
                        <a:pt x="28041" y="58690"/>
                      </a:cubicBezTo>
                      <a:cubicBezTo>
                        <a:pt x="28865" y="59781"/>
                        <a:pt x="28865" y="59781"/>
                        <a:pt x="28865" y="59781"/>
                      </a:cubicBezTo>
                      <a:cubicBezTo>
                        <a:pt x="29278" y="61090"/>
                        <a:pt x="29278" y="61090"/>
                        <a:pt x="29278" y="61090"/>
                      </a:cubicBezTo>
                      <a:cubicBezTo>
                        <a:pt x="29690" y="62181"/>
                        <a:pt x="29690" y="62181"/>
                        <a:pt x="29690" y="62181"/>
                      </a:cubicBezTo>
                      <a:cubicBezTo>
                        <a:pt x="31340" y="63272"/>
                        <a:pt x="31340" y="63272"/>
                        <a:pt x="31340" y="63272"/>
                      </a:cubicBezTo>
                      <a:cubicBezTo>
                        <a:pt x="30515" y="63927"/>
                        <a:pt x="30515" y="63927"/>
                        <a:pt x="30515" y="63927"/>
                      </a:cubicBezTo>
                      <a:cubicBezTo>
                        <a:pt x="30515" y="63927"/>
                        <a:pt x="30515" y="64800"/>
                        <a:pt x="30515" y="64800"/>
                      </a:cubicBezTo>
                      <a:cubicBezTo>
                        <a:pt x="30103" y="64800"/>
                        <a:pt x="28865" y="65018"/>
                        <a:pt x="28865" y="65018"/>
                      </a:cubicBezTo>
                      <a:cubicBezTo>
                        <a:pt x="28453" y="65236"/>
                        <a:pt x="28041" y="65890"/>
                        <a:pt x="28041" y="65890"/>
                      </a:cubicBezTo>
                      <a:cubicBezTo>
                        <a:pt x="28041" y="65890"/>
                        <a:pt x="29690" y="65018"/>
                        <a:pt x="30103" y="65236"/>
                      </a:cubicBezTo>
                      <a:cubicBezTo>
                        <a:pt x="30515" y="65236"/>
                        <a:pt x="31752" y="65236"/>
                        <a:pt x="31752" y="65236"/>
                      </a:cubicBezTo>
                      <a:cubicBezTo>
                        <a:pt x="32577" y="65672"/>
                        <a:pt x="32577" y="65672"/>
                        <a:pt x="32577" y="65672"/>
                      </a:cubicBezTo>
                      <a:cubicBezTo>
                        <a:pt x="33402" y="66545"/>
                        <a:pt x="33402" y="66545"/>
                        <a:pt x="33402" y="66545"/>
                      </a:cubicBezTo>
                      <a:cubicBezTo>
                        <a:pt x="33402" y="67636"/>
                        <a:pt x="33402" y="67636"/>
                        <a:pt x="33402" y="67636"/>
                      </a:cubicBezTo>
                      <a:cubicBezTo>
                        <a:pt x="33402" y="67636"/>
                        <a:pt x="33402" y="68509"/>
                        <a:pt x="32989" y="68509"/>
                      </a:cubicBezTo>
                      <a:cubicBezTo>
                        <a:pt x="32989" y="68727"/>
                        <a:pt x="32577" y="68945"/>
                        <a:pt x="32164" y="68945"/>
                      </a:cubicBezTo>
                      <a:cubicBezTo>
                        <a:pt x="31752" y="68945"/>
                        <a:pt x="31340" y="68945"/>
                        <a:pt x="31752" y="68509"/>
                      </a:cubicBezTo>
                      <a:cubicBezTo>
                        <a:pt x="31752" y="68072"/>
                        <a:pt x="32164" y="67636"/>
                        <a:pt x="32164" y="67636"/>
                      </a:cubicBezTo>
                      <a:cubicBezTo>
                        <a:pt x="32164" y="67418"/>
                        <a:pt x="32577" y="66545"/>
                        <a:pt x="32164" y="66545"/>
                      </a:cubicBezTo>
                      <a:cubicBezTo>
                        <a:pt x="31340" y="66545"/>
                        <a:pt x="30927" y="66109"/>
                        <a:pt x="30927" y="66545"/>
                      </a:cubicBezTo>
                      <a:cubicBezTo>
                        <a:pt x="30515" y="66763"/>
                        <a:pt x="30927" y="67636"/>
                        <a:pt x="30927" y="67636"/>
                      </a:cubicBezTo>
                      <a:cubicBezTo>
                        <a:pt x="30927" y="67636"/>
                        <a:pt x="31340" y="67854"/>
                        <a:pt x="31340" y="68072"/>
                      </a:cubicBezTo>
                      <a:cubicBezTo>
                        <a:pt x="30927" y="68290"/>
                        <a:pt x="30927" y="68072"/>
                        <a:pt x="30515" y="68509"/>
                      </a:cubicBezTo>
                      <a:cubicBezTo>
                        <a:pt x="29690" y="68727"/>
                        <a:pt x="30927" y="68945"/>
                        <a:pt x="30927" y="68945"/>
                      </a:cubicBezTo>
                      <a:cubicBezTo>
                        <a:pt x="31340" y="69381"/>
                        <a:pt x="31340" y="69381"/>
                        <a:pt x="31340" y="69381"/>
                      </a:cubicBezTo>
                      <a:cubicBezTo>
                        <a:pt x="31340" y="69381"/>
                        <a:pt x="31340" y="70036"/>
                        <a:pt x="30927" y="70036"/>
                      </a:cubicBezTo>
                      <a:cubicBezTo>
                        <a:pt x="30515" y="70254"/>
                        <a:pt x="30515" y="70472"/>
                        <a:pt x="28865" y="70036"/>
                      </a:cubicBezTo>
                      <a:cubicBezTo>
                        <a:pt x="27216" y="69818"/>
                        <a:pt x="26804" y="69600"/>
                        <a:pt x="26804" y="69600"/>
                      </a:cubicBezTo>
                      <a:cubicBezTo>
                        <a:pt x="26391" y="70690"/>
                        <a:pt x="26391" y="70690"/>
                        <a:pt x="26391" y="70690"/>
                      </a:cubicBezTo>
                      <a:cubicBezTo>
                        <a:pt x="25567" y="71563"/>
                        <a:pt x="25567" y="71563"/>
                        <a:pt x="25567" y="71563"/>
                      </a:cubicBezTo>
                      <a:cubicBezTo>
                        <a:pt x="22680" y="72000"/>
                        <a:pt x="22680" y="72000"/>
                        <a:pt x="22680" y="72000"/>
                      </a:cubicBezTo>
                      <a:cubicBezTo>
                        <a:pt x="21030" y="70909"/>
                        <a:pt x="21030" y="70909"/>
                        <a:pt x="21030" y="70909"/>
                      </a:cubicBezTo>
                      <a:cubicBezTo>
                        <a:pt x="21030" y="70909"/>
                        <a:pt x="19793" y="71127"/>
                        <a:pt x="19381" y="71127"/>
                      </a:cubicBezTo>
                      <a:cubicBezTo>
                        <a:pt x="18969" y="70909"/>
                        <a:pt x="16907" y="70690"/>
                        <a:pt x="16907" y="70690"/>
                      </a:cubicBezTo>
                      <a:cubicBezTo>
                        <a:pt x="16494" y="69600"/>
                        <a:pt x="16494" y="69600"/>
                        <a:pt x="16494" y="69600"/>
                      </a:cubicBezTo>
                      <a:cubicBezTo>
                        <a:pt x="14432" y="68509"/>
                        <a:pt x="14432" y="68509"/>
                        <a:pt x="14432" y="68509"/>
                      </a:cubicBezTo>
                      <a:cubicBezTo>
                        <a:pt x="14845" y="67636"/>
                        <a:pt x="14845" y="67636"/>
                        <a:pt x="14845" y="67636"/>
                      </a:cubicBezTo>
                      <a:cubicBezTo>
                        <a:pt x="13608" y="66327"/>
                        <a:pt x="13608" y="66327"/>
                        <a:pt x="13608" y="66327"/>
                      </a:cubicBezTo>
                      <a:cubicBezTo>
                        <a:pt x="11134" y="66545"/>
                        <a:pt x="11134" y="66545"/>
                        <a:pt x="11134" y="66545"/>
                      </a:cubicBezTo>
                      <a:cubicBezTo>
                        <a:pt x="10309" y="67636"/>
                        <a:pt x="10309" y="67636"/>
                        <a:pt x="10309" y="67636"/>
                      </a:cubicBezTo>
                      <a:cubicBezTo>
                        <a:pt x="10309" y="67636"/>
                        <a:pt x="11134" y="68072"/>
                        <a:pt x="10309" y="68290"/>
                      </a:cubicBezTo>
                      <a:cubicBezTo>
                        <a:pt x="9484" y="68290"/>
                        <a:pt x="7835" y="68509"/>
                        <a:pt x="7835" y="68509"/>
                      </a:cubicBezTo>
                      <a:cubicBezTo>
                        <a:pt x="7835" y="68509"/>
                        <a:pt x="5773" y="68727"/>
                        <a:pt x="5360" y="68727"/>
                      </a:cubicBezTo>
                      <a:cubicBezTo>
                        <a:pt x="5360" y="68727"/>
                        <a:pt x="3711" y="67418"/>
                        <a:pt x="3711" y="67418"/>
                      </a:cubicBezTo>
                      <a:cubicBezTo>
                        <a:pt x="3711" y="67418"/>
                        <a:pt x="2886" y="67418"/>
                        <a:pt x="2474" y="67418"/>
                      </a:cubicBezTo>
                      <a:cubicBezTo>
                        <a:pt x="2061" y="67418"/>
                        <a:pt x="2061" y="67636"/>
                        <a:pt x="2061" y="67200"/>
                      </a:cubicBezTo>
                      <a:cubicBezTo>
                        <a:pt x="2061" y="66763"/>
                        <a:pt x="1649" y="66109"/>
                        <a:pt x="1649" y="66109"/>
                      </a:cubicBezTo>
                      <a:cubicBezTo>
                        <a:pt x="1649" y="66109"/>
                        <a:pt x="2886" y="66763"/>
                        <a:pt x="1649" y="65890"/>
                      </a:cubicBezTo>
                      <a:cubicBezTo>
                        <a:pt x="412" y="65018"/>
                        <a:pt x="0" y="64145"/>
                        <a:pt x="0" y="64145"/>
                      </a:cubicBezTo>
                      <a:cubicBezTo>
                        <a:pt x="2061" y="63490"/>
                        <a:pt x="2061" y="63490"/>
                        <a:pt x="2061" y="63490"/>
                      </a:cubicBezTo>
                      <a:cubicBezTo>
                        <a:pt x="2061" y="63490"/>
                        <a:pt x="4123" y="63490"/>
                        <a:pt x="4536" y="63709"/>
                      </a:cubicBezTo>
                      <a:cubicBezTo>
                        <a:pt x="4948" y="63709"/>
                        <a:pt x="5360" y="63272"/>
                        <a:pt x="5360" y="63272"/>
                      </a:cubicBezTo>
                      <a:cubicBezTo>
                        <a:pt x="5360" y="63272"/>
                        <a:pt x="6185" y="62836"/>
                        <a:pt x="5360" y="62618"/>
                      </a:cubicBezTo>
                      <a:cubicBezTo>
                        <a:pt x="4948" y="62618"/>
                        <a:pt x="4123" y="62181"/>
                        <a:pt x="4123" y="62181"/>
                      </a:cubicBezTo>
                      <a:cubicBezTo>
                        <a:pt x="4123" y="62181"/>
                        <a:pt x="3298" y="61745"/>
                        <a:pt x="4536" y="61527"/>
                      </a:cubicBezTo>
                      <a:cubicBezTo>
                        <a:pt x="5773" y="61527"/>
                        <a:pt x="5773" y="61527"/>
                        <a:pt x="6597" y="61527"/>
                      </a:cubicBezTo>
                      <a:cubicBezTo>
                        <a:pt x="7422" y="61745"/>
                        <a:pt x="7835" y="62400"/>
                        <a:pt x="8247" y="61527"/>
                      </a:cubicBezTo>
                      <a:cubicBezTo>
                        <a:pt x="8659" y="60872"/>
                        <a:pt x="7835" y="60872"/>
                        <a:pt x="9072" y="60654"/>
                      </a:cubicBezTo>
                      <a:cubicBezTo>
                        <a:pt x="10309" y="60654"/>
                        <a:pt x="11134" y="60436"/>
                        <a:pt x="11134" y="60218"/>
                      </a:cubicBezTo>
                      <a:cubicBezTo>
                        <a:pt x="11134" y="60000"/>
                        <a:pt x="11134" y="59127"/>
                        <a:pt x="11546" y="59127"/>
                      </a:cubicBezTo>
                      <a:cubicBezTo>
                        <a:pt x="11958" y="59127"/>
                        <a:pt x="14020" y="59345"/>
                        <a:pt x="14020" y="59345"/>
                      </a:cubicBezTo>
                      <a:cubicBezTo>
                        <a:pt x="14020" y="59345"/>
                        <a:pt x="14845" y="58909"/>
                        <a:pt x="15670" y="59127"/>
                      </a:cubicBezTo>
                      <a:cubicBezTo>
                        <a:pt x="16494" y="59127"/>
                        <a:pt x="16907" y="58909"/>
                        <a:pt x="16907" y="58909"/>
                      </a:cubicBezTo>
                      <a:cubicBezTo>
                        <a:pt x="16907" y="58909"/>
                        <a:pt x="17731" y="58036"/>
                        <a:pt x="17731" y="58036"/>
                      </a:cubicBezTo>
                      <a:close/>
                      <a:moveTo>
                        <a:pt x="30515" y="49527"/>
                      </a:moveTo>
                      <a:cubicBezTo>
                        <a:pt x="30515" y="49527"/>
                        <a:pt x="30515" y="49527"/>
                        <a:pt x="30515" y="49527"/>
                      </a:cubicBezTo>
                      <a:cubicBezTo>
                        <a:pt x="30515" y="49527"/>
                        <a:pt x="30103" y="48872"/>
                        <a:pt x="30515" y="48872"/>
                      </a:cubicBezTo>
                      <a:cubicBezTo>
                        <a:pt x="30927" y="48872"/>
                        <a:pt x="32164" y="48654"/>
                        <a:pt x="32164" y="48654"/>
                      </a:cubicBezTo>
                      <a:cubicBezTo>
                        <a:pt x="32164" y="48654"/>
                        <a:pt x="32577" y="48218"/>
                        <a:pt x="32577" y="48436"/>
                      </a:cubicBezTo>
                      <a:cubicBezTo>
                        <a:pt x="32989" y="48436"/>
                        <a:pt x="32989" y="48872"/>
                        <a:pt x="32577" y="48872"/>
                      </a:cubicBezTo>
                      <a:cubicBezTo>
                        <a:pt x="32577" y="48872"/>
                        <a:pt x="31752" y="49309"/>
                        <a:pt x="31752" y="49309"/>
                      </a:cubicBezTo>
                      <a:cubicBezTo>
                        <a:pt x="31752" y="49309"/>
                        <a:pt x="30927" y="49527"/>
                        <a:pt x="30927" y="49527"/>
                      </a:cubicBezTo>
                      <a:cubicBezTo>
                        <a:pt x="30515" y="49527"/>
                        <a:pt x="30515" y="49527"/>
                        <a:pt x="30515" y="49527"/>
                      </a:cubicBezTo>
                      <a:close/>
                      <a:moveTo>
                        <a:pt x="35876" y="54109"/>
                      </a:moveTo>
                      <a:cubicBezTo>
                        <a:pt x="35876" y="54109"/>
                        <a:pt x="35876" y="54109"/>
                        <a:pt x="35876" y="54109"/>
                      </a:cubicBezTo>
                      <a:cubicBezTo>
                        <a:pt x="35876" y="54109"/>
                        <a:pt x="35876" y="54327"/>
                        <a:pt x="35463" y="54327"/>
                      </a:cubicBezTo>
                      <a:cubicBezTo>
                        <a:pt x="35051" y="54327"/>
                        <a:pt x="34226" y="54327"/>
                        <a:pt x="34226" y="54109"/>
                      </a:cubicBezTo>
                      <a:cubicBezTo>
                        <a:pt x="34226" y="54109"/>
                        <a:pt x="34639" y="53672"/>
                        <a:pt x="35051" y="53672"/>
                      </a:cubicBezTo>
                      <a:cubicBezTo>
                        <a:pt x="35051" y="53672"/>
                        <a:pt x="35463" y="53454"/>
                        <a:pt x="35463" y="53454"/>
                      </a:cubicBezTo>
                      <a:cubicBezTo>
                        <a:pt x="35463" y="53454"/>
                        <a:pt x="35463" y="53236"/>
                        <a:pt x="35463" y="53236"/>
                      </a:cubicBezTo>
                      <a:cubicBezTo>
                        <a:pt x="35876" y="53236"/>
                        <a:pt x="36288" y="53672"/>
                        <a:pt x="36288" y="53672"/>
                      </a:cubicBezTo>
                      <a:cubicBezTo>
                        <a:pt x="35876" y="54109"/>
                        <a:pt x="35876" y="54109"/>
                        <a:pt x="35876" y="54109"/>
                      </a:cubicBezTo>
                      <a:close/>
                      <a:moveTo>
                        <a:pt x="39175" y="55636"/>
                      </a:moveTo>
                      <a:cubicBezTo>
                        <a:pt x="39175" y="55636"/>
                        <a:pt x="39175" y="55636"/>
                        <a:pt x="39175" y="55636"/>
                      </a:cubicBezTo>
                      <a:cubicBezTo>
                        <a:pt x="39175" y="55418"/>
                        <a:pt x="40000" y="54981"/>
                        <a:pt x="40000" y="54763"/>
                      </a:cubicBezTo>
                      <a:cubicBezTo>
                        <a:pt x="40412" y="54763"/>
                        <a:pt x="40412" y="54545"/>
                        <a:pt x="40412" y="54545"/>
                      </a:cubicBezTo>
                      <a:cubicBezTo>
                        <a:pt x="40824" y="54327"/>
                        <a:pt x="41237" y="54327"/>
                        <a:pt x="41649" y="54327"/>
                      </a:cubicBezTo>
                      <a:cubicBezTo>
                        <a:pt x="42474" y="54545"/>
                        <a:pt x="43298" y="54981"/>
                        <a:pt x="42886" y="54981"/>
                      </a:cubicBezTo>
                      <a:cubicBezTo>
                        <a:pt x="42886" y="55200"/>
                        <a:pt x="42474" y="54981"/>
                        <a:pt x="42474" y="55636"/>
                      </a:cubicBezTo>
                      <a:cubicBezTo>
                        <a:pt x="42474" y="56290"/>
                        <a:pt x="42474" y="56290"/>
                        <a:pt x="42474" y="56509"/>
                      </a:cubicBezTo>
                      <a:cubicBezTo>
                        <a:pt x="42886" y="56727"/>
                        <a:pt x="42474" y="57381"/>
                        <a:pt x="42474" y="57381"/>
                      </a:cubicBezTo>
                      <a:cubicBezTo>
                        <a:pt x="42474" y="57381"/>
                        <a:pt x="42061" y="57818"/>
                        <a:pt x="41649" y="57818"/>
                      </a:cubicBezTo>
                      <a:cubicBezTo>
                        <a:pt x="41649" y="57818"/>
                        <a:pt x="41649" y="57818"/>
                        <a:pt x="40824" y="57600"/>
                      </a:cubicBezTo>
                      <a:cubicBezTo>
                        <a:pt x="40412" y="57600"/>
                        <a:pt x="39175" y="57163"/>
                        <a:pt x="39175" y="57163"/>
                      </a:cubicBezTo>
                      <a:cubicBezTo>
                        <a:pt x="39175" y="57163"/>
                        <a:pt x="39175" y="56072"/>
                        <a:pt x="39175" y="56072"/>
                      </a:cubicBezTo>
                      <a:cubicBezTo>
                        <a:pt x="39175" y="55854"/>
                        <a:pt x="38762" y="55636"/>
                        <a:pt x="38762" y="55636"/>
                      </a:cubicBezTo>
                      <a:cubicBezTo>
                        <a:pt x="39175" y="55636"/>
                        <a:pt x="39175" y="55636"/>
                        <a:pt x="39175" y="55636"/>
                      </a:cubicBezTo>
                      <a:close/>
                      <a:moveTo>
                        <a:pt x="30515" y="45818"/>
                      </a:moveTo>
                      <a:cubicBezTo>
                        <a:pt x="30515" y="45818"/>
                        <a:pt x="30515" y="45818"/>
                        <a:pt x="30515" y="45818"/>
                      </a:cubicBezTo>
                      <a:cubicBezTo>
                        <a:pt x="30515" y="45818"/>
                        <a:pt x="30515" y="45600"/>
                        <a:pt x="31340" y="45600"/>
                      </a:cubicBezTo>
                      <a:cubicBezTo>
                        <a:pt x="31752" y="45818"/>
                        <a:pt x="31752" y="46036"/>
                        <a:pt x="31752" y="46254"/>
                      </a:cubicBezTo>
                      <a:cubicBezTo>
                        <a:pt x="31752" y="46472"/>
                        <a:pt x="32989" y="46472"/>
                        <a:pt x="32577" y="46690"/>
                      </a:cubicBezTo>
                      <a:cubicBezTo>
                        <a:pt x="31752" y="46909"/>
                        <a:pt x="31340" y="46909"/>
                        <a:pt x="31340" y="46909"/>
                      </a:cubicBezTo>
                      <a:cubicBezTo>
                        <a:pt x="31340" y="46690"/>
                        <a:pt x="30927" y="46909"/>
                        <a:pt x="30927" y="46690"/>
                      </a:cubicBezTo>
                      <a:cubicBezTo>
                        <a:pt x="30927" y="46472"/>
                        <a:pt x="30103" y="46254"/>
                        <a:pt x="30103" y="46254"/>
                      </a:cubicBezTo>
                      <a:cubicBezTo>
                        <a:pt x="30103" y="46254"/>
                        <a:pt x="30515" y="45818"/>
                        <a:pt x="30515" y="45818"/>
                      </a:cubicBezTo>
                      <a:close/>
                      <a:moveTo>
                        <a:pt x="25154" y="42763"/>
                      </a:moveTo>
                      <a:cubicBezTo>
                        <a:pt x="25154" y="42763"/>
                        <a:pt x="25154" y="42763"/>
                        <a:pt x="25154" y="42763"/>
                      </a:cubicBezTo>
                      <a:cubicBezTo>
                        <a:pt x="25979" y="42981"/>
                        <a:pt x="26391" y="42763"/>
                        <a:pt x="26391" y="42981"/>
                      </a:cubicBezTo>
                      <a:cubicBezTo>
                        <a:pt x="26804" y="42981"/>
                        <a:pt x="27216" y="43200"/>
                        <a:pt x="26804" y="43418"/>
                      </a:cubicBezTo>
                      <a:cubicBezTo>
                        <a:pt x="25979" y="43636"/>
                        <a:pt x="25979" y="43636"/>
                        <a:pt x="25154" y="43636"/>
                      </a:cubicBezTo>
                      <a:cubicBezTo>
                        <a:pt x="24742" y="43636"/>
                        <a:pt x="25567" y="43636"/>
                        <a:pt x="24742" y="43636"/>
                      </a:cubicBezTo>
                      <a:cubicBezTo>
                        <a:pt x="23917" y="43636"/>
                        <a:pt x="22680" y="44072"/>
                        <a:pt x="23505" y="43418"/>
                      </a:cubicBezTo>
                      <a:cubicBezTo>
                        <a:pt x="24329" y="42981"/>
                        <a:pt x="25154" y="42763"/>
                        <a:pt x="25154" y="42763"/>
                      </a:cubicBezTo>
                      <a:close/>
                      <a:moveTo>
                        <a:pt x="29690" y="41672"/>
                      </a:moveTo>
                      <a:cubicBezTo>
                        <a:pt x="29690" y="41672"/>
                        <a:pt x="29690" y="41672"/>
                        <a:pt x="29690" y="41672"/>
                      </a:cubicBezTo>
                      <a:cubicBezTo>
                        <a:pt x="30103" y="41672"/>
                        <a:pt x="30515" y="41236"/>
                        <a:pt x="30927" y="41454"/>
                      </a:cubicBezTo>
                      <a:cubicBezTo>
                        <a:pt x="31340" y="41672"/>
                        <a:pt x="32164" y="41890"/>
                        <a:pt x="31340" y="42109"/>
                      </a:cubicBezTo>
                      <a:cubicBezTo>
                        <a:pt x="30515" y="42327"/>
                        <a:pt x="30515" y="42327"/>
                        <a:pt x="30103" y="42545"/>
                      </a:cubicBezTo>
                      <a:cubicBezTo>
                        <a:pt x="29278" y="42763"/>
                        <a:pt x="28453" y="42981"/>
                        <a:pt x="28041" y="42981"/>
                      </a:cubicBezTo>
                      <a:cubicBezTo>
                        <a:pt x="27628" y="42981"/>
                        <a:pt x="27216" y="42545"/>
                        <a:pt x="27628" y="42545"/>
                      </a:cubicBezTo>
                      <a:cubicBezTo>
                        <a:pt x="28041" y="42545"/>
                        <a:pt x="28453" y="42327"/>
                        <a:pt x="28865" y="42327"/>
                      </a:cubicBezTo>
                      <a:cubicBezTo>
                        <a:pt x="28865" y="42109"/>
                        <a:pt x="29690" y="41672"/>
                        <a:pt x="29690" y="41672"/>
                      </a:cubicBezTo>
                      <a:close/>
                      <a:moveTo>
                        <a:pt x="32164" y="37309"/>
                      </a:moveTo>
                      <a:cubicBezTo>
                        <a:pt x="32164" y="37309"/>
                        <a:pt x="32164" y="37309"/>
                        <a:pt x="32164" y="37309"/>
                      </a:cubicBezTo>
                      <a:cubicBezTo>
                        <a:pt x="32164" y="37309"/>
                        <a:pt x="32164" y="36654"/>
                        <a:pt x="32577" y="36872"/>
                      </a:cubicBezTo>
                      <a:cubicBezTo>
                        <a:pt x="33402" y="36872"/>
                        <a:pt x="33402" y="36872"/>
                        <a:pt x="33402" y="37090"/>
                      </a:cubicBezTo>
                      <a:cubicBezTo>
                        <a:pt x="33402" y="37309"/>
                        <a:pt x="34226" y="37090"/>
                        <a:pt x="33402" y="37309"/>
                      </a:cubicBezTo>
                      <a:cubicBezTo>
                        <a:pt x="32989" y="37309"/>
                        <a:pt x="32164" y="37309"/>
                        <a:pt x="32164" y="37309"/>
                      </a:cubicBezTo>
                      <a:close/>
                      <a:moveTo>
                        <a:pt x="35876" y="39490"/>
                      </a:moveTo>
                      <a:cubicBezTo>
                        <a:pt x="35876" y="39490"/>
                        <a:pt x="35876" y="39490"/>
                        <a:pt x="35876" y="39490"/>
                      </a:cubicBezTo>
                      <a:cubicBezTo>
                        <a:pt x="35876" y="39490"/>
                        <a:pt x="36288" y="39054"/>
                        <a:pt x="36701" y="39054"/>
                      </a:cubicBezTo>
                      <a:cubicBezTo>
                        <a:pt x="36701" y="39054"/>
                        <a:pt x="37113" y="39054"/>
                        <a:pt x="37113" y="39272"/>
                      </a:cubicBezTo>
                      <a:cubicBezTo>
                        <a:pt x="37113" y="39490"/>
                        <a:pt x="37113" y="39927"/>
                        <a:pt x="36701" y="39927"/>
                      </a:cubicBezTo>
                      <a:cubicBezTo>
                        <a:pt x="36288" y="39927"/>
                        <a:pt x="36288" y="40145"/>
                        <a:pt x="35876" y="39927"/>
                      </a:cubicBezTo>
                      <a:cubicBezTo>
                        <a:pt x="35463" y="39927"/>
                        <a:pt x="35876" y="39490"/>
                        <a:pt x="35876" y="39490"/>
                      </a:cubicBezTo>
                      <a:close/>
                      <a:moveTo>
                        <a:pt x="33814" y="38618"/>
                      </a:moveTo>
                      <a:cubicBezTo>
                        <a:pt x="33814" y="38618"/>
                        <a:pt x="33814" y="38618"/>
                        <a:pt x="33814" y="38618"/>
                      </a:cubicBezTo>
                      <a:cubicBezTo>
                        <a:pt x="33814" y="38618"/>
                        <a:pt x="33402" y="37745"/>
                        <a:pt x="34226" y="37745"/>
                      </a:cubicBezTo>
                      <a:cubicBezTo>
                        <a:pt x="35051" y="37527"/>
                        <a:pt x="35463" y="37527"/>
                        <a:pt x="35463" y="37527"/>
                      </a:cubicBezTo>
                      <a:cubicBezTo>
                        <a:pt x="35463" y="37527"/>
                        <a:pt x="36701" y="38400"/>
                        <a:pt x="36701" y="38400"/>
                      </a:cubicBezTo>
                      <a:cubicBezTo>
                        <a:pt x="36288" y="38618"/>
                        <a:pt x="36288" y="38836"/>
                        <a:pt x="35463" y="38836"/>
                      </a:cubicBezTo>
                      <a:cubicBezTo>
                        <a:pt x="35051" y="38836"/>
                        <a:pt x="34639" y="39054"/>
                        <a:pt x="34639" y="38836"/>
                      </a:cubicBezTo>
                      <a:cubicBezTo>
                        <a:pt x="34226" y="38618"/>
                        <a:pt x="33814" y="38618"/>
                        <a:pt x="33814" y="38618"/>
                      </a:cubicBezTo>
                      <a:close/>
                      <a:moveTo>
                        <a:pt x="18556" y="37963"/>
                      </a:moveTo>
                      <a:cubicBezTo>
                        <a:pt x="18556" y="37963"/>
                        <a:pt x="18556" y="37963"/>
                        <a:pt x="18556" y="37963"/>
                      </a:cubicBezTo>
                      <a:cubicBezTo>
                        <a:pt x="18969" y="37963"/>
                        <a:pt x="18969" y="37745"/>
                        <a:pt x="18969" y="38181"/>
                      </a:cubicBezTo>
                      <a:cubicBezTo>
                        <a:pt x="18969" y="38400"/>
                        <a:pt x="18969" y="38618"/>
                        <a:pt x="18969" y="38618"/>
                      </a:cubicBezTo>
                      <a:cubicBezTo>
                        <a:pt x="18969" y="38618"/>
                        <a:pt x="18556" y="39054"/>
                        <a:pt x="18144" y="38836"/>
                      </a:cubicBezTo>
                      <a:cubicBezTo>
                        <a:pt x="17731" y="38618"/>
                        <a:pt x="17731" y="38400"/>
                        <a:pt x="17731" y="38400"/>
                      </a:cubicBezTo>
                      <a:cubicBezTo>
                        <a:pt x="18556" y="37963"/>
                        <a:pt x="18556" y="37963"/>
                        <a:pt x="18556" y="37963"/>
                      </a:cubicBezTo>
                      <a:close/>
                      <a:moveTo>
                        <a:pt x="21855" y="35781"/>
                      </a:moveTo>
                      <a:cubicBezTo>
                        <a:pt x="21855" y="35781"/>
                        <a:pt x="21855" y="35781"/>
                        <a:pt x="21855" y="35781"/>
                      </a:cubicBezTo>
                      <a:cubicBezTo>
                        <a:pt x="22268" y="36000"/>
                        <a:pt x="23092" y="36436"/>
                        <a:pt x="23092" y="36436"/>
                      </a:cubicBezTo>
                      <a:cubicBezTo>
                        <a:pt x="21855" y="37090"/>
                        <a:pt x="21855" y="37090"/>
                        <a:pt x="21855" y="37090"/>
                      </a:cubicBezTo>
                      <a:cubicBezTo>
                        <a:pt x="21855" y="37090"/>
                        <a:pt x="20618" y="37309"/>
                        <a:pt x="20618" y="37527"/>
                      </a:cubicBezTo>
                      <a:cubicBezTo>
                        <a:pt x="20206" y="37527"/>
                        <a:pt x="21030" y="38181"/>
                        <a:pt x="20206" y="37963"/>
                      </a:cubicBezTo>
                      <a:cubicBezTo>
                        <a:pt x="19381" y="37745"/>
                        <a:pt x="18969" y="37309"/>
                        <a:pt x="19381" y="37309"/>
                      </a:cubicBezTo>
                      <a:cubicBezTo>
                        <a:pt x="19793" y="37090"/>
                        <a:pt x="19793" y="37090"/>
                        <a:pt x="20206" y="36872"/>
                      </a:cubicBezTo>
                      <a:cubicBezTo>
                        <a:pt x="20618" y="36654"/>
                        <a:pt x="21443" y="36000"/>
                        <a:pt x="21443" y="36000"/>
                      </a:cubicBezTo>
                      <a:cubicBezTo>
                        <a:pt x="21855" y="35781"/>
                        <a:pt x="21855" y="35781"/>
                        <a:pt x="21855" y="35781"/>
                      </a:cubicBezTo>
                      <a:close/>
                      <a:moveTo>
                        <a:pt x="23917" y="32727"/>
                      </a:moveTo>
                      <a:cubicBezTo>
                        <a:pt x="23917" y="32727"/>
                        <a:pt x="23917" y="32727"/>
                        <a:pt x="23917" y="32727"/>
                      </a:cubicBezTo>
                      <a:cubicBezTo>
                        <a:pt x="23917" y="32727"/>
                        <a:pt x="24742" y="32727"/>
                        <a:pt x="25154" y="32945"/>
                      </a:cubicBezTo>
                      <a:cubicBezTo>
                        <a:pt x="25154" y="32945"/>
                        <a:pt x="25567" y="33600"/>
                        <a:pt x="25567" y="33600"/>
                      </a:cubicBezTo>
                      <a:cubicBezTo>
                        <a:pt x="25567" y="33600"/>
                        <a:pt x="25979" y="33818"/>
                        <a:pt x="25567" y="34036"/>
                      </a:cubicBezTo>
                      <a:cubicBezTo>
                        <a:pt x="25154" y="34254"/>
                        <a:pt x="24329" y="34472"/>
                        <a:pt x="24329" y="34472"/>
                      </a:cubicBezTo>
                      <a:cubicBezTo>
                        <a:pt x="24329" y="35563"/>
                        <a:pt x="24329" y="35563"/>
                        <a:pt x="24329" y="35563"/>
                      </a:cubicBezTo>
                      <a:cubicBezTo>
                        <a:pt x="23917" y="36000"/>
                        <a:pt x="23917" y="36000"/>
                        <a:pt x="23917" y="36000"/>
                      </a:cubicBezTo>
                      <a:cubicBezTo>
                        <a:pt x="22680" y="35781"/>
                        <a:pt x="22680" y="35781"/>
                        <a:pt x="22680" y="35781"/>
                      </a:cubicBezTo>
                      <a:cubicBezTo>
                        <a:pt x="22680" y="34472"/>
                        <a:pt x="22680" y="34472"/>
                        <a:pt x="22680" y="34472"/>
                      </a:cubicBezTo>
                      <a:cubicBezTo>
                        <a:pt x="22268" y="33818"/>
                        <a:pt x="22268" y="33818"/>
                        <a:pt x="22268" y="33818"/>
                      </a:cubicBezTo>
                      <a:cubicBezTo>
                        <a:pt x="23505" y="33163"/>
                        <a:pt x="23505" y="33163"/>
                        <a:pt x="23505" y="33163"/>
                      </a:cubicBezTo>
                      <a:cubicBezTo>
                        <a:pt x="23917" y="32727"/>
                        <a:pt x="23917" y="32727"/>
                        <a:pt x="23917" y="32727"/>
                      </a:cubicBezTo>
                      <a:close/>
                      <a:moveTo>
                        <a:pt x="24742" y="30981"/>
                      </a:moveTo>
                      <a:cubicBezTo>
                        <a:pt x="24742" y="30981"/>
                        <a:pt x="24742" y="30981"/>
                        <a:pt x="24742" y="30981"/>
                      </a:cubicBezTo>
                      <a:cubicBezTo>
                        <a:pt x="24742" y="30981"/>
                        <a:pt x="25567" y="30763"/>
                        <a:pt x="25979" y="30981"/>
                      </a:cubicBezTo>
                      <a:cubicBezTo>
                        <a:pt x="26391" y="31200"/>
                        <a:pt x="26391" y="30763"/>
                        <a:pt x="26804" y="31200"/>
                      </a:cubicBezTo>
                      <a:cubicBezTo>
                        <a:pt x="27216" y="31636"/>
                        <a:pt x="27628" y="31636"/>
                        <a:pt x="27216" y="31854"/>
                      </a:cubicBezTo>
                      <a:cubicBezTo>
                        <a:pt x="27216" y="32072"/>
                        <a:pt x="27216" y="32290"/>
                        <a:pt x="26804" y="32509"/>
                      </a:cubicBezTo>
                      <a:cubicBezTo>
                        <a:pt x="26391" y="32727"/>
                        <a:pt x="26804" y="32945"/>
                        <a:pt x="25979" y="32727"/>
                      </a:cubicBezTo>
                      <a:cubicBezTo>
                        <a:pt x="25154" y="32509"/>
                        <a:pt x="25154" y="32509"/>
                        <a:pt x="24742" y="32290"/>
                      </a:cubicBezTo>
                      <a:cubicBezTo>
                        <a:pt x="24329" y="32072"/>
                        <a:pt x="24329" y="32072"/>
                        <a:pt x="24329" y="32072"/>
                      </a:cubicBezTo>
                      <a:cubicBezTo>
                        <a:pt x="24742" y="30981"/>
                        <a:pt x="24742" y="30981"/>
                        <a:pt x="24742" y="30981"/>
                      </a:cubicBezTo>
                      <a:close/>
                      <a:moveTo>
                        <a:pt x="28453" y="28800"/>
                      </a:moveTo>
                      <a:cubicBezTo>
                        <a:pt x="28453" y="28800"/>
                        <a:pt x="28453" y="28800"/>
                        <a:pt x="28453" y="28800"/>
                      </a:cubicBezTo>
                      <a:cubicBezTo>
                        <a:pt x="28453" y="28800"/>
                        <a:pt x="28865" y="28581"/>
                        <a:pt x="28453" y="29018"/>
                      </a:cubicBezTo>
                      <a:cubicBezTo>
                        <a:pt x="27628" y="29672"/>
                        <a:pt x="27628" y="29890"/>
                        <a:pt x="28041" y="29890"/>
                      </a:cubicBezTo>
                      <a:cubicBezTo>
                        <a:pt x="28041" y="29890"/>
                        <a:pt x="28453" y="29890"/>
                        <a:pt x="28453" y="29890"/>
                      </a:cubicBezTo>
                      <a:cubicBezTo>
                        <a:pt x="28453" y="30763"/>
                        <a:pt x="28453" y="30763"/>
                        <a:pt x="28453" y="30763"/>
                      </a:cubicBezTo>
                      <a:cubicBezTo>
                        <a:pt x="28453" y="30763"/>
                        <a:pt x="28453" y="30981"/>
                        <a:pt x="27216" y="30763"/>
                      </a:cubicBezTo>
                      <a:cubicBezTo>
                        <a:pt x="25979" y="30763"/>
                        <a:pt x="25154" y="30545"/>
                        <a:pt x="25154" y="30545"/>
                      </a:cubicBezTo>
                      <a:cubicBezTo>
                        <a:pt x="23917" y="29890"/>
                        <a:pt x="23917" y="29890"/>
                        <a:pt x="23917" y="29890"/>
                      </a:cubicBezTo>
                      <a:cubicBezTo>
                        <a:pt x="23917" y="29890"/>
                        <a:pt x="23505" y="29672"/>
                        <a:pt x="24329" y="29236"/>
                      </a:cubicBezTo>
                      <a:cubicBezTo>
                        <a:pt x="24742" y="28800"/>
                        <a:pt x="25979" y="29018"/>
                        <a:pt x="25979" y="29018"/>
                      </a:cubicBezTo>
                      <a:cubicBezTo>
                        <a:pt x="25979" y="29018"/>
                        <a:pt x="26391" y="29454"/>
                        <a:pt x="26804" y="29018"/>
                      </a:cubicBezTo>
                      <a:cubicBezTo>
                        <a:pt x="27216" y="28581"/>
                        <a:pt x="27216" y="28145"/>
                        <a:pt x="27628" y="28363"/>
                      </a:cubicBezTo>
                      <a:cubicBezTo>
                        <a:pt x="28041" y="28581"/>
                        <a:pt x="28453" y="28800"/>
                        <a:pt x="28453" y="28800"/>
                      </a:cubicBezTo>
                      <a:close/>
                      <a:moveTo>
                        <a:pt x="31752" y="26400"/>
                      </a:moveTo>
                      <a:cubicBezTo>
                        <a:pt x="31752" y="26400"/>
                        <a:pt x="31752" y="26400"/>
                        <a:pt x="31752" y="26400"/>
                      </a:cubicBezTo>
                      <a:cubicBezTo>
                        <a:pt x="31340" y="26181"/>
                        <a:pt x="31340" y="25745"/>
                        <a:pt x="31340" y="25745"/>
                      </a:cubicBezTo>
                      <a:cubicBezTo>
                        <a:pt x="31752" y="25309"/>
                        <a:pt x="31752" y="25309"/>
                        <a:pt x="31752" y="25309"/>
                      </a:cubicBezTo>
                      <a:cubicBezTo>
                        <a:pt x="31752" y="25309"/>
                        <a:pt x="30927" y="24872"/>
                        <a:pt x="30927" y="24654"/>
                      </a:cubicBezTo>
                      <a:cubicBezTo>
                        <a:pt x="30927" y="24436"/>
                        <a:pt x="30927" y="24000"/>
                        <a:pt x="31752" y="23781"/>
                      </a:cubicBezTo>
                      <a:cubicBezTo>
                        <a:pt x="32164" y="23563"/>
                        <a:pt x="32577" y="23127"/>
                        <a:pt x="32989" y="23127"/>
                      </a:cubicBezTo>
                      <a:cubicBezTo>
                        <a:pt x="32989" y="23345"/>
                        <a:pt x="32989" y="23345"/>
                        <a:pt x="33402" y="23781"/>
                      </a:cubicBezTo>
                      <a:cubicBezTo>
                        <a:pt x="33814" y="24000"/>
                        <a:pt x="33814" y="24436"/>
                        <a:pt x="34226" y="24218"/>
                      </a:cubicBezTo>
                      <a:cubicBezTo>
                        <a:pt x="34639" y="24000"/>
                        <a:pt x="34639" y="23781"/>
                        <a:pt x="35051" y="23563"/>
                      </a:cubicBezTo>
                      <a:cubicBezTo>
                        <a:pt x="35463" y="23345"/>
                        <a:pt x="35876" y="22690"/>
                        <a:pt x="35876" y="22690"/>
                      </a:cubicBezTo>
                      <a:cubicBezTo>
                        <a:pt x="35876" y="22690"/>
                        <a:pt x="36701" y="22909"/>
                        <a:pt x="37113" y="22690"/>
                      </a:cubicBezTo>
                      <a:cubicBezTo>
                        <a:pt x="37938" y="22472"/>
                        <a:pt x="37113" y="22472"/>
                        <a:pt x="38350" y="22254"/>
                      </a:cubicBezTo>
                      <a:cubicBezTo>
                        <a:pt x="39587" y="22254"/>
                        <a:pt x="40000" y="22254"/>
                        <a:pt x="40412" y="21818"/>
                      </a:cubicBezTo>
                      <a:cubicBezTo>
                        <a:pt x="40824" y="21600"/>
                        <a:pt x="40824" y="21818"/>
                        <a:pt x="41237" y="21600"/>
                      </a:cubicBezTo>
                      <a:cubicBezTo>
                        <a:pt x="41649" y="21381"/>
                        <a:pt x="42061" y="21163"/>
                        <a:pt x="42474" y="21163"/>
                      </a:cubicBezTo>
                      <a:cubicBezTo>
                        <a:pt x="42886" y="21381"/>
                        <a:pt x="43298" y="21600"/>
                        <a:pt x="43298" y="21818"/>
                      </a:cubicBezTo>
                      <a:cubicBezTo>
                        <a:pt x="43298" y="22036"/>
                        <a:pt x="43711" y="22472"/>
                        <a:pt x="43298" y="22690"/>
                      </a:cubicBezTo>
                      <a:cubicBezTo>
                        <a:pt x="42886" y="22909"/>
                        <a:pt x="42886" y="23127"/>
                        <a:pt x="42474" y="23127"/>
                      </a:cubicBezTo>
                      <a:cubicBezTo>
                        <a:pt x="42061" y="23345"/>
                        <a:pt x="40824" y="23781"/>
                        <a:pt x="40824" y="23781"/>
                      </a:cubicBezTo>
                      <a:cubicBezTo>
                        <a:pt x="40824" y="23781"/>
                        <a:pt x="40824" y="24218"/>
                        <a:pt x="41237" y="24218"/>
                      </a:cubicBezTo>
                      <a:cubicBezTo>
                        <a:pt x="41649" y="24218"/>
                        <a:pt x="42474" y="23563"/>
                        <a:pt x="42474" y="24000"/>
                      </a:cubicBezTo>
                      <a:cubicBezTo>
                        <a:pt x="42061" y="24436"/>
                        <a:pt x="43298" y="24654"/>
                        <a:pt x="42061" y="24872"/>
                      </a:cubicBezTo>
                      <a:cubicBezTo>
                        <a:pt x="41237" y="24872"/>
                        <a:pt x="40412" y="24654"/>
                        <a:pt x="40412" y="24654"/>
                      </a:cubicBezTo>
                      <a:cubicBezTo>
                        <a:pt x="39587" y="25309"/>
                        <a:pt x="39587" y="25309"/>
                        <a:pt x="39587" y="25309"/>
                      </a:cubicBezTo>
                      <a:cubicBezTo>
                        <a:pt x="39587" y="25309"/>
                        <a:pt x="38762" y="25090"/>
                        <a:pt x="38762" y="25309"/>
                      </a:cubicBezTo>
                      <a:cubicBezTo>
                        <a:pt x="38762" y="25527"/>
                        <a:pt x="39175" y="25963"/>
                        <a:pt x="39175" y="25963"/>
                      </a:cubicBezTo>
                      <a:cubicBezTo>
                        <a:pt x="38350" y="26400"/>
                        <a:pt x="38350" y="26400"/>
                        <a:pt x="38350" y="26400"/>
                      </a:cubicBezTo>
                      <a:cubicBezTo>
                        <a:pt x="38350" y="26400"/>
                        <a:pt x="37113" y="26181"/>
                        <a:pt x="37113" y="26400"/>
                      </a:cubicBezTo>
                      <a:cubicBezTo>
                        <a:pt x="37525" y="26618"/>
                        <a:pt x="37938" y="27054"/>
                        <a:pt x="37938" y="27054"/>
                      </a:cubicBezTo>
                      <a:cubicBezTo>
                        <a:pt x="37938" y="27054"/>
                        <a:pt x="37938" y="27490"/>
                        <a:pt x="37113" y="27490"/>
                      </a:cubicBezTo>
                      <a:cubicBezTo>
                        <a:pt x="36288" y="27490"/>
                        <a:pt x="35463" y="27490"/>
                        <a:pt x="35051" y="27490"/>
                      </a:cubicBezTo>
                      <a:cubicBezTo>
                        <a:pt x="34639" y="27272"/>
                        <a:pt x="34639" y="27272"/>
                        <a:pt x="34639" y="27272"/>
                      </a:cubicBezTo>
                      <a:cubicBezTo>
                        <a:pt x="34226" y="27927"/>
                        <a:pt x="34226" y="27927"/>
                        <a:pt x="34226" y="27927"/>
                      </a:cubicBezTo>
                      <a:cubicBezTo>
                        <a:pt x="34226" y="27927"/>
                        <a:pt x="34639" y="28145"/>
                        <a:pt x="34226" y="28363"/>
                      </a:cubicBezTo>
                      <a:cubicBezTo>
                        <a:pt x="33814" y="28581"/>
                        <a:pt x="32577" y="28581"/>
                        <a:pt x="32577" y="28581"/>
                      </a:cubicBezTo>
                      <a:cubicBezTo>
                        <a:pt x="32577" y="28581"/>
                        <a:pt x="32164" y="28581"/>
                        <a:pt x="32164" y="28581"/>
                      </a:cubicBezTo>
                      <a:cubicBezTo>
                        <a:pt x="32164" y="28800"/>
                        <a:pt x="31752" y="29236"/>
                        <a:pt x="31340" y="29236"/>
                      </a:cubicBezTo>
                      <a:cubicBezTo>
                        <a:pt x="30927" y="29018"/>
                        <a:pt x="30103" y="28800"/>
                        <a:pt x="29690" y="28581"/>
                      </a:cubicBezTo>
                      <a:cubicBezTo>
                        <a:pt x="29690" y="28363"/>
                        <a:pt x="29278" y="27490"/>
                        <a:pt x="30103" y="27709"/>
                      </a:cubicBezTo>
                      <a:cubicBezTo>
                        <a:pt x="30927" y="27709"/>
                        <a:pt x="31752" y="27927"/>
                        <a:pt x="31752" y="27490"/>
                      </a:cubicBezTo>
                      <a:cubicBezTo>
                        <a:pt x="31752" y="27054"/>
                        <a:pt x="31340" y="26836"/>
                        <a:pt x="31340" y="26836"/>
                      </a:cubicBezTo>
                      <a:cubicBezTo>
                        <a:pt x="31752" y="26400"/>
                        <a:pt x="31752" y="26400"/>
                        <a:pt x="31752" y="26400"/>
                      </a:cubicBezTo>
                      <a:close/>
                      <a:moveTo>
                        <a:pt x="110103" y="3272"/>
                      </a:moveTo>
                      <a:cubicBezTo>
                        <a:pt x="110103" y="3272"/>
                        <a:pt x="110103" y="3272"/>
                        <a:pt x="110103" y="3272"/>
                      </a:cubicBezTo>
                      <a:cubicBezTo>
                        <a:pt x="110515" y="3272"/>
                        <a:pt x="111752" y="3490"/>
                        <a:pt x="111752" y="3272"/>
                      </a:cubicBezTo>
                      <a:cubicBezTo>
                        <a:pt x="111752" y="3272"/>
                        <a:pt x="112164" y="2836"/>
                        <a:pt x="112164" y="2836"/>
                      </a:cubicBezTo>
                      <a:cubicBezTo>
                        <a:pt x="111752" y="2618"/>
                        <a:pt x="111340" y="2400"/>
                        <a:pt x="110927" y="2618"/>
                      </a:cubicBezTo>
                      <a:cubicBezTo>
                        <a:pt x="110515" y="2618"/>
                        <a:pt x="110103" y="2836"/>
                        <a:pt x="110103" y="2836"/>
                      </a:cubicBezTo>
                      <a:cubicBezTo>
                        <a:pt x="110103" y="3054"/>
                        <a:pt x="110103" y="3272"/>
                        <a:pt x="110103" y="3272"/>
                      </a:cubicBezTo>
                      <a:close/>
                      <a:moveTo>
                        <a:pt x="96907" y="6981"/>
                      </a:moveTo>
                      <a:cubicBezTo>
                        <a:pt x="96907" y="6981"/>
                        <a:pt x="96907" y="6981"/>
                        <a:pt x="96907" y="6981"/>
                      </a:cubicBezTo>
                      <a:cubicBezTo>
                        <a:pt x="97319" y="6981"/>
                        <a:pt x="97731" y="6545"/>
                        <a:pt x="97731" y="6763"/>
                      </a:cubicBezTo>
                      <a:cubicBezTo>
                        <a:pt x="97731" y="7200"/>
                        <a:pt x="98144" y="7200"/>
                        <a:pt x="97731" y="7418"/>
                      </a:cubicBezTo>
                      <a:cubicBezTo>
                        <a:pt x="97319" y="7418"/>
                        <a:pt x="96494" y="7854"/>
                        <a:pt x="96082" y="7636"/>
                      </a:cubicBezTo>
                      <a:cubicBezTo>
                        <a:pt x="96082" y="7636"/>
                        <a:pt x="96494" y="6763"/>
                        <a:pt x="96494" y="6763"/>
                      </a:cubicBezTo>
                      <a:cubicBezTo>
                        <a:pt x="96907" y="6981"/>
                        <a:pt x="96907" y="6981"/>
                        <a:pt x="96907" y="6981"/>
                      </a:cubicBezTo>
                      <a:close/>
                      <a:moveTo>
                        <a:pt x="104742" y="7418"/>
                      </a:moveTo>
                      <a:cubicBezTo>
                        <a:pt x="104742" y="7418"/>
                        <a:pt x="104742" y="7418"/>
                        <a:pt x="104742" y="7418"/>
                      </a:cubicBezTo>
                      <a:cubicBezTo>
                        <a:pt x="104742" y="7418"/>
                        <a:pt x="104742" y="7636"/>
                        <a:pt x="103917" y="7418"/>
                      </a:cubicBezTo>
                      <a:cubicBezTo>
                        <a:pt x="102680" y="7418"/>
                        <a:pt x="102268" y="7636"/>
                        <a:pt x="102268" y="7200"/>
                      </a:cubicBezTo>
                      <a:cubicBezTo>
                        <a:pt x="102268" y="6981"/>
                        <a:pt x="102680" y="6763"/>
                        <a:pt x="101855" y="6545"/>
                      </a:cubicBezTo>
                      <a:cubicBezTo>
                        <a:pt x="101030" y="6545"/>
                        <a:pt x="101030" y="6545"/>
                        <a:pt x="101030" y="6545"/>
                      </a:cubicBezTo>
                      <a:cubicBezTo>
                        <a:pt x="101030" y="6545"/>
                        <a:pt x="100618" y="6109"/>
                        <a:pt x="101030" y="5890"/>
                      </a:cubicBezTo>
                      <a:cubicBezTo>
                        <a:pt x="101855" y="5454"/>
                        <a:pt x="101855" y="5672"/>
                        <a:pt x="102268" y="5672"/>
                      </a:cubicBezTo>
                      <a:cubicBezTo>
                        <a:pt x="103092" y="5672"/>
                        <a:pt x="102680" y="5672"/>
                        <a:pt x="103505" y="5890"/>
                      </a:cubicBezTo>
                      <a:cubicBezTo>
                        <a:pt x="104329" y="5890"/>
                        <a:pt x="104742" y="6109"/>
                        <a:pt x="104742" y="5672"/>
                      </a:cubicBezTo>
                      <a:cubicBezTo>
                        <a:pt x="104742" y="5454"/>
                        <a:pt x="105154" y="5454"/>
                        <a:pt x="104329" y="5018"/>
                      </a:cubicBezTo>
                      <a:cubicBezTo>
                        <a:pt x="103917" y="4581"/>
                        <a:pt x="103917" y="4800"/>
                        <a:pt x="103505" y="4581"/>
                      </a:cubicBezTo>
                      <a:cubicBezTo>
                        <a:pt x="103092" y="4145"/>
                        <a:pt x="102268" y="3709"/>
                        <a:pt x="102680" y="3490"/>
                      </a:cubicBezTo>
                      <a:cubicBezTo>
                        <a:pt x="102680" y="3272"/>
                        <a:pt x="102268" y="3272"/>
                        <a:pt x="103092" y="2836"/>
                      </a:cubicBezTo>
                      <a:cubicBezTo>
                        <a:pt x="104329" y="2618"/>
                        <a:pt x="105154" y="2181"/>
                        <a:pt x="105567" y="2181"/>
                      </a:cubicBezTo>
                      <a:cubicBezTo>
                        <a:pt x="105979" y="2181"/>
                        <a:pt x="106391" y="2181"/>
                        <a:pt x="106391" y="2400"/>
                      </a:cubicBezTo>
                      <a:cubicBezTo>
                        <a:pt x="106391" y="2836"/>
                        <a:pt x="106391" y="3054"/>
                        <a:pt x="105979" y="3272"/>
                      </a:cubicBezTo>
                      <a:cubicBezTo>
                        <a:pt x="105567" y="3272"/>
                        <a:pt x="105567" y="3490"/>
                        <a:pt x="105567" y="3490"/>
                      </a:cubicBezTo>
                      <a:cubicBezTo>
                        <a:pt x="105567" y="3490"/>
                        <a:pt x="105154" y="4145"/>
                        <a:pt x="105979" y="4145"/>
                      </a:cubicBezTo>
                      <a:cubicBezTo>
                        <a:pt x="106804" y="3927"/>
                        <a:pt x="107216" y="3490"/>
                        <a:pt x="107216" y="3272"/>
                      </a:cubicBezTo>
                      <a:cubicBezTo>
                        <a:pt x="107628" y="3054"/>
                        <a:pt x="108041" y="3272"/>
                        <a:pt x="107628" y="2836"/>
                      </a:cubicBezTo>
                      <a:cubicBezTo>
                        <a:pt x="107628" y="2400"/>
                        <a:pt x="107216" y="2181"/>
                        <a:pt x="107628" y="2181"/>
                      </a:cubicBezTo>
                      <a:cubicBezTo>
                        <a:pt x="108041" y="2181"/>
                        <a:pt x="108453" y="2618"/>
                        <a:pt x="108865" y="2181"/>
                      </a:cubicBezTo>
                      <a:cubicBezTo>
                        <a:pt x="109690" y="1527"/>
                        <a:pt x="109690" y="1309"/>
                        <a:pt x="109690" y="1309"/>
                      </a:cubicBezTo>
                      <a:cubicBezTo>
                        <a:pt x="109690" y="1309"/>
                        <a:pt x="109278" y="1309"/>
                        <a:pt x="110103" y="1090"/>
                      </a:cubicBezTo>
                      <a:cubicBezTo>
                        <a:pt x="110927" y="872"/>
                        <a:pt x="110515" y="654"/>
                        <a:pt x="110927" y="436"/>
                      </a:cubicBezTo>
                      <a:cubicBezTo>
                        <a:pt x="111340" y="218"/>
                        <a:pt x="110515" y="0"/>
                        <a:pt x="111752" y="0"/>
                      </a:cubicBezTo>
                      <a:cubicBezTo>
                        <a:pt x="112577" y="218"/>
                        <a:pt x="112577" y="218"/>
                        <a:pt x="112989" y="436"/>
                      </a:cubicBezTo>
                      <a:cubicBezTo>
                        <a:pt x="113402" y="436"/>
                        <a:pt x="112577" y="1309"/>
                        <a:pt x="112164" y="1309"/>
                      </a:cubicBezTo>
                      <a:cubicBezTo>
                        <a:pt x="111752" y="1309"/>
                        <a:pt x="111752" y="1090"/>
                        <a:pt x="110927" y="1309"/>
                      </a:cubicBezTo>
                      <a:cubicBezTo>
                        <a:pt x="110515" y="1527"/>
                        <a:pt x="111340" y="1963"/>
                        <a:pt x="110927" y="2181"/>
                      </a:cubicBezTo>
                      <a:cubicBezTo>
                        <a:pt x="110515" y="2400"/>
                        <a:pt x="110103" y="2181"/>
                        <a:pt x="109690" y="2400"/>
                      </a:cubicBezTo>
                      <a:cubicBezTo>
                        <a:pt x="109278" y="2618"/>
                        <a:pt x="109278" y="2618"/>
                        <a:pt x="109278" y="2836"/>
                      </a:cubicBezTo>
                      <a:cubicBezTo>
                        <a:pt x="109278" y="3054"/>
                        <a:pt x="108865" y="3272"/>
                        <a:pt x="108453" y="3490"/>
                      </a:cubicBezTo>
                      <a:cubicBezTo>
                        <a:pt x="108453" y="3490"/>
                        <a:pt x="107216" y="3054"/>
                        <a:pt x="108453" y="3490"/>
                      </a:cubicBezTo>
                      <a:cubicBezTo>
                        <a:pt x="109690" y="3927"/>
                        <a:pt x="110103" y="3927"/>
                        <a:pt x="109690" y="4145"/>
                      </a:cubicBezTo>
                      <a:cubicBezTo>
                        <a:pt x="109278" y="4145"/>
                        <a:pt x="108453" y="4145"/>
                        <a:pt x="108041" y="4363"/>
                      </a:cubicBezTo>
                      <a:cubicBezTo>
                        <a:pt x="107628" y="4363"/>
                        <a:pt x="107216" y="4581"/>
                        <a:pt x="108041" y="4800"/>
                      </a:cubicBezTo>
                      <a:cubicBezTo>
                        <a:pt x="108865" y="5018"/>
                        <a:pt x="108453" y="5018"/>
                        <a:pt x="108865" y="5018"/>
                      </a:cubicBezTo>
                      <a:cubicBezTo>
                        <a:pt x="109278" y="4800"/>
                        <a:pt x="111340" y="4800"/>
                        <a:pt x="111340" y="5018"/>
                      </a:cubicBezTo>
                      <a:cubicBezTo>
                        <a:pt x="110927" y="5454"/>
                        <a:pt x="111340" y="5454"/>
                        <a:pt x="110515" y="5672"/>
                      </a:cubicBezTo>
                      <a:cubicBezTo>
                        <a:pt x="109278" y="5890"/>
                        <a:pt x="108453" y="5672"/>
                        <a:pt x="108041" y="5454"/>
                      </a:cubicBezTo>
                      <a:cubicBezTo>
                        <a:pt x="107628" y="5454"/>
                        <a:pt x="107628" y="5018"/>
                        <a:pt x="107628" y="5672"/>
                      </a:cubicBezTo>
                      <a:cubicBezTo>
                        <a:pt x="108041" y="6327"/>
                        <a:pt x="108865" y="6327"/>
                        <a:pt x="108453" y="6327"/>
                      </a:cubicBezTo>
                      <a:cubicBezTo>
                        <a:pt x="107628" y="6327"/>
                        <a:pt x="106804" y="6327"/>
                        <a:pt x="106804" y="6327"/>
                      </a:cubicBezTo>
                      <a:cubicBezTo>
                        <a:pt x="106804" y="6327"/>
                        <a:pt x="106391" y="5890"/>
                        <a:pt x="106804" y="6545"/>
                      </a:cubicBezTo>
                      <a:cubicBezTo>
                        <a:pt x="107216" y="7200"/>
                        <a:pt x="107216" y="7200"/>
                        <a:pt x="107216" y="7200"/>
                      </a:cubicBezTo>
                      <a:cubicBezTo>
                        <a:pt x="107216" y="7200"/>
                        <a:pt x="106391" y="7418"/>
                        <a:pt x="106391" y="7418"/>
                      </a:cubicBezTo>
                      <a:cubicBezTo>
                        <a:pt x="106391" y="7636"/>
                        <a:pt x="106804" y="8072"/>
                        <a:pt x="107216" y="8290"/>
                      </a:cubicBezTo>
                      <a:cubicBezTo>
                        <a:pt x="107216" y="8290"/>
                        <a:pt x="106804" y="9163"/>
                        <a:pt x="106391" y="9163"/>
                      </a:cubicBezTo>
                      <a:cubicBezTo>
                        <a:pt x="106391" y="9163"/>
                        <a:pt x="106391" y="9381"/>
                        <a:pt x="105979" y="9600"/>
                      </a:cubicBezTo>
                      <a:cubicBezTo>
                        <a:pt x="105567" y="9818"/>
                        <a:pt x="105154" y="10036"/>
                        <a:pt x="105154" y="10036"/>
                      </a:cubicBezTo>
                      <a:cubicBezTo>
                        <a:pt x="104329" y="11345"/>
                        <a:pt x="104329" y="11345"/>
                        <a:pt x="104329" y="11345"/>
                      </a:cubicBezTo>
                      <a:cubicBezTo>
                        <a:pt x="104329" y="11345"/>
                        <a:pt x="103917" y="11781"/>
                        <a:pt x="103505" y="11345"/>
                      </a:cubicBezTo>
                      <a:cubicBezTo>
                        <a:pt x="103505" y="10909"/>
                        <a:pt x="103092" y="10909"/>
                        <a:pt x="103505" y="10690"/>
                      </a:cubicBezTo>
                      <a:cubicBezTo>
                        <a:pt x="103917" y="10690"/>
                        <a:pt x="103917" y="10254"/>
                        <a:pt x="104329" y="10036"/>
                      </a:cubicBezTo>
                      <a:cubicBezTo>
                        <a:pt x="104329" y="9818"/>
                        <a:pt x="104742" y="8945"/>
                        <a:pt x="104742" y="8945"/>
                      </a:cubicBezTo>
                      <a:cubicBezTo>
                        <a:pt x="104742" y="8945"/>
                        <a:pt x="105567" y="8945"/>
                        <a:pt x="105979" y="8727"/>
                      </a:cubicBezTo>
                      <a:cubicBezTo>
                        <a:pt x="105979" y="8727"/>
                        <a:pt x="105154" y="7854"/>
                        <a:pt x="105154" y="7854"/>
                      </a:cubicBezTo>
                      <a:cubicBezTo>
                        <a:pt x="105567" y="7418"/>
                        <a:pt x="105567" y="7418"/>
                        <a:pt x="105567" y="7418"/>
                      </a:cubicBezTo>
                      <a:cubicBezTo>
                        <a:pt x="104742" y="7418"/>
                        <a:pt x="104742" y="7418"/>
                        <a:pt x="104742" y="7418"/>
                      </a:cubicBezTo>
                      <a:close/>
                      <a:moveTo>
                        <a:pt x="98556" y="14618"/>
                      </a:moveTo>
                      <a:cubicBezTo>
                        <a:pt x="98556" y="14618"/>
                        <a:pt x="98556" y="14618"/>
                        <a:pt x="98556" y="14618"/>
                      </a:cubicBezTo>
                      <a:cubicBezTo>
                        <a:pt x="98556" y="14618"/>
                        <a:pt x="99793" y="13745"/>
                        <a:pt x="100206" y="13963"/>
                      </a:cubicBezTo>
                      <a:cubicBezTo>
                        <a:pt x="100206" y="13963"/>
                        <a:pt x="100206" y="14181"/>
                        <a:pt x="100206" y="14400"/>
                      </a:cubicBezTo>
                      <a:cubicBezTo>
                        <a:pt x="100206" y="14400"/>
                        <a:pt x="100618" y="14836"/>
                        <a:pt x="100206" y="14836"/>
                      </a:cubicBezTo>
                      <a:cubicBezTo>
                        <a:pt x="99793" y="14836"/>
                        <a:pt x="99381" y="14836"/>
                        <a:pt x="98969" y="14836"/>
                      </a:cubicBezTo>
                      <a:cubicBezTo>
                        <a:pt x="98969" y="14836"/>
                        <a:pt x="98556" y="14618"/>
                        <a:pt x="98556" y="14618"/>
                      </a:cubicBezTo>
                      <a:close/>
                      <a:moveTo>
                        <a:pt x="80824" y="21381"/>
                      </a:moveTo>
                      <a:cubicBezTo>
                        <a:pt x="80824" y="21381"/>
                        <a:pt x="80824" y="21381"/>
                        <a:pt x="80824" y="21381"/>
                      </a:cubicBezTo>
                      <a:cubicBezTo>
                        <a:pt x="81649" y="20945"/>
                        <a:pt x="81649" y="20945"/>
                        <a:pt x="81649" y="20945"/>
                      </a:cubicBezTo>
                      <a:cubicBezTo>
                        <a:pt x="82886" y="21163"/>
                        <a:pt x="82886" y="21163"/>
                        <a:pt x="82886" y="21163"/>
                      </a:cubicBezTo>
                      <a:cubicBezTo>
                        <a:pt x="82886" y="21163"/>
                        <a:pt x="83298" y="20727"/>
                        <a:pt x="83298" y="21163"/>
                      </a:cubicBezTo>
                      <a:cubicBezTo>
                        <a:pt x="82886" y="21600"/>
                        <a:pt x="82061" y="22254"/>
                        <a:pt x="82061" y="22254"/>
                      </a:cubicBezTo>
                      <a:cubicBezTo>
                        <a:pt x="82061" y="22254"/>
                        <a:pt x="82474" y="22254"/>
                        <a:pt x="81649" y="22472"/>
                      </a:cubicBezTo>
                      <a:cubicBezTo>
                        <a:pt x="80824" y="22690"/>
                        <a:pt x="80824" y="22909"/>
                        <a:pt x="80412" y="22472"/>
                      </a:cubicBezTo>
                      <a:cubicBezTo>
                        <a:pt x="80000" y="22254"/>
                        <a:pt x="79587" y="22254"/>
                        <a:pt x="79587" y="22036"/>
                      </a:cubicBezTo>
                      <a:cubicBezTo>
                        <a:pt x="80000" y="21818"/>
                        <a:pt x="80000" y="21381"/>
                        <a:pt x="80000" y="21381"/>
                      </a:cubicBezTo>
                      <a:cubicBezTo>
                        <a:pt x="80824" y="21381"/>
                        <a:pt x="80824" y="21381"/>
                        <a:pt x="80824" y="21381"/>
                      </a:cubicBezTo>
                      <a:close/>
                      <a:moveTo>
                        <a:pt x="89484" y="15709"/>
                      </a:moveTo>
                      <a:cubicBezTo>
                        <a:pt x="89484" y="15709"/>
                        <a:pt x="89484" y="15709"/>
                        <a:pt x="89484" y="15709"/>
                      </a:cubicBezTo>
                      <a:cubicBezTo>
                        <a:pt x="89484" y="15709"/>
                        <a:pt x="89896" y="15272"/>
                        <a:pt x="90309" y="15272"/>
                      </a:cubicBezTo>
                      <a:cubicBezTo>
                        <a:pt x="90721" y="15490"/>
                        <a:pt x="91134" y="15490"/>
                        <a:pt x="91134" y="15709"/>
                      </a:cubicBezTo>
                      <a:cubicBezTo>
                        <a:pt x="90721" y="15927"/>
                        <a:pt x="90309" y="16145"/>
                        <a:pt x="89896" y="16145"/>
                      </a:cubicBezTo>
                      <a:cubicBezTo>
                        <a:pt x="89484" y="16145"/>
                        <a:pt x="89484" y="15709"/>
                        <a:pt x="89484" y="15709"/>
                      </a:cubicBezTo>
                      <a:close/>
                      <a:moveTo>
                        <a:pt x="87835" y="16800"/>
                      </a:moveTo>
                      <a:cubicBezTo>
                        <a:pt x="87835" y="16800"/>
                        <a:pt x="87835" y="16800"/>
                        <a:pt x="87835" y="16800"/>
                      </a:cubicBezTo>
                      <a:cubicBezTo>
                        <a:pt x="87835" y="16800"/>
                        <a:pt x="88659" y="16363"/>
                        <a:pt x="89072" y="16581"/>
                      </a:cubicBezTo>
                      <a:cubicBezTo>
                        <a:pt x="89072" y="16581"/>
                        <a:pt x="89484" y="16581"/>
                        <a:pt x="89072" y="16800"/>
                      </a:cubicBezTo>
                      <a:cubicBezTo>
                        <a:pt x="89072" y="17018"/>
                        <a:pt x="89896" y="16800"/>
                        <a:pt x="88659" y="17018"/>
                      </a:cubicBezTo>
                      <a:cubicBezTo>
                        <a:pt x="87835" y="17454"/>
                        <a:pt x="88247" y="17672"/>
                        <a:pt x="87422" y="17454"/>
                      </a:cubicBezTo>
                      <a:cubicBezTo>
                        <a:pt x="87010" y="17236"/>
                        <a:pt x="87010" y="17018"/>
                        <a:pt x="87010" y="16800"/>
                      </a:cubicBezTo>
                      <a:cubicBezTo>
                        <a:pt x="87010" y="16800"/>
                        <a:pt x="87422" y="16363"/>
                        <a:pt x="87422" y="16363"/>
                      </a:cubicBezTo>
                      <a:cubicBezTo>
                        <a:pt x="87835" y="16581"/>
                        <a:pt x="87835" y="16800"/>
                        <a:pt x="87835" y="16800"/>
                      </a:cubicBezTo>
                      <a:close/>
                      <a:moveTo>
                        <a:pt x="84536" y="17454"/>
                      </a:moveTo>
                      <a:cubicBezTo>
                        <a:pt x="84536" y="17454"/>
                        <a:pt x="84536" y="17454"/>
                        <a:pt x="84536" y="17454"/>
                      </a:cubicBezTo>
                      <a:cubicBezTo>
                        <a:pt x="84536" y="17454"/>
                        <a:pt x="85360" y="17672"/>
                        <a:pt x="85360" y="17672"/>
                      </a:cubicBezTo>
                      <a:cubicBezTo>
                        <a:pt x="85773" y="17890"/>
                        <a:pt x="85773" y="17672"/>
                        <a:pt x="86185" y="17454"/>
                      </a:cubicBezTo>
                      <a:cubicBezTo>
                        <a:pt x="87010" y="17454"/>
                        <a:pt x="86185" y="17454"/>
                        <a:pt x="86597" y="17236"/>
                      </a:cubicBezTo>
                      <a:cubicBezTo>
                        <a:pt x="87010" y="16800"/>
                        <a:pt x="86597" y="17018"/>
                        <a:pt x="86597" y="16800"/>
                      </a:cubicBezTo>
                      <a:cubicBezTo>
                        <a:pt x="86185" y="16800"/>
                        <a:pt x="86185" y="16800"/>
                        <a:pt x="85773" y="16800"/>
                      </a:cubicBezTo>
                      <a:cubicBezTo>
                        <a:pt x="84948" y="16800"/>
                        <a:pt x="84536" y="17454"/>
                        <a:pt x="84536" y="17454"/>
                      </a:cubicBezTo>
                      <a:close/>
                      <a:moveTo>
                        <a:pt x="86185" y="18763"/>
                      </a:moveTo>
                      <a:cubicBezTo>
                        <a:pt x="86185" y="18763"/>
                        <a:pt x="86185" y="18763"/>
                        <a:pt x="86185" y="18763"/>
                      </a:cubicBezTo>
                      <a:cubicBezTo>
                        <a:pt x="86185" y="18763"/>
                        <a:pt x="86597" y="18109"/>
                        <a:pt x="87010" y="18109"/>
                      </a:cubicBezTo>
                      <a:cubicBezTo>
                        <a:pt x="87422" y="18327"/>
                        <a:pt x="87422" y="18109"/>
                        <a:pt x="87422" y="18327"/>
                      </a:cubicBezTo>
                      <a:cubicBezTo>
                        <a:pt x="87422" y="18545"/>
                        <a:pt x="87422" y="18981"/>
                        <a:pt x="87010" y="18981"/>
                      </a:cubicBezTo>
                      <a:cubicBezTo>
                        <a:pt x="86597" y="18981"/>
                        <a:pt x="86185" y="18763"/>
                        <a:pt x="86185" y="18763"/>
                      </a:cubicBezTo>
                      <a:close/>
                      <a:moveTo>
                        <a:pt x="82886" y="18763"/>
                      </a:moveTo>
                      <a:cubicBezTo>
                        <a:pt x="82886" y="18763"/>
                        <a:pt x="82886" y="18763"/>
                        <a:pt x="82886" y="18763"/>
                      </a:cubicBezTo>
                      <a:cubicBezTo>
                        <a:pt x="83298" y="18327"/>
                        <a:pt x="83298" y="18327"/>
                        <a:pt x="83298" y="18327"/>
                      </a:cubicBezTo>
                      <a:cubicBezTo>
                        <a:pt x="84123" y="18545"/>
                        <a:pt x="84123" y="18545"/>
                        <a:pt x="84123" y="18545"/>
                      </a:cubicBezTo>
                      <a:cubicBezTo>
                        <a:pt x="84123" y="18545"/>
                        <a:pt x="84536" y="18763"/>
                        <a:pt x="84123" y="18763"/>
                      </a:cubicBezTo>
                      <a:cubicBezTo>
                        <a:pt x="84123" y="18981"/>
                        <a:pt x="83711" y="18981"/>
                        <a:pt x="83711" y="19200"/>
                      </a:cubicBezTo>
                      <a:cubicBezTo>
                        <a:pt x="83298" y="19200"/>
                        <a:pt x="82886" y="18981"/>
                        <a:pt x="82886" y="18981"/>
                      </a:cubicBezTo>
                      <a:cubicBezTo>
                        <a:pt x="82886" y="18763"/>
                        <a:pt x="82886" y="18763"/>
                        <a:pt x="82886" y="18763"/>
                      </a:cubicBezTo>
                      <a:close/>
                      <a:moveTo>
                        <a:pt x="82886" y="15927"/>
                      </a:moveTo>
                      <a:cubicBezTo>
                        <a:pt x="82886" y="15927"/>
                        <a:pt x="82886" y="15927"/>
                        <a:pt x="82886" y="15927"/>
                      </a:cubicBezTo>
                      <a:cubicBezTo>
                        <a:pt x="82886" y="15927"/>
                        <a:pt x="83711" y="15272"/>
                        <a:pt x="83711" y="15272"/>
                      </a:cubicBezTo>
                      <a:cubicBezTo>
                        <a:pt x="84123" y="15272"/>
                        <a:pt x="84536" y="15054"/>
                        <a:pt x="84536" y="15490"/>
                      </a:cubicBezTo>
                      <a:cubicBezTo>
                        <a:pt x="84536" y="15927"/>
                        <a:pt x="85360" y="16363"/>
                        <a:pt x="84123" y="16363"/>
                      </a:cubicBezTo>
                      <a:cubicBezTo>
                        <a:pt x="83298" y="16363"/>
                        <a:pt x="82886" y="16581"/>
                        <a:pt x="82886" y="16363"/>
                      </a:cubicBezTo>
                      <a:cubicBezTo>
                        <a:pt x="82474" y="16145"/>
                        <a:pt x="82886" y="15927"/>
                        <a:pt x="82886" y="15927"/>
                      </a:cubicBezTo>
                      <a:close/>
                      <a:moveTo>
                        <a:pt x="81237" y="17236"/>
                      </a:moveTo>
                      <a:cubicBezTo>
                        <a:pt x="81237" y="17236"/>
                        <a:pt x="81237" y="17236"/>
                        <a:pt x="81237" y="17236"/>
                      </a:cubicBezTo>
                      <a:cubicBezTo>
                        <a:pt x="81237" y="17236"/>
                        <a:pt x="82061" y="16800"/>
                        <a:pt x="82474" y="16800"/>
                      </a:cubicBezTo>
                      <a:cubicBezTo>
                        <a:pt x="82886" y="17018"/>
                        <a:pt x="83298" y="17018"/>
                        <a:pt x="83298" y="17236"/>
                      </a:cubicBezTo>
                      <a:cubicBezTo>
                        <a:pt x="83298" y="17454"/>
                        <a:pt x="83298" y="17454"/>
                        <a:pt x="82886" y="17672"/>
                      </a:cubicBezTo>
                      <a:cubicBezTo>
                        <a:pt x="82886" y="17890"/>
                        <a:pt x="82474" y="17890"/>
                        <a:pt x="82061" y="17890"/>
                      </a:cubicBezTo>
                      <a:cubicBezTo>
                        <a:pt x="82061" y="17890"/>
                        <a:pt x="81237" y="17236"/>
                        <a:pt x="81237" y="17236"/>
                      </a:cubicBezTo>
                      <a:close/>
                      <a:moveTo>
                        <a:pt x="82474" y="19854"/>
                      </a:moveTo>
                      <a:cubicBezTo>
                        <a:pt x="82474" y="19854"/>
                        <a:pt x="82474" y="19854"/>
                        <a:pt x="82474" y="19854"/>
                      </a:cubicBezTo>
                      <a:cubicBezTo>
                        <a:pt x="82474" y="19854"/>
                        <a:pt x="82061" y="20509"/>
                        <a:pt x="82061" y="20727"/>
                      </a:cubicBezTo>
                      <a:cubicBezTo>
                        <a:pt x="82061" y="20945"/>
                        <a:pt x="83298" y="20945"/>
                        <a:pt x="83711" y="20727"/>
                      </a:cubicBezTo>
                      <a:cubicBezTo>
                        <a:pt x="83711" y="20727"/>
                        <a:pt x="84123" y="20290"/>
                        <a:pt x="84123" y="20290"/>
                      </a:cubicBezTo>
                      <a:cubicBezTo>
                        <a:pt x="84123" y="20290"/>
                        <a:pt x="83711" y="19854"/>
                        <a:pt x="83298" y="19636"/>
                      </a:cubicBezTo>
                      <a:cubicBezTo>
                        <a:pt x="82886" y="19418"/>
                        <a:pt x="82474" y="19854"/>
                        <a:pt x="82474" y="19854"/>
                      </a:cubicBezTo>
                      <a:close/>
                      <a:moveTo>
                        <a:pt x="78762" y="19200"/>
                      </a:moveTo>
                      <a:cubicBezTo>
                        <a:pt x="78762" y="19200"/>
                        <a:pt x="78762" y="19200"/>
                        <a:pt x="78762" y="19200"/>
                      </a:cubicBezTo>
                      <a:cubicBezTo>
                        <a:pt x="78762" y="19854"/>
                        <a:pt x="78762" y="19854"/>
                        <a:pt x="78762" y="19854"/>
                      </a:cubicBezTo>
                      <a:cubicBezTo>
                        <a:pt x="78762" y="19854"/>
                        <a:pt x="79587" y="20290"/>
                        <a:pt x="80000" y="20290"/>
                      </a:cubicBezTo>
                      <a:cubicBezTo>
                        <a:pt x="80412" y="20509"/>
                        <a:pt x="80412" y="20290"/>
                        <a:pt x="81237" y="20509"/>
                      </a:cubicBezTo>
                      <a:cubicBezTo>
                        <a:pt x="81649" y="20509"/>
                        <a:pt x="81649" y="20290"/>
                        <a:pt x="81649" y="20290"/>
                      </a:cubicBezTo>
                      <a:cubicBezTo>
                        <a:pt x="82061" y="20290"/>
                        <a:pt x="82061" y="20290"/>
                        <a:pt x="82061" y="20072"/>
                      </a:cubicBezTo>
                      <a:cubicBezTo>
                        <a:pt x="82061" y="20072"/>
                        <a:pt x="81237" y="19854"/>
                        <a:pt x="80824" y="19636"/>
                      </a:cubicBezTo>
                      <a:cubicBezTo>
                        <a:pt x="80824" y="19418"/>
                        <a:pt x="80824" y="19418"/>
                        <a:pt x="80824" y="19200"/>
                      </a:cubicBezTo>
                      <a:cubicBezTo>
                        <a:pt x="80824" y="19200"/>
                        <a:pt x="81237" y="18981"/>
                        <a:pt x="81649" y="18981"/>
                      </a:cubicBezTo>
                      <a:cubicBezTo>
                        <a:pt x="81649" y="18763"/>
                        <a:pt x="81649" y="18327"/>
                        <a:pt x="81649" y="18327"/>
                      </a:cubicBezTo>
                      <a:cubicBezTo>
                        <a:pt x="81649" y="18327"/>
                        <a:pt x="80824" y="18327"/>
                        <a:pt x="80824" y="18109"/>
                      </a:cubicBezTo>
                      <a:cubicBezTo>
                        <a:pt x="80824" y="18109"/>
                        <a:pt x="80412" y="17890"/>
                        <a:pt x="80000" y="17672"/>
                      </a:cubicBezTo>
                      <a:cubicBezTo>
                        <a:pt x="80000" y="17454"/>
                        <a:pt x="79175" y="17454"/>
                        <a:pt x="78762" y="17454"/>
                      </a:cubicBezTo>
                      <a:cubicBezTo>
                        <a:pt x="78762" y="17454"/>
                        <a:pt x="78350" y="18109"/>
                        <a:pt x="77938" y="18327"/>
                      </a:cubicBezTo>
                      <a:cubicBezTo>
                        <a:pt x="77938" y="18327"/>
                        <a:pt x="77525" y="18763"/>
                        <a:pt x="77525" y="18763"/>
                      </a:cubicBezTo>
                      <a:cubicBezTo>
                        <a:pt x="77525" y="18981"/>
                        <a:pt x="77525" y="19200"/>
                        <a:pt x="77938" y="19418"/>
                      </a:cubicBezTo>
                      <a:cubicBezTo>
                        <a:pt x="78350" y="19418"/>
                        <a:pt x="78762" y="19200"/>
                        <a:pt x="78762" y="19200"/>
                      </a:cubicBezTo>
                      <a:close/>
                      <a:moveTo>
                        <a:pt x="77525" y="20945"/>
                      </a:moveTo>
                      <a:cubicBezTo>
                        <a:pt x="77525" y="20945"/>
                        <a:pt x="77525" y="20945"/>
                        <a:pt x="77525" y="20945"/>
                      </a:cubicBezTo>
                      <a:cubicBezTo>
                        <a:pt x="77113" y="20945"/>
                        <a:pt x="76288" y="20509"/>
                        <a:pt x="76288" y="20509"/>
                      </a:cubicBezTo>
                      <a:cubicBezTo>
                        <a:pt x="76288" y="20509"/>
                        <a:pt x="77113" y="20290"/>
                        <a:pt x="77113" y="20072"/>
                      </a:cubicBezTo>
                      <a:cubicBezTo>
                        <a:pt x="77525" y="20072"/>
                        <a:pt x="77113" y="19854"/>
                        <a:pt x="77938" y="19854"/>
                      </a:cubicBezTo>
                      <a:cubicBezTo>
                        <a:pt x="78762" y="20072"/>
                        <a:pt x="78762" y="20290"/>
                        <a:pt x="78762" y="20290"/>
                      </a:cubicBezTo>
                      <a:cubicBezTo>
                        <a:pt x="78762" y="20290"/>
                        <a:pt x="79175" y="20727"/>
                        <a:pt x="79175" y="20945"/>
                      </a:cubicBezTo>
                      <a:cubicBezTo>
                        <a:pt x="79175" y="20945"/>
                        <a:pt x="79175" y="21163"/>
                        <a:pt x="79175" y="21163"/>
                      </a:cubicBezTo>
                      <a:cubicBezTo>
                        <a:pt x="79175" y="21381"/>
                        <a:pt x="80000" y="21600"/>
                        <a:pt x="78762" y="21600"/>
                      </a:cubicBezTo>
                      <a:cubicBezTo>
                        <a:pt x="77938" y="21600"/>
                        <a:pt x="77938" y="21600"/>
                        <a:pt x="77938" y="21600"/>
                      </a:cubicBezTo>
                      <a:lnTo>
                        <a:pt x="77525" y="20945"/>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102" name="Shape 2054"/>
                <p:cNvSpPr/>
                <p:nvPr/>
              </p:nvSpPr>
              <p:spPr>
                <a:xfrm>
                  <a:off x="3278971" y="3425810"/>
                  <a:ext cx="1218169" cy="970595"/>
                </a:xfrm>
                <a:custGeom>
                  <a:avLst/>
                  <a:gdLst/>
                  <a:ahLst/>
                  <a:cxnLst/>
                  <a:rect l="0" t="0" r="0" b="0"/>
                  <a:pathLst>
                    <a:path w="120000" h="120000" extrusionOk="0">
                      <a:moveTo>
                        <a:pt x="111460" y="43462"/>
                      </a:moveTo>
                      <a:cubicBezTo>
                        <a:pt x="110786" y="44009"/>
                        <a:pt x="110561" y="42642"/>
                        <a:pt x="110112" y="43462"/>
                      </a:cubicBezTo>
                      <a:cubicBezTo>
                        <a:pt x="109438" y="44555"/>
                        <a:pt x="111235" y="47015"/>
                        <a:pt x="110561" y="48382"/>
                      </a:cubicBezTo>
                      <a:cubicBezTo>
                        <a:pt x="109662" y="49749"/>
                        <a:pt x="107865" y="51662"/>
                        <a:pt x="105393" y="52209"/>
                      </a:cubicBezTo>
                      <a:cubicBezTo>
                        <a:pt x="104269" y="52482"/>
                        <a:pt x="103370" y="53849"/>
                        <a:pt x="102471" y="53576"/>
                      </a:cubicBezTo>
                      <a:cubicBezTo>
                        <a:pt x="101797" y="53576"/>
                        <a:pt x="100224" y="55489"/>
                        <a:pt x="100000" y="56036"/>
                      </a:cubicBezTo>
                      <a:cubicBezTo>
                        <a:pt x="99550" y="56856"/>
                        <a:pt x="98202" y="56036"/>
                        <a:pt x="97078" y="56856"/>
                      </a:cubicBezTo>
                      <a:cubicBezTo>
                        <a:pt x="95505" y="57676"/>
                        <a:pt x="96404" y="56583"/>
                        <a:pt x="90786" y="58496"/>
                      </a:cubicBezTo>
                      <a:cubicBezTo>
                        <a:pt x="89662" y="58769"/>
                        <a:pt x="88764" y="59316"/>
                        <a:pt x="87865" y="59589"/>
                      </a:cubicBezTo>
                      <a:cubicBezTo>
                        <a:pt x="86966" y="60136"/>
                        <a:pt x="86067" y="59863"/>
                        <a:pt x="86067" y="62050"/>
                      </a:cubicBezTo>
                      <a:cubicBezTo>
                        <a:pt x="86292" y="63143"/>
                        <a:pt x="87415" y="62323"/>
                        <a:pt x="87191" y="63416"/>
                      </a:cubicBezTo>
                      <a:cubicBezTo>
                        <a:pt x="87191" y="64236"/>
                        <a:pt x="85617" y="63963"/>
                        <a:pt x="84044" y="65056"/>
                      </a:cubicBezTo>
                      <a:cubicBezTo>
                        <a:pt x="83370" y="65603"/>
                        <a:pt x="82921" y="67517"/>
                        <a:pt x="82471" y="68063"/>
                      </a:cubicBezTo>
                      <a:cubicBezTo>
                        <a:pt x="80224" y="69703"/>
                        <a:pt x="78651" y="73257"/>
                        <a:pt x="78651" y="73257"/>
                      </a:cubicBezTo>
                      <a:cubicBezTo>
                        <a:pt x="77528" y="74624"/>
                        <a:pt x="76179" y="75717"/>
                        <a:pt x="75505" y="77357"/>
                      </a:cubicBezTo>
                      <a:cubicBezTo>
                        <a:pt x="73932" y="80911"/>
                        <a:pt x="73483" y="78997"/>
                        <a:pt x="74382" y="83371"/>
                      </a:cubicBezTo>
                      <a:cubicBezTo>
                        <a:pt x="74606" y="83917"/>
                        <a:pt x="74606" y="85831"/>
                        <a:pt x="75280" y="87198"/>
                      </a:cubicBezTo>
                      <a:cubicBezTo>
                        <a:pt x="76404" y="89111"/>
                        <a:pt x="78876" y="91025"/>
                        <a:pt x="78202" y="91571"/>
                      </a:cubicBezTo>
                      <a:cubicBezTo>
                        <a:pt x="77752" y="91845"/>
                        <a:pt x="75056" y="94031"/>
                        <a:pt x="74157" y="94031"/>
                      </a:cubicBezTo>
                      <a:cubicBezTo>
                        <a:pt x="72808" y="94305"/>
                        <a:pt x="72134" y="95398"/>
                        <a:pt x="70337" y="97858"/>
                      </a:cubicBezTo>
                      <a:cubicBezTo>
                        <a:pt x="69438" y="98678"/>
                        <a:pt x="69213" y="99498"/>
                        <a:pt x="68539" y="100592"/>
                      </a:cubicBezTo>
                      <a:cubicBezTo>
                        <a:pt x="67415" y="102232"/>
                        <a:pt x="67865" y="101958"/>
                        <a:pt x="66966" y="103872"/>
                      </a:cubicBezTo>
                      <a:cubicBezTo>
                        <a:pt x="66741" y="104419"/>
                        <a:pt x="66966" y="106332"/>
                        <a:pt x="66966" y="107152"/>
                      </a:cubicBezTo>
                      <a:cubicBezTo>
                        <a:pt x="64719" y="107425"/>
                        <a:pt x="64719" y="107425"/>
                        <a:pt x="64719" y="107425"/>
                      </a:cubicBezTo>
                      <a:cubicBezTo>
                        <a:pt x="60898" y="106059"/>
                        <a:pt x="60898" y="106059"/>
                        <a:pt x="60898" y="106059"/>
                      </a:cubicBezTo>
                      <a:cubicBezTo>
                        <a:pt x="58651" y="108519"/>
                        <a:pt x="58651" y="108519"/>
                        <a:pt x="58651" y="108519"/>
                      </a:cubicBezTo>
                      <a:cubicBezTo>
                        <a:pt x="57752" y="109339"/>
                        <a:pt x="56404" y="108792"/>
                        <a:pt x="55505" y="109612"/>
                      </a:cubicBezTo>
                      <a:cubicBezTo>
                        <a:pt x="55505" y="109612"/>
                        <a:pt x="54831" y="112072"/>
                        <a:pt x="54606" y="112619"/>
                      </a:cubicBezTo>
                      <a:cubicBezTo>
                        <a:pt x="54606" y="113439"/>
                        <a:pt x="53033" y="115626"/>
                        <a:pt x="53033" y="115626"/>
                      </a:cubicBezTo>
                      <a:cubicBezTo>
                        <a:pt x="52808" y="115899"/>
                        <a:pt x="51685" y="117266"/>
                        <a:pt x="51235" y="117539"/>
                      </a:cubicBezTo>
                      <a:cubicBezTo>
                        <a:pt x="50561" y="117813"/>
                        <a:pt x="50112" y="115626"/>
                        <a:pt x="49662" y="115626"/>
                      </a:cubicBezTo>
                      <a:cubicBezTo>
                        <a:pt x="48764" y="115626"/>
                        <a:pt x="48764" y="115353"/>
                        <a:pt x="47865" y="115079"/>
                      </a:cubicBezTo>
                      <a:cubicBezTo>
                        <a:pt x="46741" y="115079"/>
                        <a:pt x="46516" y="116993"/>
                        <a:pt x="45393" y="116993"/>
                      </a:cubicBezTo>
                      <a:cubicBezTo>
                        <a:pt x="43595" y="116719"/>
                        <a:pt x="40449" y="114533"/>
                        <a:pt x="40449" y="114533"/>
                      </a:cubicBezTo>
                      <a:cubicBezTo>
                        <a:pt x="39775" y="114259"/>
                        <a:pt x="39775" y="115353"/>
                        <a:pt x="39101" y="115353"/>
                      </a:cubicBezTo>
                      <a:cubicBezTo>
                        <a:pt x="37752" y="115079"/>
                        <a:pt x="35955" y="113986"/>
                        <a:pt x="34157" y="113439"/>
                      </a:cubicBezTo>
                      <a:cubicBezTo>
                        <a:pt x="32808" y="113166"/>
                        <a:pt x="30112" y="112619"/>
                        <a:pt x="30112" y="112619"/>
                      </a:cubicBezTo>
                      <a:cubicBezTo>
                        <a:pt x="29438" y="113166"/>
                        <a:pt x="28764" y="113166"/>
                        <a:pt x="28089" y="113439"/>
                      </a:cubicBezTo>
                      <a:cubicBezTo>
                        <a:pt x="27191" y="113986"/>
                        <a:pt x="26292" y="114806"/>
                        <a:pt x="25617" y="115079"/>
                      </a:cubicBezTo>
                      <a:cubicBezTo>
                        <a:pt x="24943" y="115353"/>
                        <a:pt x="23595" y="113986"/>
                        <a:pt x="21573" y="115353"/>
                      </a:cubicBezTo>
                      <a:cubicBezTo>
                        <a:pt x="20898" y="115626"/>
                        <a:pt x="20000" y="115353"/>
                        <a:pt x="19550" y="115899"/>
                      </a:cubicBezTo>
                      <a:cubicBezTo>
                        <a:pt x="18876" y="116719"/>
                        <a:pt x="18651" y="117813"/>
                        <a:pt x="17528" y="118359"/>
                      </a:cubicBezTo>
                      <a:cubicBezTo>
                        <a:pt x="16853" y="118633"/>
                        <a:pt x="15955" y="119726"/>
                        <a:pt x="15505" y="120000"/>
                      </a:cubicBezTo>
                      <a:cubicBezTo>
                        <a:pt x="14382" y="119179"/>
                        <a:pt x="12808" y="119179"/>
                        <a:pt x="12359" y="116993"/>
                      </a:cubicBezTo>
                      <a:cubicBezTo>
                        <a:pt x="12134" y="116173"/>
                        <a:pt x="11460" y="116993"/>
                        <a:pt x="11011" y="116173"/>
                      </a:cubicBezTo>
                      <a:cubicBezTo>
                        <a:pt x="10112" y="115079"/>
                        <a:pt x="9438" y="112619"/>
                        <a:pt x="9438" y="111526"/>
                      </a:cubicBezTo>
                      <a:cubicBezTo>
                        <a:pt x="9438" y="111526"/>
                        <a:pt x="10112" y="110432"/>
                        <a:pt x="9438" y="109339"/>
                      </a:cubicBezTo>
                      <a:cubicBezTo>
                        <a:pt x="8988" y="108246"/>
                        <a:pt x="8314" y="107972"/>
                        <a:pt x="8539" y="106879"/>
                      </a:cubicBezTo>
                      <a:cubicBezTo>
                        <a:pt x="9213" y="106879"/>
                        <a:pt x="8988" y="104965"/>
                        <a:pt x="8988" y="104965"/>
                      </a:cubicBezTo>
                      <a:cubicBezTo>
                        <a:pt x="8988" y="104419"/>
                        <a:pt x="7415" y="101138"/>
                        <a:pt x="6966" y="100592"/>
                      </a:cubicBezTo>
                      <a:cubicBezTo>
                        <a:pt x="5842" y="99772"/>
                        <a:pt x="4494" y="98678"/>
                        <a:pt x="3146" y="98405"/>
                      </a:cubicBezTo>
                      <a:cubicBezTo>
                        <a:pt x="0" y="97858"/>
                        <a:pt x="0" y="97858"/>
                        <a:pt x="0" y="97858"/>
                      </a:cubicBezTo>
                      <a:cubicBezTo>
                        <a:pt x="0" y="96765"/>
                        <a:pt x="0" y="96765"/>
                        <a:pt x="0" y="96765"/>
                      </a:cubicBezTo>
                      <a:cubicBezTo>
                        <a:pt x="0" y="96218"/>
                        <a:pt x="0" y="96218"/>
                        <a:pt x="0" y="96218"/>
                      </a:cubicBezTo>
                      <a:cubicBezTo>
                        <a:pt x="0" y="95945"/>
                        <a:pt x="0" y="95945"/>
                        <a:pt x="0" y="95945"/>
                      </a:cubicBezTo>
                      <a:cubicBezTo>
                        <a:pt x="224" y="95125"/>
                        <a:pt x="224" y="95125"/>
                        <a:pt x="224" y="95125"/>
                      </a:cubicBezTo>
                      <a:cubicBezTo>
                        <a:pt x="449" y="94578"/>
                        <a:pt x="449" y="94578"/>
                        <a:pt x="449" y="94578"/>
                      </a:cubicBezTo>
                      <a:cubicBezTo>
                        <a:pt x="224" y="94031"/>
                        <a:pt x="224" y="94031"/>
                        <a:pt x="224" y="94031"/>
                      </a:cubicBezTo>
                      <a:cubicBezTo>
                        <a:pt x="224" y="93485"/>
                        <a:pt x="224" y="93485"/>
                        <a:pt x="224" y="93485"/>
                      </a:cubicBezTo>
                      <a:cubicBezTo>
                        <a:pt x="224" y="92665"/>
                        <a:pt x="224" y="92665"/>
                        <a:pt x="224" y="92665"/>
                      </a:cubicBezTo>
                      <a:cubicBezTo>
                        <a:pt x="224" y="92665"/>
                        <a:pt x="0" y="92118"/>
                        <a:pt x="0" y="92118"/>
                      </a:cubicBezTo>
                      <a:cubicBezTo>
                        <a:pt x="0" y="92118"/>
                        <a:pt x="0" y="91571"/>
                        <a:pt x="0" y="91571"/>
                      </a:cubicBezTo>
                      <a:cubicBezTo>
                        <a:pt x="0" y="91571"/>
                        <a:pt x="449" y="91298"/>
                        <a:pt x="449" y="91298"/>
                      </a:cubicBezTo>
                      <a:cubicBezTo>
                        <a:pt x="449" y="91025"/>
                        <a:pt x="898" y="90751"/>
                        <a:pt x="898" y="90751"/>
                      </a:cubicBezTo>
                      <a:cubicBezTo>
                        <a:pt x="898" y="90751"/>
                        <a:pt x="1123" y="89931"/>
                        <a:pt x="1123" y="89658"/>
                      </a:cubicBezTo>
                      <a:cubicBezTo>
                        <a:pt x="1123" y="89658"/>
                        <a:pt x="1348" y="89384"/>
                        <a:pt x="1348" y="89384"/>
                      </a:cubicBezTo>
                      <a:cubicBezTo>
                        <a:pt x="2022" y="89111"/>
                        <a:pt x="2022" y="89111"/>
                        <a:pt x="2022" y="89111"/>
                      </a:cubicBezTo>
                      <a:cubicBezTo>
                        <a:pt x="2471" y="88564"/>
                        <a:pt x="2471" y="88564"/>
                        <a:pt x="2471" y="88564"/>
                      </a:cubicBezTo>
                      <a:cubicBezTo>
                        <a:pt x="2921" y="88291"/>
                        <a:pt x="2921" y="88291"/>
                        <a:pt x="2921" y="88291"/>
                      </a:cubicBezTo>
                      <a:cubicBezTo>
                        <a:pt x="3370" y="87744"/>
                        <a:pt x="3370" y="87744"/>
                        <a:pt x="3370" y="87744"/>
                      </a:cubicBezTo>
                      <a:cubicBezTo>
                        <a:pt x="3595" y="86651"/>
                        <a:pt x="3595" y="86651"/>
                        <a:pt x="3595" y="86651"/>
                      </a:cubicBezTo>
                      <a:cubicBezTo>
                        <a:pt x="3820" y="86378"/>
                        <a:pt x="3820" y="86378"/>
                        <a:pt x="3820" y="86378"/>
                      </a:cubicBezTo>
                      <a:cubicBezTo>
                        <a:pt x="3820" y="86378"/>
                        <a:pt x="4494" y="86378"/>
                        <a:pt x="4494" y="86378"/>
                      </a:cubicBezTo>
                      <a:cubicBezTo>
                        <a:pt x="4494" y="86378"/>
                        <a:pt x="4943" y="86378"/>
                        <a:pt x="4943" y="86378"/>
                      </a:cubicBezTo>
                      <a:cubicBezTo>
                        <a:pt x="4943" y="86104"/>
                        <a:pt x="4943" y="86104"/>
                        <a:pt x="4943" y="86104"/>
                      </a:cubicBezTo>
                      <a:cubicBezTo>
                        <a:pt x="5393" y="85831"/>
                        <a:pt x="5393" y="85831"/>
                        <a:pt x="5393" y="85831"/>
                      </a:cubicBezTo>
                      <a:cubicBezTo>
                        <a:pt x="5842" y="86378"/>
                        <a:pt x="5842" y="86378"/>
                        <a:pt x="5842" y="86378"/>
                      </a:cubicBezTo>
                      <a:cubicBezTo>
                        <a:pt x="5842" y="86378"/>
                        <a:pt x="6067" y="86378"/>
                        <a:pt x="6292" y="86378"/>
                      </a:cubicBezTo>
                      <a:cubicBezTo>
                        <a:pt x="6292" y="86378"/>
                        <a:pt x="6516" y="86378"/>
                        <a:pt x="6516" y="86378"/>
                      </a:cubicBezTo>
                      <a:cubicBezTo>
                        <a:pt x="6516" y="85558"/>
                        <a:pt x="6516" y="85558"/>
                        <a:pt x="6516" y="85558"/>
                      </a:cubicBezTo>
                      <a:cubicBezTo>
                        <a:pt x="7415" y="84464"/>
                        <a:pt x="7415" y="84464"/>
                        <a:pt x="7415" y="84464"/>
                      </a:cubicBezTo>
                      <a:cubicBezTo>
                        <a:pt x="7415" y="84464"/>
                        <a:pt x="7415" y="84191"/>
                        <a:pt x="7415" y="84191"/>
                      </a:cubicBezTo>
                      <a:cubicBezTo>
                        <a:pt x="7415" y="84191"/>
                        <a:pt x="7415" y="83917"/>
                        <a:pt x="7415" y="83917"/>
                      </a:cubicBezTo>
                      <a:cubicBezTo>
                        <a:pt x="7191" y="83644"/>
                        <a:pt x="6966" y="83917"/>
                        <a:pt x="6966" y="83917"/>
                      </a:cubicBezTo>
                      <a:cubicBezTo>
                        <a:pt x="6966" y="83917"/>
                        <a:pt x="6516" y="83917"/>
                        <a:pt x="6516" y="83917"/>
                      </a:cubicBezTo>
                      <a:cubicBezTo>
                        <a:pt x="6516" y="83917"/>
                        <a:pt x="6067" y="83917"/>
                        <a:pt x="5842" y="83917"/>
                      </a:cubicBezTo>
                      <a:cubicBezTo>
                        <a:pt x="5842" y="83917"/>
                        <a:pt x="5842" y="83644"/>
                        <a:pt x="5842" y="83644"/>
                      </a:cubicBezTo>
                      <a:cubicBezTo>
                        <a:pt x="5617" y="83097"/>
                        <a:pt x="5617" y="83097"/>
                        <a:pt x="5617" y="83097"/>
                      </a:cubicBezTo>
                      <a:cubicBezTo>
                        <a:pt x="5617" y="83097"/>
                        <a:pt x="5393" y="82551"/>
                        <a:pt x="5393" y="82277"/>
                      </a:cubicBezTo>
                      <a:cubicBezTo>
                        <a:pt x="5393" y="82004"/>
                        <a:pt x="5393" y="81731"/>
                        <a:pt x="5393" y="81457"/>
                      </a:cubicBezTo>
                      <a:cubicBezTo>
                        <a:pt x="5393" y="81457"/>
                        <a:pt x="5168" y="81184"/>
                        <a:pt x="5168" y="81184"/>
                      </a:cubicBezTo>
                      <a:cubicBezTo>
                        <a:pt x="5168" y="81184"/>
                        <a:pt x="4943" y="80911"/>
                        <a:pt x="4943" y="80637"/>
                      </a:cubicBezTo>
                      <a:cubicBezTo>
                        <a:pt x="4943" y="80637"/>
                        <a:pt x="4719" y="79817"/>
                        <a:pt x="4719" y="79817"/>
                      </a:cubicBezTo>
                      <a:cubicBezTo>
                        <a:pt x="4494" y="79544"/>
                        <a:pt x="4494" y="79544"/>
                        <a:pt x="4494" y="79544"/>
                      </a:cubicBezTo>
                      <a:cubicBezTo>
                        <a:pt x="4719" y="79271"/>
                        <a:pt x="4719" y="79271"/>
                        <a:pt x="4719" y="79271"/>
                      </a:cubicBezTo>
                      <a:cubicBezTo>
                        <a:pt x="4494" y="78724"/>
                        <a:pt x="4494" y="78724"/>
                        <a:pt x="4494" y="78724"/>
                      </a:cubicBezTo>
                      <a:cubicBezTo>
                        <a:pt x="4943" y="78724"/>
                        <a:pt x="4943" y="78724"/>
                        <a:pt x="4943" y="78724"/>
                      </a:cubicBezTo>
                      <a:cubicBezTo>
                        <a:pt x="4719" y="78451"/>
                        <a:pt x="4719" y="78451"/>
                        <a:pt x="4719" y="78451"/>
                      </a:cubicBezTo>
                      <a:cubicBezTo>
                        <a:pt x="4943" y="77904"/>
                        <a:pt x="4943" y="77904"/>
                        <a:pt x="4943" y="77904"/>
                      </a:cubicBezTo>
                      <a:cubicBezTo>
                        <a:pt x="4943" y="77904"/>
                        <a:pt x="5393" y="77630"/>
                        <a:pt x="5393" y="77630"/>
                      </a:cubicBezTo>
                      <a:cubicBezTo>
                        <a:pt x="5393" y="77630"/>
                        <a:pt x="5842" y="77084"/>
                        <a:pt x="5842" y="77084"/>
                      </a:cubicBezTo>
                      <a:cubicBezTo>
                        <a:pt x="5842" y="77084"/>
                        <a:pt x="5617" y="76810"/>
                        <a:pt x="5617" y="76810"/>
                      </a:cubicBezTo>
                      <a:cubicBezTo>
                        <a:pt x="5617" y="76810"/>
                        <a:pt x="5617" y="76264"/>
                        <a:pt x="5617" y="76264"/>
                      </a:cubicBezTo>
                      <a:cubicBezTo>
                        <a:pt x="6067" y="75170"/>
                        <a:pt x="6067" y="75170"/>
                        <a:pt x="6067" y="75170"/>
                      </a:cubicBezTo>
                      <a:cubicBezTo>
                        <a:pt x="6292" y="75170"/>
                        <a:pt x="6292" y="75170"/>
                        <a:pt x="6292" y="75170"/>
                      </a:cubicBezTo>
                      <a:cubicBezTo>
                        <a:pt x="6966" y="74897"/>
                        <a:pt x="6966" y="74897"/>
                        <a:pt x="6966" y="74897"/>
                      </a:cubicBezTo>
                      <a:cubicBezTo>
                        <a:pt x="7191" y="74624"/>
                        <a:pt x="7191" y="74624"/>
                        <a:pt x="7191" y="74624"/>
                      </a:cubicBezTo>
                      <a:cubicBezTo>
                        <a:pt x="7415" y="74624"/>
                        <a:pt x="7415" y="74624"/>
                        <a:pt x="7415" y="74624"/>
                      </a:cubicBezTo>
                      <a:cubicBezTo>
                        <a:pt x="7865" y="74350"/>
                        <a:pt x="7865" y="74350"/>
                        <a:pt x="7865" y="74350"/>
                      </a:cubicBezTo>
                      <a:cubicBezTo>
                        <a:pt x="8314" y="74077"/>
                        <a:pt x="8314" y="74077"/>
                        <a:pt x="8314" y="74077"/>
                      </a:cubicBezTo>
                      <a:cubicBezTo>
                        <a:pt x="8539" y="73804"/>
                        <a:pt x="8539" y="73804"/>
                        <a:pt x="8539" y="73804"/>
                      </a:cubicBezTo>
                      <a:cubicBezTo>
                        <a:pt x="8539" y="73257"/>
                        <a:pt x="8539" y="73257"/>
                        <a:pt x="8539" y="73257"/>
                      </a:cubicBezTo>
                      <a:cubicBezTo>
                        <a:pt x="8764" y="72984"/>
                        <a:pt x="8764" y="72984"/>
                        <a:pt x="8764" y="72984"/>
                      </a:cubicBezTo>
                      <a:cubicBezTo>
                        <a:pt x="9213" y="72437"/>
                        <a:pt x="9213" y="72437"/>
                        <a:pt x="9213" y="72437"/>
                      </a:cubicBezTo>
                      <a:cubicBezTo>
                        <a:pt x="9662" y="71890"/>
                        <a:pt x="9662" y="71890"/>
                        <a:pt x="9662" y="71890"/>
                      </a:cubicBezTo>
                      <a:cubicBezTo>
                        <a:pt x="9662" y="71343"/>
                        <a:pt x="9662" y="71343"/>
                        <a:pt x="9662" y="71343"/>
                      </a:cubicBezTo>
                      <a:cubicBezTo>
                        <a:pt x="9438" y="71070"/>
                        <a:pt x="9438" y="71070"/>
                        <a:pt x="9438" y="71070"/>
                      </a:cubicBezTo>
                      <a:cubicBezTo>
                        <a:pt x="9438" y="71070"/>
                        <a:pt x="9213" y="70523"/>
                        <a:pt x="9213" y="70250"/>
                      </a:cubicBezTo>
                      <a:cubicBezTo>
                        <a:pt x="9213" y="70250"/>
                        <a:pt x="8988" y="70250"/>
                        <a:pt x="8988" y="70250"/>
                      </a:cubicBezTo>
                      <a:cubicBezTo>
                        <a:pt x="8539" y="70523"/>
                        <a:pt x="8539" y="70523"/>
                        <a:pt x="8539" y="70523"/>
                      </a:cubicBezTo>
                      <a:cubicBezTo>
                        <a:pt x="8539" y="70523"/>
                        <a:pt x="8314" y="70250"/>
                        <a:pt x="8089" y="70250"/>
                      </a:cubicBezTo>
                      <a:cubicBezTo>
                        <a:pt x="8089" y="70250"/>
                        <a:pt x="8089" y="69977"/>
                        <a:pt x="8089" y="69977"/>
                      </a:cubicBezTo>
                      <a:cubicBezTo>
                        <a:pt x="8314" y="69703"/>
                        <a:pt x="8314" y="69703"/>
                        <a:pt x="8314" y="69703"/>
                      </a:cubicBezTo>
                      <a:cubicBezTo>
                        <a:pt x="8314" y="69157"/>
                        <a:pt x="8314" y="69157"/>
                        <a:pt x="8314" y="69157"/>
                      </a:cubicBezTo>
                      <a:cubicBezTo>
                        <a:pt x="7865" y="69157"/>
                        <a:pt x="7865" y="69157"/>
                        <a:pt x="7865" y="69157"/>
                      </a:cubicBezTo>
                      <a:cubicBezTo>
                        <a:pt x="7640" y="68610"/>
                        <a:pt x="7640" y="68610"/>
                        <a:pt x="7640" y="68610"/>
                      </a:cubicBezTo>
                      <a:cubicBezTo>
                        <a:pt x="7415" y="68063"/>
                        <a:pt x="7415" y="68063"/>
                        <a:pt x="7415" y="68063"/>
                      </a:cubicBezTo>
                      <a:cubicBezTo>
                        <a:pt x="7415" y="67517"/>
                        <a:pt x="7415" y="67517"/>
                        <a:pt x="7415" y="67517"/>
                      </a:cubicBezTo>
                      <a:cubicBezTo>
                        <a:pt x="7640" y="67243"/>
                        <a:pt x="7640" y="67243"/>
                        <a:pt x="7640" y="67243"/>
                      </a:cubicBezTo>
                      <a:cubicBezTo>
                        <a:pt x="7640" y="66970"/>
                        <a:pt x="7640" y="66970"/>
                        <a:pt x="7640" y="66970"/>
                      </a:cubicBezTo>
                      <a:cubicBezTo>
                        <a:pt x="7415" y="66697"/>
                        <a:pt x="7415" y="66697"/>
                        <a:pt x="7415" y="66697"/>
                      </a:cubicBezTo>
                      <a:cubicBezTo>
                        <a:pt x="7415" y="66150"/>
                        <a:pt x="7415" y="66150"/>
                        <a:pt x="7415" y="66150"/>
                      </a:cubicBezTo>
                      <a:cubicBezTo>
                        <a:pt x="7191" y="65603"/>
                        <a:pt x="7191" y="65603"/>
                        <a:pt x="7191" y="65603"/>
                      </a:cubicBezTo>
                      <a:cubicBezTo>
                        <a:pt x="7415" y="65330"/>
                        <a:pt x="7415" y="65330"/>
                        <a:pt x="7415" y="65330"/>
                      </a:cubicBezTo>
                      <a:cubicBezTo>
                        <a:pt x="7640" y="65056"/>
                        <a:pt x="7640" y="65056"/>
                        <a:pt x="7640" y="65056"/>
                      </a:cubicBezTo>
                      <a:cubicBezTo>
                        <a:pt x="7640" y="64510"/>
                        <a:pt x="7640" y="64510"/>
                        <a:pt x="7640" y="64510"/>
                      </a:cubicBezTo>
                      <a:cubicBezTo>
                        <a:pt x="7640" y="64510"/>
                        <a:pt x="7191" y="64236"/>
                        <a:pt x="7191" y="64236"/>
                      </a:cubicBezTo>
                      <a:cubicBezTo>
                        <a:pt x="7191" y="64236"/>
                        <a:pt x="6966" y="63690"/>
                        <a:pt x="6966" y="63690"/>
                      </a:cubicBezTo>
                      <a:cubicBezTo>
                        <a:pt x="6966" y="63416"/>
                        <a:pt x="6966" y="63416"/>
                        <a:pt x="6966" y="63416"/>
                      </a:cubicBezTo>
                      <a:cubicBezTo>
                        <a:pt x="6966" y="63416"/>
                        <a:pt x="6516" y="62870"/>
                        <a:pt x="6516" y="62870"/>
                      </a:cubicBezTo>
                      <a:cubicBezTo>
                        <a:pt x="6516" y="62870"/>
                        <a:pt x="6516" y="62323"/>
                        <a:pt x="6516" y="62323"/>
                      </a:cubicBezTo>
                      <a:cubicBezTo>
                        <a:pt x="6516" y="62323"/>
                        <a:pt x="6292" y="61776"/>
                        <a:pt x="6292" y="61776"/>
                      </a:cubicBezTo>
                      <a:cubicBezTo>
                        <a:pt x="6067" y="61503"/>
                        <a:pt x="6067" y="61230"/>
                        <a:pt x="6067" y="61230"/>
                      </a:cubicBezTo>
                      <a:cubicBezTo>
                        <a:pt x="6516" y="61230"/>
                        <a:pt x="6516" y="61230"/>
                        <a:pt x="6516" y="61230"/>
                      </a:cubicBezTo>
                      <a:cubicBezTo>
                        <a:pt x="6966" y="61230"/>
                        <a:pt x="6966" y="61230"/>
                        <a:pt x="6966" y="61230"/>
                      </a:cubicBezTo>
                      <a:cubicBezTo>
                        <a:pt x="7191" y="61776"/>
                        <a:pt x="7191" y="61776"/>
                        <a:pt x="7191" y="61776"/>
                      </a:cubicBezTo>
                      <a:cubicBezTo>
                        <a:pt x="7415" y="61503"/>
                        <a:pt x="7415" y="61503"/>
                        <a:pt x="7415" y="61503"/>
                      </a:cubicBezTo>
                      <a:cubicBezTo>
                        <a:pt x="7415" y="61776"/>
                        <a:pt x="7415" y="61776"/>
                        <a:pt x="7415" y="61776"/>
                      </a:cubicBezTo>
                      <a:cubicBezTo>
                        <a:pt x="7865" y="61776"/>
                        <a:pt x="7865" y="61776"/>
                        <a:pt x="7865" y="61776"/>
                      </a:cubicBezTo>
                      <a:cubicBezTo>
                        <a:pt x="8539" y="61776"/>
                        <a:pt x="8539" y="61776"/>
                        <a:pt x="8539" y="61776"/>
                      </a:cubicBezTo>
                      <a:cubicBezTo>
                        <a:pt x="8988" y="61776"/>
                        <a:pt x="8988" y="61776"/>
                        <a:pt x="8988" y="61776"/>
                      </a:cubicBezTo>
                      <a:cubicBezTo>
                        <a:pt x="9213" y="61776"/>
                        <a:pt x="9213" y="61776"/>
                        <a:pt x="9213" y="61776"/>
                      </a:cubicBezTo>
                      <a:cubicBezTo>
                        <a:pt x="9213" y="61776"/>
                        <a:pt x="9438" y="62050"/>
                        <a:pt x="9438" y="62050"/>
                      </a:cubicBezTo>
                      <a:cubicBezTo>
                        <a:pt x="9662" y="62323"/>
                        <a:pt x="9887" y="62050"/>
                        <a:pt x="9887" y="62050"/>
                      </a:cubicBezTo>
                      <a:cubicBezTo>
                        <a:pt x="9887" y="62323"/>
                        <a:pt x="10337" y="62323"/>
                        <a:pt x="10337" y="62323"/>
                      </a:cubicBezTo>
                      <a:cubicBezTo>
                        <a:pt x="10337" y="62323"/>
                        <a:pt x="10561" y="62050"/>
                        <a:pt x="10786" y="62050"/>
                      </a:cubicBezTo>
                      <a:cubicBezTo>
                        <a:pt x="10786" y="62050"/>
                        <a:pt x="11011" y="62050"/>
                        <a:pt x="11011" y="62050"/>
                      </a:cubicBezTo>
                      <a:cubicBezTo>
                        <a:pt x="11235" y="61776"/>
                        <a:pt x="11235" y="61776"/>
                        <a:pt x="11235" y="61776"/>
                      </a:cubicBezTo>
                      <a:cubicBezTo>
                        <a:pt x="11235" y="61230"/>
                        <a:pt x="11235" y="61230"/>
                        <a:pt x="11235" y="61230"/>
                      </a:cubicBezTo>
                      <a:cubicBezTo>
                        <a:pt x="11460" y="61230"/>
                        <a:pt x="11460" y="61230"/>
                        <a:pt x="11460" y="61230"/>
                      </a:cubicBezTo>
                      <a:cubicBezTo>
                        <a:pt x="11460" y="60956"/>
                        <a:pt x="11460" y="60956"/>
                        <a:pt x="11460" y="60956"/>
                      </a:cubicBezTo>
                      <a:cubicBezTo>
                        <a:pt x="11685" y="60410"/>
                        <a:pt x="11685" y="60410"/>
                        <a:pt x="11685" y="60410"/>
                      </a:cubicBezTo>
                      <a:cubicBezTo>
                        <a:pt x="11685" y="60136"/>
                        <a:pt x="11685" y="60136"/>
                        <a:pt x="11685" y="60136"/>
                      </a:cubicBezTo>
                      <a:cubicBezTo>
                        <a:pt x="12134" y="60136"/>
                        <a:pt x="12134" y="60136"/>
                        <a:pt x="12134" y="60136"/>
                      </a:cubicBezTo>
                      <a:cubicBezTo>
                        <a:pt x="12359" y="59863"/>
                        <a:pt x="12359" y="59863"/>
                        <a:pt x="12359" y="59863"/>
                      </a:cubicBezTo>
                      <a:cubicBezTo>
                        <a:pt x="12584" y="59316"/>
                        <a:pt x="12584" y="59316"/>
                        <a:pt x="12584" y="59316"/>
                      </a:cubicBezTo>
                      <a:cubicBezTo>
                        <a:pt x="12808" y="58769"/>
                        <a:pt x="12808" y="58769"/>
                        <a:pt x="12808" y="58769"/>
                      </a:cubicBezTo>
                      <a:cubicBezTo>
                        <a:pt x="12808" y="58769"/>
                        <a:pt x="13033" y="58223"/>
                        <a:pt x="13033" y="58223"/>
                      </a:cubicBezTo>
                      <a:cubicBezTo>
                        <a:pt x="13033" y="58223"/>
                        <a:pt x="13258" y="57676"/>
                        <a:pt x="13258" y="57676"/>
                      </a:cubicBezTo>
                      <a:cubicBezTo>
                        <a:pt x="13033" y="56856"/>
                        <a:pt x="13033" y="56856"/>
                        <a:pt x="13033" y="56856"/>
                      </a:cubicBezTo>
                      <a:cubicBezTo>
                        <a:pt x="12808" y="56309"/>
                        <a:pt x="12808" y="56309"/>
                        <a:pt x="12808" y="56309"/>
                      </a:cubicBezTo>
                      <a:cubicBezTo>
                        <a:pt x="12584" y="55763"/>
                        <a:pt x="12584" y="55763"/>
                        <a:pt x="12584" y="55763"/>
                      </a:cubicBezTo>
                      <a:cubicBezTo>
                        <a:pt x="12584" y="55763"/>
                        <a:pt x="12584" y="55489"/>
                        <a:pt x="12359" y="55489"/>
                      </a:cubicBezTo>
                      <a:cubicBezTo>
                        <a:pt x="12359" y="55489"/>
                        <a:pt x="12359" y="55216"/>
                        <a:pt x="12359" y="55216"/>
                      </a:cubicBezTo>
                      <a:cubicBezTo>
                        <a:pt x="12359" y="54669"/>
                        <a:pt x="12359" y="54669"/>
                        <a:pt x="12359" y="54669"/>
                      </a:cubicBezTo>
                      <a:cubicBezTo>
                        <a:pt x="12584" y="54396"/>
                        <a:pt x="12584" y="54396"/>
                        <a:pt x="12584" y="54396"/>
                      </a:cubicBezTo>
                      <a:cubicBezTo>
                        <a:pt x="12808" y="54396"/>
                        <a:pt x="12808" y="54396"/>
                        <a:pt x="12808" y="54396"/>
                      </a:cubicBezTo>
                      <a:cubicBezTo>
                        <a:pt x="13258" y="53849"/>
                        <a:pt x="13258" y="53849"/>
                        <a:pt x="13258" y="53849"/>
                      </a:cubicBezTo>
                      <a:cubicBezTo>
                        <a:pt x="13483" y="53849"/>
                        <a:pt x="13483" y="53849"/>
                        <a:pt x="13483" y="53849"/>
                      </a:cubicBezTo>
                      <a:cubicBezTo>
                        <a:pt x="13932" y="53849"/>
                        <a:pt x="13932" y="53849"/>
                        <a:pt x="13932" y="53849"/>
                      </a:cubicBezTo>
                      <a:cubicBezTo>
                        <a:pt x="14382" y="53302"/>
                        <a:pt x="14382" y="53302"/>
                        <a:pt x="14382" y="53302"/>
                      </a:cubicBezTo>
                      <a:cubicBezTo>
                        <a:pt x="14606" y="53302"/>
                        <a:pt x="14606" y="53302"/>
                        <a:pt x="14606" y="53302"/>
                      </a:cubicBezTo>
                      <a:cubicBezTo>
                        <a:pt x="14831" y="53029"/>
                        <a:pt x="14831" y="53029"/>
                        <a:pt x="14831" y="53029"/>
                      </a:cubicBezTo>
                      <a:cubicBezTo>
                        <a:pt x="15056" y="52482"/>
                        <a:pt x="15056" y="52482"/>
                        <a:pt x="15056" y="52482"/>
                      </a:cubicBezTo>
                      <a:cubicBezTo>
                        <a:pt x="14831" y="51936"/>
                        <a:pt x="14831" y="51936"/>
                        <a:pt x="14831" y="51936"/>
                      </a:cubicBezTo>
                      <a:cubicBezTo>
                        <a:pt x="14606" y="51662"/>
                        <a:pt x="14606" y="51662"/>
                        <a:pt x="14606" y="51662"/>
                      </a:cubicBezTo>
                      <a:cubicBezTo>
                        <a:pt x="14831" y="50842"/>
                        <a:pt x="14831" y="50842"/>
                        <a:pt x="14831" y="50842"/>
                      </a:cubicBezTo>
                      <a:cubicBezTo>
                        <a:pt x="15280" y="50569"/>
                        <a:pt x="15280" y="50569"/>
                        <a:pt x="15280" y="50569"/>
                      </a:cubicBezTo>
                      <a:cubicBezTo>
                        <a:pt x="15280" y="49749"/>
                        <a:pt x="15280" y="49749"/>
                        <a:pt x="15280" y="49749"/>
                      </a:cubicBezTo>
                      <a:cubicBezTo>
                        <a:pt x="15056" y="49476"/>
                        <a:pt x="15056" y="49476"/>
                        <a:pt x="15056" y="49476"/>
                      </a:cubicBezTo>
                      <a:cubicBezTo>
                        <a:pt x="15280" y="48929"/>
                        <a:pt x="15280" y="48929"/>
                        <a:pt x="15280" y="48929"/>
                      </a:cubicBezTo>
                      <a:cubicBezTo>
                        <a:pt x="15505" y="48656"/>
                        <a:pt x="15505" y="48656"/>
                        <a:pt x="15505" y="48656"/>
                      </a:cubicBezTo>
                      <a:cubicBezTo>
                        <a:pt x="15505" y="48656"/>
                        <a:pt x="15730" y="48109"/>
                        <a:pt x="15730" y="47835"/>
                      </a:cubicBezTo>
                      <a:cubicBezTo>
                        <a:pt x="15955" y="47835"/>
                        <a:pt x="15955" y="47015"/>
                        <a:pt x="15955" y="47015"/>
                      </a:cubicBezTo>
                      <a:cubicBezTo>
                        <a:pt x="15730" y="46469"/>
                        <a:pt x="15730" y="46469"/>
                        <a:pt x="15730" y="46469"/>
                      </a:cubicBezTo>
                      <a:cubicBezTo>
                        <a:pt x="15730" y="46195"/>
                        <a:pt x="15730" y="46195"/>
                        <a:pt x="15730" y="46195"/>
                      </a:cubicBezTo>
                      <a:cubicBezTo>
                        <a:pt x="15730" y="46195"/>
                        <a:pt x="16179" y="45922"/>
                        <a:pt x="16179" y="45922"/>
                      </a:cubicBezTo>
                      <a:cubicBezTo>
                        <a:pt x="16404" y="45922"/>
                        <a:pt x="16404" y="45102"/>
                        <a:pt x="16404" y="45102"/>
                      </a:cubicBezTo>
                      <a:cubicBezTo>
                        <a:pt x="15955" y="44829"/>
                        <a:pt x="15955" y="44829"/>
                        <a:pt x="15955" y="44829"/>
                      </a:cubicBezTo>
                      <a:cubicBezTo>
                        <a:pt x="15955" y="44829"/>
                        <a:pt x="15955" y="44282"/>
                        <a:pt x="15955" y="44009"/>
                      </a:cubicBezTo>
                      <a:cubicBezTo>
                        <a:pt x="15955" y="44009"/>
                        <a:pt x="15955" y="43462"/>
                        <a:pt x="15955" y="43462"/>
                      </a:cubicBezTo>
                      <a:cubicBezTo>
                        <a:pt x="15730" y="43462"/>
                        <a:pt x="15730" y="43462"/>
                        <a:pt x="15730" y="43462"/>
                      </a:cubicBezTo>
                      <a:cubicBezTo>
                        <a:pt x="15730" y="42915"/>
                        <a:pt x="15730" y="42915"/>
                        <a:pt x="15730" y="42915"/>
                      </a:cubicBezTo>
                      <a:cubicBezTo>
                        <a:pt x="15955" y="42642"/>
                        <a:pt x="15955" y="42642"/>
                        <a:pt x="15955" y="42642"/>
                      </a:cubicBezTo>
                      <a:cubicBezTo>
                        <a:pt x="16404" y="42915"/>
                        <a:pt x="16404" y="42915"/>
                        <a:pt x="16404" y="42915"/>
                      </a:cubicBezTo>
                      <a:cubicBezTo>
                        <a:pt x="16404" y="42915"/>
                        <a:pt x="16629" y="42642"/>
                        <a:pt x="16853" y="42642"/>
                      </a:cubicBezTo>
                      <a:cubicBezTo>
                        <a:pt x="16853" y="42369"/>
                        <a:pt x="17303" y="42369"/>
                        <a:pt x="17303" y="42369"/>
                      </a:cubicBezTo>
                      <a:cubicBezTo>
                        <a:pt x="17528" y="41548"/>
                        <a:pt x="17528" y="41548"/>
                        <a:pt x="17528" y="41548"/>
                      </a:cubicBezTo>
                      <a:cubicBezTo>
                        <a:pt x="18426" y="41002"/>
                        <a:pt x="18426" y="41002"/>
                        <a:pt x="18426" y="41002"/>
                      </a:cubicBezTo>
                      <a:cubicBezTo>
                        <a:pt x="18426" y="40728"/>
                        <a:pt x="18426" y="40728"/>
                        <a:pt x="18426" y="40728"/>
                      </a:cubicBezTo>
                      <a:cubicBezTo>
                        <a:pt x="19101" y="40455"/>
                        <a:pt x="19101" y="40455"/>
                        <a:pt x="19101" y="40455"/>
                      </a:cubicBezTo>
                      <a:cubicBezTo>
                        <a:pt x="19550" y="40728"/>
                        <a:pt x="19550" y="40728"/>
                        <a:pt x="19550" y="40728"/>
                      </a:cubicBezTo>
                      <a:cubicBezTo>
                        <a:pt x="20000" y="40182"/>
                        <a:pt x="20000" y="40182"/>
                        <a:pt x="20000" y="40182"/>
                      </a:cubicBezTo>
                      <a:cubicBezTo>
                        <a:pt x="20224" y="40182"/>
                        <a:pt x="20224" y="40182"/>
                        <a:pt x="20224" y="40182"/>
                      </a:cubicBezTo>
                      <a:cubicBezTo>
                        <a:pt x="20674" y="39908"/>
                        <a:pt x="20674" y="39908"/>
                        <a:pt x="20674" y="39908"/>
                      </a:cubicBezTo>
                      <a:cubicBezTo>
                        <a:pt x="21123" y="39635"/>
                        <a:pt x="21123" y="39635"/>
                        <a:pt x="21123" y="39635"/>
                      </a:cubicBezTo>
                      <a:cubicBezTo>
                        <a:pt x="21797" y="38815"/>
                        <a:pt x="21797" y="38815"/>
                        <a:pt x="21797" y="38815"/>
                      </a:cubicBezTo>
                      <a:cubicBezTo>
                        <a:pt x="22022" y="38815"/>
                        <a:pt x="22022" y="38815"/>
                        <a:pt x="22022" y="38815"/>
                      </a:cubicBezTo>
                      <a:cubicBezTo>
                        <a:pt x="22022" y="38815"/>
                        <a:pt x="22471" y="38542"/>
                        <a:pt x="22471" y="38542"/>
                      </a:cubicBezTo>
                      <a:cubicBezTo>
                        <a:pt x="22471" y="38542"/>
                        <a:pt x="22696" y="37995"/>
                        <a:pt x="22696" y="37995"/>
                      </a:cubicBezTo>
                      <a:cubicBezTo>
                        <a:pt x="23146" y="37722"/>
                        <a:pt x="23146" y="37722"/>
                        <a:pt x="23146" y="37722"/>
                      </a:cubicBezTo>
                      <a:cubicBezTo>
                        <a:pt x="23595" y="36902"/>
                        <a:pt x="23595" y="36902"/>
                        <a:pt x="23595" y="36902"/>
                      </a:cubicBezTo>
                      <a:cubicBezTo>
                        <a:pt x="24044" y="36355"/>
                        <a:pt x="24044" y="36355"/>
                        <a:pt x="24044" y="36355"/>
                      </a:cubicBezTo>
                      <a:cubicBezTo>
                        <a:pt x="23595" y="35535"/>
                        <a:pt x="23595" y="35535"/>
                        <a:pt x="23595" y="35535"/>
                      </a:cubicBezTo>
                      <a:cubicBezTo>
                        <a:pt x="23595" y="35535"/>
                        <a:pt x="23146" y="34988"/>
                        <a:pt x="22921" y="34988"/>
                      </a:cubicBezTo>
                      <a:cubicBezTo>
                        <a:pt x="22921" y="34715"/>
                        <a:pt x="22471" y="34441"/>
                        <a:pt x="22471" y="34441"/>
                      </a:cubicBezTo>
                      <a:cubicBezTo>
                        <a:pt x="22471" y="34441"/>
                        <a:pt x="21797" y="34168"/>
                        <a:pt x="21797" y="34168"/>
                      </a:cubicBezTo>
                      <a:cubicBezTo>
                        <a:pt x="21797" y="34168"/>
                        <a:pt x="21348" y="34441"/>
                        <a:pt x="21348" y="34441"/>
                      </a:cubicBezTo>
                      <a:cubicBezTo>
                        <a:pt x="21123" y="34168"/>
                        <a:pt x="21123" y="34168"/>
                        <a:pt x="21123" y="34168"/>
                      </a:cubicBezTo>
                      <a:cubicBezTo>
                        <a:pt x="21123" y="34168"/>
                        <a:pt x="20898" y="33621"/>
                        <a:pt x="21123" y="33621"/>
                      </a:cubicBezTo>
                      <a:cubicBezTo>
                        <a:pt x="21123" y="33621"/>
                        <a:pt x="21123" y="33348"/>
                        <a:pt x="21123" y="33348"/>
                      </a:cubicBezTo>
                      <a:cubicBezTo>
                        <a:pt x="21123" y="33075"/>
                        <a:pt x="21123" y="33075"/>
                        <a:pt x="21123" y="33075"/>
                      </a:cubicBezTo>
                      <a:cubicBezTo>
                        <a:pt x="21123" y="32801"/>
                        <a:pt x="21123" y="32801"/>
                        <a:pt x="21123" y="32801"/>
                      </a:cubicBezTo>
                      <a:cubicBezTo>
                        <a:pt x="21348" y="32528"/>
                        <a:pt x="21348" y="32528"/>
                        <a:pt x="21348" y="32528"/>
                      </a:cubicBezTo>
                      <a:cubicBezTo>
                        <a:pt x="21348" y="32528"/>
                        <a:pt x="21573" y="32255"/>
                        <a:pt x="21573" y="31981"/>
                      </a:cubicBezTo>
                      <a:cubicBezTo>
                        <a:pt x="21573" y="31981"/>
                        <a:pt x="21797" y="31435"/>
                        <a:pt x="21797" y="31435"/>
                      </a:cubicBezTo>
                      <a:cubicBezTo>
                        <a:pt x="21797" y="31435"/>
                        <a:pt x="21573" y="31161"/>
                        <a:pt x="21573" y="30888"/>
                      </a:cubicBezTo>
                      <a:cubicBezTo>
                        <a:pt x="21348" y="30888"/>
                        <a:pt x="21348" y="30888"/>
                        <a:pt x="21573" y="30615"/>
                      </a:cubicBezTo>
                      <a:cubicBezTo>
                        <a:pt x="21573" y="30615"/>
                        <a:pt x="21573" y="30341"/>
                        <a:pt x="21573" y="30341"/>
                      </a:cubicBezTo>
                      <a:cubicBezTo>
                        <a:pt x="21573" y="30341"/>
                        <a:pt x="21573" y="29794"/>
                        <a:pt x="21348" y="29794"/>
                      </a:cubicBezTo>
                      <a:cubicBezTo>
                        <a:pt x="21348" y="29794"/>
                        <a:pt x="20898" y="30068"/>
                        <a:pt x="20898" y="30068"/>
                      </a:cubicBezTo>
                      <a:cubicBezTo>
                        <a:pt x="20898" y="30068"/>
                        <a:pt x="20224" y="29794"/>
                        <a:pt x="20224" y="29794"/>
                      </a:cubicBezTo>
                      <a:cubicBezTo>
                        <a:pt x="20224" y="29794"/>
                        <a:pt x="20000" y="29521"/>
                        <a:pt x="20000" y="29521"/>
                      </a:cubicBezTo>
                      <a:cubicBezTo>
                        <a:pt x="20000" y="29521"/>
                        <a:pt x="20000" y="28974"/>
                        <a:pt x="19775" y="28974"/>
                      </a:cubicBezTo>
                      <a:cubicBezTo>
                        <a:pt x="19550" y="28701"/>
                        <a:pt x="19550" y="28974"/>
                        <a:pt x="19550" y="28974"/>
                      </a:cubicBezTo>
                      <a:cubicBezTo>
                        <a:pt x="19325" y="29521"/>
                        <a:pt x="19325" y="29521"/>
                        <a:pt x="19325" y="29521"/>
                      </a:cubicBezTo>
                      <a:cubicBezTo>
                        <a:pt x="19325" y="29521"/>
                        <a:pt x="18876" y="29521"/>
                        <a:pt x="18651" y="29248"/>
                      </a:cubicBezTo>
                      <a:cubicBezTo>
                        <a:pt x="18651" y="29248"/>
                        <a:pt x="18426" y="29248"/>
                        <a:pt x="18426" y="29248"/>
                      </a:cubicBezTo>
                      <a:cubicBezTo>
                        <a:pt x="18202" y="29248"/>
                        <a:pt x="18202" y="28974"/>
                        <a:pt x="18202" y="28701"/>
                      </a:cubicBezTo>
                      <a:cubicBezTo>
                        <a:pt x="17977" y="28428"/>
                        <a:pt x="17977" y="28701"/>
                        <a:pt x="17752" y="28701"/>
                      </a:cubicBezTo>
                      <a:cubicBezTo>
                        <a:pt x="17752" y="28701"/>
                        <a:pt x="17303" y="28701"/>
                        <a:pt x="17303" y="28701"/>
                      </a:cubicBezTo>
                      <a:cubicBezTo>
                        <a:pt x="17303" y="28701"/>
                        <a:pt x="16853" y="28154"/>
                        <a:pt x="16853" y="28154"/>
                      </a:cubicBezTo>
                      <a:cubicBezTo>
                        <a:pt x="16853" y="27881"/>
                        <a:pt x="16629" y="27881"/>
                        <a:pt x="16629" y="27881"/>
                      </a:cubicBezTo>
                      <a:cubicBezTo>
                        <a:pt x="16629" y="27881"/>
                        <a:pt x="16179" y="28154"/>
                        <a:pt x="16179" y="28154"/>
                      </a:cubicBezTo>
                      <a:cubicBezTo>
                        <a:pt x="16179" y="28428"/>
                        <a:pt x="16179" y="28428"/>
                        <a:pt x="16179" y="28428"/>
                      </a:cubicBezTo>
                      <a:cubicBezTo>
                        <a:pt x="15955" y="29248"/>
                        <a:pt x="15955" y="29248"/>
                        <a:pt x="15955" y="29248"/>
                      </a:cubicBezTo>
                      <a:cubicBezTo>
                        <a:pt x="15280" y="29794"/>
                        <a:pt x="15280" y="29794"/>
                        <a:pt x="15280" y="29794"/>
                      </a:cubicBezTo>
                      <a:cubicBezTo>
                        <a:pt x="15280" y="29794"/>
                        <a:pt x="14606" y="29794"/>
                        <a:pt x="14382" y="29521"/>
                      </a:cubicBezTo>
                      <a:cubicBezTo>
                        <a:pt x="14382" y="29521"/>
                        <a:pt x="14382" y="29521"/>
                        <a:pt x="14157" y="29521"/>
                      </a:cubicBezTo>
                      <a:cubicBezTo>
                        <a:pt x="13932" y="29521"/>
                        <a:pt x="13932" y="29521"/>
                        <a:pt x="13932" y="29521"/>
                      </a:cubicBezTo>
                      <a:cubicBezTo>
                        <a:pt x="13932" y="29521"/>
                        <a:pt x="13483" y="29794"/>
                        <a:pt x="13483" y="29794"/>
                      </a:cubicBezTo>
                      <a:cubicBezTo>
                        <a:pt x="13483" y="29794"/>
                        <a:pt x="13258" y="29248"/>
                        <a:pt x="13258" y="29248"/>
                      </a:cubicBezTo>
                      <a:cubicBezTo>
                        <a:pt x="13258" y="29248"/>
                        <a:pt x="12808" y="28974"/>
                        <a:pt x="12808" y="28701"/>
                      </a:cubicBezTo>
                      <a:cubicBezTo>
                        <a:pt x="12808" y="28701"/>
                        <a:pt x="12808" y="28974"/>
                        <a:pt x="12808" y="28974"/>
                      </a:cubicBezTo>
                      <a:cubicBezTo>
                        <a:pt x="12808" y="28974"/>
                        <a:pt x="12584" y="29248"/>
                        <a:pt x="12359" y="29248"/>
                      </a:cubicBezTo>
                      <a:cubicBezTo>
                        <a:pt x="12359" y="29248"/>
                        <a:pt x="12134" y="29521"/>
                        <a:pt x="12134" y="29521"/>
                      </a:cubicBezTo>
                      <a:cubicBezTo>
                        <a:pt x="11910" y="29521"/>
                        <a:pt x="12134" y="28974"/>
                        <a:pt x="12134" y="28974"/>
                      </a:cubicBezTo>
                      <a:cubicBezTo>
                        <a:pt x="12359" y="28428"/>
                        <a:pt x="12359" y="28428"/>
                        <a:pt x="12359" y="28428"/>
                      </a:cubicBezTo>
                      <a:cubicBezTo>
                        <a:pt x="12359" y="28428"/>
                        <a:pt x="11685" y="28154"/>
                        <a:pt x="11685" y="27881"/>
                      </a:cubicBezTo>
                      <a:cubicBezTo>
                        <a:pt x="11460" y="27881"/>
                        <a:pt x="11235" y="27608"/>
                        <a:pt x="11235" y="27608"/>
                      </a:cubicBezTo>
                      <a:cubicBezTo>
                        <a:pt x="11235" y="27608"/>
                        <a:pt x="10786" y="27608"/>
                        <a:pt x="10786" y="27608"/>
                      </a:cubicBezTo>
                      <a:cubicBezTo>
                        <a:pt x="10337" y="27608"/>
                        <a:pt x="10337" y="27608"/>
                        <a:pt x="10337" y="27608"/>
                      </a:cubicBezTo>
                      <a:cubicBezTo>
                        <a:pt x="10337" y="27608"/>
                        <a:pt x="10112" y="27608"/>
                        <a:pt x="9887" y="27881"/>
                      </a:cubicBezTo>
                      <a:cubicBezTo>
                        <a:pt x="9887" y="27881"/>
                        <a:pt x="9662" y="28154"/>
                        <a:pt x="9438" y="27881"/>
                      </a:cubicBezTo>
                      <a:cubicBezTo>
                        <a:pt x="9438" y="27881"/>
                        <a:pt x="9662" y="27334"/>
                        <a:pt x="9662" y="27334"/>
                      </a:cubicBezTo>
                      <a:cubicBezTo>
                        <a:pt x="9662" y="27334"/>
                        <a:pt x="9662" y="26788"/>
                        <a:pt x="9662" y="26788"/>
                      </a:cubicBezTo>
                      <a:cubicBezTo>
                        <a:pt x="9438" y="26514"/>
                        <a:pt x="9438" y="27061"/>
                        <a:pt x="9438" y="27061"/>
                      </a:cubicBezTo>
                      <a:cubicBezTo>
                        <a:pt x="9438" y="27061"/>
                        <a:pt x="8988" y="27334"/>
                        <a:pt x="8764" y="27608"/>
                      </a:cubicBezTo>
                      <a:cubicBezTo>
                        <a:pt x="8764" y="27608"/>
                        <a:pt x="8539" y="27608"/>
                        <a:pt x="8539" y="27608"/>
                      </a:cubicBezTo>
                      <a:cubicBezTo>
                        <a:pt x="8314" y="27608"/>
                        <a:pt x="8089" y="27881"/>
                        <a:pt x="7640" y="27881"/>
                      </a:cubicBezTo>
                      <a:cubicBezTo>
                        <a:pt x="7415" y="27881"/>
                        <a:pt x="7191" y="28154"/>
                        <a:pt x="7191" y="27881"/>
                      </a:cubicBezTo>
                      <a:cubicBezTo>
                        <a:pt x="6966" y="27881"/>
                        <a:pt x="6966" y="27608"/>
                        <a:pt x="6966" y="27608"/>
                      </a:cubicBezTo>
                      <a:cubicBezTo>
                        <a:pt x="6966" y="27061"/>
                        <a:pt x="6966" y="27061"/>
                        <a:pt x="6966" y="27061"/>
                      </a:cubicBezTo>
                      <a:cubicBezTo>
                        <a:pt x="6966" y="27061"/>
                        <a:pt x="6741" y="26788"/>
                        <a:pt x="6741" y="26514"/>
                      </a:cubicBezTo>
                      <a:cubicBezTo>
                        <a:pt x="6516" y="26241"/>
                        <a:pt x="6741" y="26241"/>
                        <a:pt x="6741" y="25968"/>
                      </a:cubicBezTo>
                      <a:cubicBezTo>
                        <a:pt x="6741" y="25968"/>
                        <a:pt x="7191" y="25694"/>
                        <a:pt x="7191" y="25694"/>
                      </a:cubicBezTo>
                      <a:cubicBezTo>
                        <a:pt x="7191" y="25421"/>
                        <a:pt x="7415" y="25421"/>
                        <a:pt x="7415" y="25421"/>
                      </a:cubicBezTo>
                      <a:cubicBezTo>
                        <a:pt x="8089" y="25148"/>
                        <a:pt x="8089" y="25148"/>
                        <a:pt x="8089" y="25148"/>
                      </a:cubicBezTo>
                      <a:cubicBezTo>
                        <a:pt x="8089" y="25148"/>
                        <a:pt x="8089" y="24328"/>
                        <a:pt x="8089" y="24054"/>
                      </a:cubicBezTo>
                      <a:cubicBezTo>
                        <a:pt x="8089" y="24054"/>
                        <a:pt x="8089" y="24054"/>
                        <a:pt x="7865" y="24054"/>
                      </a:cubicBezTo>
                      <a:cubicBezTo>
                        <a:pt x="7640" y="24054"/>
                        <a:pt x="7640" y="23781"/>
                        <a:pt x="7640" y="23781"/>
                      </a:cubicBezTo>
                      <a:cubicBezTo>
                        <a:pt x="7640" y="23781"/>
                        <a:pt x="7640" y="23234"/>
                        <a:pt x="7640" y="23234"/>
                      </a:cubicBezTo>
                      <a:cubicBezTo>
                        <a:pt x="7415" y="22687"/>
                        <a:pt x="7415" y="22687"/>
                        <a:pt x="7415" y="22687"/>
                      </a:cubicBezTo>
                      <a:cubicBezTo>
                        <a:pt x="6516" y="22961"/>
                        <a:pt x="6516" y="22961"/>
                        <a:pt x="6516" y="22961"/>
                      </a:cubicBezTo>
                      <a:cubicBezTo>
                        <a:pt x="6516" y="22961"/>
                        <a:pt x="6067" y="23234"/>
                        <a:pt x="5842" y="23234"/>
                      </a:cubicBezTo>
                      <a:cubicBezTo>
                        <a:pt x="5842" y="23234"/>
                        <a:pt x="5393" y="23234"/>
                        <a:pt x="5393" y="23234"/>
                      </a:cubicBezTo>
                      <a:cubicBezTo>
                        <a:pt x="5168" y="23234"/>
                        <a:pt x="4943" y="22961"/>
                        <a:pt x="4943" y="22961"/>
                      </a:cubicBezTo>
                      <a:cubicBezTo>
                        <a:pt x="4943" y="22961"/>
                        <a:pt x="4044" y="23234"/>
                        <a:pt x="4044" y="23234"/>
                      </a:cubicBezTo>
                      <a:cubicBezTo>
                        <a:pt x="4044" y="23234"/>
                        <a:pt x="3820" y="23234"/>
                        <a:pt x="3820" y="23234"/>
                      </a:cubicBezTo>
                      <a:cubicBezTo>
                        <a:pt x="3370" y="23234"/>
                        <a:pt x="3370" y="23234"/>
                        <a:pt x="3370" y="23234"/>
                      </a:cubicBezTo>
                      <a:cubicBezTo>
                        <a:pt x="2921" y="23507"/>
                        <a:pt x="2921" y="23507"/>
                        <a:pt x="2921" y="23507"/>
                      </a:cubicBezTo>
                      <a:cubicBezTo>
                        <a:pt x="2696" y="23781"/>
                        <a:pt x="2696" y="23781"/>
                        <a:pt x="2696" y="23781"/>
                      </a:cubicBezTo>
                      <a:cubicBezTo>
                        <a:pt x="2696" y="23781"/>
                        <a:pt x="2471" y="24054"/>
                        <a:pt x="2471" y="24054"/>
                      </a:cubicBezTo>
                      <a:cubicBezTo>
                        <a:pt x="2247" y="24054"/>
                        <a:pt x="2022" y="24054"/>
                        <a:pt x="1797" y="24054"/>
                      </a:cubicBezTo>
                      <a:cubicBezTo>
                        <a:pt x="1797" y="24054"/>
                        <a:pt x="1573" y="24328"/>
                        <a:pt x="1573" y="24328"/>
                      </a:cubicBezTo>
                      <a:cubicBezTo>
                        <a:pt x="1573" y="24328"/>
                        <a:pt x="1123" y="24601"/>
                        <a:pt x="898" y="24874"/>
                      </a:cubicBezTo>
                      <a:cubicBezTo>
                        <a:pt x="674" y="23507"/>
                        <a:pt x="674" y="23507"/>
                        <a:pt x="674" y="23507"/>
                      </a:cubicBezTo>
                      <a:cubicBezTo>
                        <a:pt x="1348" y="21047"/>
                        <a:pt x="1348" y="21047"/>
                        <a:pt x="1348" y="21047"/>
                      </a:cubicBezTo>
                      <a:cubicBezTo>
                        <a:pt x="2471" y="19954"/>
                        <a:pt x="2471" y="19954"/>
                        <a:pt x="2471" y="19954"/>
                      </a:cubicBezTo>
                      <a:cubicBezTo>
                        <a:pt x="2921" y="17767"/>
                        <a:pt x="2921" y="17767"/>
                        <a:pt x="2921" y="17767"/>
                      </a:cubicBezTo>
                      <a:cubicBezTo>
                        <a:pt x="2247" y="16947"/>
                        <a:pt x="2247" y="16947"/>
                        <a:pt x="2247" y="16947"/>
                      </a:cubicBezTo>
                      <a:cubicBezTo>
                        <a:pt x="2247" y="16127"/>
                        <a:pt x="4269" y="14487"/>
                        <a:pt x="4044" y="13667"/>
                      </a:cubicBezTo>
                      <a:cubicBezTo>
                        <a:pt x="3820" y="12847"/>
                        <a:pt x="1348" y="15307"/>
                        <a:pt x="1123" y="14487"/>
                      </a:cubicBezTo>
                      <a:cubicBezTo>
                        <a:pt x="898" y="12847"/>
                        <a:pt x="1573" y="13120"/>
                        <a:pt x="2696" y="11753"/>
                      </a:cubicBezTo>
                      <a:cubicBezTo>
                        <a:pt x="1348" y="11207"/>
                        <a:pt x="1348" y="11207"/>
                        <a:pt x="1348" y="11207"/>
                      </a:cubicBezTo>
                      <a:cubicBezTo>
                        <a:pt x="1348" y="9567"/>
                        <a:pt x="1348" y="9567"/>
                        <a:pt x="1348" y="9567"/>
                      </a:cubicBezTo>
                      <a:cubicBezTo>
                        <a:pt x="449" y="9020"/>
                        <a:pt x="449" y="9020"/>
                        <a:pt x="449" y="9020"/>
                      </a:cubicBezTo>
                      <a:cubicBezTo>
                        <a:pt x="449" y="9020"/>
                        <a:pt x="674" y="8200"/>
                        <a:pt x="674" y="7380"/>
                      </a:cubicBezTo>
                      <a:cubicBezTo>
                        <a:pt x="674" y="6560"/>
                        <a:pt x="1348" y="6287"/>
                        <a:pt x="1348" y="6287"/>
                      </a:cubicBezTo>
                      <a:cubicBezTo>
                        <a:pt x="2022" y="6013"/>
                        <a:pt x="2471" y="5466"/>
                        <a:pt x="3146" y="4920"/>
                      </a:cubicBezTo>
                      <a:cubicBezTo>
                        <a:pt x="3820" y="3826"/>
                        <a:pt x="4494" y="4373"/>
                        <a:pt x="4943" y="4100"/>
                      </a:cubicBezTo>
                      <a:cubicBezTo>
                        <a:pt x="5617" y="3553"/>
                        <a:pt x="5617" y="4100"/>
                        <a:pt x="7865" y="4646"/>
                      </a:cubicBezTo>
                      <a:cubicBezTo>
                        <a:pt x="8314" y="4373"/>
                        <a:pt x="9213" y="4373"/>
                        <a:pt x="9438" y="3826"/>
                      </a:cubicBezTo>
                      <a:cubicBezTo>
                        <a:pt x="9887" y="3280"/>
                        <a:pt x="10561" y="3553"/>
                        <a:pt x="10561" y="2460"/>
                      </a:cubicBezTo>
                      <a:cubicBezTo>
                        <a:pt x="10786" y="820"/>
                        <a:pt x="13258" y="1913"/>
                        <a:pt x="13258" y="1366"/>
                      </a:cubicBezTo>
                      <a:cubicBezTo>
                        <a:pt x="13707" y="1366"/>
                        <a:pt x="14157" y="0"/>
                        <a:pt x="15280" y="0"/>
                      </a:cubicBezTo>
                      <a:cubicBezTo>
                        <a:pt x="16179" y="273"/>
                        <a:pt x="16404" y="546"/>
                        <a:pt x="17078" y="820"/>
                      </a:cubicBezTo>
                      <a:cubicBezTo>
                        <a:pt x="19550" y="2733"/>
                        <a:pt x="18426" y="3826"/>
                        <a:pt x="21348" y="4920"/>
                      </a:cubicBezTo>
                      <a:cubicBezTo>
                        <a:pt x="23820" y="5740"/>
                        <a:pt x="26741" y="6560"/>
                        <a:pt x="29213" y="7107"/>
                      </a:cubicBezTo>
                      <a:cubicBezTo>
                        <a:pt x="31460" y="7380"/>
                        <a:pt x="33707" y="8473"/>
                        <a:pt x="35955" y="9567"/>
                      </a:cubicBezTo>
                      <a:cubicBezTo>
                        <a:pt x="35955" y="9567"/>
                        <a:pt x="44269" y="14214"/>
                        <a:pt x="44494" y="14487"/>
                      </a:cubicBezTo>
                      <a:cubicBezTo>
                        <a:pt x="44719" y="14487"/>
                        <a:pt x="49438" y="13394"/>
                        <a:pt x="49662" y="13394"/>
                      </a:cubicBezTo>
                      <a:cubicBezTo>
                        <a:pt x="49887" y="13394"/>
                        <a:pt x="51460" y="13667"/>
                        <a:pt x="52584" y="14487"/>
                      </a:cubicBezTo>
                      <a:cubicBezTo>
                        <a:pt x="53258" y="15307"/>
                        <a:pt x="55505" y="17220"/>
                        <a:pt x="55505" y="17220"/>
                      </a:cubicBezTo>
                      <a:cubicBezTo>
                        <a:pt x="55955" y="17494"/>
                        <a:pt x="58651" y="16947"/>
                        <a:pt x="58651" y="16947"/>
                      </a:cubicBezTo>
                      <a:cubicBezTo>
                        <a:pt x="60449" y="16947"/>
                        <a:pt x="62022" y="19407"/>
                        <a:pt x="62921" y="19681"/>
                      </a:cubicBezTo>
                      <a:cubicBezTo>
                        <a:pt x="64044" y="19954"/>
                        <a:pt x="66741" y="18314"/>
                        <a:pt x="67865" y="19681"/>
                      </a:cubicBezTo>
                      <a:cubicBezTo>
                        <a:pt x="67865" y="19681"/>
                        <a:pt x="70112" y="19954"/>
                        <a:pt x="70337" y="21321"/>
                      </a:cubicBezTo>
                      <a:cubicBezTo>
                        <a:pt x="70786" y="22687"/>
                        <a:pt x="71685" y="24874"/>
                        <a:pt x="71685" y="24874"/>
                      </a:cubicBezTo>
                      <a:cubicBezTo>
                        <a:pt x="74606" y="26241"/>
                        <a:pt x="74606" y="26241"/>
                        <a:pt x="74606" y="26241"/>
                      </a:cubicBezTo>
                      <a:cubicBezTo>
                        <a:pt x="74606" y="26241"/>
                        <a:pt x="76179" y="27881"/>
                        <a:pt x="76404" y="28428"/>
                      </a:cubicBezTo>
                      <a:cubicBezTo>
                        <a:pt x="76629" y="28701"/>
                        <a:pt x="80000" y="30068"/>
                        <a:pt x="80000" y="30068"/>
                      </a:cubicBezTo>
                      <a:cubicBezTo>
                        <a:pt x="82247" y="32528"/>
                        <a:pt x="82247" y="32528"/>
                        <a:pt x="82247" y="32528"/>
                      </a:cubicBezTo>
                      <a:cubicBezTo>
                        <a:pt x="85617" y="32528"/>
                        <a:pt x="85617" y="32528"/>
                        <a:pt x="85617" y="32528"/>
                      </a:cubicBezTo>
                      <a:cubicBezTo>
                        <a:pt x="87865" y="33075"/>
                        <a:pt x="87865" y="33075"/>
                        <a:pt x="87865" y="33075"/>
                      </a:cubicBezTo>
                      <a:cubicBezTo>
                        <a:pt x="88988" y="31435"/>
                        <a:pt x="88988" y="31435"/>
                        <a:pt x="88988" y="31435"/>
                      </a:cubicBezTo>
                      <a:cubicBezTo>
                        <a:pt x="88988" y="31435"/>
                        <a:pt x="94606" y="34715"/>
                        <a:pt x="94831" y="34715"/>
                      </a:cubicBezTo>
                      <a:cubicBezTo>
                        <a:pt x="95056" y="34715"/>
                        <a:pt x="95056" y="35535"/>
                        <a:pt x="95280" y="36355"/>
                      </a:cubicBezTo>
                      <a:cubicBezTo>
                        <a:pt x="95280" y="36628"/>
                        <a:pt x="95280" y="36628"/>
                        <a:pt x="95280" y="36628"/>
                      </a:cubicBezTo>
                      <a:cubicBezTo>
                        <a:pt x="95056" y="36628"/>
                        <a:pt x="95280" y="36628"/>
                        <a:pt x="95280" y="36628"/>
                      </a:cubicBezTo>
                      <a:cubicBezTo>
                        <a:pt x="95280" y="36628"/>
                        <a:pt x="95280" y="36628"/>
                        <a:pt x="95280" y="36628"/>
                      </a:cubicBezTo>
                      <a:cubicBezTo>
                        <a:pt x="95280" y="37175"/>
                        <a:pt x="95280" y="37175"/>
                        <a:pt x="95280" y="37175"/>
                      </a:cubicBezTo>
                      <a:cubicBezTo>
                        <a:pt x="95280" y="37448"/>
                        <a:pt x="95280" y="37448"/>
                        <a:pt x="95280" y="37448"/>
                      </a:cubicBezTo>
                      <a:cubicBezTo>
                        <a:pt x="95056" y="37448"/>
                        <a:pt x="95056" y="37448"/>
                        <a:pt x="95056" y="37448"/>
                      </a:cubicBezTo>
                      <a:cubicBezTo>
                        <a:pt x="95056" y="37448"/>
                        <a:pt x="95056" y="37448"/>
                        <a:pt x="95056" y="37448"/>
                      </a:cubicBezTo>
                      <a:cubicBezTo>
                        <a:pt x="95280" y="37722"/>
                        <a:pt x="95280" y="37722"/>
                        <a:pt x="95280" y="37722"/>
                      </a:cubicBezTo>
                      <a:cubicBezTo>
                        <a:pt x="95280" y="37722"/>
                        <a:pt x="95280" y="37722"/>
                        <a:pt x="95280" y="37722"/>
                      </a:cubicBezTo>
                      <a:cubicBezTo>
                        <a:pt x="95280" y="37722"/>
                        <a:pt x="95280" y="37722"/>
                        <a:pt x="95280" y="37995"/>
                      </a:cubicBezTo>
                      <a:cubicBezTo>
                        <a:pt x="95280" y="37995"/>
                        <a:pt x="95280" y="37995"/>
                        <a:pt x="95280" y="37995"/>
                      </a:cubicBezTo>
                      <a:cubicBezTo>
                        <a:pt x="95280" y="37995"/>
                        <a:pt x="95280" y="37995"/>
                        <a:pt x="95280" y="38268"/>
                      </a:cubicBezTo>
                      <a:cubicBezTo>
                        <a:pt x="95280" y="38268"/>
                        <a:pt x="95280" y="38268"/>
                        <a:pt x="95280" y="38268"/>
                      </a:cubicBezTo>
                      <a:cubicBezTo>
                        <a:pt x="95505" y="38268"/>
                        <a:pt x="95505" y="38268"/>
                        <a:pt x="95505" y="38268"/>
                      </a:cubicBezTo>
                      <a:cubicBezTo>
                        <a:pt x="95505" y="38268"/>
                        <a:pt x="95505" y="38268"/>
                        <a:pt x="95505" y="38268"/>
                      </a:cubicBezTo>
                      <a:cubicBezTo>
                        <a:pt x="95505" y="38268"/>
                        <a:pt x="95730" y="38542"/>
                        <a:pt x="95730" y="38542"/>
                      </a:cubicBezTo>
                      <a:cubicBezTo>
                        <a:pt x="95730" y="38542"/>
                        <a:pt x="95730" y="38542"/>
                        <a:pt x="95955" y="38542"/>
                      </a:cubicBezTo>
                      <a:cubicBezTo>
                        <a:pt x="95955" y="38542"/>
                        <a:pt x="95955" y="38542"/>
                        <a:pt x="96179" y="38542"/>
                      </a:cubicBezTo>
                      <a:cubicBezTo>
                        <a:pt x="96179" y="38542"/>
                        <a:pt x="96179" y="38542"/>
                        <a:pt x="96179" y="38542"/>
                      </a:cubicBezTo>
                      <a:cubicBezTo>
                        <a:pt x="96179" y="38542"/>
                        <a:pt x="96404" y="38542"/>
                        <a:pt x="96404" y="38268"/>
                      </a:cubicBezTo>
                      <a:cubicBezTo>
                        <a:pt x="99325" y="39088"/>
                        <a:pt x="99325" y="39088"/>
                        <a:pt x="99325" y="39088"/>
                      </a:cubicBezTo>
                      <a:cubicBezTo>
                        <a:pt x="100000" y="39362"/>
                        <a:pt x="100000" y="39908"/>
                        <a:pt x="100674" y="40455"/>
                      </a:cubicBezTo>
                      <a:cubicBezTo>
                        <a:pt x="102471" y="39635"/>
                        <a:pt x="102471" y="39635"/>
                        <a:pt x="102471" y="39635"/>
                      </a:cubicBezTo>
                      <a:cubicBezTo>
                        <a:pt x="104719" y="41548"/>
                        <a:pt x="104719" y="41548"/>
                        <a:pt x="104719" y="41548"/>
                      </a:cubicBezTo>
                      <a:cubicBezTo>
                        <a:pt x="106741" y="40728"/>
                        <a:pt x="106741" y="40728"/>
                        <a:pt x="106741" y="40728"/>
                      </a:cubicBezTo>
                      <a:cubicBezTo>
                        <a:pt x="108764" y="40728"/>
                        <a:pt x="108764" y="40728"/>
                        <a:pt x="108764" y="40728"/>
                      </a:cubicBezTo>
                      <a:cubicBezTo>
                        <a:pt x="108764" y="40182"/>
                        <a:pt x="113483" y="40728"/>
                        <a:pt x="111460" y="43462"/>
                      </a:cubicBezTo>
                      <a:close/>
                      <a:moveTo>
                        <a:pt x="113707" y="76810"/>
                      </a:moveTo>
                      <a:cubicBezTo>
                        <a:pt x="113707" y="76810"/>
                        <a:pt x="113707" y="76810"/>
                        <a:pt x="113707" y="76810"/>
                      </a:cubicBezTo>
                      <a:cubicBezTo>
                        <a:pt x="113707" y="78451"/>
                        <a:pt x="115955" y="77904"/>
                        <a:pt x="117078" y="78997"/>
                      </a:cubicBezTo>
                      <a:cubicBezTo>
                        <a:pt x="117528" y="79544"/>
                        <a:pt x="117078" y="80911"/>
                        <a:pt x="117752" y="81184"/>
                      </a:cubicBezTo>
                      <a:cubicBezTo>
                        <a:pt x="119325" y="82824"/>
                        <a:pt x="120000" y="79817"/>
                        <a:pt x="118651" y="76810"/>
                      </a:cubicBezTo>
                      <a:cubicBezTo>
                        <a:pt x="118202" y="76264"/>
                        <a:pt x="117528" y="76264"/>
                        <a:pt x="116853" y="76264"/>
                      </a:cubicBezTo>
                      <a:cubicBezTo>
                        <a:pt x="115730" y="76264"/>
                        <a:pt x="113483" y="75444"/>
                        <a:pt x="113707" y="76810"/>
                      </a:cubicBezTo>
                      <a:close/>
                      <a:moveTo>
                        <a:pt x="100674" y="82004"/>
                      </a:moveTo>
                      <a:cubicBezTo>
                        <a:pt x="100674" y="82004"/>
                        <a:pt x="100674" y="82004"/>
                        <a:pt x="100674" y="82004"/>
                      </a:cubicBezTo>
                      <a:cubicBezTo>
                        <a:pt x="101573" y="82277"/>
                        <a:pt x="102471" y="81184"/>
                        <a:pt x="103370" y="81731"/>
                      </a:cubicBezTo>
                      <a:cubicBezTo>
                        <a:pt x="103820" y="82277"/>
                        <a:pt x="103595" y="83371"/>
                        <a:pt x="103820" y="84191"/>
                      </a:cubicBezTo>
                      <a:cubicBezTo>
                        <a:pt x="102471" y="85831"/>
                        <a:pt x="106067" y="85558"/>
                        <a:pt x="106292" y="85558"/>
                      </a:cubicBezTo>
                      <a:cubicBezTo>
                        <a:pt x="106292" y="86104"/>
                        <a:pt x="106741" y="87471"/>
                        <a:pt x="107415" y="86924"/>
                      </a:cubicBezTo>
                      <a:cubicBezTo>
                        <a:pt x="111011" y="81731"/>
                        <a:pt x="111011" y="81731"/>
                        <a:pt x="111011" y="81731"/>
                      </a:cubicBezTo>
                      <a:cubicBezTo>
                        <a:pt x="111011" y="81184"/>
                        <a:pt x="110786" y="80637"/>
                        <a:pt x="110337" y="80637"/>
                      </a:cubicBezTo>
                      <a:cubicBezTo>
                        <a:pt x="109438" y="80091"/>
                        <a:pt x="108314" y="81184"/>
                        <a:pt x="107640" y="80637"/>
                      </a:cubicBezTo>
                      <a:cubicBezTo>
                        <a:pt x="106966" y="80091"/>
                        <a:pt x="108314" y="77904"/>
                        <a:pt x="107415" y="77084"/>
                      </a:cubicBezTo>
                      <a:cubicBezTo>
                        <a:pt x="105617" y="75444"/>
                        <a:pt x="104943" y="77357"/>
                        <a:pt x="103595" y="78724"/>
                      </a:cubicBezTo>
                      <a:cubicBezTo>
                        <a:pt x="102696" y="79544"/>
                        <a:pt x="101348" y="79817"/>
                        <a:pt x="100449" y="80911"/>
                      </a:cubicBezTo>
                      <a:cubicBezTo>
                        <a:pt x="100224" y="81184"/>
                        <a:pt x="100449" y="82004"/>
                        <a:pt x="100674" y="82004"/>
                      </a:cubicBezTo>
                      <a:close/>
                      <a:moveTo>
                        <a:pt x="87865" y="89931"/>
                      </a:moveTo>
                      <a:cubicBezTo>
                        <a:pt x="87865" y="89931"/>
                        <a:pt x="87865" y="89931"/>
                        <a:pt x="87865" y="89931"/>
                      </a:cubicBezTo>
                      <a:cubicBezTo>
                        <a:pt x="86966" y="90751"/>
                        <a:pt x="88764" y="92118"/>
                        <a:pt x="89213" y="92118"/>
                      </a:cubicBezTo>
                      <a:cubicBezTo>
                        <a:pt x="89662" y="92118"/>
                        <a:pt x="92359" y="89931"/>
                        <a:pt x="92359" y="89111"/>
                      </a:cubicBezTo>
                      <a:cubicBezTo>
                        <a:pt x="92134" y="88018"/>
                        <a:pt x="91011" y="87744"/>
                        <a:pt x="90337" y="87744"/>
                      </a:cubicBezTo>
                      <a:cubicBezTo>
                        <a:pt x="89438" y="88018"/>
                        <a:pt x="88539" y="89111"/>
                        <a:pt x="87865" y="89931"/>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103" name="Shape 2055"/>
                <p:cNvSpPr/>
                <p:nvPr/>
              </p:nvSpPr>
              <p:spPr>
                <a:xfrm>
                  <a:off x="5979171" y="3676182"/>
                  <a:ext cx="930118" cy="839550"/>
                </a:xfrm>
                <a:custGeom>
                  <a:avLst/>
                  <a:gdLst/>
                  <a:ahLst/>
                  <a:cxnLst/>
                  <a:rect l="0" t="0" r="0" b="0"/>
                  <a:pathLst>
                    <a:path w="120000" h="120000" extrusionOk="0">
                      <a:moveTo>
                        <a:pt x="65294" y="10105"/>
                      </a:moveTo>
                      <a:cubicBezTo>
                        <a:pt x="66764" y="9473"/>
                        <a:pt x="66764" y="9473"/>
                        <a:pt x="66764" y="9473"/>
                      </a:cubicBezTo>
                      <a:cubicBezTo>
                        <a:pt x="66764" y="9473"/>
                        <a:pt x="68529" y="8842"/>
                        <a:pt x="68823" y="8842"/>
                      </a:cubicBezTo>
                      <a:cubicBezTo>
                        <a:pt x="69117" y="8842"/>
                        <a:pt x="70588" y="8526"/>
                        <a:pt x="70882" y="8210"/>
                      </a:cubicBezTo>
                      <a:cubicBezTo>
                        <a:pt x="71176" y="8210"/>
                        <a:pt x="72058" y="7578"/>
                        <a:pt x="72352" y="7263"/>
                      </a:cubicBezTo>
                      <a:cubicBezTo>
                        <a:pt x="72647" y="7263"/>
                        <a:pt x="73235" y="7263"/>
                        <a:pt x="73823" y="6631"/>
                      </a:cubicBezTo>
                      <a:cubicBezTo>
                        <a:pt x="74117" y="6315"/>
                        <a:pt x="74411" y="5368"/>
                        <a:pt x="74411" y="5052"/>
                      </a:cubicBezTo>
                      <a:cubicBezTo>
                        <a:pt x="74411" y="4736"/>
                        <a:pt x="74117" y="4736"/>
                        <a:pt x="73823" y="3789"/>
                      </a:cubicBezTo>
                      <a:cubicBezTo>
                        <a:pt x="73235" y="2842"/>
                        <a:pt x="72647" y="2210"/>
                        <a:pt x="72647" y="1894"/>
                      </a:cubicBezTo>
                      <a:cubicBezTo>
                        <a:pt x="72352" y="1263"/>
                        <a:pt x="72352" y="631"/>
                        <a:pt x="72647" y="631"/>
                      </a:cubicBezTo>
                      <a:cubicBezTo>
                        <a:pt x="72941" y="315"/>
                        <a:pt x="73823" y="0"/>
                        <a:pt x="74411" y="0"/>
                      </a:cubicBezTo>
                      <a:cubicBezTo>
                        <a:pt x="75000" y="315"/>
                        <a:pt x="76470" y="631"/>
                        <a:pt x="76764" y="631"/>
                      </a:cubicBezTo>
                      <a:cubicBezTo>
                        <a:pt x="77058" y="631"/>
                        <a:pt x="78529" y="1578"/>
                        <a:pt x="78529" y="1578"/>
                      </a:cubicBezTo>
                      <a:cubicBezTo>
                        <a:pt x="78529" y="1578"/>
                        <a:pt x="79117" y="3157"/>
                        <a:pt x="79117" y="3473"/>
                      </a:cubicBezTo>
                      <a:cubicBezTo>
                        <a:pt x="79117" y="3789"/>
                        <a:pt x="80588" y="5684"/>
                        <a:pt x="80000" y="5684"/>
                      </a:cubicBezTo>
                      <a:cubicBezTo>
                        <a:pt x="79705" y="5684"/>
                        <a:pt x="78529" y="6000"/>
                        <a:pt x="78529" y="6000"/>
                      </a:cubicBezTo>
                      <a:cubicBezTo>
                        <a:pt x="77941" y="6947"/>
                        <a:pt x="77941" y="6947"/>
                        <a:pt x="77941" y="6947"/>
                      </a:cubicBezTo>
                      <a:cubicBezTo>
                        <a:pt x="77941" y="6947"/>
                        <a:pt x="77352" y="8210"/>
                        <a:pt x="77352" y="8526"/>
                      </a:cubicBezTo>
                      <a:cubicBezTo>
                        <a:pt x="77352" y="8842"/>
                        <a:pt x="77058" y="10421"/>
                        <a:pt x="77058" y="10421"/>
                      </a:cubicBezTo>
                      <a:cubicBezTo>
                        <a:pt x="78529" y="13894"/>
                        <a:pt x="78529" y="13894"/>
                        <a:pt x="78529" y="13894"/>
                      </a:cubicBezTo>
                      <a:cubicBezTo>
                        <a:pt x="77058" y="16105"/>
                        <a:pt x="77058" y="16105"/>
                        <a:pt x="77058" y="16105"/>
                      </a:cubicBezTo>
                      <a:cubicBezTo>
                        <a:pt x="75882" y="17368"/>
                        <a:pt x="75882" y="17368"/>
                        <a:pt x="75882" y="17368"/>
                      </a:cubicBezTo>
                      <a:cubicBezTo>
                        <a:pt x="75882" y="17368"/>
                        <a:pt x="74117" y="17368"/>
                        <a:pt x="74117" y="17052"/>
                      </a:cubicBezTo>
                      <a:cubicBezTo>
                        <a:pt x="74117" y="16736"/>
                        <a:pt x="72941" y="16105"/>
                        <a:pt x="72941" y="16105"/>
                      </a:cubicBezTo>
                      <a:cubicBezTo>
                        <a:pt x="72941" y="16105"/>
                        <a:pt x="71176" y="16421"/>
                        <a:pt x="70882" y="16736"/>
                      </a:cubicBezTo>
                      <a:cubicBezTo>
                        <a:pt x="70588" y="16736"/>
                        <a:pt x="66470" y="17052"/>
                        <a:pt x="66470" y="17052"/>
                      </a:cubicBezTo>
                      <a:cubicBezTo>
                        <a:pt x="66470" y="17052"/>
                        <a:pt x="65588" y="16736"/>
                        <a:pt x="65294" y="16736"/>
                      </a:cubicBezTo>
                      <a:cubicBezTo>
                        <a:pt x="65000" y="16736"/>
                        <a:pt x="63529" y="16736"/>
                        <a:pt x="63529" y="16736"/>
                      </a:cubicBezTo>
                      <a:cubicBezTo>
                        <a:pt x="63235" y="15473"/>
                        <a:pt x="63235" y="15473"/>
                        <a:pt x="63235" y="15473"/>
                      </a:cubicBezTo>
                      <a:cubicBezTo>
                        <a:pt x="62058" y="15789"/>
                        <a:pt x="62058" y="15789"/>
                        <a:pt x="62058" y="15789"/>
                      </a:cubicBezTo>
                      <a:cubicBezTo>
                        <a:pt x="61764" y="17052"/>
                        <a:pt x="61764" y="17052"/>
                        <a:pt x="61764" y="17052"/>
                      </a:cubicBezTo>
                      <a:cubicBezTo>
                        <a:pt x="60294" y="18000"/>
                        <a:pt x="60294" y="18000"/>
                        <a:pt x="60294" y="18000"/>
                      </a:cubicBezTo>
                      <a:cubicBezTo>
                        <a:pt x="58823" y="18947"/>
                        <a:pt x="58823" y="18947"/>
                        <a:pt x="58823" y="18947"/>
                      </a:cubicBezTo>
                      <a:cubicBezTo>
                        <a:pt x="55882" y="18947"/>
                        <a:pt x="55882" y="18947"/>
                        <a:pt x="55882" y="18947"/>
                      </a:cubicBezTo>
                      <a:cubicBezTo>
                        <a:pt x="54117" y="18947"/>
                        <a:pt x="54117" y="18947"/>
                        <a:pt x="54117" y="18947"/>
                      </a:cubicBezTo>
                      <a:cubicBezTo>
                        <a:pt x="54117" y="19578"/>
                        <a:pt x="54117" y="19578"/>
                        <a:pt x="54117" y="19578"/>
                      </a:cubicBezTo>
                      <a:cubicBezTo>
                        <a:pt x="53235" y="21473"/>
                        <a:pt x="53235" y="21473"/>
                        <a:pt x="53235" y="21473"/>
                      </a:cubicBezTo>
                      <a:cubicBezTo>
                        <a:pt x="52058" y="22421"/>
                        <a:pt x="52058" y="22421"/>
                        <a:pt x="52058" y="22421"/>
                      </a:cubicBezTo>
                      <a:cubicBezTo>
                        <a:pt x="52058" y="22421"/>
                        <a:pt x="50294" y="23052"/>
                        <a:pt x="50000" y="23368"/>
                      </a:cubicBezTo>
                      <a:cubicBezTo>
                        <a:pt x="50000" y="23368"/>
                        <a:pt x="48823" y="23052"/>
                        <a:pt x="48823" y="23052"/>
                      </a:cubicBezTo>
                      <a:cubicBezTo>
                        <a:pt x="47352" y="24000"/>
                        <a:pt x="47352" y="24000"/>
                        <a:pt x="47352" y="24000"/>
                      </a:cubicBezTo>
                      <a:cubicBezTo>
                        <a:pt x="47058" y="24947"/>
                        <a:pt x="47058" y="24947"/>
                        <a:pt x="47058" y="24947"/>
                      </a:cubicBezTo>
                      <a:cubicBezTo>
                        <a:pt x="47647" y="25578"/>
                        <a:pt x="47647" y="25578"/>
                        <a:pt x="47647" y="25578"/>
                      </a:cubicBezTo>
                      <a:cubicBezTo>
                        <a:pt x="48823" y="26210"/>
                        <a:pt x="48823" y="26210"/>
                        <a:pt x="48823" y="26210"/>
                      </a:cubicBezTo>
                      <a:cubicBezTo>
                        <a:pt x="48823" y="26210"/>
                        <a:pt x="49705" y="26526"/>
                        <a:pt x="49705" y="26842"/>
                      </a:cubicBezTo>
                      <a:cubicBezTo>
                        <a:pt x="49705" y="26842"/>
                        <a:pt x="49411" y="27473"/>
                        <a:pt x="49411" y="27473"/>
                      </a:cubicBezTo>
                      <a:cubicBezTo>
                        <a:pt x="49411" y="29052"/>
                        <a:pt x="49411" y="29052"/>
                        <a:pt x="49411" y="29052"/>
                      </a:cubicBezTo>
                      <a:cubicBezTo>
                        <a:pt x="49411" y="29052"/>
                        <a:pt x="50294" y="29368"/>
                        <a:pt x="50588" y="29368"/>
                      </a:cubicBezTo>
                      <a:cubicBezTo>
                        <a:pt x="50588" y="29368"/>
                        <a:pt x="51470" y="28736"/>
                        <a:pt x="51470" y="28736"/>
                      </a:cubicBezTo>
                      <a:cubicBezTo>
                        <a:pt x="51470" y="28421"/>
                        <a:pt x="51764" y="28105"/>
                        <a:pt x="51764" y="28105"/>
                      </a:cubicBezTo>
                      <a:cubicBezTo>
                        <a:pt x="52352" y="28736"/>
                        <a:pt x="52352" y="28736"/>
                        <a:pt x="52352" y="28736"/>
                      </a:cubicBezTo>
                      <a:cubicBezTo>
                        <a:pt x="52352" y="28736"/>
                        <a:pt x="52647" y="29368"/>
                        <a:pt x="52941" y="29368"/>
                      </a:cubicBezTo>
                      <a:cubicBezTo>
                        <a:pt x="52941" y="29368"/>
                        <a:pt x="53823" y="29368"/>
                        <a:pt x="53823" y="29368"/>
                      </a:cubicBezTo>
                      <a:cubicBezTo>
                        <a:pt x="55000" y="30000"/>
                        <a:pt x="55000" y="30000"/>
                        <a:pt x="55000" y="30000"/>
                      </a:cubicBezTo>
                      <a:cubicBezTo>
                        <a:pt x="56470" y="31263"/>
                        <a:pt x="56470" y="31263"/>
                        <a:pt x="56470" y="31263"/>
                      </a:cubicBezTo>
                      <a:cubicBezTo>
                        <a:pt x="56470" y="31263"/>
                        <a:pt x="57647" y="31894"/>
                        <a:pt x="57352" y="32210"/>
                      </a:cubicBezTo>
                      <a:cubicBezTo>
                        <a:pt x="56764" y="32526"/>
                        <a:pt x="56176" y="32842"/>
                        <a:pt x="55882" y="32842"/>
                      </a:cubicBezTo>
                      <a:cubicBezTo>
                        <a:pt x="55882" y="32842"/>
                        <a:pt x="55294" y="32526"/>
                        <a:pt x="55294" y="32210"/>
                      </a:cubicBezTo>
                      <a:cubicBezTo>
                        <a:pt x="55294" y="31578"/>
                        <a:pt x="55000" y="31263"/>
                        <a:pt x="54705" y="31263"/>
                      </a:cubicBezTo>
                      <a:cubicBezTo>
                        <a:pt x="54411" y="31263"/>
                        <a:pt x="53823" y="30631"/>
                        <a:pt x="53823" y="30631"/>
                      </a:cubicBezTo>
                      <a:cubicBezTo>
                        <a:pt x="53529" y="30631"/>
                        <a:pt x="52941" y="30631"/>
                        <a:pt x="52647" y="30947"/>
                      </a:cubicBezTo>
                      <a:cubicBezTo>
                        <a:pt x="52352" y="30947"/>
                        <a:pt x="51764" y="30947"/>
                        <a:pt x="51764" y="30631"/>
                      </a:cubicBezTo>
                      <a:cubicBezTo>
                        <a:pt x="51470" y="30631"/>
                        <a:pt x="51176" y="29684"/>
                        <a:pt x="51176" y="29684"/>
                      </a:cubicBezTo>
                      <a:cubicBezTo>
                        <a:pt x="49705" y="29368"/>
                        <a:pt x="49705" y="29368"/>
                        <a:pt x="49705" y="29368"/>
                      </a:cubicBezTo>
                      <a:cubicBezTo>
                        <a:pt x="49705" y="29368"/>
                        <a:pt x="49411" y="29684"/>
                        <a:pt x="49411" y="30000"/>
                      </a:cubicBezTo>
                      <a:cubicBezTo>
                        <a:pt x="49411" y="30000"/>
                        <a:pt x="48823" y="30631"/>
                        <a:pt x="48823" y="30631"/>
                      </a:cubicBezTo>
                      <a:cubicBezTo>
                        <a:pt x="48529" y="30947"/>
                        <a:pt x="48529" y="30947"/>
                        <a:pt x="48529" y="30947"/>
                      </a:cubicBezTo>
                      <a:cubicBezTo>
                        <a:pt x="48529" y="31578"/>
                        <a:pt x="48529" y="31578"/>
                        <a:pt x="48529" y="31578"/>
                      </a:cubicBezTo>
                      <a:cubicBezTo>
                        <a:pt x="49117" y="32210"/>
                        <a:pt x="49117" y="32210"/>
                        <a:pt x="49117" y="32210"/>
                      </a:cubicBezTo>
                      <a:cubicBezTo>
                        <a:pt x="50294" y="33157"/>
                        <a:pt x="50294" y="33157"/>
                        <a:pt x="50294" y="33157"/>
                      </a:cubicBezTo>
                      <a:cubicBezTo>
                        <a:pt x="50294" y="33157"/>
                        <a:pt x="51764" y="33473"/>
                        <a:pt x="51764" y="33473"/>
                      </a:cubicBezTo>
                      <a:cubicBezTo>
                        <a:pt x="52058" y="33473"/>
                        <a:pt x="52647" y="34421"/>
                        <a:pt x="52647" y="34421"/>
                      </a:cubicBezTo>
                      <a:cubicBezTo>
                        <a:pt x="52647" y="35368"/>
                        <a:pt x="52647" y="35368"/>
                        <a:pt x="52647" y="35368"/>
                      </a:cubicBezTo>
                      <a:cubicBezTo>
                        <a:pt x="52352" y="36315"/>
                        <a:pt x="52352" y="36315"/>
                        <a:pt x="52352" y="36315"/>
                      </a:cubicBezTo>
                      <a:cubicBezTo>
                        <a:pt x="52352" y="36315"/>
                        <a:pt x="52352" y="36947"/>
                        <a:pt x="51764" y="36631"/>
                      </a:cubicBezTo>
                      <a:cubicBezTo>
                        <a:pt x="51176" y="36315"/>
                        <a:pt x="50882" y="36000"/>
                        <a:pt x="50882" y="36000"/>
                      </a:cubicBezTo>
                      <a:cubicBezTo>
                        <a:pt x="50000" y="35684"/>
                        <a:pt x="50000" y="35684"/>
                        <a:pt x="50000" y="35684"/>
                      </a:cubicBezTo>
                      <a:cubicBezTo>
                        <a:pt x="49705" y="34421"/>
                        <a:pt x="49705" y="34421"/>
                        <a:pt x="49705" y="34421"/>
                      </a:cubicBezTo>
                      <a:cubicBezTo>
                        <a:pt x="49705" y="34421"/>
                        <a:pt x="49117" y="33789"/>
                        <a:pt x="49117" y="33789"/>
                      </a:cubicBezTo>
                      <a:cubicBezTo>
                        <a:pt x="48823" y="33789"/>
                        <a:pt x="47352" y="32842"/>
                        <a:pt x="47352" y="32842"/>
                      </a:cubicBezTo>
                      <a:cubicBezTo>
                        <a:pt x="45588" y="32842"/>
                        <a:pt x="45588" y="32842"/>
                        <a:pt x="45588" y="32842"/>
                      </a:cubicBezTo>
                      <a:cubicBezTo>
                        <a:pt x="44411" y="32842"/>
                        <a:pt x="44411" y="32842"/>
                        <a:pt x="44411" y="32842"/>
                      </a:cubicBezTo>
                      <a:cubicBezTo>
                        <a:pt x="44117" y="33789"/>
                        <a:pt x="44117" y="33789"/>
                        <a:pt x="44117" y="33789"/>
                      </a:cubicBezTo>
                      <a:cubicBezTo>
                        <a:pt x="44117" y="33789"/>
                        <a:pt x="44117" y="34421"/>
                        <a:pt x="44411" y="34421"/>
                      </a:cubicBezTo>
                      <a:cubicBezTo>
                        <a:pt x="44411" y="34736"/>
                        <a:pt x="45294" y="35368"/>
                        <a:pt x="45294" y="35368"/>
                      </a:cubicBezTo>
                      <a:cubicBezTo>
                        <a:pt x="45294" y="35368"/>
                        <a:pt x="45882" y="35368"/>
                        <a:pt x="45882" y="35684"/>
                      </a:cubicBezTo>
                      <a:cubicBezTo>
                        <a:pt x="46176" y="36000"/>
                        <a:pt x="46764" y="36631"/>
                        <a:pt x="46764" y="36631"/>
                      </a:cubicBezTo>
                      <a:cubicBezTo>
                        <a:pt x="46764" y="36631"/>
                        <a:pt x="47058" y="36631"/>
                        <a:pt x="47352" y="36631"/>
                      </a:cubicBezTo>
                      <a:cubicBezTo>
                        <a:pt x="47941" y="36631"/>
                        <a:pt x="48529" y="36947"/>
                        <a:pt x="48529" y="36947"/>
                      </a:cubicBezTo>
                      <a:cubicBezTo>
                        <a:pt x="49411" y="37263"/>
                        <a:pt x="49411" y="37263"/>
                        <a:pt x="49411" y="37263"/>
                      </a:cubicBezTo>
                      <a:cubicBezTo>
                        <a:pt x="49705" y="37578"/>
                        <a:pt x="49705" y="37578"/>
                        <a:pt x="49705" y="37578"/>
                      </a:cubicBezTo>
                      <a:cubicBezTo>
                        <a:pt x="49705" y="37578"/>
                        <a:pt x="48823" y="37894"/>
                        <a:pt x="48529" y="37894"/>
                      </a:cubicBezTo>
                      <a:cubicBezTo>
                        <a:pt x="48235" y="38210"/>
                        <a:pt x="47352" y="38210"/>
                        <a:pt x="47352" y="38210"/>
                      </a:cubicBezTo>
                      <a:cubicBezTo>
                        <a:pt x="47352" y="38210"/>
                        <a:pt x="46764" y="37578"/>
                        <a:pt x="46470" y="37578"/>
                      </a:cubicBezTo>
                      <a:cubicBezTo>
                        <a:pt x="46470" y="37578"/>
                        <a:pt x="45588" y="37894"/>
                        <a:pt x="45588" y="37894"/>
                      </a:cubicBezTo>
                      <a:cubicBezTo>
                        <a:pt x="45588" y="37894"/>
                        <a:pt x="45000" y="38526"/>
                        <a:pt x="44705" y="37894"/>
                      </a:cubicBezTo>
                      <a:cubicBezTo>
                        <a:pt x="44411" y="37263"/>
                        <a:pt x="44117" y="36631"/>
                        <a:pt x="44117" y="36631"/>
                      </a:cubicBezTo>
                      <a:cubicBezTo>
                        <a:pt x="44117" y="36000"/>
                        <a:pt x="44117" y="36000"/>
                        <a:pt x="44117" y="36000"/>
                      </a:cubicBezTo>
                      <a:cubicBezTo>
                        <a:pt x="44117" y="35052"/>
                        <a:pt x="44117" y="35052"/>
                        <a:pt x="44117" y="35052"/>
                      </a:cubicBezTo>
                      <a:cubicBezTo>
                        <a:pt x="43823" y="34105"/>
                        <a:pt x="43823" y="34105"/>
                        <a:pt x="43823" y="34105"/>
                      </a:cubicBezTo>
                      <a:cubicBezTo>
                        <a:pt x="42647" y="33473"/>
                        <a:pt x="42647" y="33473"/>
                        <a:pt x="42647" y="33473"/>
                      </a:cubicBezTo>
                      <a:cubicBezTo>
                        <a:pt x="41176" y="33473"/>
                        <a:pt x="41176" y="33473"/>
                        <a:pt x="41176" y="33473"/>
                      </a:cubicBezTo>
                      <a:cubicBezTo>
                        <a:pt x="39705" y="32526"/>
                        <a:pt x="39705" y="32526"/>
                        <a:pt x="39705" y="32526"/>
                      </a:cubicBezTo>
                      <a:cubicBezTo>
                        <a:pt x="37941" y="31894"/>
                        <a:pt x="37941" y="31894"/>
                        <a:pt x="37941" y="31894"/>
                      </a:cubicBezTo>
                      <a:cubicBezTo>
                        <a:pt x="37352" y="30631"/>
                        <a:pt x="37352" y="30631"/>
                        <a:pt x="37352" y="30631"/>
                      </a:cubicBezTo>
                      <a:cubicBezTo>
                        <a:pt x="38529" y="29684"/>
                        <a:pt x="38529" y="29684"/>
                        <a:pt x="38529" y="29684"/>
                      </a:cubicBezTo>
                      <a:cubicBezTo>
                        <a:pt x="38235" y="28736"/>
                        <a:pt x="38235" y="28736"/>
                        <a:pt x="38235" y="28736"/>
                      </a:cubicBezTo>
                      <a:cubicBezTo>
                        <a:pt x="37647" y="28105"/>
                        <a:pt x="37647" y="28105"/>
                        <a:pt x="37647" y="28105"/>
                      </a:cubicBezTo>
                      <a:cubicBezTo>
                        <a:pt x="36176" y="29052"/>
                        <a:pt x="36176" y="29052"/>
                        <a:pt x="36176" y="29052"/>
                      </a:cubicBezTo>
                      <a:cubicBezTo>
                        <a:pt x="36176" y="30000"/>
                        <a:pt x="36176" y="30000"/>
                        <a:pt x="36176" y="30000"/>
                      </a:cubicBezTo>
                      <a:cubicBezTo>
                        <a:pt x="34705" y="30631"/>
                        <a:pt x="34705" y="30631"/>
                        <a:pt x="34705" y="30631"/>
                      </a:cubicBezTo>
                      <a:cubicBezTo>
                        <a:pt x="34117" y="31894"/>
                        <a:pt x="34117" y="31894"/>
                        <a:pt x="34117" y="31894"/>
                      </a:cubicBezTo>
                      <a:cubicBezTo>
                        <a:pt x="35000" y="32842"/>
                        <a:pt x="35000" y="32842"/>
                        <a:pt x="35000" y="32842"/>
                      </a:cubicBezTo>
                      <a:cubicBezTo>
                        <a:pt x="35000" y="34421"/>
                        <a:pt x="35000" y="34421"/>
                        <a:pt x="35000" y="34421"/>
                      </a:cubicBezTo>
                      <a:cubicBezTo>
                        <a:pt x="35000" y="34421"/>
                        <a:pt x="34705" y="36000"/>
                        <a:pt x="35000" y="36315"/>
                      </a:cubicBezTo>
                      <a:cubicBezTo>
                        <a:pt x="35000" y="36315"/>
                        <a:pt x="34705" y="37263"/>
                        <a:pt x="34705" y="37894"/>
                      </a:cubicBezTo>
                      <a:cubicBezTo>
                        <a:pt x="35000" y="38210"/>
                        <a:pt x="35000" y="38526"/>
                        <a:pt x="35588" y="38842"/>
                      </a:cubicBezTo>
                      <a:cubicBezTo>
                        <a:pt x="35882" y="39157"/>
                        <a:pt x="35882" y="39157"/>
                        <a:pt x="36470" y="39473"/>
                      </a:cubicBezTo>
                      <a:cubicBezTo>
                        <a:pt x="37058" y="39789"/>
                        <a:pt x="37352" y="40105"/>
                        <a:pt x="37352" y="40105"/>
                      </a:cubicBezTo>
                      <a:cubicBezTo>
                        <a:pt x="37941" y="41368"/>
                        <a:pt x="37941" y="41368"/>
                        <a:pt x="37941" y="41368"/>
                      </a:cubicBezTo>
                      <a:cubicBezTo>
                        <a:pt x="37941" y="41368"/>
                        <a:pt x="38235" y="41684"/>
                        <a:pt x="38529" y="41684"/>
                      </a:cubicBezTo>
                      <a:cubicBezTo>
                        <a:pt x="38823" y="42000"/>
                        <a:pt x="39705" y="42315"/>
                        <a:pt x="39705" y="42631"/>
                      </a:cubicBezTo>
                      <a:cubicBezTo>
                        <a:pt x="39705" y="43263"/>
                        <a:pt x="40000" y="43894"/>
                        <a:pt x="40000" y="43894"/>
                      </a:cubicBezTo>
                      <a:cubicBezTo>
                        <a:pt x="40000" y="43894"/>
                        <a:pt x="40294" y="44526"/>
                        <a:pt x="40294" y="44526"/>
                      </a:cubicBezTo>
                      <a:cubicBezTo>
                        <a:pt x="40588" y="44842"/>
                        <a:pt x="40882" y="44526"/>
                        <a:pt x="40882" y="44842"/>
                      </a:cubicBezTo>
                      <a:cubicBezTo>
                        <a:pt x="41176" y="45157"/>
                        <a:pt x="40882" y="45473"/>
                        <a:pt x="41470" y="45789"/>
                      </a:cubicBezTo>
                      <a:cubicBezTo>
                        <a:pt x="41764" y="46421"/>
                        <a:pt x="42352" y="46736"/>
                        <a:pt x="42352" y="46736"/>
                      </a:cubicBezTo>
                      <a:cubicBezTo>
                        <a:pt x="42647" y="46736"/>
                        <a:pt x="43235" y="47052"/>
                        <a:pt x="43235" y="47052"/>
                      </a:cubicBezTo>
                      <a:cubicBezTo>
                        <a:pt x="45000" y="48315"/>
                        <a:pt x="45000" y="48315"/>
                        <a:pt x="45000" y="48315"/>
                      </a:cubicBezTo>
                      <a:cubicBezTo>
                        <a:pt x="46176" y="49894"/>
                        <a:pt x="46176" y="49894"/>
                        <a:pt x="46176" y="49894"/>
                      </a:cubicBezTo>
                      <a:cubicBezTo>
                        <a:pt x="47058" y="50842"/>
                        <a:pt x="47058" y="50842"/>
                        <a:pt x="47058" y="50842"/>
                      </a:cubicBezTo>
                      <a:cubicBezTo>
                        <a:pt x="46764" y="52105"/>
                        <a:pt x="46764" y="52105"/>
                        <a:pt x="46764" y="52105"/>
                      </a:cubicBezTo>
                      <a:cubicBezTo>
                        <a:pt x="46470" y="52736"/>
                        <a:pt x="46470" y="52736"/>
                        <a:pt x="46470" y="52736"/>
                      </a:cubicBezTo>
                      <a:cubicBezTo>
                        <a:pt x="46470" y="52736"/>
                        <a:pt x="45882" y="53052"/>
                        <a:pt x="45588" y="53052"/>
                      </a:cubicBezTo>
                      <a:cubicBezTo>
                        <a:pt x="45588" y="53052"/>
                        <a:pt x="45000" y="53368"/>
                        <a:pt x="45000" y="53368"/>
                      </a:cubicBezTo>
                      <a:cubicBezTo>
                        <a:pt x="45000" y="53368"/>
                        <a:pt x="44705" y="53052"/>
                        <a:pt x="44705" y="53052"/>
                      </a:cubicBezTo>
                      <a:cubicBezTo>
                        <a:pt x="45000" y="52736"/>
                        <a:pt x="45882" y="52421"/>
                        <a:pt x="45882" y="52421"/>
                      </a:cubicBezTo>
                      <a:cubicBezTo>
                        <a:pt x="45882" y="52421"/>
                        <a:pt x="45882" y="51473"/>
                        <a:pt x="45588" y="51473"/>
                      </a:cubicBezTo>
                      <a:cubicBezTo>
                        <a:pt x="45294" y="51157"/>
                        <a:pt x="44411" y="50526"/>
                        <a:pt x="44411" y="50526"/>
                      </a:cubicBezTo>
                      <a:cubicBezTo>
                        <a:pt x="43823" y="49894"/>
                        <a:pt x="43823" y="49894"/>
                        <a:pt x="43823" y="49894"/>
                      </a:cubicBezTo>
                      <a:cubicBezTo>
                        <a:pt x="42941" y="49894"/>
                        <a:pt x="42941" y="49894"/>
                        <a:pt x="42941" y="49894"/>
                      </a:cubicBezTo>
                      <a:cubicBezTo>
                        <a:pt x="42941" y="49894"/>
                        <a:pt x="42352" y="49894"/>
                        <a:pt x="42352" y="50210"/>
                      </a:cubicBezTo>
                      <a:cubicBezTo>
                        <a:pt x="42058" y="50526"/>
                        <a:pt x="41176" y="51157"/>
                        <a:pt x="41176" y="51157"/>
                      </a:cubicBezTo>
                      <a:cubicBezTo>
                        <a:pt x="40588" y="52421"/>
                        <a:pt x="40588" y="52421"/>
                        <a:pt x="40588" y="52421"/>
                      </a:cubicBezTo>
                      <a:cubicBezTo>
                        <a:pt x="42058" y="52736"/>
                        <a:pt x="42058" y="52736"/>
                        <a:pt x="42058" y="52736"/>
                      </a:cubicBezTo>
                      <a:cubicBezTo>
                        <a:pt x="42058" y="52736"/>
                        <a:pt x="42647" y="53368"/>
                        <a:pt x="42647" y="53368"/>
                      </a:cubicBezTo>
                      <a:cubicBezTo>
                        <a:pt x="42647" y="53684"/>
                        <a:pt x="43235" y="54315"/>
                        <a:pt x="43235" y="54315"/>
                      </a:cubicBezTo>
                      <a:cubicBezTo>
                        <a:pt x="43823" y="54631"/>
                        <a:pt x="43823" y="54631"/>
                        <a:pt x="43823" y="54631"/>
                      </a:cubicBezTo>
                      <a:cubicBezTo>
                        <a:pt x="43823" y="55263"/>
                        <a:pt x="43823" y="55263"/>
                        <a:pt x="43823" y="55263"/>
                      </a:cubicBezTo>
                      <a:cubicBezTo>
                        <a:pt x="43529" y="56210"/>
                        <a:pt x="43529" y="56210"/>
                        <a:pt x="43529" y="56210"/>
                      </a:cubicBezTo>
                      <a:cubicBezTo>
                        <a:pt x="42647" y="57473"/>
                        <a:pt x="42647" y="57473"/>
                        <a:pt x="42647" y="57473"/>
                      </a:cubicBezTo>
                      <a:cubicBezTo>
                        <a:pt x="42647" y="57473"/>
                        <a:pt x="42058" y="57789"/>
                        <a:pt x="42058" y="57789"/>
                      </a:cubicBezTo>
                      <a:cubicBezTo>
                        <a:pt x="41764" y="57789"/>
                        <a:pt x="41176" y="58421"/>
                        <a:pt x="41176" y="58421"/>
                      </a:cubicBezTo>
                      <a:cubicBezTo>
                        <a:pt x="41176" y="58421"/>
                        <a:pt x="40882" y="58421"/>
                        <a:pt x="40882" y="58421"/>
                      </a:cubicBezTo>
                      <a:cubicBezTo>
                        <a:pt x="40588" y="58421"/>
                        <a:pt x="40000" y="58105"/>
                        <a:pt x="39705" y="58105"/>
                      </a:cubicBezTo>
                      <a:cubicBezTo>
                        <a:pt x="39705" y="58105"/>
                        <a:pt x="39117" y="58421"/>
                        <a:pt x="39117" y="58421"/>
                      </a:cubicBezTo>
                      <a:cubicBezTo>
                        <a:pt x="39117" y="58421"/>
                        <a:pt x="38235" y="59052"/>
                        <a:pt x="39411" y="59368"/>
                      </a:cubicBezTo>
                      <a:cubicBezTo>
                        <a:pt x="40588" y="59368"/>
                        <a:pt x="40882" y="59368"/>
                        <a:pt x="41176" y="59368"/>
                      </a:cubicBezTo>
                      <a:cubicBezTo>
                        <a:pt x="41176" y="59368"/>
                        <a:pt x="42352" y="59368"/>
                        <a:pt x="42352" y="59368"/>
                      </a:cubicBezTo>
                      <a:cubicBezTo>
                        <a:pt x="42352" y="59368"/>
                        <a:pt x="42647" y="59368"/>
                        <a:pt x="42941" y="59684"/>
                      </a:cubicBezTo>
                      <a:cubicBezTo>
                        <a:pt x="43529" y="59684"/>
                        <a:pt x="43823" y="59684"/>
                        <a:pt x="44117" y="60000"/>
                      </a:cubicBezTo>
                      <a:cubicBezTo>
                        <a:pt x="44411" y="60000"/>
                        <a:pt x="44705" y="60315"/>
                        <a:pt x="44705" y="60315"/>
                      </a:cubicBezTo>
                      <a:cubicBezTo>
                        <a:pt x="44705" y="60631"/>
                        <a:pt x="44705" y="60631"/>
                        <a:pt x="45000" y="60631"/>
                      </a:cubicBezTo>
                      <a:cubicBezTo>
                        <a:pt x="45294" y="60631"/>
                        <a:pt x="45588" y="60947"/>
                        <a:pt x="45588" y="60947"/>
                      </a:cubicBezTo>
                      <a:cubicBezTo>
                        <a:pt x="45882" y="60947"/>
                        <a:pt x="45882" y="60947"/>
                        <a:pt x="45882" y="60947"/>
                      </a:cubicBezTo>
                      <a:cubicBezTo>
                        <a:pt x="45882" y="60947"/>
                        <a:pt x="46176" y="60947"/>
                        <a:pt x="46470" y="60947"/>
                      </a:cubicBezTo>
                      <a:cubicBezTo>
                        <a:pt x="46764" y="60947"/>
                        <a:pt x="46764" y="60631"/>
                        <a:pt x="47058" y="60631"/>
                      </a:cubicBezTo>
                      <a:cubicBezTo>
                        <a:pt x="47352" y="60631"/>
                        <a:pt x="48235" y="60631"/>
                        <a:pt x="48235" y="60631"/>
                      </a:cubicBezTo>
                      <a:cubicBezTo>
                        <a:pt x="48823" y="61894"/>
                        <a:pt x="48823" y="61894"/>
                        <a:pt x="48823" y="61894"/>
                      </a:cubicBezTo>
                      <a:cubicBezTo>
                        <a:pt x="48823" y="61894"/>
                        <a:pt x="48823" y="62210"/>
                        <a:pt x="49117" y="62210"/>
                      </a:cubicBezTo>
                      <a:cubicBezTo>
                        <a:pt x="49117" y="62526"/>
                        <a:pt x="49705" y="62842"/>
                        <a:pt x="50000" y="62842"/>
                      </a:cubicBezTo>
                      <a:cubicBezTo>
                        <a:pt x="50294" y="62842"/>
                        <a:pt x="52647" y="62210"/>
                        <a:pt x="52647" y="62210"/>
                      </a:cubicBezTo>
                      <a:cubicBezTo>
                        <a:pt x="51470" y="61263"/>
                        <a:pt x="51470" y="61263"/>
                        <a:pt x="51470" y="61263"/>
                      </a:cubicBezTo>
                      <a:cubicBezTo>
                        <a:pt x="51470" y="61263"/>
                        <a:pt x="50882" y="60631"/>
                        <a:pt x="50588" y="60315"/>
                      </a:cubicBezTo>
                      <a:cubicBezTo>
                        <a:pt x="50588" y="60000"/>
                        <a:pt x="49117" y="59052"/>
                        <a:pt x="49117" y="59052"/>
                      </a:cubicBezTo>
                      <a:cubicBezTo>
                        <a:pt x="47647" y="58736"/>
                        <a:pt x="47647" y="58736"/>
                        <a:pt x="47647" y="58736"/>
                      </a:cubicBezTo>
                      <a:cubicBezTo>
                        <a:pt x="45882" y="57789"/>
                        <a:pt x="45882" y="57789"/>
                        <a:pt x="45882" y="57789"/>
                      </a:cubicBezTo>
                      <a:cubicBezTo>
                        <a:pt x="44117" y="57157"/>
                        <a:pt x="44117" y="57157"/>
                        <a:pt x="44117" y="57157"/>
                      </a:cubicBezTo>
                      <a:cubicBezTo>
                        <a:pt x="44117" y="57157"/>
                        <a:pt x="44705" y="55894"/>
                        <a:pt x="45000" y="55578"/>
                      </a:cubicBezTo>
                      <a:cubicBezTo>
                        <a:pt x="45000" y="55263"/>
                        <a:pt x="45000" y="54315"/>
                        <a:pt x="45294" y="54315"/>
                      </a:cubicBezTo>
                      <a:cubicBezTo>
                        <a:pt x="45588" y="54631"/>
                        <a:pt x="46176" y="54631"/>
                        <a:pt x="46470" y="54631"/>
                      </a:cubicBezTo>
                      <a:cubicBezTo>
                        <a:pt x="46764" y="54631"/>
                        <a:pt x="47352" y="54315"/>
                        <a:pt x="47647" y="54315"/>
                      </a:cubicBezTo>
                      <a:cubicBezTo>
                        <a:pt x="47941" y="54315"/>
                        <a:pt x="48529" y="54631"/>
                        <a:pt x="48529" y="54631"/>
                      </a:cubicBezTo>
                      <a:cubicBezTo>
                        <a:pt x="48529" y="54631"/>
                        <a:pt x="48823" y="55263"/>
                        <a:pt x="48823" y="55578"/>
                      </a:cubicBezTo>
                      <a:cubicBezTo>
                        <a:pt x="49117" y="55578"/>
                        <a:pt x="49117" y="56210"/>
                        <a:pt x="49411" y="56526"/>
                      </a:cubicBezTo>
                      <a:cubicBezTo>
                        <a:pt x="49705" y="56526"/>
                        <a:pt x="51176" y="57157"/>
                        <a:pt x="51176" y="57157"/>
                      </a:cubicBezTo>
                      <a:cubicBezTo>
                        <a:pt x="51176" y="57157"/>
                        <a:pt x="52941" y="57789"/>
                        <a:pt x="52941" y="57789"/>
                      </a:cubicBezTo>
                      <a:cubicBezTo>
                        <a:pt x="53235" y="57789"/>
                        <a:pt x="53823" y="57789"/>
                        <a:pt x="53823" y="57789"/>
                      </a:cubicBezTo>
                      <a:cubicBezTo>
                        <a:pt x="54705" y="58736"/>
                        <a:pt x="54705" y="58736"/>
                        <a:pt x="54705" y="58736"/>
                      </a:cubicBezTo>
                      <a:cubicBezTo>
                        <a:pt x="56470" y="58421"/>
                        <a:pt x="56470" y="58421"/>
                        <a:pt x="56470" y="58421"/>
                      </a:cubicBezTo>
                      <a:cubicBezTo>
                        <a:pt x="58235" y="58105"/>
                        <a:pt x="58235" y="58105"/>
                        <a:pt x="58235" y="58105"/>
                      </a:cubicBezTo>
                      <a:cubicBezTo>
                        <a:pt x="58529" y="58736"/>
                        <a:pt x="58529" y="58736"/>
                        <a:pt x="58529" y="58736"/>
                      </a:cubicBezTo>
                      <a:cubicBezTo>
                        <a:pt x="58529" y="58736"/>
                        <a:pt x="59411" y="59368"/>
                        <a:pt x="59411" y="59368"/>
                      </a:cubicBezTo>
                      <a:cubicBezTo>
                        <a:pt x="59411" y="59684"/>
                        <a:pt x="60000" y="60947"/>
                        <a:pt x="60000" y="60947"/>
                      </a:cubicBezTo>
                      <a:cubicBezTo>
                        <a:pt x="60000" y="60947"/>
                        <a:pt x="60000" y="61894"/>
                        <a:pt x="60000" y="61894"/>
                      </a:cubicBezTo>
                      <a:cubicBezTo>
                        <a:pt x="60000" y="62210"/>
                        <a:pt x="60588" y="63473"/>
                        <a:pt x="60588" y="63473"/>
                      </a:cubicBezTo>
                      <a:cubicBezTo>
                        <a:pt x="60882" y="63789"/>
                        <a:pt x="62058" y="65052"/>
                        <a:pt x="62058" y="65368"/>
                      </a:cubicBezTo>
                      <a:cubicBezTo>
                        <a:pt x="62058" y="65368"/>
                        <a:pt x="62647" y="66315"/>
                        <a:pt x="62941" y="66315"/>
                      </a:cubicBezTo>
                      <a:cubicBezTo>
                        <a:pt x="62941" y="66315"/>
                        <a:pt x="63235" y="66000"/>
                        <a:pt x="63235" y="66000"/>
                      </a:cubicBezTo>
                      <a:cubicBezTo>
                        <a:pt x="63529" y="66000"/>
                        <a:pt x="64411" y="65368"/>
                        <a:pt x="64411" y="65368"/>
                      </a:cubicBezTo>
                      <a:cubicBezTo>
                        <a:pt x="64411" y="65368"/>
                        <a:pt x="65294" y="65368"/>
                        <a:pt x="65294" y="65684"/>
                      </a:cubicBezTo>
                      <a:cubicBezTo>
                        <a:pt x="65294" y="66000"/>
                        <a:pt x="66470" y="66947"/>
                        <a:pt x="66470" y="66947"/>
                      </a:cubicBezTo>
                      <a:cubicBezTo>
                        <a:pt x="66470" y="66947"/>
                        <a:pt x="66764" y="68210"/>
                        <a:pt x="66764" y="68210"/>
                      </a:cubicBezTo>
                      <a:cubicBezTo>
                        <a:pt x="66470" y="68526"/>
                        <a:pt x="65588" y="68842"/>
                        <a:pt x="65588" y="69157"/>
                      </a:cubicBezTo>
                      <a:cubicBezTo>
                        <a:pt x="65294" y="69157"/>
                        <a:pt x="64411" y="69157"/>
                        <a:pt x="64411" y="69157"/>
                      </a:cubicBezTo>
                      <a:cubicBezTo>
                        <a:pt x="64117" y="69473"/>
                        <a:pt x="62941" y="69789"/>
                        <a:pt x="62941" y="69789"/>
                      </a:cubicBezTo>
                      <a:cubicBezTo>
                        <a:pt x="62941" y="68526"/>
                        <a:pt x="62941" y="68526"/>
                        <a:pt x="62941" y="68526"/>
                      </a:cubicBezTo>
                      <a:cubicBezTo>
                        <a:pt x="62941" y="68526"/>
                        <a:pt x="62941" y="68210"/>
                        <a:pt x="62647" y="68210"/>
                      </a:cubicBezTo>
                      <a:cubicBezTo>
                        <a:pt x="62647" y="68210"/>
                        <a:pt x="60882" y="67578"/>
                        <a:pt x="60882" y="67578"/>
                      </a:cubicBezTo>
                      <a:cubicBezTo>
                        <a:pt x="60588" y="66000"/>
                        <a:pt x="60588" y="66000"/>
                        <a:pt x="60588" y="66000"/>
                      </a:cubicBezTo>
                      <a:cubicBezTo>
                        <a:pt x="59705" y="65052"/>
                        <a:pt x="59705" y="65052"/>
                        <a:pt x="59705" y="65052"/>
                      </a:cubicBezTo>
                      <a:cubicBezTo>
                        <a:pt x="58823" y="64421"/>
                        <a:pt x="58823" y="64421"/>
                        <a:pt x="58823" y="64421"/>
                      </a:cubicBezTo>
                      <a:cubicBezTo>
                        <a:pt x="58235" y="63473"/>
                        <a:pt x="58235" y="63473"/>
                        <a:pt x="58235" y="63473"/>
                      </a:cubicBezTo>
                      <a:cubicBezTo>
                        <a:pt x="57058" y="63473"/>
                        <a:pt x="57058" y="63473"/>
                        <a:pt x="57058" y="63473"/>
                      </a:cubicBezTo>
                      <a:cubicBezTo>
                        <a:pt x="57058" y="63473"/>
                        <a:pt x="56470" y="63789"/>
                        <a:pt x="56470" y="63789"/>
                      </a:cubicBezTo>
                      <a:cubicBezTo>
                        <a:pt x="56176" y="64105"/>
                        <a:pt x="55000" y="63789"/>
                        <a:pt x="55000" y="63789"/>
                      </a:cubicBezTo>
                      <a:cubicBezTo>
                        <a:pt x="54117" y="64105"/>
                        <a:pt x="54117" y="64105"/>
                        <a:pt x="54117" y="64105"/>
                      </a:cubicBezTo>
                      <a:cubicBezTo>
                        <a:pt x="54117" y="64736"/>
                        <a:pt x="54117" y="64736"/>
                        <a:pt x="54117" y="64736"/>
                      </a:cubicBezTo>
                      <a:cubicBezTo>
                        <a:pt x="55588" y="64736"/>
                        <a:pt x="55588" y="64736"/>
                        <a:pt x="55588" y="64736"/>
                      </a:cubicBezTo>
                      <a:cubicBezTo>
                        <a:pt x="56764" y="65052"/>
                        <a:pt x="56764" y="65052"/>
                        <a:pt x="56764" y="65052"/>
                      </a:cubicBezTo>
                      <a:cubicBezTo>
                        <a:pt x="58529" y="65368"/>
                        <a:pt x="58529" y="65368"/>
                        <a:pt x="58529" y="65368"/>
                      </a:cubicBezTo>
                      <a:cubicBezTo>
                        <a:pt x="58529" y="66631"/>
                        <a:pt x="58529" y="66631"/>
                        <a:pt x="58529" y="66631"/>
                      </a:cubicBezTo>
                      <a:cubicBezTo>
                        <a:pt x="58529" y="66631"/>
                        <a:pt x="58823" y="67263"/>
                        <a:pt x="58823" y="67578"/>
                      </a:cubicBezTo>
                      <a:cubicBezTo>
                        <a:pt x="58823" y="67894"/>
                        <a:pt x="59411" y="69157"/>
                        <a:pt x="59411" y="69157"/>
                      </a:cubicBezTo>
                      <a:cubicBezTo>
                        <a:pt x="60000" y="71052"/>
                        <a:pt x="60000" y="71052"/>
                        <a:pt x="60000" y="71052"/>
                      </a:cubicBezTo>
                      <a:cubicBezTo>
                        <a:pt x="60588" y="72315"/>
                        <a:pt x="60588" y="72315"/>
                        <a:pt x="60588" y="72315"/>
                      </a:cubicBezTo>
                      <a:cubicBezTo>
                        <a:pt x="61176" y="72631"/>
                        <a:pt x="61176" y="72631"/>
                        <a:pt x="61176" y="72631"/>
                      </a:cubicBezTo>
                      <a:cubicBezTo>
                        <a:pt x="61176" y="73894"/>
                        <a:pt x="61176" y="73894"/>
                        <a:pt x="61176" y="73894"/>
                      </a:cubicBezTo>
                      <a:cubicBezTo>
                        <a:pt x="61764" y="74210"/>
                        <a:pt x="61764" y="74210"/>
                        <a:pt x="61764" y="74210"/>
                      </a:cubicBezTo>
                      <a:cubicBezTo>
                        <a:pt x="61764" y="74210"/>
                        <a:pt x="61470" y="74526"/>
                        <a:pt x="61470" y="74842"/>
                      </a:cubicBezTo>
                      <a:cubicBezTo>
                        <a:pt x="61470" y="74842"/>
                        <a:pt x="60882" y="75789"/>
                        <a:pt x="60882" y="75789"/>
                      </a:cubicBezTo>
                      <a:cubicBezTo>
                        <a:pt x="60882" y="75789"/>
                        <a:pt x="60294" y="75789"/>
                        <a:pt x="60000" y="75789"/>
                      </a:cubicBezTo>
                      <a:cubicBezTo>
                        <a:pt x="60000" y="75473"/>
                        <a:pt x="59705" y="74842"/>
                        <a:pt x="59411" y="74842"/>
                      </a:cubicBezTo>
                      <a:cubicBezTo>
                        <a:pt x="58823" y="74526"/>
                        <a:pt x="58823" y="73894"/>
                        <a:pt x="58529" y="73894"/>
                      </a:cubicBezTo>
                      <a:cubicBezTo>
                        <a:pt x="58235" y="73894"/>
                        <a:pt x="57352" y="73894"/>
                        <a:pt x="57352" y="73894"/>
                      </a:cubicBezTo>
                      <a:cubicBezTo>
                        <a:pt x="57352" y="73894"/>
                        <a:pt x="56764" y="72947"/>
                        <a:pt x="56470" y="72631"/>
                      </a:cubicBezTo>
                      <a:cubicBezTo>
                        <a:pt x="56470" y="72631"/>
                        <a:pt x="56176" y="72315"/>
                        <a:pt x="55882" y="72000"/>
                      </a:cubicBezTo>
                      <a:cubicBezTo>
                        <a:pt x="55588" y="71684"/>
                        <a:pt x="55000" y="70736"/>
                        <a:pt x="55000" y="71052"/>
                      </a:cubicBezTo>
                      <a:cubicBezTo>
                        <a:pt x="55000" y="71684"/>
                        <a:pt x="55294" y="72315"/>
                        <a:pt x="55000" y="72315"/>
                      </a:cubicBezTo>
                      <a:cubicBezTo>
                        <a:pt x="54411" y="72315"/>
                        <a:pt x="54117" y="72315"/>
                        <a:pt x="54117" y="72315"/>
                      </a:cubicBezTo>
                      <a:cubicBezTo>
                        <a:pt x="54117" y="72315"/>
                        <a:pt x="53529" y="72947"/>
                        <a:pt x="53235" y="73263"/>
                      </a:cubicBezTo>
                      <a:cubicBezTo>
                        <a:pt x="53235" y="73263"/>
                        <a:pt x="53529" y="73263"/>
                        <a:pt x="52941" y="73578"/>
                      </a:cubicBezTo>
                      <a:cubicBezTo>
                        <a:pt x="52647" y="73578"/>
                        <a:pt x="52058" y="73578"/>
                        <a:pt x="52058" y="73578"/>
                      </a:cubicBezTo>
                      <a:cubicBezTo>
                        <a:pt x="52058" y="73263"/>
                        <a:pt x="52058" y="73263"/>
                        <a:pt x="52058" y="72947"/>
                      </a:cubicBezTo>
                      <a:cubicBezTo>
                        <a:pt x="52352" y="72631"/>
                        <a:pt x="54117" y="71684"/>
                        <a:pt x="54117" y="71684"/>
                      </a:cubicBezTo>
                      <a:cubicBezTo>
                        <a:pt x="54117" y="71368"/>
                        <a:pt x="53529" y="70421"/>
                        <a:pt x="53529" y="70421"/>
                      </a:cubicBezTo>
                      <a:cubicBezTo>
                        <a:pt x="53235" y="70736"/>
                        <a:pt x="53235" y="70736"/>
                        <a:pt x="53235" y="70736"/>
                      </a:cubicBezTo>
                      <a:cubicBezTo>
                        <a:pt x="52352" y="71368"/>
                        <a:pt x="52352" y="71368"/>
                        <a:pt x="52352" y="71368"/>
                      </a:cubicBezTo>
                      <a:cubicBezTo>
                        <a:pt x="51176" y="72315"/>
                        <a:pt x="51176" y="72315"/>
                        <a:pt x="51176" y="72315"/>
                      </a:cubicBezTo>
                      <a:cubicBezTo>
                        <a:pt x="50294" y="72631"/>
                        <a:pt x="50294" y="72631"/>
                        <a:pt x="50294" y="72631"/>
                      </a:cubicBezTo>
                      <a:cubicBezTo>
                        <a:pt x="49411" y="73263"/>
                        <a:pt x="49411" y="73263"/>
                        <a:pt x="49411" y="73263"/>
                      </a:cubicBezTo>
                      <a:cubicBezTo>
                        <a:pt x="48235" y="73578"/>
                        <a:pt x="48235" y="73578"/>
                        <a:pt x="48235" y="73578"/>
                      </a:cubicBezTo>
                      <a:cubicBezTo>
                        <a:pt x="47058" y="73578"/>
                        <a:pt x="47058" y="73578"/>
                        <a:pt x="47058" y="73578"/>
                      </a:cubicBezTo>
                      <a:cubicBezTo>
                        <a:pt x="46470" y="73263"/>
                        <a:pt x="46470" y="73263"/>
                        <a:pt x="46470" y="73263"/>
                      </a:cubicBezTo>
                      <a:cubicBezTo>
                        <a:pt x="45882" y="72315"/>
                        <a:pt x="45882" y="72315"/>
                        <a:pt x="45882" y="72315"/>
                      </a:cubicBezTo>
                      <a:cubicBezTo>
                        <a:pt x="45588" y="72315"/>
                        <a:pt x="45588" y="72315"/>
                        <a:pt x="45588" y="72315"/>
                      </a:cubicBezTo>
                      <a:cubicBezTo>
                        <a:pt x="45588" y="72315"/>
                        <a:pt x="45294" y="71684"/>
                        <a:pt x="45588" y="71368"/>
                      </a:cubicBezTo>
                      <a:cubicBezTo>
                        <a:pt x="45588" y="71368"/>
                        <a:pt x="45882" y="71052"/>
                        <a:pt x="46470" y="71052"/>
                      </a:cubicBezTo>
                      <a:cubicBezTo>
                        <a:pt x="47058" y="71052"/>
                        <a:pt x="47352" y="71052"/>
                        <a:pt x="47647" y="71052"/>
                      </a:cubicBezTo>
                      <a:cubicBezTo>
                        <a:pt x="47941" y="71052"/>
                        <a:pt x="48235" y="70736"/>
                        <a:pt x="48235" y="70736"/>
                      </a:cubicBezTo>
                      <a:cubicBezTo>
                        <a:pt x="48235" y="70736"/>
                        <a:pt x="48529" y="70736"/>
                        <a:pt x="48529" y="70421"/>
                      </a:cubicBezTo>
                      <a:cubicBezTo>
                        <a:pt x="48529" y="70105"/>
                        <a:pt x="47647" y="68842"/>
                        <a:pt x="47647" y="68842"/>
                      </a:cubicBezTo>
                      <a:cubicBezTo>
                        <a:pt x="47647" y="68842"/>
                        <a:pt x="46470" y="68842"/>
                        <a:pt x="46176" y="69157"/>
                      </a:cubicBezTo>
                      <a:cubicBezTo>
                        <a:pt x="45588" y="69157"/>
                        <a:pt x="45588" y="69789"/>
                        <a:pt x="45000" y="69473"/>
                      </a:cubicBezTo>
                      <a:cubicBezTo>
                        <a:pt x="44411" y="69157"/>
                        <a:pt x="42941" y="68526"/>
                        <a:pt x="42941" y="68526"/>
                      </a:cubicBezTo>
                      <a:cubicBezTo>
                        <a:pt x="41764" y="67263"/>
                        <a:pt x="41764" y="67263"/>
                        <a:pt x="41764" y="67263"/>
                      </a:cubicBezTo>
                      <a:cubicBezTo>
                        <a:pt x="41176" y="67894"/>
                        <a:pt x="41176" y="67894"/>
                        <a:pt x="41176" y="67894"/>
                      </a:cubicBezTo>
                      <a:cubicBezTo>
                        <a:pt x="40294" y="68526"/>
                        <a:pt x="40294" y="68526"/>
                        <a:pt x="40294" y="68526"/>
                      </a:cubicBezTo>
                      <a:cubicBezTo>
                        <a:pt x="40294" y="68526"/>
                        <a:pt x="40294" y="69157"/>
                        <a:pt x="39705" y="68526"/>
                      </a:cubicBezTo>
                      <a:cubicBezTo>
                        <a:pt x="39117" y="67578"/>
                        <a:pt x="39117" y="66947"/>
                        <a:pt x="39117" y="66947"/>
                      </a:cubicBezTo>
                      <a:cubicBezTo>
                        <a:pt x="38235" y="66947"/>
                        <a:pt x="38235" y="66947"/>
                        <a:pt x="38235" y="66947"/>
                      </a:cubicBezTo>
                      <a:cubicBezTo>
                        <a:pt x="37941" y="67894"/>
                        <a:pt x="37941" y="67894"/>
                        <a:pt x="37941" y="67894"/>
                      </a:cubicBezTo>
                      <a:cubicBezTo>
                        <a:pt x="37941" y="67894"/>
                        <a:pt x="37352" y="68842"/>
                        <a:pt x="37352" y="68842"/>
                      </a:cubicBezTo>
                      <a:cubicBezTo>
                        <a:pt x="37058" y="68842"/>
                        <a:pt x="36176" y="68842"/>
                        <a:pt x="35882" y="69157"/>
                      </a:cubicBezTo>
                      <a:cubicBezTo>
                        <a:pt x="35882" y="69157"/>
                        <a:pt x="34411" y="69157"/>
                        <a:pt x="34411" y="69157"/>
                      </a:cubicBezTo>
                      <a:cubicBezTo>
                        <a:pt x="32352" y="68526"/>
                        <a:pt x="32352" y="68526"/>
                        <a:pt x="32352" y="68526"/>
                      </a:cubicBezTo>
                      <a:cubicBezTo>
                        <a:pt x="32352" y="68526"/>
                        <a:pt x="31764" y="68842"/>
                        <a:pt x="31764" y="68842"/>
                      </a:cubicBezTo>
                      <a:cubicBezTo>
                        <a:pt x="31470" y="69157"/>
                        <a:pt x="28529" y="69789"/>
                        <a:pt x="28529" y="69789"/>
                      </a:cubicBezTo>
                      <a:cubicBezTo>
                        <a:pt x="27058" y="70736"/>
                        <a:pt x="27058" y="70736"/>
                        <a:pt x="27058" y="70736"/>
                      </a:cubicBezTo>
                      <a:cubicBezTo>
                        <a:pt x="26176" y="70736"/>
                        <a:pt x="26176" y="70736"/>
                        <a:pt x="26176" y="70736"/>
                      </a:cubicBezTo>
                      <a:cubicBezTo>
                        <a:pt x="25294" y="69473"/>
                        <a:pt x="25294" y="69473"/>
                        <a:pt x="25294" y="69473"/>
                      </a:cubicBezTo>
                      <a:cubicBezTo>
                        <a:pt x="24705" y="68526"/>
                        <a:pt x="24705" y="68526"/>
                        <a:pt x="24705" y="68526"/>
                      </a:cubicBezTo>
                      <a:cubicBezTo>
                        <a:pt x="24705" y="69789"/>
                        <a:pt x="24705" y="69789"/>
                        <a:pt x="24705" y="69789"/>
                      </a:cubicBezTo>
                      <a:cubicBezTo>
                        <a:pt x="24411" y="70421"/>
                        <a:pt x="24411" y="70421"/>
                        <a:pt x="24411" y="70421"/>
                      </a:cubicBezTo>
                      <a:cubicBezTo>
                        <a:pt x="24411" y="70421"/>
                        <a:pt x="23235" y="71684"/>
                        <a:pt x="22941" y="72000"/>
                      </a:cubicBezTo>
                      <a:cubicBezTo>
                        <a:pt x="22941" y="72000"/>
                        <a:pt x="21470" y="70421"/>
                        <a:pt x="21470" y="70421"/>
                      </a:cubicBezTo>
                      <a:cubicBezTo>
                        <a:pt x="21176" y="68210"/>
                        <a:pt x="21176" y="68210"/>
                        <a:pt x="21176" y="68210"/>
                      </a:cubicBezTo>
                      <a:cubicBezTo>
                        <a:pt x="19705" y="66631"/>
                        <a:pt x="19705" y="66631"/>
                        <a:pt x="19705" y="66631"/>
                      </a:cubicBezTo>
                      <a:cubicBezTo>
                        <a:pt x="18823" y="66947"/>
                        <a:pt x="18823" y="66947"/>
                        <a:pt x="18823" y="66947"/>
                      </a:cubicBezTo>
                      <a:cubicBezTo>
                        <a:pt x="18529" y="65368"/>
                        <a:pt x="18529" y="65368"/>
                        <a:pt x="18529" y="65368"/>
                      </a:cubicBezTo>
                      <a:cubicBezTo>
                        <a:pt x="17941" y="64421"/>
                        <a:pt x="17941" y="64421"/>
                        <a:pt x="17941" y="64421"/>
                      </a:cubicBezTo>
                      <a:cubicBezTo>
                        <a:pt x="16764" y="64421"/>
                        <a:pt x="16764" y="64421"/>
                        <a:pt x="16764" y="64421"/>
                      </a:cubicBezTo>
                      <a:cubicBezTo>
                        <a:pt x="16470" y="65052"/>
                        <a:pt x="16470" y="65052"/>
                        <a:pt x="16470" y="65052"/>
                      </a:cubicBezTo>
                      <a:cubicBezTo>
                        <a:pt x="16176" y="66000"/>
                        <a:pt x="16176" y="66000"/>
                        <a:pt x="16176" y="66000"/>
                      </a:cubicBezTo>
                      <a:cubicBezTo>
                        <a:pt x="16176" y="66000"/>
                        <a:pt x="16470" y="66947"/>
                        <a:pt x="16470" y="66947"/>
                      </a:cubicBezTo>
                      <a:cubicBezTo>
                        <a:pt x="16470" y="67263"/>
                        <a:pt x="16176" y="67578"/>
                        <a:pt x="15882" y="67578"/>
                      </a:cubicBezTo>
                      <a:cubicBezTo>
                        <a:pt x="15882" y="67578"/>
                        <a:pt x="14411" y="68210"/>
                        <a:pt x="14411" y="68210"/>
                      </a:cubicBezTo>
                      <a:cubicBezTo>
                        <a:pt x="14411" y="68210"/>
                        <a:pt x="14117" y="67263"/>
                        <a:pt x="14117" y="66947"/>
                      </a:cubicBezTo>
                      <a:cubicBezTo>
                        <a:pt x="14117" y="66315"/>
                        <a:pt x="14117" y="65368"/>
                        <a:pt x="14117" y="65368"/>
                      </a:cubicBezTo>
                      <a:cubicBezTo>
                        <a:pt x="14117" y="65368"/>
                        <a:pt x="15294" y="64736"/>
                        <a:pt x="15294" y="64736"/>
                      </a:cubicBezTo>
                      <a:cubicBezTo>
                        <a:pt x="15294" y="64421"/>
                        <a:pt x="16176" y="62842"/>
                        <a:pt x="16176" y="62842"/>
                      </a:cubicBezTo>
                      <a:cubicBezTo>
                        <a:pt x="16176" y="61894"/>
                        <a:pt x="16176" y="61894"/>
                        <a:pt x="16176" y="61894"/>
                      </a:cubicBezTo>
                      <a:cubicBezTo>
                        <a:pt x="16176" y="61894"/>
                        <a:pt x="17352" y="61578"/>
                        <a:pt x="17647" y="61578"/>
                      </a:cubicBezTo>
                      <a:cubicBezTo>
                        <a:pt x="17941" y="61578"/>
                        <a:pt x="18529" y="61578"/>
                        <a:pt x="18823" y="61894"/>
                      </a:cubicBezTo>
                      <a:cubicBezTo>
                        <a:pt x="19411" y="62210"/>
                        <a:pt x="19117" y="62210"/>
                        <a:pt x="19705" y="62210"/>
                      </a:cubicBezTo>
                      <a:cubicBezTo>
                        <a:pt x="20294" y="61894"/>
                        <a:pt x="20882" y="61578"/>
                        <a:pt x="20882" y="61263"/>
                      </a:cubicBezTo>
                      <a:cubicBezTo>
                        <a:pt x="20882" y="60947"/>
                        <a:pt x="21176" y="59684"/>
                        <a:pt x="20294" y="59684"/>
                      </a:cubicBezTo>
                      <a:cubicBezTo>
                        <a:pt x="19705" y="59684"/>
                        <a:pt x="18823" y="60315"/>
                        <a:pt x="18529" y="60315"/>
                      </a:cubicBezTo>
                      <a:cubicBezTo>
                        <a:pt x="18235" y="60631"/>
                        <a:pt x="17941" y="60315"/>
                        <a:pt x="17352" y="60000"/>
                      </a:cubicBezTo>
                      <a:cubicBezTo>
                        <a:pt x="17058" y="60000"/>
                        <a:pt x="16470" y="59684"/>
                        <a:pt x="16470" y="59684"/>
                      </a:cubicBezTo>
                      <a:cubicBezTo>
                        <a:pt x="15588" y="60631"/>
                        <a:pt x="15588" y="60631"/>
                        <a:pt x="15588" y="60631"/>
                      </a:cubicBezTo>
                      <a:cubicBezTo>
                        <a:pt x="15588" y="60631"/>
                        <a:pt x="16176" y="61894"/>
                        <a:pt x="15000" y="60947"/>
                      </a:cubicBezTo>
                      <a:cubicBezTo>
                        <a:pt x="13823" y="60315"/>
                        <a:pt x="13823" y="60000"/>
                        <a:pt x="13823" y="60000"/>
                      </a:cubicBezTo>
                      <a:cubicBezTo>
                        <a:pt x="12647" y="58736"/>
                        <a:pt x="12647" y="58736"/>
                        <a:pt x="12647" y="58736"/>
                      </a:cubicBezTo>
                      <a:cubicBezTo>
                        <a:pt x="12058" y="56526"/>
                        <a:pt x="12058" y="56526"/>
                        <a:pt x="12058" y="56526"/>
                      </a:cubicBezTo>
                      <a:cubicBezTo>
                        <a:pt x="11176" y="55263"/>
                        <a:pt x="11176" y="55263"/>
                        <a:pt x="11176" y="55263"/>
                      </a:cubicBezTo>
                      <a:cubicBezTo>
                        <a:pt x="11176" y="55263"/>
                        <a:pt x="10882" y="55894"/>
                        <a:pt x="10588" y="56526"/>
                      </a:cubicBezTo>
                      <a:cubicBezTo>
                        <a:pt x="10294" y="56842"/>
                        <a:pt x="9705" y="56842"/>
                        <a:pt x="9411" y="56526"/>
                      </a:cubicBezTo>
                      <a:cubicBezTo>
                        <a:pt x="9411" y="55894"/>
                        <a:pt x="8529" y="54631"/>
                        <a:pt x="8529" y="54631"/>
                      </a:cubicBezTo>
                      <a:cubicBezTo>
                        <a:pt x="8823" y="53368"/>
                        <a:pt x="8823" y="53368"/>
                        <a:pt x="8823" y="53368"/>
                      </a:cubicBezTo>
                      <a:cubicBezTo>
                        <a:pt x="7647" y="53052"/>
                        <a:pt x="7647" y="53052"/>
                        <a:pt x="7647" y="53052"/>
                      </a:cubicBezTo>
                      <a:cubicBezTo>
                        <a:pt x="7647" y="53052"/>
                        <a:pt x="7058" y="52736"/>
                        <a:pt x="7058" y="52421"/>
                      </a:cubicBezTo>
                      <a:cubicBezTo>
                        <a:pt x="7352" y="51789"/>
                        <a:pt x="7941" y="50842"/>
                        <a:pt x="7941" y="50842"/>
                      </a:cubicBezTo>
                      <a:cubicBezTo>
                        <a:pt x="8529" y="49578"/>
                        <a:pt x="8529" y="49578"/>
                        <a:pt x="8529" y="49578"/>
                      </a:cubicBezTo>
                      <a:cubicBezTo>
                        <a:pt x="8529" y="49578"/>
                        <a:pt x="8529" y="48631"/>
                        <a:pt x="8235" y="48315"/>
                      </a:cubicBezTo>
                      <a:cubicBezTo>
                        <a:pt x="8235" y="48000"/>
                        <a:pt x="7941" y="43894"/>
                        <a:pt x="7941" y="43894"/>
                      </a:cubicBezTo>
                      <a:cubicBezTo>
                        <a:pt x="10294" y="42315"/>
                        <a:pt x="10294" y="42315"/>
                        <a:pt x="10294" y="42315"/>
                      </a:cubicBezTo>
                      <a:cubicBezTo>
                        <a:pt x="11764" y="39789"/>
                        <a:pt x="11764" y="39789"/>
                        <a:pt x="11764" y="39789"/>
                      </a:cubicBezTo>
                      <a:cubicBezTo>
                        <a:pt x="12352" y="36947"/>
                        <a:pt x="12352" y="36947"/>
                        <a:pt x="12352" y="36947"/>
                      </a:cubicBezTo>
                      <a:cubicBezTo>
                        <a:pt x="13235" y="34421"/>
                        <a:pt x="13235" y="34421"/>
                        <a:pt x="13235" y="34421"/>
                      </a:cubicBezTo>
                      <a:cubicBezTo>
                        <a:pt x="13235" y="34421"/>
                        <a:pt x="14411" y="33157"/>
                        <a:pt x="14411" y="33473"/>
                      </a:cubicBezTo>
                      <a:cubicBezTo>
                        <a:pt x="14705" y="33789"/>
                        <a:pt x="14411" y="30947"/>
                        <a:pt x="14411" y="30947"/>
                      </a:cubicBezTo>
                      <a:cubicBezTo>
                        <a:pt x="13529" y="30000"/>
                        <a:pt x="13529" y="30000"/>
                        <a:pt x="13529" y="30000"/>
                      </a:cubicBezTo>
                      <a:cubicBezTo>
                        <a:pt x="13529" y="28421"/>
                        <a:pt x="13529" y="28421"/>
                        <a:pt x="13529" y="28421"/>
                      </a:cubicBezTo>
                      <a:cubicBezTo>
                        <a:pt x="13529" y="28421"/>
                        <a:pt x="15000" y="28105"/>
                        <a:pt x="15294" y="28105"/>
                      </a:cubicBezTo>
                      <a:cubicBezTo>
                        <a:pt x="15588" y="28105"/>
                        <a:pt x="16176" y="27789"/>
                        <a:pt x="17058" y="27473"/>
                      </a:cubicBezTo>
                      <a:cubicBezTo>
                        <a:pt x="17647" y="27473"/>
                        <a:pt x="18235" y="26842"/>
                        <a:pt x="18823" y="26842"/>
                      </a:cubicBezTo>
                      <a:cubicBezTo>
                        <a:pt x="19117" y="26842"/>
                        <a:pt x="20588" y="26842"/>
                        <a:pt x="20588" y="26842"/>
                      </a:cubicBezTo>
                      <a:cubicBezTo>
                        <a:pt x="20588" y="26842"/>
                        <a:pt x="22058" y="25894"/>
                        <a:pt x="22352" y="25578"/>
                      </a:cubicBezTo>
                      <a:cubicBezTo>
                        <a:pt x="22647" y="25263"/>
                        <a:pt x="23529" y="24000"/>
                        <a:pt x="23529" y="24000"/>
                      </a:cubicBezTo>
                      <a:cubicBezTo>
                        <a:pt x="23529" y="24000"/>
                        <a:pt x="23823" y="22421"/>
                        <a:pt x="24411" y="22105"/>
                      </a:cubicBezTo>
                      <a:cubicBezTo>
                        <a:pt x="24705" y="22105"/>
                        <a:pt x="25588" y="21473"/>
                        <a:pt x="26176" y="21473"/>
                      </a:cubicBezTo>
                      <a:cubicBezTo>
                        <a:pt x="26764" y="21157"/>
                        <a:pt x="28235" y="20842"/>
                        <a:pt x="28529" y="20842"/>
                      </a:cubicBezTo>
                      <a:cubicBezTo>
                        <a:pt x="28823" y="20842"/>
                        <a:pt x="32352" y="20210"/>
                        <a:pt x="32352" y="20210"/>
                      </a:cubicBezTo>
                      <a:cubicBezTo>
                        <a:pt x="33823" y="18947"/>
                        <a:pt x="33823" y="18947"/>
                        <a:pt x="33823" y="18947"/>
                      </a:cubicBezTo>
                      <a:cubicBezTo>
                        <a:pt x="33529" y="16105"/>
                        <a:pt x="33529" y="16105"/>
                        <a:pt x="33529" y="16105"/>
                      </a:cubicBezTo>
                      <a:cubicBezTo>
                        <a:pt x="37941" y="15473"/>
                        <a:pt x="37941" y="15473"/>
                        <a:pt x="37941" y="15473"/>
                      </a:cubicBezTo>
                      <a:cubicBezTo>
                        <a:pt x="39705" y="14210"/>
                        <a:pt x="39705" y="14210"/>
                        <a:pt x="39705" y="14210"/>
                      </a:cubicBezTo>
                      <a:cubicBezTo>
                        <a:pt x="39705" y="14210"/>
                        <a:pt x="40588" y="13263"/>
                        <a:pt x="40882" y="13263"/>
                      </a:cubicBezTo>
                      <a:cubicBezTo>
                        <a:pt x="41176" y="13578"/>
                        <a:pt x="41764" y="13263"/>
                        <a:pt x="41764" y="13263"/>
                      </a:cubicBezTo>
                      <a:cubicBezTo>
                        <a:pt x="43823" y="12631"/>
                        <a:pt x="43823" y="12631"/>
                        <a:pt x="43823" y="12631"/>
                      </a:cubicBezTo>
                      <a:cubicBezTo>
                        <a:pt x="43823" y="12631"/>
                        <a:pt x="46470" y="11684"/>
                        <a:pt x="46764" y="11368"/>
                      </a:cubicBezTo>
                      <a:cubicBezTo>
                        <a:pt x="46764" y="11368"/>
                        <a:pt x="48235" y="10736"/>
                        <a:pt x="48235" y="10736"/>
                      </a:cubicBezTo>
                      <a:cubicBezTo>
                        <a:pt x="48823" y="9473"/>
                        <a:pt x="48823" y="9473"/>
                        <a:pt x="48823" y="9473"/>
                      </a:cubicBezTo>
                      <a:cubicBezTo>
                        <a:pt x="48823" y="9473"/>
                        <a:pt x="49411" y="8842"/>
                        <a:pt x="50294" y="8842"/>
                      </a:cubicBezTo>
                      <a:cubicBezTo>
                        <a:pt x="50882" y="8842"/>
                        <a:pt x="51470" y="8842"/>
                        <a:pt x="51764" y="8842"/>
                      </a:cubicBezTo>
                      <a:cubicBezTo>
                        <a:pt x="51764" y="8526"/>
                        <a:pt x="52058" y="7894"/>
                        <a:pt x="52352" y="7894"/>
                      </a:cubicBezTo>
                      <a:cubicBezTo>
                        <a:pt x="52647" y="7894"/>
                        <a:pt x="54411" y="7578"/>
                        <a:pt x="54411" y="7578"/>
                      </a:cubicBezTo>
                      <a:cubicBezTo>
                        <a:pt x="55294" y="9157"/>
                        <a:pt x="55294" y="9157"/>
                        <a:pt x="55294" y="9157"/>
                      </a:cubicBezTo>
                      <a:cubicBezTo>
                        <a:pt x="55294" y="9157"/>
                        <a:pt x="57058" y="10421"/>
                        <a:pt x="57352" y="10421"/>
                      </a:cubicBezTo>
                      <a:cubicBezTo>
                        <a:pt x="57647" y="10421"/>
                        <a:pt x="59117" y="9157"/>
                        <a:pt x="59117" y="9157"/>
                      </a:cubicBezTo>
                      <a:cubicBezTo>
                        <a:pt x="62058" y="10105"/>
                        <a:pt x="62058" y="10105"/>
                        <a:pt x="62058" y="10105"/>
                      </a:cubicBezTo>
                      <a:cubicBezTo>
                        <a:pt x="64411" y="10736"/>
                        <a:pt x="64411" y="10736"/>
                        <a:pt x="64411" y="10736"/>
                      </a:cubicBezTo>
                      <a:cubicBezTo>
                        <a:pt x="65294" y="10105"/>
                        <a:pt x="65294" y="10105"/>
                        <a:pt x="65294" y="10105"/>
                      </a:cubicBezTo>
                      <a:close/>
                      <a:moveTo>
                        <a:pt x="55294" y="47052"/>
                      </a:moveTo>
                      <a:cubicBezTo>
                        <a:pt x="55294" y="47052"/>
                        <a:pt x="55294" y="47052"/>
                        <a:pt x="55294" y="47052"/>
                      </a:cubicBezTo>
                      <a:cubicBezTo>
                        <a:pt x="55588" y="47368"/>
                        <a:pt x="55588" y="47368"/>
                        <a:pt x="55588" y="47368"/>
                      </a:cubicBezTo>
                      <a:cubicBezTo>
                        <a:pt x="55588" y="47368"/>
                        <a:pt x="56176" y="47368"/>
                        <a:pt x="56470" y="47052"/>
                      </a:cubicBezTo>
                      <a:cubicBezTo>
                        <a:pt x="56764" y="47052"/>
                        <a:pt x="56176" y="46736"/>
                        <a:pt x="56176" y="46736"/>
                      </a:cubicBezTo>
                      <a:cubicBezTo>
                        <a:pt x="55588" y="46736"/>
                        <a:pt x="55588" y="46736"/>
                        <a:pt x="55588" y="46736"/>
                      </a:cubicBezTo>
                      <a:cubicBezTo>
                        <a:pt x="55588" y="46736"/>
                        <a:pt x="55294" y="47052"/>
                        <a:pt x="55294" y="47052"/>
                      </a:cubicBezTo>
                      <a:close/>
                      <a:moveTo>
                        <a:pt x="54117" y="49578"/>
                      </a:moveTo>
                      <a:cubicBezTo>
                        <a:pt x="54117" y="49578"/>
                        <a:pt x="54117" y="49578"/>
                        <a:pt x="54117" y="49578"/>
                      </a:cubicBezTo>
                      <a:cubicBezTo>
                        <a:pt x="54411" y="49894"/>
                        <a:pt x="54411" y="49894"/>
                        <a:pt x="54411" y="49894"/>
                      </a:cubicBezTo>
                      <a:cubicBezTo>
                        <a:pt x="54411" y="49894"/>
                        <a:pt x="54705" y="48947"/>
                        <a:pt x="55000" y="48631"/>
                      </a:cubicBezTo>
                      <a:cubicBezTo>
                        <a:pt x="55294" y="48000"/>
                        <a:pt x="54705" y="48315"/>
                        <a:pt x="54705" y="48315"/>
                      </a:cubicBezTo>
                      <a:cubicBezTo>
                        <a:pt x="54411" y="48631"/>
                        <a:pt x="54411" y="48631"/>
                        <a:pt x="54411" y="48631"/>
                      </a:cubicBezTo>
                      <a:cubicBezTo>
                        <a:pt x="54411" y="48631"/>
                        <a:pt x="54117" y="49578"/>
                        <a:pt x="54117" y="49578"/>
                      </a:cubicBezTo>
                      <a:close/>
                      <a:moveTo>
                        <a:pt x="93529" y="72947"/>
                      </a:moveTo>
                      <a:cubicBezTo>
                        <a:pt x="93529" y="72947"/>
                        <a:pt x="93529" y="72947"/>
                        <a:pt x="93529" y="72947"/>
                      </a:cubicBezTo>
                      <a:cubicBezTo>
                        <a:pt x="93529" y="72947"/>
                        <a:pt x="94411" y="73578"/>
                        <a:pt x="94411" y="73578"/>
                      </a:cubicBezTo>
                      <a:cubicBezTo>
                        <a:pt x="93823" y="74842"/>
                        <a:pt x="93823" y="74842"/>
                        <a:pt x="93823" y="74842"/>
                      </a:cubicBezTo>
                      <a:cubicBezTo>
                        <a:pt x="92941" y="74210"/>
                        <a:pt x="92941" y="74210"/>
                        <a:pt x="92941" y="74210"/>
                      </a:cubicBezTo>
                      <a:cubicBezTo>
                        <a:pt x="93529" y="72947"/>
                        <a:pt x="93529" y="72947"/>
                        <a:pt x="93529" y="72947"/>
                      </a:cubicBezTo>
                      <a:close/>
                      <a:moveTo>
                        <a:pt x="100588" y="78947"/>
                      </a:moveTo>
                      <a:cubicBezTo>
                        <a:pt x="100588" y="78947"/>
                        <a:pt x="100588" y="78947"/>
                        <a:pt x="100588" y="78947"/>
                      </a:cubicBezTo>
                      <a:cubicBezTo>
                        <a:pt x="100588" y="78947"/>
                        <a:pt x="102058" y="79263"/>
                        <a:pt x="102058" y="78947"/>
                      </a:cubicBezTo>
                      <a:cubicBezTo>
                        <a:pt x="102058" y="78631"/>
                        <a:pt x="102352" y="78000"/>
                        <a:pt x="102352" y="78000"/>
                      </a:cubicBezTo>
                      <a:cubicBezTo>
                        <a:pt x="102058" y="77684"/>
                        <a:pt x="101176" y="77368"/>
                        <a:pt x="101176" y="77368"/>
                      </a:cubicBezTo>
                      <a:cubicBezTo>
                        <a:pt x="100882" y="77368"/>
                        <a:pt x="100588" y="77368"/>
                        <a:pt x="100294" y="77052"/>
                      </a:cubicBezTo>
                      <a:cubicBezTo>
                        <a:pt x="98529" y="74842"/>
                        <a:pt x="99705" y="77684"/>
                        <a:pt x="100588" y="78000"/>
                      </a:cubicBezTo>
                      <a:cubicBezTo>
                        <a:pt x="100588" y="78315"/>
                        <a:pt x="100588" y="78315"/>
                        <a:pt x="100588" y="78315"/>
                      </a:cubicBezTo>
                      <a:cubicBezTo>
                        <a:pt x="100588" y="78947"/>
                        <a:pt x="100588" y="78947"/>
                        <a:pt x="100588" y="78947"/>
                      </a:cubicBezTo>
                      <a:close/>
                      <a:moveTo>
                        <a:pt x="102647" y="81157"/>
                      </a:moveTo>
                      <a:cubicBezTo>
                        <a:pt x="102647" y="81157"/>
                        <a:pt x="102647" y="81157"/>
                        <a:pt x="102647" y="81157"/>
                      </a:cubicBezTo>
                      <a:cubicBezTo>
                        <a:pt x="103823" y="79578"/>
                        <a:pt x="103823" y="79578"/>
                        <a:pt x="103823" y="79578"/>
                      </a:cubicBezTo>
                      <a:cubicBezTo>
                        <a:pt x="103823" y="79578"/>
                        <a:pt x="104411" y="78947"/>
                        <a:pt x="104705" y="78947"/>
                      </a:cubicBezTo>
                      <a:cubicBezTo>
                        <a:pt x="105000" y="78947"/>
                        <a:pt x="106176" y="78631"/>
                        <a:pt x="106176" y="78631"/>
                      </a:cubicBezTo>
                      <a:cubicBezTo>
                        <a:pt x="106176" y="78631"/>
                        <a:pt x="107058" y="78947"/>
                        <a:pt x="106470" y="79263"/>
                      </a:cubicBezTo>
                      <a:cubicBezTo>
                        <a:pt x="106176" y="79578"/>
                        <a:pt x="105294" y="80210"/>
                        <a:pt x="105000" y="80210"/>
                      </a:cubicBezTo>
                      <a:cubicBezTo>
                        <a:pt x="104705" y="80526"/>
                        <a:pt x="104117" y="81473"/>
                        <a:pt x="104117" y="81473"/>
                      </a:cubicBezTo>
                      <a:cubicBezTo>
                        <a:pt x="102941" y="81789"/>
                        <a:pt x="102941" y="81789"/>
                        <a:pt x="102941" y="81789"/>
                      </a:cubicBezTo>
                      <a:cubicBezTo>
                        <a:pt x="101764" y="82421"/>
                        <a:pt x="101764" y="82421"/>
                        <a:pt x="101764" y="82421"/>
                      </a:cubicBezTo>
                      <a:cubicBezTo>
                        <a:pt x="102058" y="83684"/>
                        <a:pt x="102058" y="83684"/>
                        <a:pt x="102058" y="83684"/>
                      </a:cubicBezTo>
                      <a:cubicBezTo>
                        <a:pt x="102058" y="83684"/>
                        <a:pt x="101764" y="84000"/>
                        <a:pt x="101470" y="84000"/>
                      </a:cubicBezTo>
                      <a:cubicBezTo>
                        <a:pt x="101470" y="83684"/>
                        <a:pt x="100588" y="83052"/>
                        <a:pt x="100588" y="83052"/>
                      </a:cubicBezTo>
                      <a:cubicBezTo>
                        <a:pt x="100882" y="81473"/>
                        <a:pt x="100882" y="81473"/>
                        <a:pt x="100882" y="81473"/>
                      </a:cubicBezTo>
                      <a:cubicBezTo>
                        <a:pt x="102058" y="81473"/>
                        <a:pt x="102058" y="81473"/>
                        <a:pt x="102058" y="81473"/>
                      </a:cubicBezTo>
                      <a:cubicBezTo>
                        <a:pt x="102647" y="81157"/>
                        <a:pt x="102647" y="81157"/>
                        <a:pt x="102647" y="81157"/>
                      </a:cubicBezTo>
                      <a:close/>
                      <a:moveTo>
                        <a:pt x="114117" y="90315"/>
                      </a:moveTo>
                      <a:cubicBezTo>
                        <a:pt x="114117" y="90315"/>
                        <a:pt x="114117" y="90315"/>
                        <a:pt x="114117" y="90315"/>
                      </a:cubicBezTo>
                      <a:cubicBezTo>
                        <a:pt x="114117" y="90315"/>
                        <a:pt x="115294" y="91578"/>
                        <a:pt x="115294" y="91578"/>
                      </a:cubicBezTo>
                      <a:cubicBezTo>
                        <a:pt x="115000" y="93157"/>
                        <a:pt x="115000" y="93157"/>
                        <a:pt x="115000" y="93157"/>
                      </a:cubicBezTo>
                      <a:cubicBezTo>
                        <a:pt x="115000" y="93157"/>
                        <a:pt x="115000" y="93789"/>
                        <a:pt x="115588" y="93789"/>
                      </a:cubicBezTo>
                      <a:cubicBezTo>
                        <a:pt x="116176" y="94105"/>
                        <a:pt x="117058" y="94105"/>
                        <a:pt x="117058" y="93473"/>
                      </a:cubicBezTo>
                      <a:cubicBezTo>
                        <a:pt x="117058" y="92842"/>
                        <a:pt x="117352" y="92210"/>
                        <a:pt x="117647" y="91894"/>
                      </a:cubicBezTo>
                      <a:cubicBezTo>
                        <a:pt x="117941" y="91263"/>
                        <a:pt x="118529" y="90315"/>
                        <a:pt x="118529" y="90315"/>
                      </a:cubicBezTo>
                      <a:cubicBezTo>
                        <a:pt x="118529" y="90315"/>
                        <a:pt x="118823" y="90315"/>
                        <a:pt x="119117" y="90000"/>
                      </a:cubicBezTo>
                      <a:cubicBezTo>
                        <a:pt x="119411" y="90000"/>
                        <a:pt x="118823" y="89052"/>
                        <a:pt x="118823" y="89052"/>
                      </a:cubicBezTo>
                      <a:cubicBezTo>
                        <a:pt x="118823" y="89052"/>
                        <a:pt x="118529" y="89052"/>
                        <a:pt x="119117" y="87789"/>
                      </a:cubicBezTo>
                      <a:cubicBezTo>
                        <a:pt x="119705" y="86842"/>
                        <a:pt x="119705" y="86842"/>
                        <a:pt x="119705" y="86842"/>
                      </a:cubicBezTo>
                      <a:cubicBezTo>
                        <a:pt x="119705" y="86526"/>
                        <a:pt x="120000" y="85578"/>
                        <a:pt x="120000" y="85263"/>
                      </a:cubicBezTo>
                      <a:cubicBezTo>
                        <a:pt x="119705" y="84631"/>
                        <a:pt x="119411" y="83052"/>
                        <a:pt x="119411" y="83052"/>
                      </a:cubicBezTo>
                      <a:cubicBezTo>
                        <a:pt x="118823" y="83684"/>
                        <a:pt x="118823" y="83684"/>
                        <a:pt x="118823" y="83684"/>
                      </a:cubicBezTo>
                      <a:cubicBezTo>
                        <a:pt x="118823" y="83684"/>
                        <a:pt x="118235" y="84315"/>
                        <a:pt x="117647" y="84315"/>
                      </a:cubicBezTo>
                      <a:cubicBezTo>
                        <a:pt x="117058" y="84631"/>
                        <a:pt x="116470" y="84947"/>
                        <a:pt x="116470" y="85263"/>
                      </a:cubicBezTo>
                      <a:cubicBezTo>
                        <a:pt x="116470" y="85263"/>
                        <a:pt x="116470" y="86210"/>
                        <a:pt x="116176" y="86526"/>
                      </a:cubicBezTo>
                      <a:cubicBezTo>
                        <a:pt x="115882" y="86842"/>
                        <a:pt x="115000" y="87789"/>
                        <a:pt x="115000" y="87789"/>
                      </a:cubicBezTo>
                      <a:cubicBezTo>
                        <a:pt x="114411" y="89368"/>
                        <a:pt x="114411" y="89368"/>
                        <a:pt x="114411" y="89368"/>
                      </a:cubicBezTo>
                      <a:cubicBezTo>
                        <a:pt x="114411" y="89368"/>
                        <a:pt x="114117" y="90315"/>
                        <a:pt x="114117" y="90315"/>
                      </a:cubicBezTo>
                      <a:close/>
                      <a:moveTo>
                        <a:pt x="109705" y="104526"/>
                      </a:moveTo>
                      <a:cubicBezTo>
                        <a:pt x="109705" y="104526"/>
                        <a:pt x="109705" y="104526"/>
                        <a:pt x="109705" y="104526"/>
                      </a:cubicBezTo>
                      <a:cubicBezTo>
                        <a:pt x="109117" y="104210"/>
                        <a:pt x="108529" y="103578"/>
                        <a:pt x="108529" y="102947"/>
                      </a:cubicBezTo>
                      <a:cubicBezTo>
                        <a:pt x="108529" y="102631"/>
                        <a:pt x="108823" y="102000"/>
                        <a:pt x="108823" y="102000"/>
                      </a:cubicBezTo>
                      <a:cubicBezTo>
                        <a:pt x="108823" y="102000"/>
                        <a:pt x="108235" y="101684"/>
                        <a:pt x="108235" y="101368"/>
                      </a:cubicBezTo>
                      <a:cubicBezTo>
                        <a:pt x="108235" y="101368"/>
                        <a:pt x="108823" y="100105"/>
                        <a:pt x="108823" y="99473"/>
                      </a:cubicBezTo>
                      <a:cubicBezTo>
                        <a:pt x="108529" y="99157"/>
                        <a:pt x="108823" y="97263"/>
                        <a:pt x="108823" y="97263"/>
                      </a:cubicBezTo>
                      <a:cubicBezTo>
                        <a:pt x="108823" y="97263"/>
                        <a:pt x="109705" y="96947"/>
                        <a:pt x="109705" y="97263"/>
                      </a:cubicBezTo>
                      <a:cubicBezTo>
                        <a:pt x="109705" y="97578"/>
                        <a:pt x="109411" y="98526"/>
                        <a:pt x="109411" y="98842"/>
                      </a:cubicBezTo>
                      <a:cubicBezTo>
                        <a:pt x="109411" y="99157"/>
                        <a:pt x="109117" y="100421"/>
                        <a:pt x="109117" y="100736"/>
                      </a:cubicBezTo>
                      <a:cubicBezTo>
                        <a:pt x="109117" y="100736"/>
                        <a:pt x="109411" y="100421"/>
                        <a:pt x="110000" y="101052"/>
                      </a:cubicBezTo>
                      <a:cubicBezTo>
                        <a:pt x="110588" y="101684"/>
                        <a:pt x="110588" y="102631"/>
                        <a:pt x="110588" y="102631"/>
                      </a:cubicBezTo>
                      <a:cubicBezTo>
                        <a:pt x="110000" y="103263"/>
                        <a:pt x="110000" y="103263"/>
                        <a:pt x="110000" y="103263"/>
                      </a:cubicBezTo>
                      <a:cubicBezTo>
                        <a:pt x="109705" y="104526"/>
                        <a:pt x="109705" y="104526"/>
                        <a:pt x="109705" y="104526"/>
                      </a:cubicBezTo>
                      <a:close/>
                      <a:moveTo>
                        <a:pt x="106176" y="105157"/>
                      </a:moveTo>
                      <a:cubicBezTo>
                        <a:pt x="106176" y="105157"/>
                        <a:pt x="106176" y="105157"/>
                        <a:pt x="106176" y="105157"/>
                      </a:cubicBezTo>
                      <a:cubicBezTo>
                        <a:pt x="106176" y="105157"/>
                        <a:pt x="105882" y="106421"/>
                        <a:pt x="105882" y="106736"/>
                      </a:cubicBezTo>
                      <a:cubicBezTo>
                        <a:pt x="105882" y="106736"/>
                        <a:pt x="106176" y="106736"/>
                        <a:pt x="106470" y="106736"/>
                      </a:cubicBezTo>
                      <a:cubicBezTo>
                        <a:pt x="106764" y="106421"/>
                        <a:pt x="107058" y="106421"/>
                        <a:pt x="107352" y="106105"/>
                      </a:cubicBezTo>
                      <a:cubicBezTo>
                        <a:pt x="107647" y="105789"/>
                        <a:pt x="108529" y="105157"/>
                        <a:pt x="108823" y="105157"/>
                      </a:cubicBezTo>
                      <a:cubicBezTo>
                        <a:pt x="109117" y="104842"/>
                        <a:pt x="107647" y="104210"/>
                        <a:pt x="107647" y="104210"/>
                      </a:cubicBezTo>
                      <a:cubicBezTo>
                        <a:pt x="106176" y="105157"/>
                        <a:pt x="106176" y="105157"/>
                        <a:pt x="106176" y="105157"/>
                      </a:cubicBezTo>
                      <a:close/>
                      <a:moveTo>
                        <a:pt x="66176" y="41684"/>
                      </a:moveTo>
                      <a:cubicBezTo>
                        <a:pt x="66176" y="41684"/>
                        <a:pt x="66176" y="41684"/>
                        <a:pt x="66176" y="41684"/>
                      </a:cubicBezTo>
                      <a:cubicBezTo>
                        <a:pt x="66764" y="42000"/>
                        <a:pt x="66764" y="42000"/>
                        <a:pt x="66764" y="42000"/>
                      </a:cubicBezTo>
                      <a:cubicBezTo>
                        <a:pt x="66764" y="42000"/>
                        <a:pt x="67058" y="41684"/>
                        <a:pt x="67352" y="41368"/>
                      </a:cubicBezTo>
                      <a:cubicBezTo>
                        <a:pt x="67647" y="41052"/>
                        <a:pt x="67058" y="40736"/>
                        <a:pt x="67058" y="40736"/>
                      </a:cubicBezTo>
                      <a:cubicBezTo>
                        <a:pt x="66764" y="41052"/>
                        <a:pt x="66764" y="41052"/>
                        <a:pt x="66764" y="41052"/>
                      </a:cubicBezTo>
                      <a:cubicBezTo>
                        <a:pt x="66764" y="41052"/>
                        <a:pt x="66176" y="41684"/>
                        <a:pt x="66176" y="41684"/>
                      </a:cubicBezTo>
                      <a:close/>
                      <a:moveTo>
                        <a:pt x="48235" y="51789"/>
                      </a:moveTo>
                      <a:cubicBezTo>
                        <a:pt x="48235" y="51789"/>
                        <a:pt x="48235" y="51789"/>
                        <a:pt x="48235" y="51789"/>
                      </a:cubicBezTo>
                      <a:cubicBezTo>
                        <a:pt x="48529" y="52105"/>
                        <a:pt x="48529" y="52105"/>
                        <a:pt x="48529" y="52105"/>
                      </a:cubicBezTo>
                      <a:cubicBezTo>
                        <a:pt x="48529" y="52105"/>
                        <a:pt x="48823" y="51473"/>
                        <a:pt x="49411" y="51157"/>
                      </a:cubicBezTo>
                      <a:cubicBezTo>
                        <a:pt x="49705" y="50842"/>
                        <a:pt x="49117" y="50842"/>
                        <a:pt x="49117" y="50842"/>
                      </a:cubicBezTo>
                      <a:cubicBezTo>
                        <a:pt x="48529" y="51157"/>
                        <a:pt x="48529" y="51157"/>
                        <a:pt x="48529" y="51157"/>
                      </a:cubicBezTo>
                      <a:cubicBezTo>
                        <a:pt x="48529" y="51157"/>
                        <a:pt x="48235" y="51473"/>
                        <a:pt x="48235" y="51789"/>
                      </a:cubicBezTo>
                      <a:close/>
                      <a:moveTo>
                        <a:pt x="51176" y="51157"/>
                      </a:moveTo>
                      <a:cubicBezTo>
                        <a:pt x="51176" y="51157"/>
                        <a:pt x="51176" y="51157"/>
                        <a:pt x="51176" y="51157"/>
                      </a:cubicBezTo>
                      <a:cubicBezTo>
                        <a:pt x="51176" y="51789"/>
                        <a:pt x="51176" y="51789"/>
                        <a:pt x="51176" y="51789"/>
                      </a:cubicBezTo>
                      <a:cubicBezTo>
                        <a:pt x="51176" y="51789"/>
                        <a:pt x="52058" y="52105"/>
                        <a:pt x="52647" y="52421"/>
                      </a:cubicBezTo>
                      <a:cubicBezTo>
                        <a:pt x="53529" y="52736"/>
                        <a:pt x="52941" y="51789"/>
                        <a:pt x="52941" y="51789"/>
                      </a:cubicBezTo>
                      <a:cubicBezTo>
                        <a:pt x="52352" y="51157"/>
                        <a:pt x="52352" y="51157"/>
                        <a:pt x="52352" y="51157"/>
                      </a:cubicBezTo>
                      <a:cubicBezTo>
                        <a:pt x="52352" y="51157"/>
                        <a:pt x="51470" y="50842"/>
                        <a:pt x="51176" y="51157"/>
                      </a:cubicBezTo>
                      <a:close/>
                      <a:moveTo>
                        <a:pt x="62058" y="51789"/>
                      </a:moveTo>
                      <a:cubicBezTo>
                        <a:pt x="62058" y="51789"/>
                        <a:pt x="62058" y="51789"/>
                        <a:pt x="62058" y="51789"/>
                      </a:cubicBezTo>
                      <a:cubicBezTo>
                        <a:pt x="61764" y="52421"/>
                        <a:pt x="61764" y="52421"/>
                        <a:pt x="61764" y="52421"/>
                      </a:cubicBezTo>
                      <a:cubicBezTo>
                        <a:pt x="61764" y="52421"/>
                        <a:pt x="62352" y="53052"/>
                        <a:pt x="62647" y="53684"/>
                      </a:cubicBezTo>
                      <a:cubicBezTo>
                        <a:pt x="62941" y="53684"/>
                        <a:pt x="64117" y="54947"/>
                        <a:pt x="64705" y="54947"/>
                      </a:cubicBezTo>
                      <a:cubicBezTo>
                        <a:pt x="67058" y="55894"/>
                        <a:pt x="63235" y="52736"/>
                        <a:pt x="62941" y="52421"/>
                      </a:cubicBezTo>
                      <a:cubicBezTo>
                        <a:pt x="62941" y="52421"/>
                        <a:pt x="62058" y="51473"/>
                        <a:pt x="62058" y="51789"/>
                      </a:cubicBezTo>
                      <a:close/>
                      <a:moveTo>
                        <a:pt x="75882" y="56210"/>
                      </a:moveTo>
                      <a:cubicBezTo>
                        <a:pt x="75882" y="56210"/>
                        <a:pt x="75882" y="56210"/>
                        <a:pt x="75882" y="56210"/>
                      </a:cubicBezTo>
                      <a:cubicBezTo>
                        <a:pt x="76470" y="56842"/>
                        <a:pt x="76470" y="56842"/>
                        <a:pt x="76470" y="56842"/>
                      </a:cubicBezTo>
                      <a:cubicBezTo>
                        <a:pt x="76470" y="56842"/>
                        <a:pt x="77352" y="56526"/>
                        <a:pt x="77941" y="56210"/>
                      </a:cubicBezTo>
                      <a:cubicBezTo>
                        <a:pt x="78529" y="56210"/>
                        <a:pt x="77941" y="55578"/>
                        <a:pt x="77941" y="55578"/>
                      </a:cubicBezTo>
                      <a:cubicBezTo>
                        <a:pt x="77058" y="55578"/>
                        <a:pt x="77058" y="55578"/>
                        <a:pt x="77058" y="55578"/>
                      </a:cubicBezTo>
                      <a:cubicBezTo>
                        <a:pt x="77058" y="55578"/>
                        <a:pt x="75882" y="55894"/>
                        <a:pt x="75882" y="56210"/>
                      </a:cubicBezTo>
                      <a:close/>
                      <a:moveTo>
                        <a:pt x="70000" y="23052"/>
                      </a:moveTo>
                      <a:cubicBezTo>
                        <a:pt x="70000" y="23052"/>
                        <a:pt x="70000" y="23052"/>
                        <a:pt x="70000" y="23052"/>
                      </a:cubicBezTo>
                      <a:cubicBezTo>
                        <a:pt x="70000" y="23052"/>
                        <a:pt x="68823" y="23684"/>
                        <a:pt x="68823" y="23684"/>
                      </a:cubicBezTo>
                      <a:cubicBezTo>
                        <a:pt x="68529" y="23684"/>
                        <a:pt x="68823" y="24315"/>
                        <a:pt x="69117" y="24315"/>
                      </a:cubicBezTo>
                      <a:cubicBezTo>
                        <a:pt x="69411" y="24631"/>
                        <a:pt x="70294" y="24947"/>
                        <a:pt x="70294" y="24947"/>
                      </a:cubicBezTo>
                      <a:cubicBezTo>
                        <a:pt x="70588" y="24947"/>
                        <a:pt x="71470" y="24315"/>
                        <a:pt x="72058" y="23684"/>
                      </a:cubicBezTo>
                      <a:cubicBezTo>
                        <a:pt x="72647" y="23368"/>
                        <a:pt x="71470" y="23052"/>
                        <a:pt x="71470" y="23052"/>
                      </a:cubicBezTo>
                      <a:cubicBezTo>
                        <a:pt x="70000" y="23052"/>
                        <a:pt x="70000" y="23052"/>
                        <a:pt x="70000" y="23052"/>
                      </a:cubicBezTo>
                      <a:close/>
                      <a:moveTo>
                        <a:pt x="59411" y="20842"/>
                      </a:moveTo>
                      <a:cubicBezTo>
                        <a:pt x="59411" y="20842"/>
                        <a:pt x="59411" y="20842"/>
                        <a:pt x="59411" y="20842"/>
                      </a:cubicBezTo>
                      <a:cubicBezTo>
                        <a:pt x="59411" y="20842"/>
                        <a:pt x="58235" y="20842"/>
                        <a:pt x="57941" y="20842"/>
                      </a:cubicBezTo>
                      <a:cubicBezTo>
                        <a:pt x="57941" y="20842"/>
                        <a:pt x="57647" y="21157"/>
                        <a:pt x="57352" y="21473"/>
                      </a:cubicBezTo>
                      <a:cubicBezTo>
                        <a:pt x="57058" y="21789"/>
                        <a:pt x="57058" y="22421"/>
                        <a:pt x="56764" y="23052"/>
                      </a:cubicBezTo>
                      <a:cubicBezTo>
                        <a:pt x="56764" y="23684"/>
                        <a:pt x="57058" y="23684"/>
                        <a:pt x="57058" y="23684"/>
                      </a:cubicBezTo>
                      <a:cubicBezTo>
                        <a:pt x="57352" y="24000"/>
                        <a:pt x="57352" y="24000"/>
                        <a:pt x="57941" y="24631"/>
                      </a:cubicBezTo>
                      <a:cubicBezTo>
                        <a:pt x="58529" y="24947"/>
                        <a:pt x="59117" y="24315"/>
                        <a:pt x="59705" y="24000"/>
                      </a:cubicBezTo>
                      <a:cubicBezTo>
                        <a:pt x="60588" y="23684"/>
                        <a:pt x="60000" y="23368"/>
                        <a:pt x="60294" y="22736"/>
                      </a:cubicBezTo>
                      <a:cubicBezTo>
                        <a:pt x="60294" y="22421"/>
                        <a:pt x="60000" y="21473"/>
                        <a:pt x="60000" y="21473"/>
                      </a:cubicBezTo>
                      <a:cubicBezTo>
                        <a:pt x="60000" y="21157"/>
                        <a:pt x="59411" y="20842"/>
                        <a:pt x="59411" y="20842"/>
                      </a:cubicBezTo>
                      <a:close/>
                      <a:moveTo>
                        <a:pt x="69411" y="32526"/>
                      </a:moveTo>
                      <a:cubicBezTo>
                        <a:pt x="69411" y="32526"/>
                        <a:pt x="69411" y="32526"/>
                        <a:pt x="69411" y="32526"/>
                      </a:cubicBezTo>
                      <a:cubicBezTo>
                        <a:pt x="69411" y="32526"/>
                        <a:pt x="69117" y="33157"/>
                        <a:pt x="69117" y="33157"/>
                      </a:cubicBezTo>
                      <a:cubicBezTo>
                        <a:pt x="69117" y="33157"/>
                        <a:pt x="69117" y="33789"/>
                        <a:pt x="69117" y="33789"/>
                      </a:cubicBezTo>
                      <a:cubicBezTo>
                        <a:pt x="69117" y="33789"/>
                        <a:pt x="68823" y="34105"/>
                        <a:pt x="68529" y="34421"/>
                      </a:cubicBezTo>
                      <a:cubicBezTo>
                        <a:pt x="67941" y="35052"/>
                        <a:pt x="68529" y="35052"/>
                        <a:pt x="68823" y="35368"/>
                      </a:cubicBezTo>
                      <a:cubicBezTo>
                        <a:pt x="69117" y="36000"/>
                        <a:pt x="68823" y="35684"/>
                        <a:pt x="69117" y="35684"/>
                      </a:cubicBezTo>
                      <a:cubicBezTo>
                        <a:pt x="69117" y="36000"/>
                        <a:pt x="69411" y="35684"/>
                        <a:pt x="70000" y="35368"/>
                      </a:cubicBezTo>
                      <a:cubicBezTo>
                        <a:pt x="70588" y="35052"/>
                        <a:pt x="70294" y="35052"/>
                        <a:pt x="70294" y="35052"/>
                      </a:cubicBezTo>
                      <a:cubicBezTo>
                        <a:pt x="70294" y="35052"/>
                        <a:pt x="69705" y="34105"/>
                        <a:pt x="69705" y="34105"/>
                      </a:cubicBezTo>
                      <a:cubicBezTo>
                        <a:pt x="69705" y="34105"/>
                        <a:pt x="69705" y="33789"/>
                        <a:pt x="69705" y="33789"/>
                      </a:cubicBezTo>
                      <a:cubicBezTo>
                        <a:pt x="69705" y="33473"/>
                        <a:pt x="70000" y="33473"/>
                        <a:pt x="70294" y="33157"/>
                      </a:cubicBezTo>
                      <a:cubicBezTo>
                        <a:pt x="70588" y="32526"/>
                        <a:pt x="70588" y="32210"/>
                        <a:pt x="70588" y="32210"/>
                      </a:cubicBezTo>
                      <a:cubicBezTo>
                        <a:pt x="70588" y="31894"/>
                        <a:pt x="70000" y="31894"/>
                        <a:pt x="70000" y="31894"/>
                      </a:cubicBezTo>
                      <a:cubicBezTo>
                        <a:pt x="70000" y="31894"/>
                        <a:pt x="69411" y="32210"/>
                        <a:pt x="69411" y="32526"/>
                      </a:cubicBezTo>
                      <a:close/>
                      <a:moveTo>
                        <a:pt x="68529" y="33157"/>
                      </a:moveTo>
                      <a:cubicBezTo>
                        <a:pt x="68529" y="33157"/>
                        <a:pt x="68529" y="33157"/>
                        <a:pt x="68529" y="33157"/>
                      </a:cubicBezTo>
                      <a:cubicBezTo>
                        <a:pt x="68235" y="32526"/>
                        <a:pt x="68235" y="32526"/>
                        <a:pt x="68235" y="32526"/>
                      </a:cubicBezTo>
                      <a:cubicBezTo>
                        <a:pt x="68235" y="32526"/>
                        <a:pt x="67941" y="32210"/>
                        <a:pt x="67058" y="32210"/>
                      </a:cubicBezTo>
                      <a:cubicBezTo>
                        <a:pt x="66470" y="32210"/>
                        <a:pt x="66470" y="32526"/>
                        <a:pt x="65882" y="32526"/>
                      </a:cubicBezTo>
                      <a:cubicBezTo>
                        <a:pt x="65294" y="32526"/>
                        <a:pt x="65294" y="33157"/>
                        <a:pt x="65294" y="33473"/>
                      </a:cubicBezTo>
                      <a:cubicBezTo>
                        <a:pt x="65000" y="34105"/>
                        <a:pt x="65294" y="33789"/>
                        <a:pt x="65588" y="34105"/>
                      </a:cubicBezTo>
                      <a:cubicBezTo>
                        <a:pt x="65882" y="34421"/>
                        <a:pt x="65588" y="34421"/>
                        <a:pt x="65882" y="35368"/>
                      </a:cubicBezTo>
                      <a:cubicBezTo>
                        <a:pt x="65882" y="36000"/>
                        <a:pt x="66176" y="35684"/>
                        <a:pt x="66176" y="35684"/>
                      </a:cubicBezTo>
                      <a:cubicBezTo>
                        <a:pt x="66470" y="36000"/>
                        <a:pt x="66764" y="35684"/>
                        <a:pt x="67352" y="35368"/>
                      </a:cubicBezTo>
                      <a:cubicBezTo>
                        <a:pt x="67941" y="34736"/>
                        <a:pt x="67352" y="34736"/>
                        <a:pt x="67352" y="34736"/>
                      </a:cubicBezTo>
                      <a:cubicBezTo>
                        <a:pt x="67352" y="34736"/>
                        <a:pt x="67941" y="34421"/>
                        <a:pt x="68529" y="33789"/>
                      </a:cubicBezTo>
                      <a:cubicBezTo>
                        <a:pt x="68823" y="33157"/>
                        <a:pt x="68529" y="33157"/>
                        <a:pt x="68529" y="33157"/>
                      </a:cubicBezTo>
                      <a:close/>
                      <a:moveTo>
                        <a:pt x="83529" y="43894"/>
                      </a:moveTo>
                      <a:cubicBezTo>
                        <a:pt x="83529" y="43894"/>
                        <a:pt x="83529" y="43894"/>
                        <a:pt x="83529" y="43894"/>
                      </a:cubicBezTo>
                      <a:cubicBezTo>
                        <a:pt x="83235" y="43894"/>
                        <a:pt x="82941" y="44526"/>
                        <a:pt x="82941" y="44526"/>
                      </a:cubicBezTo>
                      <a:cubicBezTo>
                        <a:pt x="82941" y="44526"/>
                        <a:pt x="82647" y="44842"/>
                        <a:pt x="82647" y="45157"/>
                      </a:cubicBezTo>
                      <a:cubicBezTo>
                        <a:pt x="82352" y="45157"/>
                        <a:pt x="82058" y="45789"/>
                        <a:pt x="82058" y="45789"/>
                      </a:cubicBezTo>
                      <a:cubicBezTo>
                        <a:pt x="82058" y="45789"/>
                        <a:pt x="82352" y="46105"/>
                        <a:pt x="82647" y="46105"/>
                      </a:cubicBezTo>
                      <a:cubicBezTo>
                        <a:pt x="82941" y="46421"/>
                        <a:pt x="82941" y="46421"/>
                        <a:pt x="83235" y="46421"/>
                      </a:cubicBezTo>
                      <a:cubicBezTo>
                        <a:pt x="83529" y="46421"/>
                        <a:pt x="83529" y="46421"/>
                        <a:pt x="84411" y="46421"/>
                      </a:cubicBezTo>
                      <a:cubicBezTo>
                        <a:pt x="85588" y="46421"/>
                        <a:pt x="86470" y="46421"/>
                        <a:pt x="86764" y="46421"/>
                      </a:cubicBezTo>
                      <a:cubicBezTo>
                        <a:pt x="86764" y="46421"/>
                        <a:pt x="87352" y="46105"/>
                        <a:pt x="87352" y="46105"/>
                      </a:cubicBezTo>
                      <a:cubicBezTo>
                        <a:pt x="87352" y="45789"/>
                        <a:pt x="87352" y="45789"/>
                        <a:pt x="87058" y="45473"/>
                      </a:cubicBezTo>
                      <a:cubicBezTo>
                        <a:pt x="86764" y="44842"/>
                        <a:pt x="86176" y="44526"/>
                        <a:pt x="86176" y="44526"/>
                      </a:cubicBezTo>
                      <a:cubicBezTo>
                        <a:pt x="85882" y="44526"/>
                        <a:pt x="86176" y="43894"/>
                        <a:pt x="86470" y="44210"/>
                      </a:cubicBezTo>
                      <a:cubicBezTo>
                        <a:pt x="86470" y="44210"/>
                        <a:pt x="87352" y="45157"/>
                        <a:pt x="87352" y="45157"/>
                      </a:cubicBezTo>
                      <a:cubicBezTo>
                        <a:pt x="87647" y="45157"/>
                        <a:pt x="88235" y="45157"/>
                        <a:pt x="88235" y="44526"/>
                      </a:cubicBezTo>
                      <a:cubicBezTo>
                        <a:pt x="87941" y="44210"/>
                        <a:pt x="88529" y="43578"/>
                        <a:pt x="87647" y="43263"/>
                      </a:cubicBezTo>
                      <a:cubicBezTo>
                        <a:pt x="87058" y="42947"/>
                        <a:pt x="86764" y="42631"/>
                        <a:pt x="86470" y="42631"/>
                      </a:cubicBezTo>
                      <a:cubicBezTo>
                        <a:pt x="85882" y="42631"/>
                        <a:pt x="86764" y="42947"/>
                        <a:pt x="85588" y="42000"/>
                      </a:cubicBezTo>
                      <a:cubicBezTo>
                        <a:pt x="84411" y="41052"/>
                        <a:pt x="84411" y="41368"/>
                        <a:pt x="84411" y="41368"/>
                      </a:cubicBezTo>
                      <a:cubicBezTo>
                        <a:pt x="84411" y="41368"/>
                        <a:pt x="85000" y="40421"/>
                        <a:pt x="84705" y="40105"/>
                      </a:cubicBezTo>
                      <a:cubicBezTo>
                        <a:pt x="84705" y="40105"/>
                        <a:pt x="83529" y="39789"/>
                        <a:pt x="83529" y="39789"/>
                      </a:cubicBezTo>
                      <a:cubicBezTo>
                        <a:pt x="83529" y="39789"/>
                        <a:pt x="82058" y="40105"/>
                        <a:pt x="82058" y="40105"/>
                      </a:cubicBezTo>
                      <a:cubicBezTo>
                        <a:pt x="81764" y="40421"/>
                        <a:pt x="81470" y="40736"/>
                        <a:pt x="81470" y="40736"/>
                      </a:cubicBezTo>
                      <a:cubicBezTo>
                        <a:pt x="81470" y="41368"/>
                        <a:pt x="81470" y="41368"/>
                        <a:pt x="81470" y="41368"/>
                      </a:cubicBezTo>
                      <a:cubicBezTo>
                        <a:pt x="80882" y="41684"/>
                        <a:pt x="80882" y="41684"/>
                        <a:pt x="80882" y="41684"/>
                      </a:cubicBezTo>
                      <a:cubicBezTo>
                        <a:pt x="80882" y="41684"/>
                        <a:pt x="80588" y="42315"/>
                        <a:pt x="80588" y="42315"/>
                      </a:cubicBezTo>
                      <a:cubicBezTo>
                        <a:pt x="80294" y="42315"/>
                        <a:pt x="79705" y="42631"/>
                        <a:pt x="79705" y="42631"/>
                      </a:cubicBezTo>
                      <a:cubicBezTo>
                        <a:pt x="79411" y="42631"/>
                        <a:pt x="78823" y="42631"/>
                        <a:pt x="78823" y="42947"/>
                      </a:cubicBezTo>
                      <a:cubicBezTo>
                        <a:pt x="78529" y="43263"/>
                        <a:pt x="77647" y="43578"/>
                        <a:pt x="77647" y="43578"/>
                      </a:cubicBezTo>
                      <a:cubicBezTo>
                        <a:pt x="77647" y="43578"/>
                        <a:pt x="77352" y="43894"/>
                        <a:pt x="77941" y="44526"/>
                      </a:cubicBezTo>
                      <a:cubicBezTo>
                        <a:pt x="78529" y="44842"/>
                        <a:pt x="79117" y="44842"/>
                        <a:pt x="79117" y="45157"/>
                      </a:cubicBezTo>
                      <a:cubicBezTo>
                        <a:pt x="79411" y="45157"/>
                        <a:pt x="79411" y="45157"/>
                        <a:pt x="79705" y="45157"/>
                      </a:cubicBezTo>
                      <a:cubicBezTo>
                        <a:pt x="80000" y="45473"/>
                        <a:pt x="80000" y="45473"/>
                        <a:pt x="80588" y="45473"/>
                      </a:cubicBezTo>
                      <a:cubicBezTo>
                        <a:pt x="80882" y="45157"/>
                        <a:pt x="81470" y="45157"/>
                        <a:pt x="81470" y="44842"/>
                      </a:cubicBezTo>
                      <a:cubicBezTo>
                        <a:pt x="81764" y="44526"/>
                        <a:pt x="81764" y="44210"/>
                        <a:pt x="82058" y="43894"/>
                      </a:cubicBezTo>
                      <a:cubicBezTo>
                        <a:pt x="82058" y="43578"/>
                        <a:pt x="82058" y="43263"/>
                        <a:pt x="82647" y="43263"/>
                      </a:cubicBezTo>
                      <a:cubicBezTo>
                        <a:pt x="82941" y="43263"/>
                        <a:pt x="83529" y="42947"/>
                        <a:pt x="83529" y="42947"/>
                      </a:cubicBezTo>
                      <a:cubicBezTo>
                        <a:pt x="83529" y="42947"/>
                        <a:pt x="83529" y="43894"/>
                        <a:pt x="83529" y="43894"/>
                      </a:cubicBezTo>
                      <a:close/>
                      <a:moveTo>
                        <a:pt x="85000" y="57473"/>
                      </a:moveTo>
                      <a:cubicBezTo>
                        <a:pt x="85000" y="57473"/>
                        <a:pt x="85000" y="57473"/>
                        <a:pt x="85000" y="57473"/>
                      </a:cubicBezTo>
                      <a:cubicBezTo>
                        <a:pt x="84705" y="57157"/>
                        <a:pt x="84705" y="57157"/>
                        <a:pt x="84705" y="57157"/>
                      </a:cubicBezTo>
                      <a:cubicBezTo>
                        <a:pt x="84705" y="56842"/>
                        <a:pt x="84705" y="56842"/>
                        <a:pt x="84705" y="56842"/>
                      </a:cubicBezTo>
                      <a:cubicBezTo>
                        <a:pt x="83823" y="55894"/>
                        <a:pt x="83823" y="55894"/>
                        <a:pt x="83823" y="55894"/>
                      </a:cubicBezTo>
                      <a:cubicBezTo>
                        <a:pt x="83823" y="55894"/>
                        <a:pt x="85000" y="55578"/>
                        <a:pt x="85588" y="55263"/>
                      </a:cubicBezTo>
                      <a:cubicBezTo>
                        <a:pt x="86470" y="54947"/>
                        <a:pt x="85588" y="54631"/>
                        <a:pt x="85588" y="54315"/>
                      </a:cubicBezTo>
                      <a:cubicBezTo>
                        <a:pt x="85588" y="54315"/>
                        <a:pt x="85294" y="54315"/>
                        <a:pt x="84705" y="54315"/>
                      </a:cubicBezTo>
                      <a:cubicBezTo>
                        <a:pt x="84411" y="54315"/>
                        <a:pt x="84117" y="54315"/>
                        <a:pt x="83529" y="54631"/>
                      </a:cubicBezTo>
                      <a:cubicBezTo>
                        <a:pt x="83235" y="54631"/>
                        <a:pt x="82941" y="54000"/>
                        <a:pt x="82941" y="54000"/>
                      </a:cubicBezTo>
                      <a:cubicBezTo>
                        <a:pt x="82647" y="54000"/>
                        <a:pt x="81470" y="54000"/>
                        <a:pt x="81176" y="54000"/>
                      </a:cubicBezTo>
                      <a:cubicBezTo>
                        <a:pt x="81176" y="54000"/>
                        <a:pt x="80882" y="54631"/>
                        <a:pt x="80588" y="54947"/>
                      </a:cubicBezTo>
                      <a:cubicBezTo>
                        <a:pt x="80294" y="55263"/>
                        <a:pt x="80000" y="55578"/>
                        <a:pt x="79705" y="55578"/>
                      </a:cubicBezTo>
                      <a:cubicBezTo>
                        <a:pt x="79411" y="55894"/>
                        <a:pt x="80588" y="56526"/>
                        <a:pt x="80882" y="56526"/>
                      </a:cubicBezTo>
                      <a:cubicBezTo>
                        <a:pt x="80882" y="56842"/>
                        <a:pt x="81764" y="56842"/>
                        <a:pt x="81764" y="57157"/>
                      </a:cubicBezTo>
                      <a:cubicBezTo>
                        <a:pt x="82058" y="57157"/>
                        <a:pt x="82941" y="57789"/>
                        <a:pt x="83235" y="57789"/>
                      </a:cubicBezTo>
                      <a:cubicBezTo>
                        <a:pt x="83529" y="58105"/>
                        <a:pt x="82941" y="58421"/>
                        <a:pt x="82647" y="59052"/>
                      </a:cubicBezTo>
                      <a:cubicBezTo>
                        <a:pt x="82352" y="59684"/>
                        <a:pt x="82058" y="59684"/>
                        <a:pt x="81764" y="60000"/>
                      </a:cubicBezTo>
                      <a:cubicBezTo>
                        <a:pt x="81470" y="60315"/>
                        <a:pt x="82058" y="60631"/>
                        <a:pt x="82352" y="60947"/>
                      </a:cubicBezTo>
                      <a:cubicBezTo>
                        <a:pt x="82647" y="61263"/>
                        <a:pt x="83235" y="61578"/>
                        <a:pt x="83235" y="61578"/>
                      </a:cubicBezTo>
                      <a:cubicBezTo>
                        <a:pt x="83529" y="61578"/>
                        <a:pt x="84411" y="60947"/>
                        <a:pt x="84411" y="60947"/>
                      </a:cubicBezTo>
                      <a:cubicBezTo>
                        <a:pt x="84411" y="60947"/>
                        <a:pt x="84705" y="60000"/>
                        <a:pt x="84705" y="60000"/>
                      </a:cubicBezTo>
                      <a:cubicBezTo>
                        <a:pt x="84705" y="59684"/>
                        <a:pt x="85000" y="59052"/>
                        <a:pt x="85000" y="59052"/>
                      </a:cubicBezTo>
                      <a:cubicBezTo>
                        <a:pt x="85294" y="58736"/>
                        <a:pt x="85294" y="58736"/>
                        <a:pt x="85294" y="58736"/>
                      </a:cubicBezTo>
                      <a:cubicBezTo>
                        <a:pt x="85000" y="57473"/>
                        <a:pt x="85000" y="57473"/>
                        <a:pt x="85000" y="57473"/>
                      </a:cubicBezTo>
                      <a:close/>
                      <a:moveTo>
                        <a:pt x="92941" y="66000"/>
                      </a:moveTo>
                      <a:cubicBezTo>
                        <a:pt x="92941" y="66000"/>
                        <a:pt x="92941" y="66000"/>
                        <a:pt x="92941" y="66000"/>
                      </a:cubicBezTo>
                      <a:cubicBezTo>
                        <a:pt x="93235" y="65684"/>
                        <a:pt x="93823" y="65052"/>
                        <a:pt x="93823" y="64736"/>
                      </a:cubicBezTo>
                      <a:cubicBezTo>
                        <a:pt x="93823" y="64736"/>
                        <a:pt x="94411" y="64736"/>
                        <a:pt x="94705" y="64736"/>
                      </a:cubicBezTo>
                      <a:cubicBezTo>
                        <a:pt x="94705" y="64736"/>
                        <a:pt x="95882" y="65052"/>
                        <a:pt x="95882" y="65052"/>
                      </a:cubicBezTo>
                      <a:cubicBezTo>
                        <a:pt x="95882" y="65052"/>
                        <a:pt x="96764" y="65052"/>
                        <a:pt x="96764" y="65052"/>
                      </a:cubicBezTo>
                      <a:cubicBezTo>
                        <a:pt x="96764" y="65052"/>
                        <a:pt x="97647" y="64421"/>
                        <a:pt x="97647" y="64421"/>
                      </a:cubicBezTo>
                      <a:cubicBezTo>
                        <a:pt x="97941" y="64421"/>
                        <a:pt x="98823" y="65368"/>
                        <a:pt x="98823" y="65368"/>
                      </a:cubicBezTo>
                      <a:cubicBezTo>
                        <a:pt x="98823" y="65368"/>
                        <a:pt x="98235" y="66315"/>
                        <a:pt x="97941" y="66315"/>
                      </a:cubicBezTo>
                      <a:cubicBezTo>
                        <a:pt x="97647" y="66631"/>
                        <a:pt x="97352" y="66631"/>
                        <a:pt x="97058" y="66947"/>
                      </a:cubicBezTo>
                      <a:cubicBezTo>
                        <a:pt x="96764" y="67578"/>
                        <a:pt x="96764" y="67578"/>
                        <a:pt x="96764" y="67894"/>
                      </a:cubicBezTo>
                      <a:cubicBezTo>
                        <a:pt x="96470" y="67894"/>
                        <a:pt x="96176" y="68526"/>
                        <a:pt x="95588" y="67894"/>
                      </a:cubicBezTo>
                      <a:cubicBezTo>
                        <a:pt x="95000" y="67578"/>
                        <a:pt x="94411" y="66947"/>
                        <a:pt x="94411" y="66947"/>
                      </a:cubicBezTo>
                      <a:cubicBezTo>
                        <a:pt x="94411" y="66947"/>
                        <a:pt x="93823" y="67263"/>
                        <a:pt x="93529" y="67263"/>
                      </a:cubicBezTo>
                      <a:cubicBezTo>
                        <a:pt x="93235" y="67578"/>
                        <a:pt x="92647" y="67263"/>
                        <a:pt x="92647" y="67263"/>
                      </a:cubicBezTo>
                      <a:cubicBezTo>
                        <a:pt x="92941" y="66947"/>
                        <a:pt x="92647" y="66315"/>
                        <a:pt x="92941" y="66000"/>
                      </a:cubicBezTo>
                      <a:close/>
                      <a:moveTo>
                        <a:pt x="86764" y="72315"/>
                      </a:moveTo>
                      <a:cubicBezTo>
                        <a:pt x="86764" y="72315"/>
                        <a:pt x="86764" y="72315"/>
                        <a:pt x="86764" y="72315"/>
                      </a:cubicBezTo>
                      <a:cubicBezTo>
                        <a:pt x="86764" y="72315"/>
                        <a:pt x="85588" y="71684"/>
                        <a:pt x="85882" y="71368"/>
                      </a:cubicBezTo>
                      <a:cubicBezTo>
                        <a:pt x="86176" y="70736"/>
                        <a:pt x="87352" y="69473"/>
                        <a:pt x="87647" y="69157"/>
                      </a:cubicBezTo>
                      <a:cubicBezTo>
                        <a:pt x="87647" y="69157"/>
                        <a:pt x="88529" y="69473"/>
                        <a:pt x="88529" y="69473"/>
                      </a:cubicBezTo>
                      <a:cubicBezTo>
                        <a:pt x="88823" y="69473"/>
                        <a:pt x="89117" y="68526"/>
                        <a:pt x="89411" y="68526"/>
                      </a:cubicBezTo>
                      <a:cubicBezTo>
                        <a:pt x="89411" y="68526"/>
                        <a:pt x="90588" y="68526"/>
                        <a:pt x="90588" y="68526"/>
                      </a:cubicBezTo>
                      <a:cubicBezTo>
                        <a:pt x="90588" y="68526"/>
                        <a:pt x="90000" y="69789"/>
                        <a:pt x="89411" y="70105"/>
                      </a:cubicBezTo>
                      <a:cubicBezTo>
                        <a:pt x="88823" y="70421"/>
                        <a:pt x="88529" y="70421"/>
                        <a:pt x="88529" y="70736"/>
                      </a:cubicBezTo>
                      <a:cubicBezTo>
                        <a:pt x="88235" y="71052"/>
                        <a:pt x="87941" y="71368"/>
                        <a:pt x="87941" y="71684"/>
                      </a:cubicBezTo>
                      <a:cubicBezTo>
                        <a:pt x="87647" y="71684"/>
                        <a:pt x="86764" y="72315"/>
                        <a:pt x="86764" y="72315"/>
                      </a:cubicBezTo>
                      <a:close/>
                      <a:moveTo>
                        <a:pt x="82941" y="84631"/>
                      </a:moveTo>
                      <a:cubicBezTo>
                        <a:pt x="82941" y="84631"/>
                        <a:pt x="82941" y="84631"/>
                        <a:pt x="82941" y="84631"/>
                      </a:cubicBezTo>
                      <a:cubicBezTo>
                        <a:pt x="83235" y="84947"/>
                        <a:pt x="82647" y="86210"/>
                        <a:pt x="81764" y="85578"/>
                      </a:cubicBezTo>
                      <a:cubicBezTo>
                        <a:pt x="81764" y="85578"/>
                        <a:pt x="81470" y="84947"/>
                        <a:pt x="82058" y="84631"/>
                      </a:cubicBezTo>
                      <a:cubicBezTo>
                        <a:pt x="82352" y="84631"/>
                        <a:pt x="82941" y="84631"/>
                        <a:pt x="82941" y="84631"/>
                      </a:cubicBezTo>
                      <a:close/>
                      <a:moveTo>
                        <a:pt x="82058" y="92210"/>
                      </a:moveTo>
                      <a:cubicBezTo>
                        <a:pt x="82058" y="92210"/>
                        <a:pt x="82058" y="92210"/>
                        <a:pt x="82058" y="92210"/>
                      </a:cubicBezTo>
                      <a:cubicBezTo>
                        <a:pt x="82058" y="92210"/>
                        <a:pt x="82647" y="91578"/>
                        <a:pt x="82647" y="91578"/>
                      </a:cubicBezTo>
                      <a:cubicBezTo>
                        <a:pt x="82941" y="91578"/>
                        <a:pt x="83235" y="91894"/>
                        <a:pt x="83235" y="91894"/>
                      </a:cubicBezTo>
                      <a:cubicBezTo>
                        <a:pt x="83235" y="91894"/>
                        <a:pt x="84117" y="92526"/>
                        <a:pt x="84117" y="92526"/>
                      </a:cubicBezTo>
                      <a:cubicBezTo>
                        <a:pt x="84117" y="92842"/>
                        <a:pt x="84411" y="93473"/>
                        <a:pt x="84117" y="93473"/>
                      </a:cubicBezTo>
                      <a:cubicBezTo>
                        <a:pt x="83823" y="93789"/>
                        <a:pt x="83529" y="94105"/>
                        <a:pt x="83235" y="93789"/>
                      </a:cubicBezTo>
                      <a:cubicBezTo>
                        <a:pt x="82941" y="93789"/>
                        <a:pt x="82647" y="93789"/>
                        <a:pt x="82647" y="93473"/>
                      </a:cubicBezTo>
                      <a:cubicBezTo>
                        <a:pt x="82647" y="93157"/>
                        <a:pt x="82647" y="93157"/>
                        <a:pt x="82647" y="92842"/>
                      </a:cubicBezTo>
                      <a:cubicBezTo>
                        <a:pt x="82647" y="92842"/>
                        <a:pt x="82058" y="92842"/>
                        <a:pt x="82058" y="92842"/>
                      </a:cubicBezTo>
                      <a:cubicBezTo>
                        <a:pt x="82058" y="92210"/>
                        <a:pt x="82058" y="92210"/>
                        <a:pt x="82058" y="92210"/>
                      </a:cubicBezTo>
                      <a:close/>
                      <a:moveTo>
                        <a:pt x="70000" y="88105"/>
                      </a:moveTo>
                      <a:cubicBezTo>
                        <a:pt x="70000" y="88105"/>
                        <a:pt x="70000" y="88105"/>
                        <a:pt x="70000" y="88105"/>
                      </a:cubicBezTo>
                      <a:cubicBezTo>
                        <a:pt x="70294" y="88105"/>
                        <a:pt x="70882" y="87789"/>
                        <a:pt x="70882" y="88105"/>
                      </a:cubicBezTo>
                      <a:cubicBezTo>
                        <a:pt x="71176" y="88421"/>
                        <a:pt x="71470" y="88421"/>
                        <a:pt x="71470" y="88736"/>
                      </a:cubicBezTo>
                      <a:cubicBezTo>
                        <a:pt x="71470" y="88736"/>
                        <a:pt x="71764" y="89052"/>
                        <a:pt x="71176" y="89368"/>
                      </a:cubicBezTo>
                      <a:cubicBezTo>
                        <a:pt x="70588" y="89368"/>
                        <a:pt x="70294" y="89368"/>
                        <a:pt x="70294" y="89368"/>
                      </a:cubicBezTo>
                      <a:cubicBezTo>
                        <a:pt x="70588" y="90315"/>
                        <a:pt x="70588" y="90315"/>
                        <a:pt x="70588" y="90315"/>
                      </a:cubicBezTo>
                      <a:cubicBezTo>
                        <a:pt x="70588" y="90315"/>
                        <a:pt x="71176" y="90315"/>
                        <a:pt x="70294" y="90947"/>
                      </a:cubicBezTo>
                      <a:cubicBezTo>
                        <a:pt x="69705" y="91578"/>
                        <a:pt x="69117" y="91578"/>
                        <a:pt x="69117" y="91578"/>
                      </a:cubicBezTo>
                      <a:cubicBezTo>
                        <a:pt x="69117" y="91263"/>
                        <a:pt x="69117" y="91263"/>
                        <a:pt x="69117" y="91263"/>
                      </a:cubicBezTo>
                      <a:cubicBezTo>
                        <a:pt x="68235" y="91578"/>
                        <a:pt x="68235" y="91578"/>
                        <a:pt x="68235" y="91578"/>
                      </a:cubicBezTo>
                      <a:cubicBezTo>
                        <a:pt x="68235" y="91578"/>
                        <a:pt x="67941" y="91894"/>
                        <a:pt x="67941" y="91578"/>
                      </a:cubicBezTo>
                      <a:cubicBezTo>
                        <a:pt x="67647" y="90947"/>
                        <a:pt x="67352" y="90315"/>
                        <a:pt x="67941" y="90315"/>
                      </a:cubicBezTo>
                      <a:cubicBezTo>
                        <a:pt x="68529" y="90000"/>
                        <a:pt x="68529" y="89684"/>
                        <a:pt x="68823" y="90000"/>
                      </a:cubicBezTo>
                      <a:cubicBezTo>
                        <a:pt x="69117" y="90315"/>
                        <a:pt x="69117" y="90631"/>
                        <a:pt x="69117" y="90631"/>
                      </a:cubicBezTo>
                      <a:cubicBezTo>
                        <a:pt x="69411" y="89684"/>
                        <a:pt x="69411" y="89684"/>
                        <a:pt x="69411" y="89684"/>
                      </a:cubicBezTo>
                      <a:cubicBezTo>
                        <a:pt x="69411" y="89684"/>
                        <a:pt x="69117" y="89684"/>
                        <a:pt x="69117" y="89368"/>
                      </a:cubicBezTo>
                      <a:cubicBezTo>
                        <a:pt x="69411" y="89052"/>
                        <a:pt x="69411" y="89052"/>
                        <a:pt x="69705" y="88736"/>
                      </a:cubicBezTo>
                      <a:cubicBezTo>
                        <a:pt x="70000" y="88736"/>
                        <a:pt x="70294" y="89052"/>
                        <a:pt x="70294" y="89052"/>
                      </a:cubicBezTo>
                      <a:cubicBezTo>
                        <a:pt x="70000" y="88105"/>
                        <a:pt x="70000" y="88105"/>
                        <a:pt x="70000" y="88105"/>
                      </a:cubicBezTo>
                      <a:close/>
                      <a:moveTo>
                        <a:pt x="75882" y="90315"/>
                      </a:moveTo>
                      <a:cubicBezTo>
                        <a:pt x="75882" y="90315"/>
                        <a:pt x="75882" y="90315"/>
                        <a:pt x="75882" y="90315"/>
                      </a:cubicBezTo>
                      <a:cubicBezTo>
                        <a:pt x="75882" y="90315"/>
                        <a:pt x="76176" y="90315"/>
                        <a:pt x="76176" y="90631"/>
                      </a:cubicBezTo>
                      <a:cubicBezTo>
                        <a:pt x="76470" y="90947"/>
                        <a:pt x="76470" y="90947"/>
                        <a:pt x="76176" y="90947"/>
                      </a:cubicBezTo>
                      <a:cubicBezTo>
                        <a:pt x="76176" y="90947"/>
                        <a:pt x="75294" y="90947"/>
                        <a:pt x="75294" y="90947"/>
                      </a:cubicBezTo>
                      <a:cubicBezTo>
                        <a:pt x="75294" y="90947"/>
                        <a:pt x="75000" y="91263"/>
                        <a:pt x="75000" y="90631"/>
                      </a:cubicBezTo>
                      <a:cubicBezTo>
                        <a:pt x="75000" y="90315"/>
                        <a:pt x="75000" y="90000"/>
                        <a:pt x="75000" y="90000"/>
                      </a:cubicBezTo>
                      <a:cubicBezTo>
                        <a:pt x="75882" y="90315"/>
                        <a:pt x="75882" y="90315"/>
                        <a:pt x="75882" y="90315"/>
                      </a:cubicBezTo>
                      <a:close/>
                      <a:moveTo>
                        <a:pt x="77941" y="89052"/>
                      </a:moveTo>
                      <a:cubicBezTo>
                        <a:pt x="77941" y="89052"/>
                        <a:pt x="77941" y="89052"/>
                        <a:pt x="77941" y="89052"/>
                      </a:cubicBezTo>
                      <a:cubicBezTo>
                        <a:pt x="79117" y="88105"/>
                        <a:pt x="79117" y="88105"/>
                        <a:pt x="79117" y="88105"/>
                      </a:cubicBezTo>
                      <a:cubicBezTo>
                        <a:pt x="79117" y="88105"/>
                        <a:pt x="79411" y="89052"/>
                        <a:pt x="78823" y="89368"/>
                      </a:cubicBezTo>
                      <a:cubicBezTo>
                        <a:pt x="78529" y="89684"/>
                        <a:pt x="78235" y="89684"/>
                        <a:pt x="78235" y="89684"/>
                      </a:cubicBezTo>
                      <a:cubicBezTo>
                        <a:pt x="77647" y="89368"/>
                        <a:pt x="77647" y="89368"/>
                        <a:pt x="77647" y="89368"/>
                      </a:cubicBezTo>
                      <a:cubicBezTo>
                        <a:pt x="77941" y="89052"/>
                        <a:pt x="77941" y="89052"/>
                        <a:pt x="77941" y="89052"/>
                      </a:cubicBezTo>
                      <a:close/>
                      <a:moveTo>
                        <a:pt x="80294" y="86842"/>
                      </a:moveTo>
                      <a:cubicBezTo>
                        <a:pt x="80294" y="86842"/>
                        <a:pt x="80294" y="86842"/>
                        <a:pt x="80294" y="86842"/>
                      </a:cubicBezTo>
                      <a:cubicBezTo>
                        <a:pt x="80294" y="86842"/>
                        <a:pt x="80000" y="87789"/>
                        <a:pt x="80294" y="88421"/>
                      </a:cubicBezTo>
                      <a:cubicBezTo>
                        <a:pt x="80294" y="88736"/>
                        <a:pt x="80294" y="88736"/>
                        <a:pt x="80588" y="88736"/>
                      </a:cubicBezTo>
                      <a:cubicBezTo>
                        <a:pt x="80882" y="89052"/>
                        <a:pt x="81176" y="89052"/>
                        <a:pt x="81470" y="88736"/>
                      </a:cubicBezTo>
                      <a:cubicBezTo>
                        <a:pt x="81764" y="88736"/>
                        <a:pt x="81764" y="87789"/>
                        <a:pt x="81764" y="87789"/>
                      </a:cubicBezTo>
                      <a:cubicBezTo>
                        <a:pt x="81764" y="87789"/>
                        <a:pt x="81764" y="87473"/>
                        <a:pt x="81470" y="86842"/>
                      </a:cubicBezTo>
                      <a:cubicBezTo>
                        <a:pt x="81176" y="85894"/>
                        <a:pt x="80588" y="86842"/>
                        <a:pt x="80294" y="86842"/>
                      </a:cubicBezTo>
                      <a:close/>
                      <a:moveTo>
                        <a:pt x="80588" y="81789"/>
                      </a:moveTo>
                      <a:cubicBezTo>
                        <a:pt x="80588" y="81789"/>
                        <a:pt x="80588" y="81789"/>
                        <a:pt x="80588" y="81789"/>
                      </a:cubicBezTo>
                      <a:cubicBezTo>
                        <a:pt x="80588" y="81473"/>
                        <a:pt x="80588" y="80526"/>
                        <a:pt x="80882" y="80210"/>
                      </a:cubicBezTo>
                      <a:cubicBezTo>
                        <a:pt x="81176" y="80210"/>
                        <a:pt x="81176" y="79894"/>
                        <a:pt x="81470" y="79578"/>
                      </a:cubicBezTo>
                      <a:cubicBezTo>
                        <a:pt x="81470" y="79263"/>
                        <a:pt x="82647" y="79263"/>
                        <a:pt x="82647" y="79263"/>
                      </a:cubicBezTo>
                      <a:cubicBezTo>
                        <a:pt x="82941" y="79894"/>
                        <a:pt x="82941" y="79894"/>
                        <a:pt x="82941" y="79894"/>
                      </a:cubicBezTo>
                      <a:cubicBezTo>
                        <a:pt x="82941" y="79894"/>
                        <a:pt x="82941" y="80526"/>
                        <a:pt x="82941" y="80842"/>
                      </a:cubicBezTo>
                      <a:cubicBezTo>
                        <a:pt x="82941" y="81157"/>
                        <a:pt x="82941" y="81157"/>
                        <a:pt x="83235" y="81789"/>
                      </a:cubicBezTo>
                      <a:cubicBezTo>
                        <a:pt x="83235" y="82105"/>
                        <a:pt x="82941" y="82736"/>
                        <a:pt x="82941" y="83052"/>
                      </a:cubicBezTo>
                      <a:cubicBezTo>
                        <a:pt x="82647" y="83368"/>
                        <a:pt x="82647" y="83684"/>
                        <a:pt x="82352" y="83684"/>
                      </a:cubicBezTo>
                      <a:cubicBezTo>
                        <a:pt x="82058" y="84000"/>
                        <a:pt x="82058" y="84315"/>
                        <a:pt x="81764" y="84000"/>
                      </a:cubicBezTo>
                      <a:cubicBezTo>
                        <a:pt x="81470" y="83684"/>
                        <a:pt x="80588" y="83368"/>
                        <a:pt x="80588" y="83052"/>
                      </a:cubicBezTo>
                      <a:cubicBezTo>
                        <a:pt x="80588" y="83052"/>
                        <a:pt x="80588" y="82421"/>
                        <a:pt x="80588" y="82421"/>
                      </a:cubicBezTo>
                      <a:cubicBezTo>
                        <a:pt x="80588" y="81789"/>
                        <a:pt x="80588" y="81789"/>
                        <a:pt x="80588" y="81789"/>
                      </a:cubicBezTo>
                      <a:close/>
                      <a:moveTo>
                        <a:pt x="77058" y="83368"/>
                      </a:moveTo>
                      <a:cubicBezTo>
                        <a:pt x="77058" y="83368"/>
                        <a:pt x="77058" y="83368"/>
                        <a:pt x="77058" y="83368"/>
                      </a:cubicBezTo>
                      <a:cubicBezTo>
                        <a:pt x="77058" y="83052"/>
                        <a:pt x="77352" y="81789"/>
                        <a:pt x="77352" y="81789"/>
                      </a:cubicBezTo>
                      <a:cubicBezTo>
                        <a:pt x="77352" y="81789"/>
                        <a:pt x="77352" y="81157"/>
                        <a:pt x="77941" y="80842"/>
                      </a:cubicBezTo>
                      <a:cubicBezTo>
                        <a:pt x="78235" y="80842"/>
                        <a:pt x="78235" y="80526"/>
                        <a:pt x="78529" y="80842"/>
                      </a:cubicBezTo>
                      <a:cubicBezTo>
                        <a:pt x="78823" y="81157"/>
                        <a:pt x="79117" y="81473"/>
                        <a:pt x="79117" y="81473"/>
                      </a:cubicBezTo>
                      <a:cubicBezTo>
                        <a:pt x="79117" y="81473"/>
                        <a:pt x="78823" y="81473"/>
                        <a:pt x="78823" y="81789"/>
                      </a:cubicBezTo>
                      <a:cubicBezTo>
                        <a:pt x="78823" y="81789"/>
                        <a:pt x="79117" y="82421"/>
                        <a:pt x="79117" y="82421"/>
                      </a:cubicBezTo>
                      <a:cubicBezTo>
                        <a:pt x="78823" y="82736"/>
                        <a:pt x="78529" y="83052"/>
                        <a:pt x="78235" y="83368"/>
                      </a:cubicBezTo>
                      <a:cubicBezTo>
                        <a:pt x="78235" y="83684"/>
                        <a:pt x="77647" y="84000"/>
                        <a:pt x="77647" y="84000"/>
                      </a:cubicBezTo>
                      <a:cubicBezTo>
                        <a:pt x="76764" y="84631"/>
                        <a:pt x="76764" y="84631"/>
                        <a:pt x="76764" y="84631"/>
                      </a:cubicBezTo>
                      <a:cubicBezTo>
                        <a:pt x="76764" y="84947"/>
                        <a:pt x="76764" y="84947"/>
                        <a:pt x="76764" y="84947"/>
                      </a:cubicBezTo>
                      <a:cubicBezTo>
                        <a:pt x="76470" y="84947"/>
                        <a:pt x="76470" y="84947"/>
                        <a:pt x="76470" y="84947"/>
                      </a:cubicBezTo>
                      <a:cubicBezTo>
                        <a:pt x="75882" y="84000"/>
                        <a:pt x="75882" y="84000"/>
                        <a:pt x="75882" y="84000"/>
                      </a:cubicBezTo>
                      <a:cubicBezTo>
                        <a:pt x="76764" y="83368"/>
                        <a:pt x="76764" y="83368"/>
                        <a:pt x="76764" y="83368"/>
                      </a:cubicBezTo>
                      <a:cubicBezTo>
                        <a:pt x="77058" y="83368"/>
                        <a:pt x="77058" y="83368"/>
                        <a:pt x="77058" y="83368"/>
                      </a:cubicBezTo>
                      <a:close/>
                      <a:moveTo>
                        <a:pt x="71176" y="84631"/>
                      </a:moveTo>
                      <a:cubicBezTo>
                        <a:pt x="71176" y="84631"/>
                        <a:pt x="71176" y="84631"/>
                        <a:pt x="71176" y="84631"/>
                      </a:cubicBezTo>
                      <a:cubicBezTo>
                        <a:pt x="72058" y="84315"/>
                        <a:pt x="72058" y="84315"/>
                        <a:pt x="72058" y="84315"/>
                      </a:cubicBezTo>
                      <a:cubicBezTo>
                        <a:pt x="72941" y="84947"/>
                        <a:pt x="72941" y="84947"/>
                        <a:pt x="72941" y="84947"/>
                      </a:cubicBezTo>
                      <a:cubicBezTo>
                        <a:pt x="72941" y="85894"/>
                        <a:pt x="72941" y="85894"/>
                        <a:pt x="72941" y="85894"/>
                      </a:cubicBezTo>
                      <a:cubicBezTo>
                        <a:pt x="72941" y="85894"/>
                        <a:pt x="72352" y="87157"/>
                        <a:pt x="72058" y="86842"/>
                      </a:cubicBezTo>
                      <a:cubicBezTo>
                        <a:pt x="71764" y="86210"/>
                        <a:pt x="71764" y="85578"/>
                        <a:pt x="71764" y="85578"/>
                      </a:cubicBezTo>
                      <a:cubicBezTo>
                        <a:pt x="71176" y="84631"/>
                        <a:pt x="71176" y="84631"/>
                        <a:pt x="71176" y="84631"/>
                      </a:cubicBezTo>
                      <a:close/>
                      <a:moveTo>
                        <a:pt x="67352" y="82105"/>
                      </a:moveTo>
                      <a:cubicBezTo>
                        <a:pt x="67352" y="82105"/>
                        <a:pt x="67352" y="82105"/>
                        <a:pt x="67352" y="82105"/>
                      </a:cubicBezTo>
                      <a:cubicBezTo>
                        <a:pt x="67352" y="82105"/>
                        <a:pt x="68823" y="81789"/>
                        <a:pt x="68823" y="82105"/>
                      </a:cubicBezTo>
                      <a:cubicBezTo>
                        <a:pt x="68823" y="82105"/>
                        <a:pt x="68823" y="82736"/>
                        <a:pt x="69117" y="82736"/>
                      </a:cubicBezTo>
                      <a:cubicBezTo>
                        <a:pt x="69117" y="83052"/>
                        <a:pt x="68235" y="84000"/>
                        <a:pt x="67941" y="84000"/>
                      </a:cubicBezTo>
                      <a:cubicBezTo>
                        <a:pt x="67941" y="84000"/>
                        <a:pt x="67647" y="83684"/>
                        <a:pt x="67647" y="83684"/>
                      </a:cubicBezTo>
                      <a:cubicBezTo>
                        <a:pt x="67352" y="82105"/>
                        <a:pt x="67352" y="82105"/>
                        <a:pt x="67352" y="82105"/>
                      </a:cubicBezTo>
                      <a:close/>
                      <a:moveTo>
                        <a:pt x="66176" y="78000"/>
                      </a:moveTo>
                      <a:cubicBezTo>
                        <a:pt x="66176" y="78000"/>
                        <a:pt x="66176" y="78000"/>
                        <a:pt x="66176" y="78000"/>
                      </a:cubicBezTo>
                      <a:cubicBezTo>
                        <a:pt x="66176" y="78000"/>
                        <a:pt x="66470" y="77684"/>
                        <a:pt x="66764" y="77684"/>
                      </a:cubicBezTo>
                      <a:cubicBezTo>
                        <a:pt x="67058" y="78000"/>
                        <a:pt x="67058" y="78947"/>
                        <a:pt x="67058" y="78947"/>
                      </a:cubicBezTo>
                      <a:cubicBezTo>
                        <a:pt x="66764" y="79894"/>
                        <a:pt x="66764" y="79894"/>
                        <a:pt x="66764" y="79894"/>
                      </a:cubicBezTo>
                      <a:cubicBezTo>
                        <a:pt x="66764" y="79894"/>
                        <a:pt x="66176" y="80842"/>
                        <a:pt x="66176" y="80842"/>
                      </a:cubicBezTo>
                      <a:cubicBezTo>
                        <a:pt x="66176" y="80526"/>
                        <a:pt x="65882" y="78947"/>
                        <a:pt x="65882" y="78947"/>
                      </a:cubicBezTo>
                      <a:cubicBezTo>
                        <a:pt x="66176" y="78000"/>
                        <a:pt x="66176" y="78000"/>
                        <a:pt x="66176" y="78000"/>
                      </a:cubicBezTo>
                      <a:close/>
                      <a:moveTo>
                        <a:pt x="64411" y="75473"/>
                      </a:moveTo>
                      <a:cubicBezTo>
                        <a:pt x="64411" y="75473"/>
                        <a:pt x="64411" y="75473"/>
                        <a:pt x="64411" y="75473"/>
                      </a:cubicBezTo>
                      <a:cubicBezTo>
                        <a:pt x="64411" y="75473"/>
                        <a:pt x="64117" y="76421"/>
                        <a:pt x="64117" y="76736"/>
                      </a:cubicBezTo>
                      <a:cubicBezTo>
                        <a:pt x="64117" y="76736"/>
                        <a:pt x="64411" y="77368"/>
                        <a:pt x="64411" y="77368"/>
                      </a:cubicBezTo>
                      <a:cubicBezTo>
                        <a:pt x="64411" y="77684"/>
                        <a:pt x="64411" y="77368"/>
                        <a:pt x="64705" y="77052"/>
                      </a:cubicBezTo>
                      <a:cubicBezTo>
                        <a:pt x="65000" y="76736"/>
                        <a:pt x="65000" y="76421"/>
                        <a:pt x="65000" y="76421"/>
                      </a:cubicBezTo>
                      <a:cubicBezTo>
                        <a:pt x="65000" y="76421"/>
                        <a:pt x="65588" y="76105"/>
                        <a:pt x="65588" y="75789"/>
                      </a:cubicBezTo>
                      <a:cubicBezTo>
                        <a:pt x="65882" y="75789"/>
                        <a:pt x="65882" y="74842"/>
                        <a:pt x="65882" y="74842"/>
                      </a:cubicBezTo>
                      <a:cubicBezTo>
                        <a:pt x="65882" y="74842"/>
                        <a:pt x="65000" y="74210"/>
                        <a:pt x="65000" y="74526"/>
                      </a:cubicBezTo>
                      <a:cubicBezTo>
                        <a:pt x="64705" y="74526"/>
                        <a:pt x="64411" y="75473"/>
                        <a:pt x="64411" y="75473"/>
                      </a:cubicBezTo>
                      <a:close/>
                      <a:moveTo>
                        <a:pt x="68529" y="74842"/>
                      </a:moveTo>
                      <a:cubicBezTo>
                        <a:pt x="68529" y="74842"/>
                        <a:pt x="68529" y="74842"/>
                        <a:pt x="68529" y="74842"/>
                      </a:cubicBezTo>
                      <a:cubicBezTo>
                        <a:pt x="68823" y="74842"/>
                        <a:pt x="68823" y="74842"/>
                        <a:pt x="68823" y="74842"/>
                      </a:cubicBezTo>
                      <a:cubicBezTo>
                        <a:pt x="68823" y="75157"/>
                        <a:pt x="68823" y="75157"/>
                        <a:pt x="68823" y="75157"/>
                      </a:cubicBezTo>
                      <a:cubicBezTo>
                        <a:pt x="68823" y="75157"/>
                        <a:pt x="69705" y="74842"/>
                        <a:pt x="70000" y="74842"/>
                      </a:cubicBezTo>
                      <a:cubicBezTo>
                        <a:pt x="70294" y="74526"/>
                        <a:pt x="70000" y="74210"/>
                        <a:pt x="70000" y="73894"/>
                      </a:cubicBezTo>
                      <a:cubicBezTo>
                        <a:pt x="69705" y="73578"/>
                        <a:pt x="68529" y="74842"/>
                        <a:pt x="68529" y="74842"/>
                      </a:cubicBezTo>
                      <a:close/>
                      <a:moveTo>
                        <a:pt x="72647" y="76105"/>
                      </a:moveTo>
                      <a:cubicBezTo>
                        <a:pt x="72647" y="76105"/>
                        <a:pt x="72647" y="76105"/>
                        <a:pt x="72647" y="76105"/>
                      </a:cubicBezTo>
                      <a:cubicBezTo>
                        <a:pt x="72058" y="75789"/>
                        <a:pt x="72058" y="75789"/>
                        <a:pt x="72058" y="75789"/>
                      </a:cubicBezTo>
                      <a:cubicBezTo>
                        <a:pt x="72058" y="76421"/>
                        <a:pt x="72058" y="76421"/>
                        <a:pt x="72058" y="76421"/>
                      </a:cubicBezTo>
                      <a:cubicBezTo>
                        <a:pt x="72058" y="76421"/>
                        <a:pt x="72352" y="77052"/>
                        <a:pt x="72647" y="77368"/>
                      </a:cubicBezTo>
                      <a:cubicBezTo>
                        <a:pt x="72647" y="77368"/>
                        <a:pt x="72058" y="78000"/>
                        <a:pt x="72058" y="78000"/>
                      </a:cubicBezTo>
                      <a:cubicBezTo>
                        <a:pt x="72647" y="78947"/>
                        <a:pt x="72647" y="78947"/>
                        <a:pt x="72647" y="78947"/>
                      </a:cubicBezTo>
                      <a:cubicBezTo>
                        <a:pt x="73529" y="77368"/>
                        <a:pt x="73529" y="77368"/>
                        <a:pt x="73529" y="77368"/>
                      </a:cubicBezTo>
                      <a:cubicBezTo>
                        <a:pt x="73529" y="77368"/>
                        <a:pt x="73235" y="76736"/>
                        <a:pt x="73235" y="76736"/>
                      </a:cubicBezTo>
                      <a:cubicBezTo>
                        <a:pt x="73235" y="76421"/>
                        <a:pt x="72647" y="76105"/>
                        <a:pt x="72647" y="76105"/>
                      </a:cubicBezTo>
                      <a:close/>
                      <a:moveTo>
                        <a:pt x="76764" y="76105"/>
                      </a:moveTo>
                      <a:cubicBezTo>
                        <a:pt x="76764" y="76105"/>
                        <a:pt x="76764" y="76105"/>
                        <a:pt x="76764" y="76105"/>
                      </a:cubicBezTo>
                      <a:cubicBezTo>
                        <a:pt x="77058" y="76736"/>
                        <a:pt x="77058" y="76736"/>
                        <a:pt x="77058" y="76736"/>
                      </a:cubicBezTo>
                      <a:cubicBezTo>
                        <a:pt x="77058" y="76736"/>
                        <a:pt x="76764" y="77368"/>
                        <a:pt x="76470" y="77368"/>
                      </a:cubicBezTo>
                      <a:cubicBezTo>
                        <a:pt x="76470" y="77368"/>
                        <a:pt x="76176" y="77052"/>
                        <a:pt x="76176" y="77052"/>
                      </a:cubicBezTo>
                      <a:cubicBezTo>
                        <a:pt x="76764" y="76105"/>
                        <a:pt x="76764" y="76105"/>
                        <a:pt x="76764" y="76105"/>
                      </a:cubicBezTo>
                      <a:close/>
                      <a:moveTo>
                        <a:pt x="77647" y="75157"/>
                      </a:moveTo>
                      <a:cubicBezTo>
                        <a:pt x="77647" y="75157"/>
                        <a:pt x="77647" y="75157"/>
                        <a:pt x="77647" y="75157"/>
                      </a:cubicBezTo>
                      <a:cubicBezTo>
                        <a:pt x="77941" y="75789"/>
                        <a:pt x="77941" y="75789"/>
                        <a:pt x="77941" y="75789"/>
                      </a:cubicBezTo>
                      <a:cubicBezTo>
                        <a:pt x="77941" y="75789"/>
                        <a:pt x="78823" y="75473"/>
                        <a:pt x="79411" y="75157"/>
                      </a:cubicBezTo>
                      <a:cubicBezTo>
                        <a:pt x="80294" y="74842"/>
                        <a:pt x="79411" y="74526"/>
                        <a:pt x="79411" y="74526"/>
                      </a:cubicBezTo>
                      <a:cubicBezTo>
                        <a:pt x="78529" y="74526"/>
                        <a:pt x="78529" y="74526"/>
                        <a:pt x="78529" y="74526"/>
                      </a:cubicBezTo>
                      <a:cubicBezTo>
                        <a:pt x="78529" y="74526"/>
                        <a:pt x="77647" y="74842"/>
                        <a:pt x="77647" y="75157"/>
                      </a:cubicBezTo>
                      <a:close/>
                      <a:moveTo>
                        <a:pt x="72647" y="72631"/>
                      </a:moveTo>
                      <a:cubicBezTo>
                        <a:pt x="72647" y="72631"/>
                        <a:pt x="72647" y="72631"/>
                        <a:pt x="72647" y="72631"/>
                      </a:cubicBezTo>
                      <a:cubicBezTo>
                        <a:pt x="73529" y="73578"/>
                        <a:pt x="73529" y="73578"/>
                        <a:pt x="73529" y="73578"/>
                      </a:cubicBezTo>
                      <a:cubicBezTo>
                        <a:pt x="73529" y="73578"/>
                        <a:pt x="74705" y="74210"/>
                        <a:pt x="75000" y="74210"/>
                      </a:cubicBezTo>
                      <a:cubicBezTo>
                        <a:pt x="75000" y="74526"/>
                        <a:pt x="75588" y="74210"/>
                        <a:pt x="76176" y="74210"/>
                      </a:cubicBezTo>
                      <a:cubicBezTo>
                        <a:pt x="76470" y="73894"/>
                        <a:pt x="76470" y="73894"/>
                        <a:pt x="76470" y="73578"/>
                      </a:cubicBezTo>
                      <a:cubicBezTo>
                        <a:pt x="76470" y="73578"/>
                        <a:pt x="76176" y="73263"/>
                        <a:pt x="76176" y="73263"/>
                      </a:cubicBezTo>
                      <a:cubicBezTo>
                        <a:pt x="76176" y="73263"/>
                        <a:pt x="75882" y="72631"/>
                        <a:pt x="75000" y="72631"/>
                      </a:cubicBezTo>
                      <a:cubicBezTo>
                        <a:pt x="74411" y="72947"/>
                        <a:pt x="74411" y="72631"/>
                        <a:pt x="74411" y="72631"/>
                      </a:cubicBezTo>
                      <a:cubicBezTo>
                        <a:pt x="74411" y="72631"/>
                        <a:pt x="74117" y="72631"/>
                        <a:pt x="73235" y="72315"/>
                      </a:cubicBezTo>
                      <a:cubicBezTo>
                        <a:pt x="72647" y="72315"/>
                        <a:pt x="72941" y="72631"/>
                        <a:pt x="72647" y="72631"/>
                      </a:cubicBezTo>
                      <a:close/>
                      <a:moveTo>
                        <a:pt x="72058" y="72315"/>
                      </a:moveTo>
                      <a:cubicBezTo>
                        <a:pt x="72058" y="72315"/>
                        <a:pt x="72058" y="72315"/>
                        <a:pt x="72058" y="72315"/>
                      </a:cubicBezTo>
                      <a:cubicBezTo>
                        <a:pt x="72352" y="72000"/>
                        <a:pt x="72352" y="72000"/>
                        <a:pt x="72352" y="72000"/>
                      </a:cubicBezTo>
                      <a:cubicBezTo>
                        <a:pt x="72352" y="72000"/>
                        <a:pt x="72352" y="71368"/>
                        <a:pt x="72352" y="70421"/>
                      </a:cubicBezTo>
                      <a:cubicBezTo>
                        <a:pt x="72352" y="69789"/>
                        <a:pt x="72058" y="70105"/>
                        <a:pt x="72058" y="70105"/>
                      </a:cubicBezTo>
                      <a:cubicBezTo>
                        <a:pt x="72058" y="69789"/>
                        <a:pt x="72058" y="69473"/>
                        <a:pt x="71764" y="68842"/>
                      </a:cubicBezTo>
                      <a:cubicBezTo>
                        <a:pt x="71470" y="68526"/>
                        <a:pt x="71470" y="68842"/>
                        <a:pt x="71176" y="68842"/>
                      </a:cubicBezTo>
                      <a:cubicBezTo>
                        <a:pt x="71176" y="68842"/>
                        <a:pt x="70882" y="69157"/>
                        <a:pt x="70294" y="69157"/>
                      </a:cubicBezTo>
                      <a:cubicBezTo>
                        <a:pt x="69705" y="69157"/>
                        <a:pt x="70000" y="68526"/>
                        <a:pt x="69705" y="68210"/>
                      </a:cubicBezTo>
                      <a:cubicBezTo>
                        <a:pt x="69411" y="67894"/>
                        <a:pt x="68823" y="67894"/>
                        <a:pt x="68823" y="67894"/>
                      </a:cubicBezTo>
                      <a:cubicBezTo>
                        <a:pt x="68529" y="67894"/>
                        <a:pt x="67941" y="68842"/>
                        <a:pt x="67941" y="69157"/>
                      </a:cubicBezTo>
                      <a:cubicBezTo>
                        <a:pt x="67941" y="69473"/>
                        <a:pt x="68235" y="69473"/>
                        <a:pt x="69117" y="70421"/>
                      </a:cubicBezTo>
                      <a:cubicBezTo>
                        <a:pt x="70000" y="71052"/>
                        <a:pt x="70294" y="71052"/>
                        <a:pt x="70588" y="71052"/>
                      </a:cubicBezTo>
                      <a:cubicBezTo>
                        <a:pt x="70882" y="71368"/>
                        <a:pt x="71764" y="72000"/>
                        <a:pt x="72058" y="72315"/>
                      </a:cubicBezTo>
                      <a:close/>
                      <a:moveTo>
                        <a:pt x="63529" y="113684"/>
                      </a:moveTo>
                      <a:cubicBezTo>
                        <a:pt x="63529" y="113684"/>
                        <a:pt x="63529" y="113684"/>
                        <a:pt x="63529" y="113684"/>
                      </a:cubicBezTo>
                      <a:cubicBezTo>
                        <a:pt x="63823" y="112736"/>
                        <a:pt x="63823" y="112736"/>
                        <a:pt x="63823" y="112736"/>
                      </a:cubicBezTo>
                      <a:cubicBezTo>
                        <a:pt x="63235" y="111789"/>
                        <a:pt x="63235" y="111789"/>
                        <a:pt x="63235" y="111789"/>
                      </a:cubicBezTo>
                      <a:cubicBezTo>
                        <a:pt x="63235" y="110526"/>
                        <a:pt x="63235" y="110526"/>
                        <a:pt x="63235" y="110526"/>
                      </a:cubicBezTo>
                      <a:cubicBezTo>
                        <a:pt x="63529" y="110210"/>
                        <a:pt x="63529" y="110210"/>
                        <a:pt x="63529" y="110210"/>
                      </a:cubicBezTo>
                      <a:cubicBezTo>
                        <a:pt x="63529" y="110210"/>
                        <a:pt x="64117" y="110842"/>
                        <a:pt x="64117" y="111157"/>
                      </a:cubicBezTo>
                      <a:cubicBezTo>
                        <a:pt x="64117" y="111473"/>
                        <a:pt x="64117" y="112105"/>
                        <a:pt x="64117" y="112105"/>
                      </a:cubicBezTo>
                      <a:cubicBezTo>
                        <a:pt x="64117" y="112105"/>
                        <a:pt x="65000" y="112736"/>
                        <a:pt x="65000" y="112736"/>
                      </a:cubicBezTo>
                      <a:cubicBezTo>
                        <a:pt x="65294" y="112736"/>
                        <a:pt x="67058" y="112421"/>
                        <a:pt x="67058" y="112421"/>
                      </a:cubicBezTo>
                      <a:cubicBezTo>
                        <a:pt x="67058" y="112421"/>
                        <a:pt x="67647" y="111473"/>
                        <a:pt x="67647" y="111473"/>
                      </a:cubicBezTo>
                      <a:cubicBezTo>
                        <a:pt x="67941" y="111157"/>
                        <a:pt x="68823" y="110526"/>
                        <a:pt x="68823" y="110526"/>
                      </a:cubicBezTo>
                      <a:cubicBezTo>
                        <a:pt x="68823" y="110526"/>
                        <a:pt x="68823" y="110210"/>
                        <a:pt x="69411" y="110842"/>
                      </a:cubicBezTo>
                      <a:cubicBezTo>
                        <a:pt x="70000" y="111157"/>
                        <a:pt x="69411" y="112105"/>
                        <a:pt x="69411" y="112105"/>
                      </a:cubicBezTo>
                      <a:cubicBezTo>
                        <a:pt x="69117" y="112105"/>
                        <a:pt x="69117" y="112421"/>
                        <a:pt x="69117" y="112421"/>
                      </a:cubicBezTo>
                      <a:cubicBezTo>
                        <a:pt x="69705" y="113052"/>
                        <a:pt x="69705" y="113052"/>
                        <a:pt x="69705" y="113052"/>
                      </a:cubicBezTo>
                      <a:cubicBezTo>
                        <a:pt x="69705" y="113052"/>
                        <a:pt x="69705" y="112421"/>
                        <a:pt x="70000" y="112421"/>
                      </a:cubicBezTo>
                      <a:cubicBezTo>
                        <a:pt x="70294" y="112421"/>
                        <a:pt x="70294" y="112105"/>
                        <a:pt x="70588" y="112105"/>
                      </a:cubicBezTo>
                      <a:cubicBezTo>
                        <a:pt x="70588" y="112421"/>
                        <a:pt x="71176" y="113052"/>
                        <a:pt x="71176" y="113052"/>
                      </a:cubicBezTo>
                      <a:cubicBezTo>
                        <a:pt x="71176" y="113052"/>
                        <a:pt x="71176" y="114000"/>
                        <a:pt x="71470" y="114000"/>
                      </a:cubicBezTo>
                      <a:cubicBezTo>
                        <a:pt x="71764" y="113684"/>
                        <a:pt x="72352" y="114000"/>
                        <a:pt x="72647" y="113684"/>
                      </a:cubicBezTo>
                      <a:cubicBezTo>
                        <a:pt x="72941" y="113684"/>
                        <a:pt x="75882" y="112736"/>
                        <a:pt x="75882" y="112736"/>
                      </a:cubicBezTo>
                      <a:cubicBezTo>
                        <a:pt x="76764" y="112105"/>
                        <a:pt x="76764" y="112105"/>
                        <a:pt x="76764" y="112105"/>
                      </a:cubicBezTo>
                      <a:cubicBezTo>
                        <a:pt x="76764" y="112105"/>
                        <a:pt x="77352" y="111789"/>
                        <a:pt x="77941" y="111789"/>
                      </a:cubicBezTo>
                      <a:cubicBezTo>
                        <a:pt x="78235" y="111789"/>
                        <a:pt x="80000" y="111157"/>
                        <a:pt x="80000" y="111157"/>
                      </a:cubicBezTo>
                      <a:cubicBezTo>
                        <a:pt x="80000" y="111157"/>
                        <a:pt x="80882" y="110526"/>
                        <a:pt x="81470" y="110842"/>
                      </a:cubicBezTo>
                      <a:cubicBezTo>
                        <a:pt x="81764" y="111473"/>
                        <a:pt x="82941" y="112421"/>
                        <a:pt x="82941" y="112421"/>
                      </a:cubicBezTo>
                      <a:cubicBezTo>
                        <a:pt x="84705" y="112105"/>
                        <a:pt x="84705" y="112105"/>
                        <a:pt x="84705" y="112105"/>
                      </a:cubicBezTo>
                      <a:cubicBezTo>
                        <a:pt x="84705" y="112105"/>
                        <a:pt x="85294" y="111789"/>
                        <a:pt x="85294" y="111789"/>
                      </a:cubicBezTo>
                      <a:cubicBezTo>
                        <a:pt x="85588" y="112105"/>
                        <a:pt x="87352" y="111789"/>
                        <a:pt x="87352" y="111789"/>
                      </a:cubicBezTo>
                      <a:cubicBezTo>
                        <a:pt x="87352" y="111789"/>
                        <a:pt x="88235" y="110842"/>
                        <a:pt x="88529" y="110842"/>
                      </a:cubicBezTo>
                      <a:cubicBezTo>
                        <a:pt x="88529" y="110842"/>
                        <a:pt x="90588" y="110210"/>
                        <a:pt x="90588" y="110210"/>
                      </a:cubicBezTo>
                      <a:cubicBezTo>
                        <a:pt x="90588" y="110210"/>
                        <a:pt x="90882" y="110210"/>
                        <a:pt x="90882" y="110842"/>
                      </a:cubicBezTo>
                      <a:cubicBezTo>
                        <a:pt x="90882" y="111473"/>
                        <a:pt x="90882" y="112421"/>
                        <a:pt x="90882" y="112736"/>
                      </a:cubicBezTo>
                      <a:cubicBezTo>
                        <a:pt x="91176" y="113052"/>
                        <a:pt x="90882" y="113684"/>
                        <a:pt x="91470" y="113684"/>
                      </a:cubicBezTo>
                      <a:cubicBezTo>
                        <a:pt x="92058" y="113368"/>
                        <a:pt x="92647" y="113052"/>
                        <a:pt x="92647" y="113052"/>
                      </a:cubicBezTo>
                      <a:cubicBezTo>
                        <a:pt x="92647" y="113052"/>
                        <a:pt x="92058" y="113052"/>
                        <a:pt x="93235" y="112421"/>
                      </a:cubicBezTo>
                      <a:cubicBezTo>
                        <a:pt x="94117" y="111789"/>
                        <a:pt x="94411" y="111473"/>
                        <a:pt x="94705" y="111473"/>
                      </a:cubicBezTo>
                      <a:cubicBezTo>
                        <a:pt x="95000" y="111473"/>
                        <a:pt x="95000" y="111157"/>
                        <a:pt x="95294" y="111157"/>
                      </a:cubicBezTo>
                      <a:cubicBezTo>
                        <a:pt x="95882" y="111157"/>
                        <a:pt x="95882" y="111157"/>
                        <a:pt x="96176" y="111157"/>
                      </a:cubicBezTo>
                      <a:cubicBezTo>
                        <a:pt x="96470" y="110842"/>
                        <a:pt x="97058" y="109894"/>
                        <a:pt x="97058" y="109894"/>
                      </a:cubicBezTo>
                      <a:cubicBezTo>
                        <a:pt x="97058" y="109894"/>
                        <a:pt x="97352" y="109263"/>
                        <a:pt x="97647" y="109263"/>
                      </a:cubicBezTo>
                      <a:cubicBezTo>
                        <a:pt x="97647" y="109263"/>
                        <a:pt x="98235" y="108947"/>
                        <a:pt x="98235" y="108947"/>
                      </a:cubicBezTo>
                      <a:cubicBezTo>
                        <a:pt x="97941" y="109894"/>
                        <a:pt x="97941" y="109894"/>
                        <a:pt x="97941" y="109894"/>
                      </a:cubicBezTo>
                      <a:cubicBezTo>
                        <a:pt x="97941" y="109894"/>
                        <a:pt x="98529" y="111157"/>
                        <a:pt x="98529" y="111473"/>
                      </a:cubicBezTo>
                      <a:cubicBezTo>
                        <a:pt x="98529" y="111473"/>
                        <a:pt x="98529" y="111789"/>
                        <a:pt x="98235" y="112105"/>
                      </a:cubicBezTo>
                      <a:cubicBezTo>
                        <a:pt x="98235" y="112736"/>
                        <a:pt x="98235" y="113052"/>
                        <a:pt x="98235" y="113052"/>
                      </a:cubicBezTo>
                      <a:cubicBezTo>
                        <a:pt x="97941" y="113368"/>
                        <a:pt x="97941" y="113684"/>
                        <a:pt x="97941" y="114000"/>
                      </a:cubicBezTo>
                      <a:cubicBezTo>
                        <a:pt x="97647" y="114000"/>
                        <a:pt x="96764" y="114631"/>
                        <a:pt x="96764" y="114631"/>
                      </a:cubicBezTo>
                      <a:cubicBezTo>
                        <a:pt x="95294" y="114315"/>
                        <a:pt x="95294" y="114315"/>
                        <a:pt x="95294" y="114315"/>
                      </a:cubicBezTo>
                      <a:cubicBezTo>
                        <a:pt x="95294" y="114315"/>
                        <a:pt x="94705" y="114631"/>
                        <a:pt x="94411" y="114947"/>
                      </a:cubicBezTo>
                      <a:cubicBezTo>
                        <a:pt x="93823" y="114947"/>
                        <a:pt x="92941" y="115894"/>
                        <a:pt x="92647" y="115894"/>
                      </a:cubicBezTo>
                      <a:cubicBezTo>
                        <a:pt x="92352" y="115894"/>
                        <a:pt x="91470" y="115894"/>
                        <a:pt x="90588" y="115894"/>
                      </a:cubicBezTo>
                      <a:cubicBezTo>
                        <a:pt x="89705" y="116210"/>
                        <a:pt x="87352" y="116842"/>
                        <a:pt x="87352" y="116842"/>
                      </a:cubicBezTo>
                      <a:cubicBezTo>
                        <a:pt x="87352" y="116842"/>
                        <a:pt x="87058" y="117157"/>
                        <a:pt x="86764" y="117473"/>
                      </a:cubicBezTo>
                      <a:cubicBezTo>
                        <a:pt x="86176" y="117473"/>
                        <a:pt x="85000" y="118105"/>
                        <a:pt x="84705" y="118105"/>
                      </a:cubicBezTo>
                      <a:cubicBezTo>
                        <a:pt x="84411" y="118421"/>
                        <a:pt x="83529" y="119052"/>
                        <a:pt x="83235" y="119052"/>
                      </a:cubicBezTo>
                      <a:cubicBezTo>
                        <a:pt x="82941" y="119052"/>
                        <a:pt x="82647" y="119368"/>
                        <a:pt x="81470" y="119368"/>
                      </a:cubicBezTo>
                      <a:cubicBezTo>
                        <a:pt x="80000" y="119684"/>
                        <a:pt x="79705" y="120000"/>
                        <a:pt x="79705" y="120000"/>
                      </a:cubicBezTo>
                      <a:cubicBezTo>
                        <a:pt x="78823" y="120000"/>
                        <a:pt x="78823" y="120000"/>
                        <a:pt x="78823" y="120000"/>
                      </a:cubicBezTo>
                      <a:cubicBezTo>
                        <a:pt x="78823" y="117789"/>
                        <a:pt x="78823" y="117789"/>
                        <a:pt x="78823" y="117789"/>
                      </a:cubicBezTo>
                      <a:cubicBezTo>
                        <a:pt x="78823" y="117789"/>
                        <a:pt x="78823" y="116842"/>
                        <a:pt x="77941" y="117157"/>
                      </a:cubicBezTo>
                      <a:cubicBezTo>
                        <a:pt x="77058" y="117473"/>
                        <a:pt x="78235" y="117157"/>
                        <a:pt x="76470" y="117473"/>
                      </a:cubicBezTo>
                      <a:cubicBezTo>
                        <a:pt x="75000" y="117789"/>
                        <a:pt x="74117" y="116842"/>
                        <a:pt x="74117" y="116842"/>
                      </a:cubicBezTo>
                      <a:cubicBezTo>
                        <a:pt x="74117" y="116842"/>
                        <a:pt x="72647" y="116842"/>
                        <a:pt x="72058" y="117157"/>
                      </a:cubicBezTo>
                      <a:cubicBezTo>
                        <a:pt x="71470" y="117157"/>
                        <a:pt x="70588" y="117157"/>
                        <a:pt x="70294" y="117157"/>
                      </a:cubicBezTo>
                      <a:cubicBezTo>
                        <a:pt x="70000" y="117473"/>
                        <a:pt x="70000" y="117157"/>
                        <a:pt x="69117" y="117473"/>
                      </a:cubicBezTo>
                      <a:cubicBezTo>
                        <a:pt x="68235" y="117473"/>
                        <a:pt x="67352" y="117789"/>
                        <a:pt x="67352" y="117789"/>
                      </a:cubicBezTo>
                      <a:cubicBezTo>
                        <a:pt x="66470" y="117157"/>
                        <a:pt x="66470" y="117157"/>
                        <a:pt x="66470" y="117157"/>
                      </a:cubicBezTo>
                      <a:cubicBezTo>
                        <a:pt x="66470" y="117157"/>
                        <a:pt x="65588" y="117157"/>
                        <a:pt x="65294" y="117473"/>
                      </a:cubicBezTo>
                      <a:cubicBezTo>
                        <a:pt x="64705" y="117789"/>
                        <a:pt x="65000" y="118105"/>
                        <a:pt x="64411" y="118105"/>
                      </a:cubicBezTo>
                      <a:cubicBezTo>
                        <a:pt x="63823" y="118105"/>
                        <a:pt x="64117" y="118421"/>
                        <a:pt x="63529" y="118105"/>
                      </a:cubicBezTo>
                      <a:cubicBezTo>
                        <a:pt x="62647" y="117789"/>
                        <a:pt x="62058" y="117473"/>
                        <a:pt x="62058" y="117473"/>
                      </a:cubicBezTo>
                      <a:cubicBezTo>
                        <a:pt x="61764" y="115578"/>
                        <a:pt x="61764" y="115578"/>
                        <a:pt x="61764" y="115578"/>
                      </a:cubicBezTo>
                      <a:cubicBezTo>
                        <a:pt x="61764" y="115578"/>
                        <a:pt x="61764" y="115578"/>
                        <a:pt x="61764" y="114631"/>
                      </a:cubicBezTo>
                      <a:cubicBezTo>
                        <a:pt x="61470" y="114000"/>
                        <a:pt x="61176" y="112736"/>
                        <a:pt x="61176" y="112736"/>
                      </a:cubicBezTo>
                      <a:cubicBezTo>
                        <a:pt x="61764" y="111789"/>
                        <a:pt x="61764" y="111789"/>
                        <a:pt x="61764" y="111789"/>
                      </a:cubicBezTo>
                      <a:cubicBezTo>
                        <a:pt x="61764" y="111789"/>
                        <a:pt x="62058" y="112421"/>
                        <a:pt x="62058" y="112736"/>
                      </a:cubicBezTo>
                      <a:cubicBezTo>
                        <a:pt x="62058" y="112736"/>
                        <a:pt x="62058" y="113684"/>
                        <a:pt x="62352" y="113684"/>
                      </a:cubicBezTo>
                      <a:cubicBezTo>
                        <a:pt x="62941" y="113684"/>
                        <a:pt x="63529" y="113684"/>
                        <a:pt x="63529" y="113684"/>
                      </a:cubicBezTo>
                      <a:close/>
                      <a:moveTo>
                        <a:pt x="50588" y="100736"/>
                      </a:moveTo>
                      <a:cubicBezTo>
                        <a:pt x="50588" y="100736"/>
                        <a:pt x="50588" y="100736"/>
                        <a:pt x="50588" y="100736"/>
                      </a:cubicBezTo>
                      <a:cubicBezTo>
                        <a:pt x="51470" y="100421"/>
                        <a:pt x="51470" y="100421"/>
                        <a:pt x="51470" y="100421"/>
                      </a:cubicBezTo>
                      <a:cubicBezTo>
                        <a:pt x="51764" y="101368"/>
                        <a:pt x="51764" y="101368"/>
                        <a:pt x="51764" y="101368"/>
                      </a:cubicBezTo>
                      <a:cubicBezTo>
                        <a:pt x="52647" y="101684"/>
                        <a:pt x="52647" y="101684"/>
                        <a:pt x="52647" y="101684"/>
                      </a:cubicBezTo>
                      <a:cubicBezTo>
                        <a:pt x="52647" y="101684"/>
                        <a:pt x="53823" y="102315"/>
                        <a:pt x="53823" y="102631"/>
                      </a:cubicBezTo>
                      <a:cubicBezTo>
                        <a:pt x="53823" y="102631"/>
                        <a:pt x="53235" y="103578"/>
                        <a:pt x="53235" y="103578"/>
                      </a:cubicBezTo>
                      <a:cubicBezTo>
                        <a:pt x="53235" y="103578"/>
                        <a:pt x="53235" y="104210"/>
                        <a:pt x="53235" y="104526"/>
                      </a:cubicBezTo>
                      <a:cubicBezTo>
                        <a:pt x="53235" y="104526"/>
                        <a:pt x="52647" y="104526"/>
                        <a:pt x="52352" y="104526"/>
                      </a:cubicBezTo>
                      <a:cubicBezTo>
                        <a:pt x="52058" y="104210"/>
                        <a:pt x="51176" y="103894"/>
                        <a:pt x="51176" y="103894"/>
                      </a:cubicBezTo>
                      <a:cubicBezTo>
                        <a:pt x="51176" y="102631"/>
                        <a:pt x="51176" y="102631"/>
                        <a:pt x="51176" y="102631"/>
                      </a:cubicBezTo>
                      <a:cubicBezTo>
                        <a:pt x="50294" y="101684"/>
                        <a:pt x="50294" y="101684"/>
                        <a:pt x="50294" y="101684"/>
                      </a:cubicBezTo>
                      <a:cubicBezTo>
                        <a:pt x="50588" y="100736"/>
                        <a:pt x="50588" y="100736"/>
                        <a:pt x="50588" y="100736"/>
                      </a:cubicBezTo>
                      <a:close/>
                      <a:moveTo>
                        <a:pt x="27058" y="73263"/>
                      </a:moveTo>
                      <a:cubicBezTo>
                        <a:pt x="27058" y="73263"/>
                        <a:pt x="27058" y="73263"/>
                        <a:pt x="27058" y="73263"/>
                      </a:cubicBezTo>
                      <a:cubicBezTo>
                        <a:pt x="27058" y="73263"/>
                        <a:pt x="26470" y="73263"/>
                        <a:pt x="26470" y="73263"/>
                      </a:cubicBezTo>
                      <a:cubicBezTo>
                        <a:pt x="26176" y="73263"/>
                        <a:pt x="25882" y="73263"/>
                        <a:pt x="25588" y="73263"/>
                      </a:cubicBezTo>
                      <a:cubicBezTo>
                        <a:pt x="25294" y="73263"/>
                        <a:pt x="25588" y="73894"/>
                        <a:pt x="25588" y="74210"/>
                      </a:cubicBezTo>
                      <a:cubicBezTo>
                        <a:pt x="25588" y="74210"/>
                        <a:pt x="25588" y="74842"/>
                        <a:pt x="25588" y="75157"/>
                      </a:cubicBezTo>
                      <a:cubicBezTo>
                        <a:pt x="25294" y="75473"/>
                        <a:pt x="25000" y="75789"/>
                        <a:pt x="25000" y="76105"/>
                      </a:cubicBezTo>
                      <a:cubicBezTo>
                        <a:pt x="25000" y="76105"/>
                        <a:pt x="25000" y="76736"/>
                        <a:pt x="25000" y="77052"/>
                      </a:cubicBezTo>
                      <a:cubicBezTo>
                        <a:pt x="24705" y="77052"/>
                        <a:pt x="24117" y="77684"/>
                        <a:pt x="23823" y="77684"/>
                      </a:cubicBezTo>
                      <a:cubicBezTo>
                        <a:pt x="23529" y="78000"/>
                        <a:pt x="22941" y="78315"/>
                        <a:pt x="22941" y="78315"/>
                      </a:cubicBezTo>
                      <a:cubicBezTo>
                        <a:pt x="23529" y="79894"/>
                        <a:pt x="23529" y="79894"/>
                        <a:pt x="23529" y="79894"/>
                      </a:cubicBezTo>
                      <a:cubicBezTo>
                        <a:pt x="23529" y="79894"/>
                        <a:pt x="24117" y="79578"/>
                        <a:pt x="24411" y="79894"/>
                      </a:cubicBezTo>
                      <a:cubicBezTo>
                        <a:pt x="24705" y="80210"/>
                        <a:pt x="25588" y="80842"/>
                        <a:pt x="25882" y="80842"/>
                      </a:cubicBezTo>
                      <a:cubicBezTo>
                        <a:pt x="25882" y="80842"/>
                        <a:pt x="26470" y="82736"/>
                        <a:pt x="26470" y="82736"/>
                      </a:cubicBezTo>
                      <a:cubicBezTo>
                        <a:pt x="26764" y="83052"/>
                        <a:pt x="27058" y="82736"/>
                        <a:pt x="27058" y="82736"/>
                      </a:cubicBezTo>
                      <a:cubicBezTo>
                        <a:pt x="27058" y="82736"/>
                        <a:pt x="27647" y="83052"/>
                        <a:pt x="27941" y="83368"/>
                      </a:cubicBezTo>
                      <a:cubicBezTo>
                        <a:pt x="28235" y="83368"/>
                        <a:pt x="28823" y="83684"/>
                        <a:pt x="29117" y="84000"/>
                      </a:cubicBezTo>
                      <a:cubicBezTo>
                        <a:pt x="29411" y="84000"/>
                        <a:pt x="30000" y="84947"/>
                        <a:pt x="30294" y="84947"/>
                      </a:cubicBezTo>
                      <a:cubicBezTo>
                        <a:pt x="30588" y="85263"/>
                        <a:pt x="31176" y="85894"/>
                        <a:pt x="31176" y="85894"/>
                      </a:cubicBezTo>
                      <a:cubicBezTo>
                        <a:pt x="31176" y="85894"/>
                        <a:pt x="31764" y="86842"/>
                        <a:pt x="32058" y="87473"/>
                      </a:cubicBezTo>
                      <a:cubicBezTo>
                        <a:pt x="32058" y="87789"/>
                        <a:pt x="32058" y="87789"/>
                        <a:pt x="31764" y="88105"/>
                      </a:cubicBezTo>
                      <a:cubicBezTo>
                        <a:pt x="31470" y="88421"/>
                        <a:pt x="31470" y="88736"/>
                        <a:pt x="31176" y="89368"/>
                      </a:cubicBezTo>
                      <a:cubicBezTo>
                        <a:pt x="30882" y="90000"/>
                        <a:pt x="31470" y="90631"/>
                        <a:pt x="31470" y="90631"/>
                      </a:cubicBezTo>
                      <a:cubicBezTo>
                        <a:pt x="31470" y="92210"/>
                        <a:pt x="31470" y="92210"/>
                        <a:pt x="31470" y="92210"/>
                      </a:cubicBezTo>
                      <a:cubicBezTo>
                        <a:pt x="31764" y="92842"/>
                        <a:pt x="31764" y="92842"/>
                        <a:pt x="31764" y="92842"/>
                      </a:cubicBezTo>
                      <a:cubicBezTo>
                        <a:pt x="31764" y="92842"/>
                        <a:pt x="32058" y="93157"/>
                        <a:pt x="32352" y="93157"/>
                      </a:cubicBezTo>
                      <a:cubicBezTo>
                        <a:pt x="32647" y="93473"/>
                        <a:pt x="32647" y="93473"/>
                        <a:pt x="32647" y="93473"/>
                      </a:cubicBezTo>
                      <a:cubicBezTo>
                        <a:pt x="32647" y="93473"/>
                        <a:pt x="33235" y="94105"/>
                        <a:pt x="33529" y="94421"/>
                      </a:cubicBezTo>
                      <a:cubicBezTo>
                        <a:pt x="33529" y="94736"/>
                        <a:pt x="33235" y="95052"/>
                        <a:pt x="33235" y="95368"/>
                      </a:cubicBezTo>
                      <a:cubicBezTo>
                        <a:pt x="33235" y="95684"/>
                        <a:pt x="33529" y="96947"/>
                        <a:pt x="33529" y="96947"/>
                      </a:cubicBezTo>
                      <a:cubicBezTo>
                        <a:pt x="33529" y="96947"/>
                        <a:pt x="34117" y="96631"/>
                        <a:pt x="34705" y="96315"/>
                      </a:cubicBezTo>
                      <a:cubicBezTo>
                        <a:pt x="35000" y="96315"/>
                        <a:pt x="35294" y="96631"/>
                        <a:pt x="35588" y="96631"/>
                      </a:cubicBezTo>
                      <a:cubicBezTo>
                        <a:pt x="35882" y="96947"/>
                        <a:pt x="35882" y="97263"/>
                        <a:pt x="35882" y="97263"/>
                      </a:cubicBezTo>
                      <a:cubicBezTo>
                        <a:pt x="35882" y="97263"/>
                        <a:pt x="36764" y="96631"/>
                        <a:pt x="36764" y="96315"/>
                      </a:cubicBezTo>
                      <a:cubicBezTo>
                        <a:pt x="36764" y="96315"/>
                        <a:pt x="36764" y="95684"/>
                        <a:pt x="36764" y="95684"/>
                      </a:cubicBezTo>
                      <a:cubicBezTo>
                        <a:pt x="36764" y="95684"/>
                        <a:pt x="36764" y="94421"/>
                        <a:pt x="36764" y="94105"/>
                      </a:cubicBezTo>
                      <a:cubicBezTo>
                        <a:pt x="36764" y="93789"/>
                        <a:pt x="36470" y="92842"/>
                        <a:pt x="36470" y="92526"/>
                      </a:cubicBezTo>
                      <a:cubicBezTo>
                        <a:pt x="36470" y="92526"/>
                        <a:pt x="36764" y="91894"/>
                        <a:pt x="36764" y="91894"/>
                      </a:cubicBezTo>
                      <a:cubicBezTo>
                        <a:pt x="36764" y="91894"/>
                        <a:pt x="37647" y="91578"/>
                        <a:pt x="37941" y="91578"/>
                      </a:cubicBezTo>
                      <a:cubicBezTo>
                        <a:pt x="38235" y="91578"/>
                        <a:pt x="38529" y="91894"/>
                        <a:pt x="38823" y="92210"/>
                      </a:cubicBezTo>
                      <a:cubicBezTo>
                        <a:pt x="38823" y="92526"/>
                        <a:pt x="38823" y="93789"/>
                        <a:pt x="38823" y="93789"/>
                      </a:cubicBezTo>
                      <a:cubicBezTo>
                        <a:pt x="40588" y="94105"/>
                        <a:pt x="40588" y="94105"/>
                        <a:pt x="40588" y="94105"/>
                      </a:cubicBezTo>
                      <a:cubicBezTo>
                        <a:pt x="40588" y="94105"/>
                        <a:pt x="41176" y="94421"/>
                        <a:pt x="41176" y="94421"/>
                      </a:cubicBezTo>
                      <a:cubicBezTo>
                        <a:pt x="41176" y="94736"/>
                        <a:pt x="41470" y="95368"/>
                        <a:pt x="41764" y="95684"/>
                      </a:cubicBezTo>
                      <a:cubicBezTo>
                        <a:pt x="42058" y="96000"/>
                        <a:pt x="42352" y="96315"/>
                        <a:pt x="42352" y="96315"/>
                      </a:cubicBezTo>
                      <a:cubicBezTo>
                        <a:pt x="42352" y="96315"/>
                        <a:pt x="42941" y="97894"/>
                        <a:pt x="43235" y="98210"/>
                      </a:cubicBezTo>
                      <a:cubicBezTo>
                        <a:pt x="43235" y="98526"/>
                        <a:pt x="43235" y="99157"/>
                        <a:pt x="43235" y="99789"/>
                      </a:cubicBezTo>
                      <a:cubicBezTo>
                        <a:pt x="43235" y="100421"/>
                        <a:pt x="43235" y="100421"/>
                        <a:pt x="43235" y="100421"/>
                      </a:cubicBezTo>
                      <a:cubicBezTo>
                        <a:pt x="43235" y="100421"/>
                        <a:pt x="44117" y="100736"/>
                        <a:pt x="44411" y="101052"/>
                      </a:cubicBezTo>
                      <a:cubicBezTo>
                        <a:pt x="45000" y="101368"/>
                        <a:pt x="44705" y="101052"/>
                        <a:pt x="45000" y="100736"/>
                      </a:cubicBezTo>
                      <a:cubicBezTo>
                        <a:pt x="45294" y="100421"/>
                        <a:pt x="45000" y="100105"/>
                        <a:pt x="45000" y="99789"/>
                      </a:cubicBezTo>
                      <a:cubicBezTo>
                        <a:pt x="45000" y="99473"/>
                        <a:pt x="45000" y="98842"/>
                        <a:pt x="44705" y="98210"/>
                      </a:cubicBezTo>
                      <a:cubicBezTo>
                        <a:pt x="44705" y="97894"/>
                        <a:pt x="44705" y="97578"/>
                        <a:pt x="44705" y="97578"/>
                      </a:cubicBezTo>
                      <a:cubicBezTo>
                        <a:pt x="44705" y="97578"/>
                        <a:pt x="45000" y="96947"/>
                        <a:pt x="45000" y="96631"/>
                      </a:cubicBezTo>
                      <a:cubicBezTo>
                        <a:pt x="45000" y="96631"/>
                        <a:pt x="45000" y="96000"/>
                        <a:pt x="45000" y="95684"/>
                      </a:cubicBezTo>
                      <a:cubicBezTo>
                        <a:pt x="45000" y="95368"/>
                        <a:pt x="45588" y="95052"/>
                        <a:pt x="45588" y="95052"/>
                      </a:cubicBezTo>
                      <a:cubicBezTo>
                        <a:pt x="45588" y="95052"/>
                        <a:pt x="45588" y="94736"/>
                        <a:pt x="45882" y="94105"/>
                      </a:cubicBezTo>
                      <a:cubicBezTo>
                        <a:pt x="46176" y="93789"/>
                        <a:pt x="45882" y="94105"/>
                        <a:pt x="46176" y="94105"/>
                      </a:cubicBezTo>
                      <a:cubicBezTo>
                        <a:pt x="46470" y="93789"/>
                        <a:pt x="46764" y="93789"/>
                        <a:pt x="47352" y="93789"/>
                      </a:cubicBezTo>
                      <a:cubicBezTo>
                        <a:pt x="47647" y="93789"/>
                        <a:pt x="47941" y="94105"/>
                        <a:pt x="47941" y="94105"/>
                      </a:cubicBezTo>
                      <a:cubicBezTo>
                        <a:pt x="48529" y="95052"/>
                        <a:pt x="48529" y="95052"/>
                        <a:pt x="48529" y="95052"/>
                      </a:cubicBezTo>
                      <a:cubicBezTo>
                        <a:pt x="48529" y="95052"/>
                        <a:pt x="48529" y="95052"/>
                        <a:pt x="48529" y="95368"/>
                      </a:cubicBezTo>
                      <a:cubicBezTo>
                        <a:pt x="48529" y="95684"/>
                        <a:pt x="49117" y="96315"/>
                        <a:pt x="49117" y="96315"/>
                      </a:cubicBezTo>
                      <a:cubicBezTo>
                        <a:pt x="50294" y="97263"/>
                        <a:pt x="50294" y="97263"/>
                        <a:pt x="50294" y="97263"/>
                      </a:cubicBezTo>
                      <a:cubicBezTo>
                        <a:pt x="50294" y="97263"/>
                        <a:pt x="50294" y="97578"/>
                        <a:pt x="50294" y="97578"/>
                      </a:cubicBezTo>
                      <a:cubicBezTo>
                        <a:pt x="50294" y="97894"/>
                        <a:pt x="50588" y="98526"/>
                        <a:pt x="50882" y="98842"/>
                      </a:cubicBezTo>
                      <a:cubicBezTo>
                        <a:pt x="51176" y="99473"/>
                        <a:pt x="50882" y="98526"/>
                        <a:pt x="51176" y="98526"/>
                      </a:cubicBezTo>
                      <a:cubicBezTo>
                        <a:pt x="51176" y="98210"/>
                        <a:pt x="51470" y="97894"/>
                        <a:pt x="51470" y="97894"/>
                      </a:cubicBezTo>
                      <a:cubicBezTo>
                        <a:pt x="52058" y="98842"/>
                        <a:pt x="52058" y="98842"/>
                        <a:pt x="52058" y="98842"/>
                      </a:cubicBezTo>
                      <a:cubicBezTo>
                        <a:pt x="52058" y="98842"/>
                        <a:pt x="53235" y="99157"/>
                        <a:pt x="53529" y="99157"/>
                      </a:cubicBezTo>
                      <a:cubicBezTo>
                        <a:pt x="53823" y="98842"/>
                        <a:pt x="54117" y="98526"/>
                        <a:pt x="54117" y="98526"/>
                      </a:cubicBezTo>
                      <a:cubicBezTo>
                        <a:pt x="53529" y="97894"/>
                        <a:pt x="53529" y="97894"/>
                        <a:pt x="53529" y="97894"/>
                      </a:cubicBezTo>
                      <a:cubicBezTo>
                        <a:pt x="52941" y="96947"/>
                        <a:pt x="52941" y="96947"/>
                        <a:pt x="52941" y="96947"/>
                      </a:cubicBezTo>
                      <a:cubicBezTo>
                        <a:pt x="52941" y="96947"/>
                        <a:pt x="52058" y="96000"/>
                        <a:pt x="51764" y="96000"/>
                      </a:cubicBezTo>
                      <a:cubicBezTo>
                        <a:pt x="51470" y="95684"/>
                        <a:pt x="51176" y="95368"/>
                        <a:pt x="51176" y="95052"/>
                      </a:cubicBezTo>
                      <a:cubicBezTo>
                        <a:pt x="50882" y="94736"/>
                        <a:pt x="50882" y="94105"/>
                        <a:pt x="50882" y="94105"/>
                      </a:cubicBezTo>
                      <a:cubicBezTo>
                        <a:pt x="51176" y="93789"/>
                        <a:pt x="51176" y="93157"/>
                        <a:pt x="51470" y="92526"/>
                      </a:cubicBezTo>
                      <a:cubicBezTo>
                        <a:pt x="51764" y="91894"/>
                        <a:pt x="51176" y="92526"/>
                        <a:pt x="51176" y="92526"/>
                      </a:cubicBezTo>
                      <a:cubicBezTo>
                        <a:pt x="51176" y="92526"/>
                        <a:pt x="50588" y="91578"/>
                        <a:pt x="50882" y="91263"/>
                      </a:cubicBezTo>
                      <a:cubicBezTo>
                        <a:pt x="50882" y="91263"/>
                        <a:pt x="49705" y="89368"/>
                        <a:pt x="49705" y="89368"/>
                      </a:cubicBezTo>
                      <a:cubicBezTo>
                        <a:pt x="49705" y="89368"/>
                        <a:pt x="49411" y="88736"/>
                        <a:pt x="49411" y="88736"/>
                      </a:cubicBezTo>
                      <a:cubicBezTo>
                        <a:pt x="49411" y="88736"/>
                        <a:pt x="48529" y="88105"/>
                        <a:pt x="48235" y="88105"/>
                      </a:cubicBezTo>
                      <a:cubicBezTo>
                        <a:pt x="47941" y="87789"/>
                        <a:pt x="47647" y="87473"/>
                        <a:pt x="47647" y="87473"/>
                      </a:cubicBezTo>
                      <a:cubicBezTo>
                        <a:pt x="47647" y="87157"/>
                        <a:pt x="47647" y="86526"/>
                        <a:pt x="47647" y="86210"/>
                      </a:cubicBezTo>
                      <a:cubicBezTo>
                        <a:pt x="47352" y="85894"/>
                        <a:pt x="47058" y="85263"/>
                        <a:pt x="46764" y="84947"/>
                      </a:cubicBezTo>
                      <a:cubicBezTo>
                        <a:pt x="46470" y="84631"/>
                        <a:pt x="46176" y="84000"/>
                        <a:pt x="45882" y="83368"/>
                      </a:cubicBezTo>
                      <a:cubicBezTo>
                        <a:pt x="45588" y="83052"/>
                        <a:pt x="45294" y="82421"/>
                        <a:pt x="45294" y="82421"/>
                      </a:cubicBezTo>
                      <a:cubicBezTo>
                        <a:pt x="45000" y="81157"/>
                        <a:pt x="45000" y="81157"/>
                        <a:pt x="45000" y="81157"/>
                      </a:cubicBezTo>
                      <a:cubicBezTo>
                        <a:pt x="45000" y="80526"/>
                        <a:pt x="45000" y="80526"/>
                        <a:pt x="45000" y="80526"/>
                      </a:cubicBezTo>
                      <a:cubicBezTo>
                        <a:pt x="45882" y="81157"/>
                        <a:pt x="45882" y="81157"/>
                        <a:pt x="45882" y="81157"/>
                      </a:cubicBezTo>
                      <a:cubicBezTo>
                        <a:pt x="45882" y="81157"/>
                        <a:pt x="46470" y="80842"/>
                        <a:pt x="46764" y="80842"/>
                      </a:cubicBezTo>
                      <a:cubicBezTo>
                        <a:pt x="47058" y="80842"/>
                        <a:pt x="47941" y="81157"/>
                        <a:pt x="47941" y="81157"/>
                      </a:cubicBezTo>
                      <a:cubicBezTo>
                        <a:pt x="47941" y="81157"/>
                        <a:pt x="48529" y="81473"/>
                        <a:pt x="48823" y="81473"/>
                      </a:cubicBezTo>
                      <a:cubicBezTo>
                        <a:pt x="48823" y="81473"/>
                        <a:pt x="49117" y="81789"/>
                        <a:pt x="49411" y="81473"/>
                      </a:cubicBezTo>
                      <a:cubicBezTo>
                        <a:pt x="49705" y="81473"/>
                        <a:pt x="50000" y="82105"/>
                        <a:pt x="50000" y="82421"/>
                      </a:cubicBezTo>
                      <a:cubicBezTo>
                        <a:pt x="50000" y="82736"/>
                        <a:pt x="49705" y="83052"/>
                        <a:pt x="49705" y="83052"/>
                      </a:cubicBezTo>
                      <a:cubicBezTo>
                        <a:pt x="49705" y="83368"/>
                        <a:pt x="49705" y="83684"/>
                        <a:pt x="49705" y="83684"/>
                      </a:cubicBezTo>
                      <a:cubicBezTo>
                        <a:pt x="49705" y="83684"/>
                        <a:pt x="50294" y="84000"/>
                        <a:pt x="50588" y="84000"/>
                      </a:cubicBezTo>
                      <a:cubicBezTo>
                        <a:pt x="50588" y="84315"/>
                        <a:pt x="50294" y="84631"/>
                        <a:pt x="50294" y="84631"/>
                      </a:cubicBezTo>
                      <a:cubicBezTo>
                        <a:pt x="50294" y="84631"/>
                        <a:pt x="50294" y="85263"/>
                        <a:pt x="50294" y="85578"/>
                      </a:cubicBezTo>
                      <a:cubicBezTo>
                        <a:pt x="50588" y="85578"/>
                        <a:pt x="50882" y="84947"/>
                        <a:pt x="50882" y="84947"/>
                      </a:cubicBezTo>
                      <a:cubicBezTo>
                        <a:pt x="50882" y="84947"/>
                        <a:pt x="51176" y="84315"/>
                        <a:pt x="51176" y="84000"/>
                      </a:cubicBezTo>
                      <a:cubicBezTo>
                        <a:pt x="51176" y="83684"/>
                        <a:pt x="51764" y="83368"/>
                        <a:pt x="51764" y="83368"/>
                      </a:cubicBezTo>
                      <a:cubicBezTo>
                        <a:pt x="52352" y="82105"/>
                        <a:pt x="52352" y="82105"/>
                        <a:pt x="52352" y="82105"/>
                      </a:cubicBezTo>
                      <a:cubicBezTo>
                        <a:pt x="52941" y="81473"/>
                        <a:pt x="52941" y="81473"/>
                        <a:pt x="52941" y="81473"/>
                      </a:cubicBezTo>
                      <a:cubicBezTo>
                        <a:pt x="52941" y="81473"/>
                        <a:pt x="54117" y="81157"/>
                        <a:pt x="54411" y="80842"/>
                      </a:cubicBezTo>
                      <a:cubicBezTo>
                        <a:pt x="54705" y="80526"/>
                        <a:pt x="54705" y="80842"/>
                        <a:pt x="54705" y="80526"/>
                      </a:cubicBezTo>
                      <a:cubicBezTo>
                        <a:pt x="55000" y="80526"/>
                        <a:pt x="55000" y="79894"/>
                        <a:pt x="55000" y="79894"/>
                      </a:cubicBezTo>
                      <a:cubicBezTo>
                        <a:pt x="54411" y="79263"/>
                        <a:pt x="54411" y="79263"/>
                        <a:pt x="54411" y="79263"/>
                      </a:cubicBezTo>
                      <a:cubicBezTo>
                        <a:pt x="53235" y="79578"/>
                        <a:pt x="53235" y="79578"/>
                        <a:pt x="53235" y="79578"/>
                      </a:cubicBezTo>
                      <a:cubicBezTo>
                        <a:pt x="52941" y="78947"/>
                        <a:pt x="52941" y="78947"/>
                        <a:pt x="52941" y="78947"/>
                      </a:cubicBezTo>
                      <a:cubicBezTo>
                        <a:pt x="52941" y="78947"/>
                        <a:pt x="52941" y="78947"/>
                        <a:pt x="53235" y="78947"/>
                      </a:cubicBezTo>
                      <a:cubicBezTo>
                        <a:pt x="53235" y="78947"/>
                        <a:pt x="53235" y="77684"/>
                        <a:pt x="53235" y="77684"/>
                      </a:cubicBezTo>
                      <a:cubicBezTo>
                        <a:pt x="53235" y="77684"/>
                        <a:pt x="52647" y="78000"/>
                        <a:pt x="52352" y="78000"/>
                      </a:cubicBezTo>
                      <a:cubicBezTo>
                        <a:pt x="52058" y="78000"/>
                        <a:pt x="52352" y="78947"/>
                        <a:pt x="52352" y="78947"/>
                      </a:cubicBezTo>
                      <a:cubicBezTo>
                        <a:pt x="52352" y="78947"/>
                        <a:pt x="50882" y="78631"/>
                        <a:pt x="50588" y="78631"/>
                      </a:cubicBezTo>
                      <a:cubicBezTo>
                        <a:pt x="50294" y="78315"/>
                        <a:pt x="50294" y="78000"/>
                        <a:pt x="50294" y="78000"/>
                      </a:cubicBezTo>
                      <a:cubicBezTo>
                        <a:pt x="50000" y="77684"/>
                        <a:pt x="50588" y="76736"/>
                        <a:pt x="50588" y="76736"/>
                      </a:cubicBezTo>
                      <a:cubicBezTo>
                        <a:pt x="50882" y="75473"/>
                        <a:pt x="50882" y="75473"/>
                        <a:pt x="50882" y="75473"/>
                      </a:cubicBezTo>
                      <a:cubicBezTo>
                        <a:pt x="50882" y="75473"/>
                        <a:pt x="49411" y="75157"/>
                        <a:pt x="49411" y="74842"/>
                      </a:cubicBezTo>
                      <a:cubicBezTo>
                        <a:pt x="49411" y="74526"/>
                        <a:pt x="47941" y="75473"/>
                        <a:pt x="47352" y="74842"/>
                      </a:cubicBezTo>
                      <a:cubicBezTo>
                        <a:pt x="47058" y="74210"/>
                        <a:pt x="47058" y="74210"/>
                        <a:pt x="47058" y="74210"/>
                      </a:cubicBezTo>
                      <a:cubicBezTo>
                        <a:pt x="46470" y="73578"/>
                        <a:pt x="46470" y="73578"/>
                        <a:pt x="46470" y="73578"/>
                      </a:cubicBezTo>
                      <a:cubicBezTo>
                        <a:pt x="45882" y="73578"/>
                        <a:pt x="45882" y="73578"/>
                        <a:pt x="45882" y="73578"/>
                      </a:cubicBezTo>
                      <a:cubicBezTo>
                        <a:pt x="45882" y="73578"/>
                        <a:pt x="45000" y="73894"/>
                        <a:pt x="44705" y="73894"/>
                      </a:cubicBezTo>
                      <a:cubicBezTo>
                        <a:pt x="44411" y="73894"/>
                        <a:pt x="44411" y="73263"/>
                        <a:pt x="44411" y="73263"/>
                      </a:cubicBezTo>
                      <a:cubicBezTo>
                        <a:pt x="42941" y="72631"/>
                        <a:pt x="42941" y="72631"/>
                        <a:pt x="42941" y="72631"/>
                      </a:cubicBezTo>
                      <a:cubicBezTo>
                        <a:pt x="41470" y="72315"/>
                        <a:pt x="41470" y="72315"/>
                        <a:pt x="41470" y="72315"/>
                      </a:cubicBezTo>
                      <a:cubicBezTo>
                        <a:pt x="41470" y="72315"/>
                        <a:pt x="39705" y="72000"/>
                        <a:pt x="39117" y="71684"/>
                      </a:cubicBezTo>
                      <a:cubicBezTo>
                        <a:pt x="38823" y="71684"/>
                        <a:pt x="37352" y="71368"/>
                        <a:pt x="36764" y="71368"/>
                      </a:cubicBezTo>
                      <a:cubicBezTo>
                        <a:pt x="36176" y="71368"/>
                        <a:pt x="35588" y="71368"/>
                        <a:pt x="35000" y="71052"/>
                      </a:cubicBezTo>
                      <a:cubicBezTo>
                        <a:pt x="34705" y="70736"/>
                        <a:pt x="33823" y="70421"/>
                        <a:pt x="33823" y="70421"/>
                      </a:cubicBezTo>
                      <a:cubicBezTo>
                        <a:pt x="33823" y="70421"/>
                        <a:pt x="32058" y="69789"/>
                        <a:pt x="32058" y="69789"/>
                      </a:cubicBezTo>
                      <a:cubicBezTo>
                        <a:pt x="31764" y="69789"/>
                        <a:pt x="31470" y="69789"/>
                        <a:pt x="31470" y="69789"/>
                      </a:cubicBezTo>
                      <a:cubicBezTo>
                        <a:pt x="31176" y="69789"/>
                        <a:pt x="30588" y="70736"/>
                        <a:pt x="30000" y="71052"/>
                      </a:cubicBezTo>
                      <a:cubicBezTo>
                        <a:pt x="29705" y="71052"/>
                        <a:pt x="29705" y="72000"/>
                        <a:pt x="29411" y="72315"/>
                      </a:cubicBezTo>
                      <a:cubicBezTo>
                        <a:pt x="29411" y="72947"/>
                        <a:pt x="29117" y="73263"/>
                        <a:pt x="28823" y="73263"/>
                      </a:cubicBezTo>
                      <a:cubicBezTo>
                        <a:pt x="28823" y="73578"/>
                        <a:pt x="27058" y="72947"/>
                        <a:pt x="27058" y="73263"/>
                      </a:cubicBezTo>
                      <a:close/>
                      <a:moveTo>
                        <a:pt x="17647" y="79578"/>
                      </a:moveTo>
                      <a:cubicBezTo>
                        <a:pt x="17647" y="79578"/>
                        <a:pt x="17647" y="79578"/>
                        <a:pt x="17647" y="79578"/>
                      </a:cubicBezTo>
                      <a:cubicBezTo>
                        <a:pt x="17647" y="79578"/>
                        <a:pt x="18235" y="79263"/>
                        <a:pt x="18235" y="79578"/>
                      </a:cubicBezTo>
                      <a:cubicBezTo>
                        <a:pt x="18235" y="79578"/>
                        <a:pt x="18529" y="79894"/>
                        <a:pt x="18529" y="80210"/>
                      </a:cubicBezTo>
                      <a:cubicBezTo>
                        <a:pt x="18823" y="80210"/>
                        <a:pt x="19411" y="80842"/>
                        <a:pt x="19705" y="80842"/>
                      </a:cubicBezTo>
                      <a:cubicBezTo>
                        <a:pt x="20000" y="80842"/>
                        <a:pt x="20882" y="80842"/>
                        <a:pt x="20882" y="80842"/>
                      </a:cubicBezTo>
                      <a:cubicBezTo>
                        <a:pt x="21764" y="81789"/>
                        <a:pt x="21764" y="81789"/>
                        <a:pt x="21764" y="81789"/>
                      </a:cubicBezTo>
                      <a:cubicBezTo>
                        <a:pt x="21764" y="81789"/>
                        <a:pt x="22647" y="82105"/>
                        <a:pt x="22647" y="82421"/>
                      </a:cubicBezTo>
                      <a:cubicBezTo>
                        <a:pt x="22647" y="82421"/>
                        <a:pt x="21176" y="83368"/>
                        <a:pt x="21176" y="83368"/>
                      </a:cubicBezTo>
                      <a:cubicBezTo>
                        <a:pt x="20882" y="83684"/>
                        <a:pt x="20882" y="83684"/>
                        <a:pt x="20882" y="83684"/>
                      </a:cubicBezTo>
                      <a:cubicBezTo>
                        <a:pt x="20882" y="83684"/>
                        <a:pt x="20882" y="84315"/>
                        <a:pt x="20294" y="84000"/>
                      </a:cubicBezTo>
                      <a:cubicBezTo>
                        <a:pt x="20000" y="84000"/>
                        <a:pt x="19705" y="84000"/>
                        <a:pt x="19411" y="83684"/>
                      </a:cubicBezTo>
                      <a:cubicBezTo>
                        <a:pt x="19411" y="83368"/>
                        <a:pt x="19411" y="83368"/>
                        <a:pt x="19117" y="83052"/>
                      </a:cubicBezTo>
                      <a:cubicBezTo>
                        <a:pt x="18529" y="82736"/>
                        <a:pt x="17352" y="81789"/>
                        <a:pt x="17352" y="81789"/>
                      </a:cubicBezTo>
                      <a:cubicBezTo>
                        <a:pt x="17352" y="80842"/>
                        <a:pt x="17352" y="80842"/>
                        <a:pt x="17352" y="80842"/>
                      </a:cubicBezTo>
                      <a:cubicBezTo>
                        <a:pt x="17352" y="80210"/>
                        <a:pt x="17352" y="80210"/>
                        <a:pt x="17352" y="80210"/>
                      </a:cubicBezTo>
                      <a:cubicBezTo>
                        <a:pt x="17647" y="79578"/>
                        <a:pt x="17647" y="79578"/>
                        <a:pt x="17647" y="79578"/>
                      </a:cubicBezTo>
                      <a:close/>
                      <a:moveTo>
                        <a:pt x="14117" y="73894"/>
                      </a:moveTo>
                      <a:cubicBezTo>
                        <a:pt x="14117" y="73894"/>
                        <a:pt x="14117" y="73894"/>
                        <a:pt x="14117" y="73894"/>
                      </a:cubicBezTo>
                      <a:cubicBezTo>
                        <a:pt x="13235" y="72631"/>
                        <a:pt x="13235" y="72631"/>
                        <a:pt x="13235" y="72631"/>
                      </a:cubicBezTo>
                      <a:cubicBezTo>
                        <a:pt x="12647" y="73894"/>
                        <a:pt x="12647" y="73894"/>
                        <a:pt x="12647" y="73894"/>
                      </a:cubicBezTo>
                      <a:cubicBezTo>
                        <a:pt x="12352" y="75157"/>
                        <a:pt x="12352" y="75157"/>
                        <a:pt x="12352" y="75157"/>
                      </a:cubicBezTo>
                      <a:cubicBezTo>
                        <a:pt x="13235" y="75789"/>
                        <a:pt x="13235" y="75789"/>
                        <a:pt x="13235" y="75789"/>
                      </a:cubicBezTo>
                      <a:cubicBezTo>
                        <a:pt x="13529" y="75789"/>
                        <a:pt x="13529" y="75789"/>
                        <a:pt x="13529" y="75789"/>
                      </a:cubicBezTo>
                      <a:cubicBezTo>
                        <a:pt x="14117" y="74842"/>
                        <a:pt x="14117" y="74842"/>
                        <a:pt x="14117" y="74842"/>
                      </a:cubicBezTo>
                      <a:cubicBezTo>
                        <a:pt x="14705" y="75789"/>
                        <a:pt x="14705" y="75789"/>
                        <a:pt x="14705" y="75789"/>
                      </a:cubicBezTo>
                      <a:cubicBezTo>
                        <a:pt x="15294" y="77052"/>
                        <a:pt x="15294" y="77052"/>
                        <a:pt x="15294" y="77052"/>
                      </a:cubicBezTo>
                      <a:cubicBezTo>
                        <a:pt x="15294" y="77052"/>
                        <a:pt x="15882" y="76421"/>
                        <a:pt x="16176" y="76105"/>
                      </a:cubicBezTo>
                      <a:cubicBezTo>
                        <a:pt x="16470" y="76105"/>
                        <a:pt x="17647" y="77052"/>
                        <a:pt x="17647" y="77052"/>
                      </a:cubicBezTo>
                      <a:cubicBezTo>
                        <a:pt x="17647" y="77052"/>
                        <a:pt x="18823" y="76421"/>
                        <a:pt x="19117" y="76421"/>
                      </a:cubicBezTo>
                      <a:cubicBezTo>
                        <a:pt x="19411" y="76421"/>
                        <a:pt x="18529" y="75473"/>
                        <a:pt x="18529" y="75473"/>
                      </a:cubicBezTo>
                      <a:cubicBezTo>
                        <a:pt x="17647" y="74526"/>
                        <a:pt x="17647" y="74526"/>
                        <a:pt x="17647" y="74526"/>
                      </a:cubicBezTo>
                      <a:cubicBezTo>
                        <a:pt x="17058" y="73894"/>
                        <a:pt x="17058" y="73894"/>
                        <a:pt x="17058" y="73894"/>
                      </a:cubicBezTo>
                      <a:cubicBezTo>
                        <a:pt x="15882" y="73263"/>
                        <a:pt x="15882" y="73263"/>
                        <a:pt x="15882" y="73263"/>
                      </a:cubicBezTo>
                      <a:cubicBezTo>
                        <a:pt x="15882" y="72947"/>
                        <a:pt x="15882" y="72947"/>
                        <a:pt x="15882" y="72947"/>
                      </a:cubicBezTo>
                      <a:cubicBezTo>
                        <a:pt x="16176" y="72315"/>
                        <a:pt x="16176" y="72315"/>
                        <a:pt x="16176" y="72315"/>
                      </a:cubicBezTo>
                      <a:cubicBezTo>
                        <a:pt x="16176" y="72315"/>
                        <a:pt x="16176" y="72947"/>
                        <a:pt x="16764" y="72631"/>
                      </a:cubicBezTo>
                      <a:cubicBezTo>
                        <a:pt x="17352" y="72631"/>
                        <a:pt x="17352" y="72631"/>
                        <a:pt x="17352" y="72315"/>
                      </a:cubicBezTo>
                      <a:cubicBezTo>
                        <a:pt x="17647" y="72315"/>
                        <a:pt x="17352" y="72000"/>
                        <a:pt x="17352" y="72000"/>
                      </a:cubicBezTo>
                      <a:cubicBezTo>
                        <a:pt x="16470" y="71368"/>
                        <a:pt x="16470" y="71368"/>
                        <a:pt x="16470" y="71368"/>
                      </a:cubicBezTo>
                      <a:cubicBezTo>
                        <a:pt x="16764" y="70421"/>
                        <a:pt x="16764" y="70421"/>
                        <a:pt x="16764" y="70421"/>
                      </a:cubicBezTo>
                      <a:cubicBezTo>
                        <a:pt x="15882" y="69789"/>
                        <a:pt x="15882" y="69789"/>
                        <a:pt x="15882" y="69789"/>
                      </a:cubicBezTo>
                      <a:cubicBezTo>
                        <a:pt x="15588" y="70736"/>
                        <a:pt x="15588" y="70736"/>
                        <a:pt x="15588" y="70736"/>
                      </a:cubicBezTo>
                      <a:cubicBezTo>
                        <a:pt x="14705" y="70421"/>
                        <a:pt x="14705" y="70421"/>
                        <a:pt x="14705" y="70421"/>
                      </a:cubicBezTo>
                      <a:cubicBezTo>
                        <a:pt x="14705" y="70421"/>
                        <a:pt x="14411" y="71052"/>
                        <a:pt x="14411" y="71052"/>
                      </a:cubicBezTo>
                      <a:cubicBezTo>
                        <a:pt x="14411" y="71368"/>
                        <a:pt x="14705" y="72315"/>
                        <a:pt x="14705" y="72315"/>
                      </a:cubicBezTo>
                      <a:cubicBezTo>
                        <a:pt x="14117" y="73894"/>
                        <a:pt x="14117" y="73894"/>
                        <a:pt x="14117" y="73894"/>
                      </a:cubicBezTo>
                      <a:close/>
                      <a:moveTo>
                        <a:pt x="3235" y="50842"/>
                      </a:moveTo>
                      <a:cubicBezTo>
                        <a:pt x="3235" y="50842"/>
                        <a:pt x="3235" y="50842"/>
                        <a:pt x="3235" y="50842"/>
                      </a:cubicBezTo>
                      <a:cubicBezTo>
                        <a:pt x="2647" y="50842"/>
                        <a:pt x="2647" y="50842"/>
                        <a:pt x="2647" y="50842"/>
                      </a:cubicBezTo>
                      <a:cubicBezTo>
                        <a:pt x="2647" y="50842"/>
                        <a:pt x="2647" y="51157"/>
                        <a:pt x="2941" y="51473"/>
                      </a:cubicBezTo>
                      <a:cubicBezTo>
                        <a:pt x="3235" y="51789"/>
                        <a:pt x="3823" y="53684"/>
                        <a:pt x="3823" y="53684"/>
                      </a:cubicBezTo>
                      <a:cubicBezTo>
                        <a:pt x="4411" y="54000"/>
                        <a:pt x="4411" y="54000"/>
                        <a:pt x="4411" y="54000"/>
                      </a:cubicBezTo>
                      <a:cubicBezTo>
                        <a:pt x="5588" y="54631"/>
                        <a:pt x="5588" y="54631"/>
                        <a:pt x="5588" y="54631"/>
                      </a:cubicBezTo>
                      <a:cubicBezTo>
                        <a:pt x="6470" y="55578"/>
                        <a:pt x="6470" y="55578"/>
                        <a:pt x="6470" y="55578"/>
                      </a:cubicBezTo>
                      <a:cubicBezTo>
                        <a:pt x="6470" y="55578"/>
                        <a:pt x="7058" y="56526"/>
                        <a:pt x="6176" y="56210"/>
                      </a:cubicBezTo>
                      <a:cubicBezTo>
                        <a:pt x="5294" y="55894"/>
                        <a:pt x="4411" y="55263"/>
                        <a:pt x="4117" y="54947"/>
                      </a:cubicBezTo>
                      <a:cubicBezTo>
                        <a:pt x="3529" y="54947"/>
                        <a:pt x="2941" y="54631"/>
                        <a:pt x="2941" y="54631"/>
                      </a:cubicBezTo>
                      <a:cubicBezTo>
                        <a:pt x="2941" y="54631"/>
                        <a:pt x="2647" y="53052"/>
                        <a:pt x="2647" y="52736"/>
                      </a:cubicBezTo>
                      <a:cubicBezTo>
                        <a:pt x="2352" y="52736"/>
                        <a:pt x="1764" y="52421"/>
                        <a:pt x="1764" y="52421"/>
                      </a:cubicBezTo>
                      <a:cubicBezTo>
                        <a:pt x="0" y="51473"/>
                        <a:pt x="0" y="51473"/>
                        <a:pt x="0" y="51473"/>
                      </a:cubicBezTo>
                      <a:cubicBezTo>
                        <a:pt x="0" y="51473"/>
                        <a:pt x="0" y="50210"/>
                        <a:pt x="294" y="49894"/>
                      </a:cubicBezTo>
                      <a:cubicBezTo>
                        <a:pt x="294" y="49894"/>
                        <a:pt x="294" y="49263"/>
                        <a:pt x="882" y="49263"/>
                      </a:cubicBezTo>
                      <a:cubicBezTo>
                        <a:pt x="1176" y="48947"/>
                        <a:pt x="2058" y="48947"/>
                        <a:pt x="2058" y="48947"/>
                      </a:cubicBezTo>
                      <a:cubicBezTo>
                        <a:pt x="2058" y="48947"/>
                        <a:pt x="2058" y="48000"/>
                        <a:pt x="2352" y="48315"/>
                      </a:cubicBezTo>
                      <a:cubicBezTo>
                        <a:pt x="2647" y="48631"/>
                        <a:pt x="3235" y="49578"/>
                        <a:pt x="3235" y="49578"/>
                      </a:cubicBezTo>
                      <a:lnTo>
                        <a:pt x="3235" y="50842"/>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sp>
              <p:nvSpPr>
                <p:cNvPr id="105" name="Shape 2057"/>
                <p:cNvSpPr/>
                <p:nvPr/>
              </p:nvSpPr>
              <p:spPr>
                <a:xfrm>
                  <a:off x="5477832" y="363797"/>
                  <a:ext cx="722325" cy="1278502"/>
                </a:xfrm>
                <a:custGeom>
                  <a:avLst/>
                  <a:gdLst/>
                  <a:ahLst/>
                  <a:cxnLst/>
                  <a:rect l="0" t="0" r="0" b="0"/>
                  <a:pathLst>
                    <a:path w="120000" h="120000" extrusionOk="0">
                      <a:moveTo>
                        <a:pt x="7570" y="20761"/>
                      </a:moveTo>
                      <a:cubicBezTo>
                        <a:pt x="6435" y="19723"/>
                        <a:pt x="6435" y="19723"/>
                        <a:pt x="6435" y="19723"/>
                      </a:cubicBezTo>
                      <a:cubicBezTo>
                        <a:pt x="4921" y="19307"/>
                        <a:pt x="4921" y="19307"/>
                        <a:pt x="4921" y="19307"/>
                      </a:cubicBezTo>
                      <a:cubicBezTo>
                        <a:pt x="3028" y="18892"/>
                        <a:pt x="3028" y="18892"/>
                        <a:pt x="3028" y="18892"/>
                      </a:cubicBezTo>
                      <a:cubicBezTo>
                        <a:pt x="3028" y="18062"/>
                        <a:pt x="3028" y="18062"/>
                        <a:pt x="3028" y="18062"/>
                      </a:cubicBezTo>
                      <a:cubicBezTo>
                        <a:pt x="378" y="17231"/>
                        <a:pt x="378" y="17231"/>
                        <a:pt x="378" y="17231"/>
                      </a:cubicBezTo>
                      <a:cubicBezTo>
                        <a:pt x="378" y="17231"/>
                        <a:pt x="0" y="16816"/>
                        <a:pt x="378" y="16816"/>
                      </a:cubicBezTo>
                      <a:cubicBezTo>
                        <a:pt x="757" y="16608"/>
                        <a:pt x="2271" y="16608"/>
                        <a:pt x="2649" y="16608"/>
                      </a:cubicBezTo>
                      <a:cubicBezTo>
                        <a:pt x="2649" y="16401"/>
                        <a:pt x="2649" y="16401"/>
                        <a:pt x="2649" y="16401"/>
                      </a:cubicBezTo>
                      <a:cubicBezTo>
                        <a:pt x="3028" y="16401"/>
                        <a:pt x="3028" y="16401"/>
                        <a:pt x="3028" y="16401"/>
                      </a:cubicBezTo>
                      <a:cubicBezTo>
                        <a:pt x="3406" y="16401"/>
                        <a:pt x="3406" y="16193"/>
                        <a:pt x="3406" y="16193"/>
                      </a:cubicBezTo>
                      <a:cubicBezTo>
                        <a:pt x="3406" y="16193"/>
                        <a:pt x="2271" y="14948"/>
                        <a:pt x="3028" y="14325"/>
                      </a:cubicBezTo>
                      <a:cubicBezTo>
                        <a:pt x="3028" y="14117"/>
                        <a:pt x="3028" y="14117"/>
                        <a:pt x="3028" y="14117"/>
                      </a:cubicBezTo>
                      <a:cubicBezTo>
                        <a:pt x="3028" y="14117"/>
                        <a:pt x="3028" y="14117"/>
                        <a:pt x="3028" y="14117"/>
                      </a:cubicBezTo>
                      <a:cubicBezTo>
                        <a:pt x="3785" y="13702"/>
                        <a:pt x="5299" y="13702"/>
                        <a:pt x="6056" y="14117"/>
                      </a:cubicBezTo>
                      <a:cubicBezTo>
                        <a:pt x="7570" y="14325"/>
                        <a:pt x="7570" y="14325"/>
                        <a:pt x="7570" y="14325"/>
                      </a:cubicBezTo>
                      <a:cubicBezTo>
                        <a:pt x="10220" y="15986"/>
                        <a:pt x="10220" y="15986"/>
                        <a:pt x="10220" y="15986"/>
                      </a:cubicBezTo>
                      <a:cubicBezTo>
                        <a:pt x="12492" y="17439"/>
                        <a:pt x="12492" y="17439"/>
                        <a:pt x="12492" y="17439"/>
                      </a:cubicBezTo>
                      <a:cubicBezTo>
                        <a:pt x="12492" y="17439"/>
                        <a:pt x="15899" y="18892"/>
                        <a:pt x="16656" y="19100"/>
                      </a:cubicBezTo>
                      <a:cubicBezTo>
                        <a:pt x="17413" y="19307"/>
                        <a:pt x="21577" y="19723"/>
                        <a:pt x="21955" y="19930"/>
                      </a:cubicBezTo>
                      <a:cubicBezTo>
                        <a:pt x="23091" y="19100"/>
                        <a:pt x="23091" y="19100"/>
                        <a:pt x="23091" y="19100"/>
                      </a:cubicBezTo>
                      <a:cubicBezTo>
                        <a:pt x="24605" y="18477"/>
                        <a:pt x="24605" y="18477"/>
                        <a:pt x="24605" y="18477"/>
                      </a:cubicBezTo>
                      <a:cubicBezTo>
                        <a:pt x="24227" y="18062"/>
                        <a:pt x="24227" y="18062"/>
                        <a:pt x="24227" y="18062"/>
                      </a:cubicBezTo>
                      <a:cubicBezTo>
                        <a:pt x="26119" y="17439"/>
                        <a:pt x="26119" y="17439"/>
                        <a:pt x="26119" y="17439"/>
                      </a:cubicBezTo>
                      <a:cubicBezTo>
                        <a:pt x="27634" y="18062"/>
                        <a:pt x="27634" y="18062"/>
                        <a:pt x="27634" y="18062"/>
                      </a:cubicBezTo>
                      <a:cubicBezTo>
                        <a:pt x="31419" y="18477"/>
                        <a:pt x="31419" y="18477"/>
                        <a:pt x="31419" y="18477"/>
                      </a:cubicBezTo>
                      <a:cubicBezTo>
                        <a:pt x="32933" y="19100"/>
                        <a:pt x="32933" y="19100"/>
                        <a:pt x="32933" y="19100"/>
                      </a:cubicBezTo>
                      <a:cubicBezTo>
                        <a:pt x="32933" y="19100"/>
                        <a:pt x="33312" y="19100"/>
                        <a:pt x="33690" y="18892"/>
                      </a:cubicBezTo>
                      <a:cubicBezTo>
                        <a:pt x="33690" y="18892"/>
                        <a:pt x="33690" y="18892"/>
                        <a:pt x="33690" y="18892"/>
                      </a:cubicBezTo>
                      <a:cubicBezTo>
                        <a:pt x="34069" y="18892"/>
                        <a:pt x="34069" y="18892"/>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477"/>
                        <a:pt x="34447" y="18477"/>
                        <a:pt x="34447" y="18477"/>
                      </a:cubicBezTo>
                      <a:cubicBezTo>
                        <a:pt x="34447" y="18269"/>
                        <a:pt x="34447" y="17024"/>
                        <a:pt x="34447" y="17024"/>
                      </a:cubicBezTo>
                      <a:cubicBezTo>
                        <a:pt x="34447" y="17024"/>
                        <a:pt x="33312" y="16608"/>
                        <a:pt x="34447" y="16193"/>
                      </a:cubicBezTo>
                      <a:cubicBezTo>
                        <a:pt x="35583" y="15570"/>
                        <a:pt x="37097" y="14948"/>
                        <a:pt x="37097" y="14948"/>
                      </a:cubicBezTo>
                      <a:cubicBezTo>
                        <a:pt x="37097" y="14948"/>
                        <a:pt x="37854" y="14740"/>
                        <a:pt x="37854" y="14117"/>
                      </a:cubicBezTo>
                      <a:cubicBezTo>
                        <a:pt x="37854" y="13494"/>
                        <a:pt x="37097" y="11833"/>
                        <a:pt x="37097" y="11833"/>
                      </a:cubicBezTo>
                      <a:cubicBezTo>
                        <a:pt x="37097" y="11833"/>
                        <a:pt x="36340" y="10795"/>
                        <a:pt x="36340" y="10380"/>
                      </a:cubicBezTo>
                      <a:cubicBezTo>
                        <a:pt x="37097" y="7889"/>
                        <a:pt x="35205" y="6020"/>
                        <a:pt x="36340" y="5813"/>
                      </a:cubicBezTo>
                      <a:cubicBezTo>
                        <a:pt x="36340" y="5813"/>
                        <a:pt x="36340" y="5813"/>
                        <a:pt x="36340" y="5813"/>
                      </a:cubicBezTo>
                      <a:cubicBezTo>
                        <a:pt x="37097" y="5605"/>
                        <a:pt x="37097" y="5605"/>
                        <a:pt x="37097" y="5605"/>
                      </a:cubicBezTo>
                      <a:cubicBezTo>
                        <a:pt x="38233" y="5190"/>
                        <a:pt x="38233" y="5190"/>
                        <a:pt x="38233" y="5190"/>
                      </a:cubicBezTo>
                      <a:cubicBezTo>
                        <a:pt x="38233" y="5190"/>
                        <a:pt x="38233" y="4982"/>
                        <a:pt x="38233" y="4982"/>
                      </a:cubicBezTo>
                      <a:cubicBezTo>
                        <a:pt x="38233" y="3944"/>
                        <a:pt x="35962" y="2906"/>
                        <a:pt x="38611" y="2698"/>
                      </a:cubicBezTo>
                      <a:cubicBezTo>
                        <a:pt x="39747" y="2283"/>
                        <a:pt x="39747" y="2283"/>
                        <a:pt x="39747" y="2283"/>
                      </a:cubicBezTo>
                      <a:cubicBezTo>
                        <a:pt x="43154" y="2283"/>
                        <a:pt x="43154" y="2283"/>
                        <a:pt x="43154" y="2283"/>
                      </a:cubicBezTo>
                      <a:cubicBezTo>
                        <a:pt x="43911" y="1038"/>
                        <a:pt x="43911" y="1038"/>
                        <a:pt x="43911" y="1038"/>
                      </a:cubicBezTo>
                      <a:cubicBezTo>
                        <a:pt x="45425" y="207"/>
                        <a:pt x="45425" y="207"/>
                        <a:pt x="45425" y="207"/>
                      </a:cubicBezTo>
                      <a:cubicBezTo>
                        <a:pt x="46561" y="207"/>
                        <a:pt x="48075" y="0"/>
                        <a:pt x="48832" y="207"/>
                      </a:cubicBezTo>
                      <a:cubicBezTo>
                        <a:pt x="49589" y="830"/>
                        <a:pt x="49589" y="1245"/>
                        <a:pt x="51104" y="1453"/>
                      </a:cubicBezTo>
                      <a:cubicBezTo>
                        <a:pt x="55646" y="2283"/>
                        <a:pt x="55646" y="2283"/>
                        <a:pt x="55646" y="2283"/>
                      </a:cubicBezTo>
                      <a:cubicBezTo>
                        <a:pt x="58296" y="2491"/>
                        <a:pt x="58296" y="2491"/>
                        <a:pt x="58296" y="2491"/>
                      </a:cubicBezTo>
                      <a:cubicBezTo>
                        <a:pt x="59053" y="2906"/>
                        <a:pt x="59053" y="2906"/>
                        <a:pt x="59053" y="2906"/>
                      </a:cubicBezTo>
                      <a:cubicBezTo>
                        <a:pt x="59053" y="2906"/>
                        <a:pt x="59053" y="2906"/>
                        <a:pt x="59053" y="2906"/>
                      </a:cubicBezTo>
                      <a:cubicBezTo>
                        <a:pt x="59053" y="3321"/>
                        <a:pt x="59053" y="3737"/>
                        <a:pt x="59432" y="3944"/>
                      </a:cubicBezTo>
                      <a:cubicBezTo>
                        <a:pt x="59432" y="4359"/>
                        <a:pt x="59810" y="4982"/>
                        <a:pt x="59810" y="4982"/>
                      </a:cubicBezTo>
                      <a:cubicBezTo>
                        <a:pt x="59810" y="4982"/>
                        <a:pt x="59432" y="5605"/>
                        <a:pt x="59432" y="6020"/>
                      </a:cubicBezTo>
                      <a:cubicBezTo>
                        <a:pt x="59053" y="6228"/>
                        <a:pt x="59053" y="6851"/>
                        <a:pt x="59053" y="7058"/>
                      </a:cubicBezTo>
                      <a:cubicBezTo>
                        <a:pt x="59053" y="7266"/>
                        <a:pt x="59053" y="7474"/>
                        <a:pt x="59053" y="7681"/>
                      </a:cubicBezTo>
                      <a:cubicBezTo>
                        <a:pt x="59053" y="8096"/>
                        <a:pt x="59432" y="8719"/>
                        <a:pt x="59810" y="8927"/>
                      </a:cubicBezTo>
                      <a:cubicBezTo>
                        <a:pt x="59810" y="9134"/>
                        <a:pt x="61703" y="9757"/>
                        <a:pt x="61703" y="9757"/>
                      </a:cubicBezTo>
                      <a:cubicBezTo>
                        <a:pt x="61703" y="9757"/>
                        <a:pt x="61703" y="9965"/>
                        <a:pt x="59810" y="10795"/>
                      </a:cubicBezTo>
                      <a:cubicBezTo>
                        <a:pt x="58296" y="11833"/>
                        <a:pt x="58296" y="11833"/>
                        <a:pt x="58296" y="11833"/>
                      </a:cubicBezTo>
                      <a:cubicBezTo>
                        <a:pt x="60946" y="12249"/>
                        <a:pt x="60946" y="12249"/>
                        <a:pt x="60946" y="12249"/>
                      </a:cubicBezTo>
                      <a:cubicBezTo>
                        <a:pt x="60946" y="13287"/>
                        <a:pt x="60946" y="13287"/>
                        <a:pt x="60946" y="13287"/>
                      </a:cubicBezTo>
                      <a:cubicBezTo>
                        <a:pt x="60946" y="14117"/>
                        <a:pt x="60946" y="14117"/>
                        <a:pt x="60946" y="14117"/>
                      </a:cubicBezTo>
                      <a:cubicBezTo>
                        <a:pt x="60567" y="15363"/>
                        <a:pt x="60567" y="15363"/>
                        <a:pt x="60567" y="15363"/>
                      </a:cubicBezTo>
                      <a:cubicBezTo>
                        <a:pt x="59432" y="16193"/>
                        <a:pt x="59432" y="16193"/>
                        <a:pt x="59432" y="16193"/>
                      </a:cubicBezTo>
                      <a:cubicBezTo>
                        <a:pt x="60946" y="17439"/>
                        <a:pt x="60946" y="17439"/>
                        <a:pt x="60946" y="17439"/>
                      </a:cubicBezTo>
                      <a:cubicBezTo>
                        <a:pt x="62839" y="19100"/>
                        <a:pt x="62839" y="19100"/>
                        <a:pt x="62839" y="19100"/>
                      </a:cubicBezTo>
                      <a:cubicBezTo>
                        <a:pt x="65488" y="19930"/>
                        <a:pt x="65488" y="19930"/>
                        <a:pt x="65488" y="19930"/>
                      </a:cubicBezTo>
                      <a:cubicBezTo>
                        <a:pt x="65488" y="19930"/>
                        <a:pt x="65867" y="19723"/>
                        <a:pt x="68517" y="19930"/>
                      </a:cubicBezTo>
                      <a:cubicBezTo>
                        <a:pt x="71167" y="20346"/>
                        <a:pt x="71924" y="21591"/>
                        <a:pt x="71924" y="21591"/>
                      </a:cubicBezTo>
                      <a:cubicBezTo>
                        <a:pt x="73438" y="22629"/>
                        <a:pt x="73438" y="22629"/>
                        <a:pt x="73438" y="22629"/>
                      </a:cubicBezTo>
                      <a:cubicBezTo>
                        <a:pt x="75709" y="23460"/>
                        <a:pt x="75709" y="23460"/>
                        <a:pt x="75709" y="23460"/>
                      </a:cubicBezTo>
                      <a:cubicBezTo>
                        <a:pt x="76845" y="24083"/>
                        <a:pt x="76845" y="24083"/>
                        <a:pt x="76845" y="24083"/>
                      </a:cubicBezTo>
                      <a:cubicBezTo>
                        <a:pt x="76466" y="25951"/>
                        <a:pt x="76466" y="25951"/>
                        <a:pt x="76466" y="25951"/>
                      </a:cubicBezTo>
                      <a:cubicBezTo>
                        <a:pt x="76466" y="25951"/>
                        <a:pt x="75331" y="26989"/>
                        <a:pt x="75709" y="27820"/>
                      </a:cubicBezTo>
                      <a:cubicBezTo>
                        <a:pt x="75709" y="28858"/>
                        <a:pt x="74574" y="30311"/>
                        <a:pt x="74574" y="30726"/>
                      </a:cubicBezTo>
                      <a:cubicBezTo>
                        <a:pt x="74574" y="30934"/>
                        <a:pt x="73817" y="32595"/>
                        <a:pt x="73817" y="32595"/>
                      </a:cubicBezTo>
                      <a:cubicBezTo>
                        <a:pt x="74952" y="34048"/>
                        <a:pt x="74952" y="34048"/>
                        <a:pt x="74952" y="34048"/>
                      </a:cubicBezTo>
                      <a:cubicBezTo>
                        <a:pt x="76466" y="34878"/>
                        <a:pt x="76466" y="34878"/>
                        <a:pt x="76466" y="34878"/>
                      </a:cubicBezTo>
                      <a:cubicBezTo>
                        <a:pt x="78738" y="36332"/>
                        <a:pt x="78738" y="36332"/>
                        <a:pt x="78738" y="36332"/>
                      </a:cubicBezTo>
                      <a:cubicBezTo>
                        <a:pt x="81766" y="38200"/>
                        <a:pt x="81766" y="38200"/>
                        <a:pt x="81766" y="38200"/>
                      </a:cubicBezTo>
                      <a:cubicBezTo>
                        <a:pt x="82902" y="39653"/>
                        <a:pt x="82902" y="39653"/>
                        <a:pt x="82902" y="39653"/>
                      </a:cubicBezTo>
                      <a:cubicBezTo>
                        <a:pt x="82902" y="39653"/>
                        <a:pt x="85930" y="40692"/>
                        <a:pt x="85930" y="40899"/>
                      </a:cubicBezTo>
                      <a:cubicBezTo>
                        <a:pt x="85930" y="41107"/>
                        <a:pt x="87066" y="42145"/>
                        <a:pt x="87066" y="42145"/>
                      </a:cubicBezTo>
                      <a:cubicBezTo>
                        <a:pt x="88580" y="43598"/>
                        <a:pt x="88580" y="43598"/>
                        <a:pt x="88580" y="43598"/>
                      </a:cubicBezTo>
                      <a:cubicBezTo>
                        <a:pt x="88201" y="44636"/>
                        <a:pt x="88201" y="44636"/>
                        <a:pt x="88201" y="44636"/>
                      </a:cubicBezTo>
                      <a:cubicBezTo>
                        <a:pt x="87066" y="45674"/>
                        <a:pt x="87066" y="45674"/>
                        <a:pt x="87066" y="45674"/>
                      </a:cubicBezTo>
                      <a:cubicBezTo>
                        <a:pt x="87066" y="46297"/>
                        <a:pt x="87066" y="46297"/>
                        <a:pt x="87066" y="46297"/>
                      </a:cubicBezTo>
                      <a:cubicBezTo>
                        <a:pt x="88201" y="47128"/>
                        <a:pt x="88201" y="47128"/>
                        <a:pt x="88201" y="47128"/>
                      </a:cubicBezTo>
                      <a:cubicBezTo>
                        <a:pt x="87823" y="47958"/>
                        <a:pt x="87823" y="47958"/>
                        <a:pt x="87823" y="47958"/>
                      </a:cubicBezTo>
                      <a:cubicBezTo>
                        <a:pt x="88958" y="49204"/>
                        <a:pt x="88958" y="49204"/>
                        <a:pt x="88958" y="49204"/>
                      </a:cubicBezTo>
                      <a:cubicBezTo>
                        <a:pt x="88201" y="50034"/>
                        <a:pt x="88201" y="50034"/>
                        <a:pt x="88201" y="50034"/>
                      </a:cubicBezTo>
                      <a:cubicBezTo>
                        <a:pt x="90094" y="50449"/>
                        <a:pt x="90094" y="50449"/>
                        <a:pt x="90094" y="50449"/>
                      </a:cubicBezTo>
                      <a:cubicBezTo>
                        <a:pt x="90094" y="50449"/>
                        <a:pt x="90473" y="50657"/>
                        <a:pt x="90094" y="51072"/>
                      </a:cubicBezTo>
                      <a:cubicBezTo>
                        <a:pt x="89716" y="51280"/>
                        <a:pt x="89337" y="52733"/>
                        <a:pt x="89337" y="52733"/>
                      </a:cubicBezTo>
                      <a:cubicBezTo>
                        <a:pt x="91230" y="54394"/>
                        <a:pt x="91230" y="54394"/>
                        <a:pt x="91230" y="54394"/>
                      </a:cubicBezTo>
                      <a:cubicBezTo>
                        <a:pt x="93880" y="54602"/>
                        <a:pt x="93880" y="54602"/>
                        <a:pt x="93880" y="54602"/>
                      </a:cubicBezTo>
                      <a:cubicBezTo>
                        <a:pt x="93880" y="54602"/>
                        <a:pt x="95394" y="54602"/>
                        <a:pt x="95394" y="54809"/>
                      </a:cubicBezTo>
                      <a:cubicBezTo>
                        <a:pt x="95772" y="55017"/>
                        <a:pt x="96151" y="55640"/>
                        <a:pt x="96151" y="55640"/>
                      </a:cubicBezTo>
                      <a:cubicBezTo>
                        <a:pt x="95015" y="56885"/>
                        <a:pt x="95015" y="56885"/>
                        <a:pt x="95015" y="56885"/>
                      </a:cubicBezTo>
                      <a:cubicBezTo>
                        <a:pt x="95015" y="56885"/>
                        <a:pt x="95394" y="57508"/>
                        <a:pt x="96529" y="57923"/>
                      </a:cubicBezTo>
                      <a:cubicBezTo>
                        <a:pt x="97287" y="58131"/>
                        <a:pt x="98044" y="58131"/>
                        <a:pt x="98044" y="58546"/>
                      </a:cubicBezTo>
                      <a:cubicBezTo>
                        <a:pt x="98422" y="58961"/>
                        <a:pt x="98422" y="59584"/>
                        <a:pt x="98801" y="59377"/>
                      </a:cubicBezTo>
                      <a:cubicBezTo>
                        <a:pt x="99558" y="59377"/>
                        <a:pt x="101072" y="59584"/>
                        <a:pt x="101072" y="59584"/>
                      </a:cubicBezTo>
                      <a:cubicBezTo>
                        <a:pt x="102208" y="60622"/>
                        <a:pt x="102208" y="60622"/>
                        <a:pt x="102208" y="60622"/>
                      </a:cubicBezTo>
                      <a:cubicBezTo>
                        <a:pt x="102965" y="61453"/>
                        <a:pt x="102965" y="61453"/>
                        <a:pt x="102965" y="61453"/>
                      </a:cubicBezTo>
                      <a:cubicBezTo>
                        <a:pt x="102965" y="61453"/>
                        <a:pt x="102965" y="62076"/>
                        <a:pt x="102965" y="62283"/>
                      </a:cubicBezTo>
                      <a:cubicBezTo>
                        <a:pt x="102965" y="62698"/>
                        <a:pt x="102586" y="63944"/>
                        <a:pt x="102586" y="63944"/>
                      </a:cubicBezTo>
                      <a:cubicBezTo>
                        <a:pt x="100694" y="65605"/>
                        <a:pt x="100694" y="65605"/>
                        <a:pt x="100694" y="65605"/>
                      </a:cubicBezTo>
                      <a:cubicBezTo>
                        <a:pt x="100694" y="65605"/>
                        <a:pt x="102208" y="66643"/>
                        <a:pt x="103343" y="67058"/>
                      </a:cubicBezTo>
                      <a:cubicBezTo>
                        <a:pt x="104479" y="67474"/>
                        <a:pt x="105993" y="68096"/>
                        <a:pt x="106372" y="68096"/>
                      </a:cubicBezTo>
                      <a:cubicBezTo>
                        <a:pt x="106750" y="68096"/>
                        <a:pt x="108643" y="68304"/>
                        <a:pt x="109400" y="68512"/>
                      </a:cubicBezTo>
                      <a:cubicBezTo>
                        <a:pt x="109779" y="68512"/>
                        <a:pt x="111293" y="68927"/>
                        <a:pt x="111671" y="69134"/>
                      </a:cubicBezTo>
                      <a:cubicBezTo>
                        <a:pt x="112050" y="69342"/>
                        <a:pt x="114700" y="70173"/>
                        <a:pt x="114700" y="70173"/>
                      </a:cubicBezTo>
                      <a:cubicBezTo>
                        <a:pt x="116971" y="70795"/>
                        <a:pt x="116971" y="70795"/>
                        <a:pt x="116971" y="70795"/>
                      </a:cubicBezTo>
                      <a:cubicBezTo>
                        <a:pt x="119242" y="71833"/>
                        <a:pt x="119242" y="71833"/>
                        <a:pt x="119242" y="71833"/>
                      </a:cubicBezTo>
                      <a:cubicBezTo>
                        <a:pt x="120000" y="74325"/>
                        <a:pt x="120000" y="74325"/>
                        <a:pt x="120000" y="74325"/>
                      </a:cubicBezTo>
                      <a:cubicBezTo>
                        <a:pt x="120000" y="74325"/>
                        <a:pt x="119242" y="78062"/>
                        <a:pt x="118864" y="78477"/>
                      </a:cubicBezTo>
                      <a:cubicBezTo>
                        <a:pt x="118864" y="78892"/>
                        <a:pt x="117728" y="80761"/>
                        <a:pt x="117350" y="80968"/>
                      </a:cubicBezTo>
                      <a:cubicBezTo>
                        <a:pt x="116593" y="81176"/>
                        <a:pt x="115835" y="81384"/>
                        <a:pt x="115835" y="81799"/>
                      </a:cubicBezTo>
                      <a:cubicBezTo>
                        <a:pt x="115835" y="82214"/>
                        <a:pt x="114700" y="84498"/>
                        <a:pt x="114700" y="84498"/>
                      </a:cubicBezTo>
                      <a:cubicBezTo>
                        <a:pt x="114700" y="84498"/>
                        <a:pt x="113564" y="85951"/>
                        <a:pt x="113564" y="86366"/>
                      </a:cubicBezTo>
                      <a:cubicBezTo>
                        <a:pt x="113564" y="86782"/>
                        <a:pt x="112429" y="88027"/>
                        <a:pt x="112429" y="88442"/>
                      </a:cubicBezTo>
                      <a:cubicBezTo>
                        <a:pt x="112050" y="88650"/>
                        <a:pt x="111293" y="90311"/>
                        <a:pt x="111293" y="90311"/>
                      </a:cubicBezTo>
                      <a:cubicBezTo>
                        <a:pt x="106372" y="95709"/>
                        <a:pt x="106372" y="95709"/>
                        <a:pt x="106372" y="95709"/>
                      </a:cubicBezTo>
                      <a:cubicBezTo>
                        <a:pt x="105236" y="97785"/>
                        <a:pt x="105236" y="97785"/>
                        <a:pt x="105236" y="97785"/>
                      </a:cubicBezTo>
                      <a:cubicBezTo>
                        <a:pt x="105236" y="97785"/>
                        <a:pt x="104100" y="97993"/>
                        <a:pt x="103722" y="98408"/>
                      </a:cubicBezTo>
                      <a:cubicBezTo>
                        <a:pt x="103343" y="99031"/>
                        <a:pt x="102965" y="99446"/>
                        <a:pt x="102586" y="100069"/>
                      </a:cubicBezTo>
                      <a:cubicBezTo>
                        <a:pt x="102586" y="100484"/>
                        <a:pt x="100694" y="102352"/>
                        <a:pt x="100694" y="102352"/>
                      </a:cubicBezTo>
                      <a:cubicBezTo>
                        <a:pt x="99936" y="103391"/>
                        <a:pt x="99936" y="103391"/>
                        <a:pt x="99936" y="103391"/>
                      </a:cubicBezTo>
                      <a:cubicBezTo>
                        <a:pt x="98422" y="104429"/>
                        <a:pt x="98422" y="104429"/>
                        <a:pt x="98422" y="104429"/>
                      </a:cubicBezTo>
                      <a:cubicBezTo>
                        <a:pt x="98422" y="104429"/>
                        <a:pt x="97287" y="104844"/>
                        <a:pt x="97287" y="104844"/>
                      </a:cubicBezTo>
                      <a:cubicBezTo>
                        <a:pt x="97287" y="104844"/>
                        <a:pt x="96529" y="104844"/>
                        <a:pt x="96529" y="104844"/>
                      </a:cubicBezTo>
                      <a:cubicBezTo>
                        <a:pt x="94637" y="104844"/>
                        <a:pt x="94637" y="104844"/>
                        <a:pt x="94637" y="104844"/>
                      </a:cubicBezTo>
                      <a:cubicBezTo>
                        <a:pt x="93501" y="104429"/>
                        <a:pt x="93501" y="104429"/>
                        <a:pt x="93501" y="104429"/>
                      </a:cubicBezTo>
                      <a:cubicBezTo>
                        <a:pt x="93501" y="104429"/>
                        <a:pt x="92365" y="104844"/>
                        <a:pt x="92365" y="104844"/>
                      </a:cubicBezTo>
                      <a:cubicBezTo>
                        <a:pt x="92365" y="105051"/>
                        <a:pt x="91608" y="105259"/>
                        <a:pt x="91608" y="105467"/>
                      </a:cubicBezTo>
                      <a:cubicBezTo>
                        <a:pt x="91608" y="105467"/>
                        <a:pt x="91230" y="105882"/>
                        <a:pt x="90851" y="105882"/>
                      </a:cubicBezTo>
                      <a:cubicBezTo>
                        <a:pt x="90473" y="106089"/>
                        <a:pt x="90094" y="106297"/>
                        <a:pt x="89716" y="106297"/>
                      </a:cubicBezTo>
                      <a:cubicBezTo>
                        <a:pt x="89716" y="106505"/>
                        <a:pt x="88958" y="106505"/>
                        <a:pt x="88958" y="106505"/>
                      </a:cubicBezTo>
                      <a:cubicBezTo>
                        <a:pt x="88958" y="106505"/>
                        <a:pt x="88958" y="106712"/>
                        <a:pt x="88580" y="106920"/>
                      </a:cubicBezTo>
                      <a:cubicBezTo>
                        <a:pt x="88580" y="106920"/>
                        <a:pt x="87444" y="106920"/>
                        <a:pt x="87066" y="106712"/>
                      </a:cubicBezTo>
                      <a:cubicBezTo>
                        <a:pt x="86687" y="106505"/>
                        <a:pt x="85930" y="106297"/>
                        <a:pt x="86309" y="106297"/>
                      </a:cubicBezTo>
                      <a:cubicBezTo>
                        <a:pt x="86309" y="106505"/>
                        <a:pt x="85930" y="106920"/>
                        <a:pt x="85930" y="106920"/>
                      </a:cubicBezTo>
                      <a:cubicBezTo>
                        <a:pt x="85930" y="107128"/>
                        <a:pt x="85173" y="107750"/>
                        <a:pt x="84794" y="107750"/>
                      </a:cubicBezTo>
                      <a:cubicBezTo>
                        <a:pt x="84416" y="107750"/>
                        <a:pt x="83659" y="107543"/>
                        <a:pt x="83280" y="107335"/>
                      </a:cubicBezTo>
                      <a:cubicBezTo>
                        <a:pt x="82902" y="107335"/>
                        <a:pt x="82523" y="107335"/>
                        <a:pt x="82523" y="107335"/>
                      </a:cubicBezTo>
                      <a:cubicBezTo>
                        <a:pt x="82523" y="107543"/>
                        <a:pt x="82523" y="108166"/>
                        <a:pt x="82523" y="108373"/>
                      </a:cubicBezTo>
                      <a:cubicBezTo>
                        <a:pt x="82523" y="108373"/>
                        <a:pt x="82523" y="108581"/>
                        <a:pt x="82523" y="108788"/>
                      </a:cubicBezTo>
                      <a:cubicBezTo>
                        <a:pt x="82145" y="108788"/>
                        <a:pt x="81388" y="108996"/>
                        <a:pt x="81388" y="108996"/>
                      </a:cubicBezTo>
                      <a:cubicBezTo>
                        <a:pt x="81388" y="108996"/>
                        <a:pt x="81766" y="109411"/>
                        <a:pt x="81388" y="109411"/>
                      </a:cubicBezTo>
                      <a:cubicBezTo>
                        <a:pt x="81009" y="109619"/>
                        <a:pt x="80630" y="109826"/>
                        <a:pt x="80252" y="109826"/>
                      </a:cubicBezTo>
                      <a:cubicBezTo>
                        <a:pt x="80252" y="109619"/>
                        <a:pt x="79495" y="109411"/>
                        <a:pt x="79495" y="109411"/>
                      </a:cubicBezTo>
                      <a:cubicBezTo>
                        <a:pt x="79116" y="109619"/>
                        <a:pt x="78738" y="110034"/>
                        <a:pt x="78738" y="110034"/>
                      </a:cubicBezTo>
                      <a:cubicBezTo>
                        <a:pt x="78738" y="110242"/>
                        <a:pt x="78359" y="110449"/>
                        <a:pt x="78359" y="110449"/>
                      </a:cubicBezTo>
                      <a:cubicBezTo>
                        <a:pt x="78359" y="110449"/>
                        <a:pt x="75709" y="112110"/>
                        <a:pt x="75709" y="112110"/>
                      </a:cubicBezTo>
                      <a:cubicBezTo>
                        <a:pt x="75331" y="112110"/>
                        <a:pt x="74574" y="111487"/>
                        <a:pt x="74574" y="111487"/>
                      </a:cubicBezTo>
                      <a:cubicBezTo>
                        <a:pt x="74574" y="111695"/>
                        <a:pt x="74574" y="112110"/>
                        <a:pt x="74574" y="112110"/>
                      </a:cubicBezTo>
                      <a:cubicBezTo>
                        <a:pt x="74195" y="112318"/>
                        <a:pt x="73438" y="112525"/>
                        <a:pt x="73438" y="112525"/>
                      </a:cubicBezTo>
                      <a:cubicBezTo>
                        <a:pt x="73438" y="112733"/>
                        <a:pt x="73059" y="112525"/>
                        <a:pt x="72681" y="112525"/>
                      </a:cubicBezTo>
                      <a:cubicBezTo>
                        <a:pt x="72681" y="112733"/>
                        <a:pt x="72302" y="112733"/>
                        <a:pt x="72302" y="112941"/>
                      </a:cubicBezTo>
                      <a:cubicBezTo>
                        <a:pt x="72302" y="113148"/>
                        <a:pt x="71924" y="113356"/>
                        <a:pt x="71924" y="113356"/>
                      </a:cubicBezTo>
                      <a:cubicBezTo>
                        <a:pt x="71924" y="113356"/>
                        <a:pt x="71167" y="113564"/>
                        <a:pt x="71167" y="113771"/>
                      </a:cubicBezTo>
                      <a:cubicBezTo>
                        <a:pt x="70788" y="113979"/>
                        <a:pt x="70031" y="114186"/>
                        <a:pt x="70031" y="114186"/>
                      </a:cubicBezTo>
                      <a:cubicBezTo>
                        <a:pt x="70031" y="114186"/>
                        <a:pt x="69652" y="114394"/>
                        <a:pt x="69274" y="114186"/>
                      </a:cubicBezTo>
                      <a:cubicBezTo>
                        <a:pt x="68895" y="114186"/>
                        <a:pt x="68138" y="113564"/>
                        <a:pt x="68138" y="113564"/>
                      </a:cubicBezTo>
                      <a:cubicBezTo>
                        <a:pt x="68138" y="113564"/>
                        <a:pt x="67381" y="113564"/>
                        <a:pt x="67381" y="113771"/>
                      </a:cubicBezTo>
                      <a:cubicBezTo>
                        <a:pt x="67003" y="113979"/>
                        <a:pt x="67003" y="114186"/>
                        <a:pt x="66624" y="114186"/>
                      </a:cubicBezTo>
                      <a:cubicBezTo>
                        <a:pt x="66246" y="114394"/>
                        <a:pt x="65867" y="114394"/>
                        <a:pt x="65488" y="114394"/>
                      </a:cubicBezTo>
                      <a:cubicBezTo>
                        <a:pt x="65110" y="114602"/>
                        <a:pt x="64353" y="114602"/>
                        <a:pt x="64353" y="114809"/>
                      </a:cubicBezTo>
                      <a:cubicBezTo>
                        <a:pt x="63974" y="114809"/>
                        <a:pt x="63596" y="115224"/>
                        <a:pt x="63596" y="115432"/>
                      </a:cubicBezTo>
                      <a:cubicBezTo>
                        <a:pt x="63596" y="115640"/>
                        <a:pt x="64353" y="115640"/>
                        <a:pt x="63596" y="115640"/>
                      </a:cubicBezTo>
                      <a:cubicBezTo>
                        <a:pt x="62839" y="115847"/>
                        <a:pt x="61703" y="115847"/>
                        <a:pt x="61703" y="115847"/>
                      </a:cubicBezTo>
                      <a:cubicBezTo>
                        <a:pt x="61703" y="115847"/>
                        <a:pt x="60946" y="116055"/>
                        <a:pt x="60946" y="116262"/>
                      </a:cubicBezTo>
                      <a:cubicBezTo>
                        <a:pt x="60567" y="116470"/>
                        <a:pt x="60946" y="116470"/>
                        <a:pt x="60189" y="116678"/>
                      </a:cubicBezTo>
                      <a:cubicBezTo>
                        <a:pt x="59810" y="116678"/>
                        <a:pt x="59432" y="116885"/>
                        <a:pt x="59432" y="116885"/>
                      </a:cubicBezTo>
                      <a:cubicBezTo>
                        <a:pt x="58675" y="116470"/>
                        <a:pt x="58675" y="116470"/>
                        <a:pt x="58675" y="116470"/>
                      </a:cubicBezTo>
                      <a:cubicBezTo>
                        <a:pt x="59053" y="116055"/>
                        <a:pt x="59053" y="116055"/>
                        <a:pt x="59053" y="116055"/>
                      </a:cubicBezTo>
                      <a:cubicBezTo>
                        <a:pt x="59053" y="116055"/>
                        <a:pt x="58675" y="115640"/>
                        <a:pt x="58675" y="115847"/>
                      </a:cubicBezTo>
                      <a:cubicBezTo>
                        <a:pt x="58296" y="116262"/>
                        <a:pt x="58675" y="116470"/>
                        <a:pt x="58675" y="116470"/>
                      </a:cubicBezTo>
                      <a:cubicBezTo>
                        <a:pt x="58675" y="116470"/>
                        <a:pt x="58296" y="116470"/>
                        <a:pt x="58296" y="116678"/>
                      </a:cubicBezTo>
                      <a:cubicBezTo>
                        <a:pt x="57917" y="116885"/>
                        <a:pt x="58296" y="116885"/>
                        <a:pt x="57917" y="117093"/>
                      </a:cubicBezTo>
                      <a:cubicBezTo>
                        <a:pt x="57917" y="117301"/>
                        <a:pt x="57539" y="117508"/>
                        <a:pt x="57160" y="117508"/>
                      </a:cubicBezTo>
                      <a:cubicBezTo>
                        <a:pt x="57160" y="117716"/>
                        <a:pt x="56782" y="117716"/>
                        <a:pt x="56403" y="117716"/>
                      </a:cubicBezTo>
                      <a:cubicBezTo>
                        <a:pt x="56403" y="117716"/>
                        <a:pt x="55646" y="117716"/>
                        <a:pt x="55646" y="117716"/>
                      </a:cubicBezTo>
                      <a:cubicBezTo>
                        <a:pt x="55268" y="117716"/>
                        <a:pt x="54889" y="117508"/>
                        <a:pt x="55268" y="117508"/>
                      </a:cubicBezTo>
                      <a:cubicBezTo>
                        <a:pt x="55268" y="117508"/>
                        <a:pt x="56025" y="117301"/>
                        <a:pt x="56025" y="117301"/>
                      </a:cubicBezTo>
                      <a:cubicBezTo>
                        <a:pt x="56025" y="117301"/>
                        <a:pt x="56403" y="117093"/>
                        <a:pt x="56025" y="117093"/>
                      </a:cubicBezTo>
                      <a:cubicBezTo>
                        <a:pt x="55646" y="116885"/>
                        <a:pt x="55268" y="116678"/>
                        <a:pt x="55268" y="116678"/>
                      </a:cubicBezTo>
                      <a:cubicBezTo>
                        <a:pt x="55268" y="116678"/>
                        <a:pt x="55646" y="116885"/>
                        <a:pt x="54511" y="116885"/>
                      </a:cubicBezTo>
                      <a:cubicBezTo>
                        <a:pt x="53753" y="117093"/>
                        <a:pt x="53375" y="117093"/>
                        <a:pt x="53375" y="116885"/>
                      </a:cubicBezTo>
                      <a:cubicBezTo>
                        <a:pt x="53375" y="116885"/>
                        <a:pt x="52618" y="116885"/>
                        <a:pt x="52996" y="116678"/>
                      </a:cubicBezTo>
                      <a:cubicBezTo>
                        <a:pt x="53753" y="116470"/>
                        <a:pt x="53753" y="116262"/>
                        <a:pt x="54132" y="116262"/>
                      </a:cubicBezTo>
                      <a:cubicBezTo>
                        <a:pt x="54511" y="116262"/>
                        <a:pt x="54511" y="115847"/>
                        <a:pt x="54511" y="115640"/>
                      </a:cubicBezTo>
                      <a:cubicBezTo>
                        <a:pt x="54511" y="115640"/>
                        <a:pt x="55268" y="116055"/>
                        <a:pt x="54132" y="115640"/>
                      </a:cubicBezTo>
                      <a:cubicBezTo>
                        <a:pt x="53375" y="115017"/>
                        <a:pt x="53375" y="115017"/>
                        <a:pt x="53375" y="115017"/>
                      </a:cubicBezTo>
                      <a:cubicBezTo>
                        <a:pt x="53375" y="115017"/>
                        <a:pt x="52996" y="115224"/>
                        <a:pt x="52996" y="115432"/>
                      </a:cubicBezTo>
                      <a:cubicBezTo>
                        <a:pt x="53375" y="115640"/>
                        <a:pt x="54132" y="115847"/>
                        <a:pt x="52996" y="116055"/>
                      </a:cubicBezTo>
                      <a:cubicBezTo>
                        <a:pt x="51861" y="116055"/>
                        <a:pt x="51861" y="116055"/>
                        <a:pt x="51861" y="116055"/>
                      </a:cubicBezTo>
                      <a:cubicBezTo>
                        <a:pt x="51482" y="116262"/>
                        <a:pt x="50347" y="116262"/>
                        <a:pt x="50347" y="116262"/>
                      </a:cubicBezTo>
                      <a:cubicBezTo>
                        <a:pt x="50347" y="116262"/>
                        <a:pt x="49589" y="116262"/>
                        <a:pt x="49968" y="116470"/>
                      </a:cubicBezTo>
                      <a:cubicBezTo>
                        <a:pt x="49968" y="116678"/>
                        <a:pt x="50725" y="116885"/>
                        <a:pt x="50725" y="116885"/>
                      </a:cubicBezTo>
                      <a:cubicBezTo>
                        <a:pt x="50725" y="116885"/>
                        <a:pt x="50725" y="117093"/>
                        <a:pt x="49968" y="117093"/>
                      </a:cubicBezTo>
                      <a:cubicBezTo>
                        <a:pt x="49589" y="117301"/>
                        <a:pt x="48832" y="117301"/>
                        <a:pt x="48832" y="117301"/>
                      </a:cubicBezTo>
                      <a:cubicBezTo>
                        <a:pt x="48454" y="117508"/>
                        <a:pt x="48454" y="117508"/>
                        <a:pt x="48454" y="117508"/>
                      </a:cubicBezTo>
                      <a:cubicBezTo>
                        <a:pt x="48454" y="117508"/>
                        <a:pt x="48075" y="117508"/>
                        <a:pt x="48075" y="117301"/>
                      </a:cubicBezTo>
                      <a:cubicBezTo>
                        <a:pt x="48075" y="117301"/>
                        <a:pt x="48454" y="117093"/>
                        <a:pt x="48454" y="116885"/>
                      </a:cubicBezTo>
                      <a:cubicBezTo>
                        <a:pt x="48454" y="116678"/>
                        <a:pt x="48832" y="116885"/>
                        <a:pt x="48454" y="116678"/>
                      </a:cubicBezTo>
                      <a:cubicBezTo>
                        <a:pt x="48075" y="116262"/>
                        <a:pt x="47697" y="116262"/>
                        <a:pt x="47697" y="116055"/>
                      </a:cubicBezTo>
                      <a:cubicBezTo>
                        <a:pt x="48075" y="115847"/>
                        <a:pt x="48832" y="115640"/>
                        <a:pt x="48832" y="115640"/>
                      </a:cubicBezTo>
                      <a:cubicBezTo>
                        <a:pt x="48832" y="115432"/>
                        <a:pt x="48832" y="115224"/>
                        <a:pt x="48832" y="115224"/>
                      </a:cubicBezTo>
                      <a:cubicBezTo>
                        <a:pt x="48832" y="115224"/>
                        <a:pt x="48454" y="115224"/>
                        <a:pt x="48832" y="115017"/>
                      </a:cubicBezTo>
                      <a:cubicBezTo>
                        <a:pt x="49211" y="114602"/>
                        <a:pt x="49589" y="114394"/>
                        <a:pt x="49589" y="114394"/>
                      </a:cubicBezTo>
                      <a:cubicBezTo>
                        <a:pt x="49589" y="114186"/>
                        <a:pt x="49211" y="113979"/>
                        <a:pt x="48832" y="113979"/>
                      </a:cubicBezTo>
                      <a:cubicBezTo>
                        <a:pt x="48832" y="113979"/>
                        <a:pt x="48454" y="114394"/>
                        <a:pt x="48454" y="114602"/>
                      </a:cubicBezTo>
                      <a:cubicBezTo>
                        <a:pt x="48454" y="114602"/>
                        <a:pt x="48832" y="115017"/>
                        <a:pt x="47697" y="114809"/>
                      </a:cubicBezTo>
                      <a:cubicBezTo>
                        <a:pt x="46561" y="114809"/>
                        <a:pt x="45804" y="114809"/>
                        <a:pt x="45425" y="114602"/>
                      </a:cubicBezTo>
                      <a:cubicBezTo>
                        <a:pt x="45425" y="114394"/>
                        <a:pt x="44668" y="114186"/>
                        <a:pt x="45804" y="114186"/>
                      </a:cubicBezTo>
                      <a:cubicBezTo>
                        <a:pt x="46940" y="113979"/>
                        <a:pt x="46940" y="113979"/>
                        <a:pt x="46940" y="113979"/>
                      </a:cubicBezTo>
                      <a:cubicBezTo>
                        <a:pt x="47318" y="113771"/>
                        <a:pt x="47318" y="113564"/>
                        <a:pt x="47318" y="113356"/>
                      </a:cubicBezTo>
                      <a:cubicBezTo>
                        <a:pt x="46940" y="113356"/>
                        <a:pt x="46561" y="112941"/>
                        <a:pt x="46561" y="113148"/>
                      </a:cubicBezTo>
                      <a:cubicBezTo>
                        <a:pt x="46182" y="113564"/>
                        <a:pt x="46182" y="113771"/>
                        <a:pt x="46182" y="113771"/>
                      </a:cubicBezTo>
                      <a:cubicBezTo>
                        <a:pt x="46182" y="113771"/>
                        <a:pt x="44668" y="113771"/>
                        <a:pt x="44668" y="113771"/>
                      </a:cubicBezTo>
                      <a:cubicBezTo>
                        <a:pt x="44668" y="113771"/>
                        <a:pt x="44290" y="113564"/>
                        <a:pt x="44290" y="113356"/>
                      </a:cubicBezTo>
                      <a:cubicBezTo>
                        <a:pt x="44290" y="113356"/>
                        <a:pt x="44668" y="112525"/>
                        <a:pt x="44668" y="112525"/>
                      </a:cubicBezTo>
                      <a:cubicBezTo>
                        <a:pt x="44668" y="112525"/>
                        <a:pt x="45425" y="112318"/>
                        <a:pt x="45047" y="112318"/>
                      </a:cubicBezTo>
                      <a:cubicBezTo>
                        <a:pt x="45047" y="112318"/>
                        <a:pt x="44290" y="112110"/>
                        <a:pt x="44290" y="112318"/>
                      </a:cubicBezTo>
                      <a:cubicBezTo>
                        <a:pt x="43911" y="112318"/>
                        <a:pt x="44290" y="112525"/>
                        <a:pt x="44290" y="112733"/>
                      </a:cubicBezTo>
                      <a:cubicBezTo>
                        <a:pt x="44290" y="112941"/>
                        <a:pt x="44290" y="113148"/>
                        <a:pt x="43911" y="113148"/>
                      </a:cubicBezTo>
                      <a:cubicBezTo>
                        <a:pt x="43533" y="113356"/>
                        <a:pt x="42018" y="113356"/>
                        <a:pt x="42018" y="113356"/>
                      </a:cubicBezTo>
                      <a:cubicBezTo>
                        <a:pt x="42018" y="113148"/>
                        <a:pt x="41640" y="113148"/>
                        <a:pt x="42018" y="112941"/>
                      </a:cubicBezTo>
                      <a:cubicBezTo>
                        <a:pt x="42018" y="112733"/>
                        <a:pt x="42018" y="112525"/>
                        <a:pt x="42018" y="112525"/>
                      </a:cubicBezTo>
                      <a:cubicBezTo>
                        <a:pt x="42018" y="112525"/>
                        <a:pt x="41640" y="112110"/>
                        <a:pt x="41640" y="112318"/>
                      </a:cubicBezTo>
                      <a:cubicBezTo>
                        <a:pt x="41261" y="112318"/>
                        <a:pt x="40883" y="112318"/>
                        <a:pt x="40883" y="112318"/>
                      </a:cubicBezTo>
                      <a:cubicBezTo>
                        <a:pt x="40883" y="111903"/>
                        <a:pt x="40883" y="111903"/>
                        <a:pt x="40883" y="111903"/>
                      </a:cubicBezTo>
                      <a:cubicBezTo>
                        <a:pt x="40126" y="111903"/>
                        <a:pt x="40126" y="111903"/>
                        <a:pt x="40126" y="111903"/>
                      </a:cubicBezTo>
                      <a:cubicBezTo>
                        <a:pt x="39747" y="111903"/>
                        <a:pt x="39747" y="111903"/>
                        <a:pt x="39747" y="111903"/>
                      </a:cubicBezTo>
                      <a:cubicBezTo>
                        <a:pt x="39747" y="111903"/>
                        <a:pt x="39369" y="111695"/>
                        <a:pt x="39369" y="111695"/>
                      </a:cubicBezTo>
                      <a:cubicBezTo>
                        <a:pt x="38990" y="111695"/>
                        <a:pt x="38990" y="111695"/>
                        <a:pt x="38990" y="111903"/>
                      </a:cubicBezTo>
                      <a:cubicBezTo>
                        <a:pt x="38611" y="111903"/>
                        <a:pt x="37476" y="112110"/>
                        <a:pt x="37476" y="112110"/>
                      </a:cubicBezTo>
                      <a:cubicBezTo>
                        <a:pt x="37476" y="112110"/>
                        <a:pt x="37476" y="111695"/>
                        <a:pt x="37097" y="112110"/>
                      </a:cubicBezTo>
                      <a:cubicBezTo>
                        <a:pt x="37097" y="112318"/>
                        <a:pt x="35205" y="112318"/>
                        <a:pt x="35205" y="112318"/>
                      </a:cubicBezTo>
                      <a:cubicBezTo>
                        <a:pt x="35205" y="112318"/>
                        <a:pt x="34826" y="111903"/>
                        <a:pt x="34826" y="111695"/>
                      </a:cubicBezTo>
                      <a:cubicBezTo>
                        <a:pt x="34826" y="111695"/>
                        <a:pt x="35205" y="111072"/>
                        <a:pt x="35205" y="111072"/>
                      </a:cubicBezTo>
                      <a:cubicBezTo>
                        <a:pt x="35583" y="110865"/>
                        <a:pt x="35583" y="110865"/>
                        <a:pt x="35583" y="110865"/>
                      </a:cubicBezTo>
                      <a:cubicBezTo>
                        <a:pt x="35205" y="110657"/>
                        <a:pt x="35205" y="110657"/>
                        <a:pt x="35205" y="110657"/>
                      </a:cubicBezTo>
                      <a:cubicBezTo>
                        <a:pt x="35205" y="110657"/>
                        <a:pt x="34069" y="110657"/>
                        <a:pt x="34447" y="110657"/>
                      </a:cubicBezTo>
                      <a:cubicBezTo>
                        <a:pt x="34447" y="110449"/>
                        <a:pt x="35205" y="110034"/>
                        <a:pt x="35205" y="110034"/>
                      </a:cubicBezTo>
                      <a:cubicBezTo>
                        <a:pt x="35205" y="110034"/>
                        <a:pt x="35583" y="109826"/>
                        <a:pt x="35583" y="109826"/>
                      </a:cubicBezTo>
                      <a:cubicBezTo>
                        <a:pt x="35962" y="109619"/>
                        <a:pt x="36719" y="109619"/>
                        <a:pt x="36340" y="109411"/>
                      </a:cubicBezTo>
                      <a:cubicBezTo>
                        <a:pt x="35962" y="109411"/>
                        <a:pt x="35583" y="109204"/>
                        <a:pt x="35583" y="109204"/>
                      </a:cubicBezTo>
                      <a:cubicBezTo>
                        <a:pt x="35583" y="109204"/>
                        <a:pt x="35205" y="109204"/>
                        <a:pt x="35205" y="108996"/>
                      </a:cubicBezTo>
                      <a:cubicBezTo>
                        <a:pt x="35205" y="108996"/>
                        <a:pt x="35583" y="108581"/>
                        <a:pt x="35583" y="108373"/>
                      </a:cubicBezTo>
                      <a:cubicBezTo>
                        <a:pt x="35583" y="108166"/>
                        <a:pt x="35205" y="107958"/>
                        <a:pt x="35205" y="107958"/>
                      </a:cubicBezTo>
                      <a:cubicBezTo>
                        <a:pt x="34826" y="107958"/>
                        <a:pt x="35205" y="108166"/>
                        <a:pt x="34447" y="108166"/>
                      </a:cubicBezTo>
                      <a:cubicBezTo>
                        <a:pt x="34069" y="108373"/>
                        <a:pt x="32933" y="108788"/>
                        <a:pt x="32933" y="108788"/>
                      </a:cubicBezTo>
                      <a:cubicBezTo>
                        <a:pt x="32933" y="108581"/>
                        <a:pt x="32933" y="108373"/>
                        <a:pt x="32933" y="108166"/>
                      </a:cubicBezTo>
                      <a:cubicBezTo>
                        <a:pt x="33312" y="107958"/>
                        <a:pt x="34447" y="107958"/>
                        <a:pt x="34826" y="107750"/>
                      </a:cubicBezTo>
                      <a:cubicBezTo>
                        <a:pt x="34826" y="107543"/>
                        <a:pt x="34069" y="106920"/>
                        <a:pt x="34069" y="106920"/>
                      </a:cubicBezTo>
                      <a:cubicBezTo>
                        <a:pt x="34069" y="106920"/>
                        <a:pt x="34826" y="107128"/>
                        <a:pt x="34447" y="106712"/>
                      </a:cubicBezTo>
                      <a:cubicBezTo>
                        <a:pt x="33690" y="106505"/>
                        <a:pt x="33690" y="106505"/>
                        <a:pt x="33690" y="106505"/>
                      </a:cubicBezTo>
                      <a:cubicBezTo>
                        <a:pt x="33690" y="106297"/>
                        <a:pt x="33690" y="106089"/>
                        <a:pt x="34069" y="105882"/>
                      </a:cubicBezTo>
                      <a:cubicBezTo>
                        <a:pt x="34447" y="105467"/>
                        <a:pt x="34826" y="105467"/>
                        <a:pt x="34826" y="105259"/>
                      </a:cubicBezTo>
                      <a:cubicBezTo>
                        <a:pt x="34826" y="105259"/>
                        <a:pt x="33690" y="105051"/>
                        <a:pt x="33690" y="104844"/>
                      </a:cubicBezTo>
                      <a:cubicBezTo>
                        <a:pt x="33690" y="104636"/>
                        <a:pt x="32933" y="104636"/>
                        <a:pt x="33690" y="104221"/>
                      </a:cubicBezTo>
                      <a:cubicBezTo>
                        <a:pt x="34069" y="104013"/>
                        <a:pt x="34447" y="104013"/>
                        <a:pt x="34447" y="104013"/>
                      </a:cubicBezTo>
                      <a:cubicBezTo>
                        <a:pt x="34447" y="104013"/>
                        <a:pt x="34447" y="103391"/>
                        <a:pt x="34447" y="103183"/>
                      </a:cubicBezTo>
                      <a:cubicBezTo>
                        <a:pt x="34447" y="102975"/>
                        <a:pt x="34826" y="102975"/>
                        <a:pt x="34826" y="102768"/>
                      </a:cubicBezTo>
                      <a:cubicBezTo>
                        <a:pt x="34447" y="102560"/>
                        <a:pt x="34069" y="102560"/>
                        <a:pt x="33690" y="102145"/>
                      </a:cubicBezTo>
                      <a:cubicBezTo>
                        <a:pt x="33690" y="101937"/>
                        <a:pt x="33690" y="101937"/>
                        <a:pt x="33690" y="101730"/>
                      </a:cubicBezTo>
                      <a:cubicBezTo>
                        <a:pt x="34069" y="101730"/>
                        <a:pt x="34447" y="101522"/>
                        <a:pt x="34069" y="101522"/>
                      </a:cubicBezTo>
                      <a:cubicBezTo>
                        <a:pt x="34069" y="101314"/>
                        <a:pt x="34069" y="101107"/>
                        <a:pt x="34069" y="101107"/>
                      </a:cubicBezTo>
                      <a:cubicBezTo>
                        <a:pt x="34069" y="101107"/>
                        <a:pt x="34069" y="101107"/>
                        <a:pt x="33690" y="100692"/>
                      </a:cubicBezTo>
                      <a:cubicBezTo>
                        <a:pt x="33312" y="100484"/>
                        <a:pt x="33312" y="100069"/>
                        <a:pt x="33312" y="99861"/>
                      </a:cubicBezTo>
                      <a:cubicBezTo>
                        <a:pt x="33312" y="99653"/>
                        <a:pt x="33690" y="98823"/>
                        <a:pt x="33690" y="98823"/>
                      </a:cubicBezTo>
                      <a:cubicBezTo>
                        <a:pt x="33690" y="98823"/>
                        <a:pt x="33690" y="98200"/>
                        <a:pt x="32933" y="97993"/>
                      </a:cubicBezTo>
                      <a:cubicBezTo>
                        <a:pt x="32555" y="97577"/>
                        <a:pt x="31798" y="97370"/>
                        <a:pt x="31798" y="97370"/>
                      </a:cubicBezTo>
                      <a:cubicBezTo>
                        <a:pt x="31798" y="97370"/>
                        <a:pt x="31798" y="96955"/>
                        <a:pt x="31798" y="96747"/>
                      </a:cubicBezTo>
                      <a:cubicBezTo>
                        <a:pt x="31798" y="96747"/>
                        <a:pt x="31041" y="96539"/>
                        <a:pt x="31041" y="96332"/>
                      </a:cubicBezTo>
                      <a:cubicBezTo>
                        <a:pt x="31041" y="96124"/>
                        <a:pt x="30662" y="95709"/>
                        <a:pt x="30662" y="95709"/>
                      </a:cubicBezTo>
                      <a:cubicBezTo>
                        <a:pt x="30662" y="95709"/>
                        <a:pt x="30283" y="95709"/>
                        <a:pt x="30662" y="95294"/>
                      </a:cubicBezTo>
                      <a:cubicBezTo>
                        <a:pt x="30662" y="94671"/>
                        <a:pt x="30662" y="94463"/>
                        <a:pt x="30662" y="94256"/>
                      </a:cubicBezTo>
                      <a:cubicBezTo>
                        <a:pt x="30283" y="94048"/>
                        <a:pt x="29905" y="93633"/>
                        <a:pt x="29905" y="93425"/>
                      </a:cubicBezTo>
                      <a:cubicBezTo>
                        <a:pt x="29905" y="93217"/>
                        <a:pt x="29905" y="92802"/>
                        <a:pt x="29905" y="92802"/>
                      </a:cubicBezTo>
                      <a:cubicBezTo>
                        <a:pt x="29905" y="92802"/>
                        <a:pt x="29905" y="92595"/>
                        <a:pt x="29526" y="92387"/>
                      </a:cubicBezTo>
                      <a:cubicBezTo>
                        <a:pt x="29148" y="92179"/>
                        <a:pt x="28012" y="91141"/>
                        <a:pt x="28012" y="91141"/>
                      </a:cubicBezTo>
                      <a:cubicBezTo>
                        <a:pt x="28012" y="91141"/>
                        <a:pt x="27634" y="91141"/>
                        <a:pt x="27634" y="90726"/>
                      </a:cubicBezTo>
                      <a:cubicBezTo>
                        <a:pt x="27255" y="90311"/>
                        <a:pt x="27255" y="89896"/>
                        <a:pt x="27255" y="89896"/>
                      </a:cubicBezTo>
                      <a:cubicBezTo>
                        <a:pt x="27255" y="89896"/>
                        <a:pt x="27255" y="89273"/>
                        <a:pt x="27255" y="89273"/>
                      </a:cubicBezTo>
                      <a:cubicBezTo>
                        <a:pt x="26119" y="88650"/>
                        <a:pt x="26119" y="88650"/>
                        <a:pt x="26119" y="88650"/>
                      </a:cubicBezTo>
                      <a:cubicBezTo>
                        <a:pt x="26498" y="87820"/>
                        <a:pt x="26498" y="87820"/>
                        <a:pt x="26498" y="87820"/>
                      </a:cubicBezTo>
                      <a:cubicBezTo>
                        <a:pt x="26498" y="86989"/>
                        <a:pt x="26498" y="86989"/>
                        <a:pt x="26498" y="86989"/>
                      </a:cubicBezTo>
                      <a:cubicBezTo>
                        <a:pt x="26498" y="86989"/>
                        <a:pt x="26498" y="85951"/>
                        <a:pt x="26876" y="85951"/>
                      </a:cubicBezTo>
                      <a:cubicBezTo>
                        <a:pt x="27255" y="85951"/>
                        <a:pt x="28012" y="85328"/>
                        <a:pt x="28012" y="85328"/>
                      </a:cubicBezTo>
                      <a:cubicBezTo>
                        <a:pt x="28012" y="85328"/>
                        <a:pt x="28769" y="84705"/>
                        <a:pt x="28391" y="84498"/>
                      </a:cubicBezTo>
                      <a:cubicBezTo>
                        <a:pt x="28391" y="84290"/>
                        <a:pt x="28012" y="83460"/>
                        <a:pt x="28012" y="83460"/>
                      </a:cubicBezTo>
                      <a:cubicBezTo>
                        <a:pt x="28012" y="83460"/>
                        <a:pt x="28769" y="82837"/>
                        <a:pt x="28391" y="82837"/>
                      </a:cubicBezTo>
                      <a:cubicBezTo>
                        <a:pt x="28391" y="82629"/>
                        <a:pt x="27634" y="81799"/>
                        <a:pt x="27634" y="81799"/>
                      </a:cubicBezTo>
                      <a:cubicBezTo>
                        <a:pt x="26498" y="82422"/>
                        <a:pt x="26498" y="82422"/>
                        <a:pt x="26498" y="82422"/>
                      </a:cubicBezTo>
                      <a:cubicBezTo>
                        <a:pt x="25741" y="82214"/>
                        <a:pt x="25741" y="82214"/>
                        <a:pt x="25741" y="82214"/>
                      </a:cubicBezTo>
                      <a:cubicBezTo>
                        <a:pt x="26119" y="81384"/>
                        <a:pt x="26119" y="81384"/>
                        <a:pt x="26119" y="81384"/>
                      </a:cubicBezTo>
                      <a:cubicBezTo>
                        <a:pt x="26119" y="81384"/>
                        <a:pt x="25362" y="80968"/>
                        <a:pt x="25362" y="80761"/>
                      </a:cubicBezTo>
                      <a:cubicBezTo>
                        <a:pt x="25362" y="80553"/>
                        <a:pt x="26119" y="80138"/>
                        <a:pt x="26119" y="80138"/>
                      </a:cubicBezTo>
                      <a:cubicBezTo>
                        <a:pt x="26119" y="80138"/>
                        <a:pt x="26876" y="80968"/>
                        <a:pt x="26876" y="81176"/>
                      </a:cubicBezTo>
                      <a:cubicBezTo>
                        <a:pt x="26876" y="81384"/>
                        <a:pt x="27634" y="81591"/>
                        <a:pt x="27634" y="81591"/>
                      </a:cubicBezTo>
                      <a:cubicBezTo>
                        <a:pt x="28012" y="81384"/>
                        <a:pt x="28012" y="80968"/>
                        <a:pt x="28391" y="80968"/>
                      </a:cubicBezTo>
                      <a:cubicBezTo>
                        <a:pt x="28769" y="80968"/>
                        <a:pt x="29148" y="81176"/>
                        <a:pt x="29148" y="81384"/>
                      </a:cubicBezTo>
                      <a:cubicBezTo>
                        <a:pt x="29148" y="81384"/>
                        <a:pt x="30662" y="81176"/>
                        <a:pt x="30662" y="81176"/>
                      </a:cubicBezTo>
                      <a:cubicBezTo>
                        <a:pt x="30662" y="81176"/>
                        <a:pt x="30283" y="80968"/>
                        <a:pt x="31419" y="80968"/>
                      </a:cubicBezTo>
                      <a:cubicBezTo>
                        <a:pt x="32555" y="81176"/>
                        <a:pt x="32555" y="80968"/>
                        <a:pt x="32555" y="80553"/>
                      </a:cubicBezTo>
                      <a:cubicBezTo>
                        <a:pt x="32555" y="80346"/>
                        <a:pt x="31419" y="79515"/>
                        <a:pt x="32176" y="79515"/>
                      </a:cubicBezTo>
                      <a:cubicBezTo>
                        <a:pt x="33312" y="79515"/>
                        <a:pt x="33690" y="79723"/>
                        <a:pt x="33690" y="79723"/>
                      </a:cubicBezTo>
                      <a:cubicBezTo>
                        <a:pt x="33690" y="79723"/>
                        <a:pt x="33690" y="79930"/>
                        <a:pt x="33690" y="80138"/>
                      </a:cubicBezTo>
                      <a:cubicBezTo>
                        <a:pt x="33690" y="80553"/>
                        <a:pt x="34826" y="80968"/>
                        <a:pt x="34826" y="80553"/>
                      </a:cubicBezTo>
                      <a:cubicBezTo>
                        <a:pt x="35205" y="80138"/>
                        <a:pt x="35205" y="80346"/>
                        <a:pt x="35205" y="79930"/>
                      </a:cubicBezTo>
                      <a:cubicBezTo>
                        <a:pt x="35205" y="79515"/>
                        <a:pt x="34447" y="79515"/>
                        <a:pt x="34069" y="79100"/>
                      </a:cubicBezTo>
                      <a:cubicBezTo>
                        <a:pt x="34069" y="78892"/>
                        <a:pt x="33690" y="79307"/>
                        <a:pt x="33690" y="78685"/>
                      </a:cubicBezTo>
                      <a:cubicBezTo>
                        <a:pt x="34069" y="78062"/>
                        <a:pt x="34069" y="77854"/>
                        <a:pt x="34447" y="77854"/>
                      </a:cubicBezTo>
                      <a:cubicBezTo>
                        <a:pt x="35205" y="77647"/>
                        <a:pt x="34447" y="77854"/>
                        <a:pt x="35205" y="77647"/>
                      </a:cubicBezTo>
                      <a:cubicBezTo>
                        <a:pt x="35962" y="77647"/>
                        <a:pt x="36340" y="77231"/>
                        <a:pt x="35962" y="76608"/>
                      </a:cubicBezTo>
                      <a:cubicBezTo>
                        <a:pt x="35962" y="76193"/>
                        <a:pt x="35583" y="75986"/>
                        <a:pt x="35962" y="75778"/>
                      </a:cubicBezTo>
                      <a:cubicBezTo>
                        <a:pt x="36719" y="75570"/>
                        <a:pt x="36340" y="75363"/>
                        <a:pt x="37097" y="75570"/>
                      </a:cubicBezTo>
                      <a:cubicBezTo>
                        <a:pt x="37854" y="75778"/>
                        <a:pt x="37476" y="75778"/>
                        <a:pt x="38233" y="75778"/>
                      </a:cubicBezTo>
                      <a:cubicBezTo>
                        <a:pt x="38611" y="75570"/>
                        <a:pt x="38611" y="74532"/>
                        <a:pt x="38611" y="74532"/>
                      </a:cubicBezTo>
                      <a:cubicBezTo>
                        <a:pt x="38233" y="74740"/>
                        <a:pt x="37476" y="74325"/>
                        <a:pt x="37476" y="74325"/>
                      </a:cubicBezTo>
                      <a:cubicBezTo>
                        <a:pt x="37097" y="74325"/>
                        <a:pt x="37097" y="73910"/>
                        <a:pt x="37476" y="73702"/>
                      </a:cubicBezTo>
                      <a:cubicBezTo>
                        <a:pt x="37476" y="73702"/>
                        <a:pt x="37476" y="73287"/>
                        <a:pt x="37854" y="73287"/>
                      </a:cubicBezTo>
                      <a:cubicBezTo>
                        <a:pt x="38611" y="73287"/>
                        <a:pt x="38611" y="73494"/>
                        <a:pt x="39369" y="73287"/>
                      </a:cubicBezTo>
                      <a:cubicBezTo>
                        <a:pt x="39747" y="73079"/>
                        <a:pt x="39747" y="73079"/>
                        <a:pt x="40126" y="72871"/>
                      </a:cubicBezTo>
                      <a:cubicBezTo>
                        <a:pt x="40504" y="72664"/>
                        <a:pt x="40883" y="72664"/>
                        <a:pt x="41261" y="72249"/>
                      </a:cubicBezTo>
                      <a:cubicBezTo>
                        <a:pt x="41261" y="72041"/>
                        <a:pt x="41640" y="70795"/>
                        <a:pt x="41640" y="70795"/>
                      </a:cubicBezTo>
                      <a:cubicBezTo>
                        <a:pt x="41261" y="70588"/>
                        <a:pt x="42018" y="70795"/>
                        <a:pt x="42776" y="70588"/>
                      </a:cubicBezTo>
                      <a:cubicBezTo>
                        <a:pt x="43154" y="70380"/>
                        <a:pt x="43533" y="69134"/>
                        <a:pt x="43911" y="68927"/>
                      </a:cubicBezTo>
                      <a:cubicBezTo>
                        <a:pt x="44290" y="68512"/>
                        <a:pt x="45425" y="67681"/>
                        <a:pt x="45425" y="67474"/>
                      </a:cubicBezTo>
                      <a:cubicBezTo>
                        <a:pt x="45425" y="67266"/>
                        <a:pt x="46561" y="65813"/>
                        <a:pt x="46561" y="65813"/>
                      </a:cubicBezTo>
                      <a:cubicBezTo>
                        <a:pt x="48075" y="64359"/>
                        <a:pt x="48075" y="64359"/>
                        <a:pt x="48075" y="64359"/>
                      </a:cubicBezTo>
                      <a:cubicBezTo>
                        <a:pt x="48075" y="64359"/>
                        <a:pt x="48075" y="63944"/>
                        <a:pt x="47697" y="63529"/>
                      </a:cubicBezTo>
                      <a:cubicBezTo>
                        <a:pt x="47697" y="63321"/>
                        <a:pt x="47318" y="62491"/>
                        <a:pt x="47697" y="62283"/>
                      </a:cubicBezTo>
                      <a:cubicBezTo>
                        <a:pt x="48075" y="62283"/>
                        <a:pt x="48454" y="61660"/>
                        <a:pt x="48454" y="61660"/>
                      </a:cubicBezTo>
                      <a:cubicBezTo>
                        <a:pt x="48454" y="60830"/>
                        <a:pt x="48454" y="60830"/>
                        <a:pt x="48454" y="60830"/>
                      </a:cubicBezTo>
                      <a:cubicBezTo>
                        <a:pt x="48454" y="60830"/>
                        <a:pt x="50347" y="60207"/>
                        <a:pt x="50347" y="60207"/>
                      </a:cubicBezTo>
                      <a:cubicBezTo>
                        <a:pt x="52618" y="60000"/>
                        <a:pt x="51104" y="59377"/>
                        <a:pt x="53753" y="60000"/>
                      </a:cubicBezTo>
                      <a:cubicBezTo>
                        <a:pt x="53753" y="60000"/>
                        <a:pt x="55268" y="59792"/>
                        <a:pt x="54889" y="59584"/>
                      </a:cubicBezTo>
                      <a:cubicBezTo>
                        <a:pt x="54889" y="59584"/>
                        <a:pt x="53375" y="58754"/>
                        <a:pt x="53375" y="58754"/>
                      </a:cubicBezTo>
                      <a:cubicBezTo>
                        <a:pt x="54132" y="58131"/>
                        <a:pt x="54132" y="58131"/>
                        <a:pt x="54132" y="58131"/>
                      </a:cubicBezTo>
                      <a:cubicBezTo>
                        <a:pt x="54132" y="58131"/>
                        <a:pt x="55268" y="57716"/>
                        <a:pt x="54132" y="57508"/>
                      </a:cubicBezTo>
                      <a:cubicBezTo>
                        <a:pt x="53375" y="57301"/>
                        <a:pt x="52618" y="57093"/>
                        <a:pt x="52618" y="56885"/>
                      </a:cubicBezTo>
                      <a:cubicBezTo>
                        <a:pt x="52618" y="56885"/>
                        <a:pt x="52239" y="56055"/>
                        <a:pt x="52239" y="55847"/>
                      </a:cubicBezTo>
                      <a:cubicBezTo>
                        <a:pt x="52239" y="55640"/>
                        <a:pt x="51861" y="55017"/>
                        <a:pt x="51861" y="55017"/>
                      </a:cubicBezTo>
                      <a:cubicBezTo>
                        <a:pt x="51861" y="55017"/>
                        <a:pt x="51861" y="54186"/>
                        <a:pt x="51861" y="53979"/>
                      </a:cubicBezTo>
                      <a:cubicBezTo>
                        <a:pt x="51861" y="53771"/>
                        <a:pt x="51482" y="53148"/>
                        <a:pt x="51104" y="52941"/>
                      </a:cubicBezTo>
                      <a:cubicBezTo>
                        <a:pt x="50725" y="52733"/>
                        <a:pt x="49211" y="52110"/>
                        <a:pt x="49211" y="52110"/>
                      </a:cubicBezTo>
                      <a:cubicBezTo>
                        <a:pt x="46561" y="51487"/>
                        <a:pt x="46561" y="51487"/>
                        <a:pt x="46561" y="51487"/>
                      </a:cubicBezTo>
                      <a:cubicBezTo>
                        <a:pt x="45804" y="51903"/>
                        <a:pt x="45804" y="51903"/>
                        <a:pt x="45804" y="51903"/>
                      </a:cubicBezTo>
                      <a:cubicBezTo>
                        <a:pt x="43911" y="50865"/>
                        <a:pt x="43911" y="50865"/>
                        <a:pt x="43911" y="50865"/>
                      </a:cubicBezTo>
                      <a:cubicBezTo>
                        <a:pt x="42397" y="50657"/>
                        <a:pt x="42397" y="50657"/>
                        <a:pt x="42397" y="50657"/>
                      </a:cubicBezTo>
                      <a:cubicBezTo>
                        <a:pt x="40883" y="50657"/>
                        <a:pt x="40883" y="50657"/>
                        <a:pt x="40883" y="50657"/>
                      </a:cubicBezTo>
                      <a:cubicBezTo>
                        <a:pt x="38233" y="47543"/>
                        <a:pt x="38233" y="47543"/>
                        <a:pt x="38233" y="47543"/>
                      </a:cubicBezTo>
                      <a:cubicBezTo>
                        <a:pt x="35962" y="46920"/>
                        <a:pt x="35962" y="46920"/>
                        <a:pt x="35962" y="46920"/>
                      </a:cubicBezTo>
                      <a:cubicBezTo>
                        <a:pt x="34447" y="46089"/>
                        <a:pt x="34447" y="46089"/>
                        <a:pt x="34447" y="46089"/>
                      </a:cubicBezTo>
                      <a:cubicBezTo>
                        <a:pt x="34447" y="45051"/>
                        <a:pt x="34447" y="45051"/>
                        <a:pt x="34447" y="45051"/>
                      </a:cubicBezTo>
                      <a:cubicBezTo>
                        <a:pt x="33312" y="44221"/>
                        <a:pt x="33312" y="44221"/>
                        <a:pt x="33312" y="44221"/>
                      </a:cubicBezTo>
                      <a:cubicBezTo>
                        <a:pt x="33312" y="44221"/>
                        <a:pt x="33690" y="43598"/>
                        <a:pt x="33690" y="43391"/>
                      </a:cubicBezTo>
                      <a:cubicBezTo>
                        <a:pt x="34069" y="43183"/>
                        <a:pt x="34826" y="42145"/>
                        <a:pt x="34826" y="42145"/>
                      </a:cubicBezTo>
                      <a:cubicBezTo>
                        <a:pt x="34826" y="42145"/>
                        <a:pt x="34447" y="41314"/>
                        <a:pt x="34447" y="41107"/>
                      </a:cubicBezTo>
                      <a:cubicBezTo>
                        <a:pt x="34447" y="40899"/>
                        <a:pt x="34826" y="39861"/>
                        <a:pt x="34826" y="39861"/>
                      </a:cubicBezTo>
                      <a:cubicBezTo>
                        <a:pt x="34447" y="38823"/>
                        <a:pt x="34447" y="38823"/>
                        <a:pt x="34447" y="38823"/>
                      </a:cubicBezTo>
                      <a:cubicBezTo>
                        <a:pt x="29905" y="35916"/>
                        <a:pt x="29905" y="35916"/>
                        <a:pt x="29905" y="35916"/>
                      </a:cubicBezTo>
                      <a:cubicBezTo>
                        <a:pt x="30283" y="34671"/>
                        <a:pt x="30283" y="34671"/>
                        <a:pt x="30283" y="34671"/>
                      </a:cubicBezTo>
                      <a:cubicBezTo>
                        <a:pt x="29905" y="34048"/>
                        <a:pt x="29905" y="34048"/>
                        <a:pt x="29905" y="34048"/>
                      </a:cubicBezTo>
                      <a:cubicBezTo>
                        <a:pt x="29526" y="33425"/>
                        <a:pt x="29526" y="33425"/>
                        <a:pt x="29905" y="33010"/>
                      </a:cubicBezTo>
                      <a:cubicBezTo>
                        <a:pt x="29905" y="32802"/>
                        <a:pt x="29905" y="32802"/>
                        <a:pt x="29905" y="32802"/>
                      </a:cubicBezTo>
                      <a:cubicBezTo>
                        <a:pt x="28391" y="33010"/>
                        <a:pt x="28391" y="33010"/>
                        <a:pt x="28391" y="33010"/>
                      </a:cubicBezTo>
                      <a:cubicBezTo>
                        <a:pt x="27255" y="32179"/>
                        <a:pt x="27255" y="32179"/>
                        <a:pt x="27255" y="32179"/>
                      </a:cubicBezTo>
                      <a:cubicBezTo>
                        <a:pt x="27634" y="31141"/>
                        <a:pt x="27634" y="31141"/>
                        <a:pt x="27634" y="31141"/>
                      </a:cubicBezTo>
                      <a:cubicBezTo>
                        <a:pt x="26876" y="28650"/>
                        <a:pt x="26876" y="28650"/>
                        <a:pt x="26876" y="28650"/>
                      </a:cubicBezTo>
                      <a:cubicBezTo>
                        <a:pt x="27634" y="27404"/>
                        <a:pt x="27634" y="27404"/>
                        <a:pt x="27634" y="27404"/>
                      </a:cubicBezTo>
                      <a:cubicBezTo>
                        <a:pt x="25362" y="26782"/>
                        <a:pt x="25362" y="26782"/>
                        <a:pt x="25362" y="26782"/>
                      </a:cubicBezTo>
                      <a:cubicBezTo>
                        <a:pt x="23848" y="25536"/>
                        <a:pt x="23848" y="25536"/>
                        <a:pt x="23848" y="25536"/>
                      </a:cubicBezTo>
                      <a:cubicBezTo>
                        <a:pt x="23848" y="25536"/>
                        <a:pt x="23470" y="25951"/>
                        <a:pt x="23091" y="25743"/>
                      </a:cubicBezTo>
                      <a:cubicBezTo>
                        <a:pt x="22712" y="25536"/>
                        <a:pt x="20820" y="23875"/>
                        <a:pt x="20820" y="23875"/>
                      </a:cubicBezTo>
                      <a:cubicBezTo>
                        <a:pt x="17413" y="23252"/>
                        <a:pt x="17413" y="23252"/>
                        <a:pt x="17413" y="23252"/>
                      </a:cubicBezTo>
                      <a:cubicBezTo>
                        <a:pt x="15899" y="22837"/>
                        <a:pt x="15899" y="22837"/>
                        <a:pt x="15899" y="22837"/>
                      </a:cubicBezTo>
                      <a:cubicBezTo>
                        <a:pt x="14006" y="22629"/>
                        <a:pt x="14006" y="22629"/>
                        <a:pt x="14006" y="22629"/>
                      </a:cubicBezTo>
                      <a:cubicBezTo>
                        <a:pt x="14006" y="22629"/>
                        <a:pt x="13627" y="23044"/>
                        <a:pt x="13249" y="22629"/>
                      </a:cubicBezTo>
                      <a:cubicBezTo>
                        <a:pt x="12870" y="22214"/>
                        <a:pt x="12113" y="21799"/>
                        <a:pt x="12113" y="21799"/>
                      </a:cubicBezTo>
                      <a:cubicBezTo>
                        <a:pt x="10599" y="22006"/>
                        <a:pt x="10599" y="22006"/>
                        <a:pt x="10599" y="22006"/>
                      </a:cubicBezTo>
                      <a:cubicBezTo>
                        <a:pt x="9463" y="21176"/>
                        <a:pt x="9463" y="21176"/>
                        <a:pt x="9463" y="21176"/>
                      </a:cubicBezTo>
                      <a:cubicBezTo>
                        <a:pt x="9463" y="21176"/>
                        <a:pt x="9085" y="21176"/>
                        <a:pt x="8706" y="21176"/>
                      </a:cubicBezTo>
                      <a:cubicBezTo>
                        <a:pt x="8328" y="20968"/>
                        <a:pt x="7570" y="20761"/>
                        <a:pt x="7570" y="20761"/>
                      </a:cubicBezTo>
                      <a:close/>
                      <a:moveTo>
                        <a:pt x="53753" y="117923"/>
                      </a:moveTo>
                      <a:cubicBezTo>
                        <a:pt x="53753" y="117923"/>
                        <a:pt x="53753" y="117923"/>
                        <a:pt x="53753" y="117923"/>
                      </a:cubicBezTo>
                      <a:cubicBezTo>
                        <a:pt x="53753" y="117923"/>
                        <a:pt x="53753" y="118131"/>
                        <a:pt x="53753" y="118339"/>
                      </a:cubicBezTo>
                      <a:cubicBezTo>
                        <a:pt x="53753" y="118339"/>
                        <a:pt x="54132" y="118546"/>
                        <a:pt x="54511" y="118546"/>
                      </a:cubicBezTo>
                      <a:cubicBezTo>
                        <a:pt x="54511" y="118546"/>
                        <a:pt x="55268" y="118339"/>
                        <a:pt x="55646" y="118131"/>
                      </a:cubicBezTo>
                      <a:cubicBezTo>
                        <a:pt x="56403" y="117923"/>
                        <a:pt x="55646" y="118131"/>
                        <a:pt x="55646" y="118131"/>
                      </a:cubicBezTo>
                      <a:cubicBezTo>
                        <a:pt x="54889" y="117716"/>
                        <a:pt x="54889" y="117716"/>
                        <a:pt x="54889" y="117716"/>
                      </a:cubicBezTo>
                      <a:cubicBezTo>
                        <a:pt x="54889" y="117716"/>
                        <a:pt x="54132" y="117923"/>
                        <a:pt x="53753" y="117923"/>
                      </a:cubicBezTo>
                      <a:close/>
                      <a:moveTo>
                        <a:pt x="48832" y="117923"/>
                      </a:moveTo>
                      <a:cubicBezTo>
                        <a:pt x="48832" y="117923"/>
                        <a:pt x="48832" y="117923"/>
                        <a:pt x="48832" y="117923"/>
                      </a:cubicBezTo>
                      <a:cubicBezTo>
                        <a:pt x="48832" y="117923"/>
                        <a:pt x="48832" y="118339"/>
                        <a:pt x="48832" y="118339"/>
                      </a:cubicBezTo>
                      <a:cubicBezTo>
                        <a:pt x="48832" y="118546"/>
                        <a:pt x="49211" y="118546"/>
                        <a:pt x="49589" y="118339"/>
                      </a:cubicBezTo>
                      <a:cubicBezTo>
                        <a:pt x="49589" y="118339"/>
                        <a:pt x="49968" y="118339"/>
                        <a:pt x="50347" y="118131"/>
                      </a:cubicBezTo>
                      <a:cubicBezTo>
                        <a:pt x="50725" y="117923"/>
                        <a:pt x="50347" y="117716"/>
                        <a:pt x="49968" y="117716"/>
                      </a:cubicBezTo>
                      <a:cubicBezTo>
                        <a:pt x="49968" y="117508"/>
                        <a:pt x="49589" y="117716"/>
                        <a:pt x="49589" y="117716"/>
                      </a:cubicBezTo>
                      <a:cubicBezTo>
                        <a:pt x="49211" y="117716"/>
                        <a:pt x="48832" y="117923"/>
                        <a:pt x="48832" y="117923"/>
                      </a:cubicBezTo>
                      <a:close/>
                      <a:moveTo>
                        <a:pt x="39747" y="115432"/>
                      </a:moveTo>
                      <a:cubicBezTo>
                        <a:pt x="39747" y="115432"/>
                        <a:pt x="39747" y="115432"/>
                        <a:pt x="39747" y="115432"/>
                      </a:cubicBezTo>
                      <a:cubicBezTo>
                        <a:pt x="39369" y="115640"/>
                        <a:pt x="39369" y="115640"/>
                        <a:pt x="39369" y="115640"/>
                      </a:cubicBezTo>
                      <a:cubicBezTo>
                        <a:pt x="39369" y="115640"/>
                        <a:pt x="38990" y="115847"/>
                        <a:pt x="39369" y="116055"/>
                      </a:cubicBezTo>
                      <a:cubicBezTo>
                        <a:pt x="39369" y="116470"/>
                        <a:pt x="39747" y="116470"/>
                        <a:pt x="39747" y="116470"/>
                      </a:cubicBezTo>
                      <a:cubicBezTo>
                        <a:pt x="39747" y="116470"/>
                        <a:pt x="40126" y="116262"/>
                        <a:pt x="40883" y="116262"/>
                      </a:cubicBezTo>
                      <a:cubicBezTo>
                        <a:pt x="41261" y="116262"/>
                        <a:pt x="42018" y="115847"/>
                        <a:pt x="42018" y="115640"/>
                      </a:cubicBezTo>
                      <a:cubicBezTo>
                        <a:pt x="42397" y="115640"/>
                        <a:pt x="42397" y="115224"/>
                        <a:pt x="42776" y="115224"/>
                      </a:cubicBezTo>
                      <a:cubicBezTo>
                        <a:pt x="43154" y="115224"/>
                        <a:pt x="44290" y="115432"/>
                        <a:pt x="44668" y="115432"/>
                      </a:cubicBezTo>
                      <a:cubicBezTo>
                        <a:pt x="45047" y="115432"/>
                        <a:pt x="44290" y="114809"/>
                        <a:pt x="44290" y="114809"/>
                      </a:cubicBezTo>
                      <a:cubicBezTo>
                        <a:pt x="44290" y="114602"/>
                        <a:pt x="43154" y="114809"/>
                        <a:pt x="43154" y="114809"/>
                      </a:cubicBezTo>
                      <a:cubicBezTo>
                        <a:pt x="43154" y="114809"/>
                        <a:pt x="42397" y="114809"/>
                        <a:pt x="42018" y="114602"/>
                      </a:cubicBezTo>
                      <a:cubicBezTo>
                        <a:pt x="41640" y="114602"/>
                        <a:pt x="41640" y="114602"/>
                        <a:pt x="41640" y="114602"/>
                      </a:cubicBezTo>
                      <a:cubicBezTo>
                        <a:pt x="41261" y="114809"/>
                        <a:pt x="41261" y="115017"/>
                        <a:pt x="40883" y="115224"/>
                      </a:cubicBezTo>
                      <a:cubicBezTo>
                        <a:pt x="40504" y="115432"/>
                        <a:pt x="40504" y="115224"/>
                        <a:pt x="40504" y="115017"/>
                      </a:cubicBezTo>
                      <a:cubicBezTo>
                        <a:pt x="40504" y="115017"/>
                        <a:pt x="39747" y="114809"/>
                        <a:pt x="39369" y="115017"/>
                      </a:cubicBezTo>
                      <a:cubicBezTo>
                        <a:pt x="39369" y="115017"/>
                        <a:pt x="39747" y="115224"/>
                        <a:pt x="39747" y="115432"/>
                      </a:cubicBezTo>
                      <a:close/>
                      <a:moveTo>
                        <a:pt x="36719" y="115432"/>
                      </a:moveTo>
                      <a:cubicBezTo>
                        <a:pt x="36719" y="115432"/>
                        <a:pt x="36719" y="115432"/>
                        <a:pt x="36719" y="115432"/>
                      </a:cubicBezTo>
                      <a:cubicBezTo>
                        <a:pt x="36719" y="115432"/>
                        <a:pt x="37476" y="115640"/>
                        <a:pt x="38233" y="115640"/>
                      </a:cubicBezTo>
                      <a:cubicBezTo>
                        <a:pt x="38611" y="115640"/>
                        <a:pt x="38233" y="115432"/>
                        <a:pt x="38611" y="115224"/>
                      </a:cubicBezTo>
                      <a:cubicBezTo>
                        <a:pt x="38611" y="115017"/>
                        <a:pt x="38233" y="115224"/>
                        <a:pt x="37854" y="115017"/>
                      </a:cubicBezTo>
                      <a:cubicBezTo>
                        <a:pt x="37476" y="115017"/>
                        <a:pt x="37476" y="115017"/>
                        <a:pt x="37097" y="115017"/>
                      </a:cubicBezTo>
                      <a:cubicBezTo>
                        <a:pt x="36340" y="115017"/>
                        <a:pt x="36719" y="115432"/>
                        <a:pt x="36719" y="115432"/>
                      </a:cubicBezTo>
                      <a:close/>
                      <a:moveTo>
                        <a:pt x="33312" y="113148"/>
                      </a:moveTo>
                      <a:cubicBezTo>
                        <a:pt x="33312" y="113148"/>
                        <a:pt x="33312" y="113148"/>
                        <a:pt x="33312" y="113148"/>
                      </a:cubicBezTo>
                      <a:cubicBezTo>
                        <a:pt x="32933" y="114186"/>
                        <a:pt x="34826" y="113564"/>
                        <a:pt x="34826" y="112941"/>
                      </a:cubicBezTo>
                      <a:cubicBezTo>
                        <a:pt x="34447" y="112525"/>
                        <a:pt x="34826" y="112525"/>
                        <a:pt x="34069" y="112110"/>
                      </a:cubicBezTo>
                      <a:cubicBezTo>
                        <a:pt x="33690" y="111487"/>
                        <a:pt x="33690" y="112110"/>
                        <a:pt x="33312" y="112318"/>
                      </a:cubicBezTo>
                      <a:cubicBezTo>
                        <a:pt x="32933" y="112733"/>
                        <a:pt x="33690" y="112733"/>
                        <a:pt x="33690" y="112941"/>
                      </a:cubicBezTo>
                      <a:cubicBezTo>
                        <a:pt x="33690" y="113148"/>
                        <a:pt x="33312" y="112941"/>
                        <a:pt x="33312" y="113148"/>
                      </a:cubicBezTo>
                      <a:close/>
                      <a:moveTo>
                        <a:pt x="30283" y="115640"/>
                      </a:moveTo>
                      <a:cubicBezTo>
                        <a:pt x="30283" y="115640"/>
                        <a:pt x="30283" y="115640"/>
                        <a:pt x="30283" y="115640"/>
                      </a:cubicBezTo>
                      <a:cubicBezTo>
                        <a:pt x="30283" y="115640"/>
                        <a:pt x="29905" y="115847"/>
                        <a:pt x="30283" y="116262"/>
                      </a:cubicBezTo>
                      <a:cubicBezTo>
                        <a:pt x="30283" y="116470"/>
                        <a:pt x="30283" y="116262"/>
                        <a:pt x="31419" y="115847"/>
                      </a:cubicBezTo>
                      <a:cubicBezTo>
                        <a:pt x="32176" y="115432"/>
                        <a:pt x="31041" y="115640"/>
                        <a:pt x="31041" y="115640"/>
                      </a:cubicBezTo>
                      <a:cubicBezTo>
                        <a:pt x="31041" y="115432"/>
                        <a:pt x="30662" y="115640"/>
                        <a:pt x="30283" y="115640"/>
                      </a:cubicBezTo>
                      <a:close/>
                      <a:moveTo>
                        <a:pt x="30283" y="116885"/>
                      </a:moveTo>
                      <a:cubicBezTo>
                        <a:pt x="30283" y="116885"/>
                        <a:pt x="30283" y="116885"/>
                        <a:pt x="30283" y="116885"/>
                      </a:cubicBezTo>
                      <a:cubicBezTo>
                        <a:pt x="30283" y="116885"/>
                        <a:pt x="30283" y="117301"/>
                        <a:pt x="30662" y="117301"/>
                      </a:cubicBezTo>
                      <a:cubicBezTo>
                        <a:pt x="31041" y="117301"/>
                        <a:pt x="31041" y="117093"/>
                        <a:pt x="31419" y="116885"/>
                      </a:cubicBezTo>
                      <a:cubicBezTo>
                        <a:pt x="31419" y="116678"/>
                        <a:pt x="31041" y="116678"/>
                        <a:pt x="31041" y="116470"/>
                      </a:cubicBezTo>
                      <a:cubicBezTo>
                        <a:pt x="30662" y="116470"/>
                        <a:pt x="30283" y="116678"/>
                        <a:pt x="30283" y="116885"/>
                      </a:cubicBezTo>
                      <a:close/>
                      <a:moveTo>
                        <a:pt x="29148" y="117923"/>
                      </a:moveTo>
                      <a:cubicBezTo>
                        <a:pt x="29148" y="117923"/>
                        <a:pt x="29148" y="117923"/>
                        <a:pt x="29148" y="117923"/>
                      </a:cubicBezTo>
                      <a:cubicBezTo>
                        <a:pt x="28391" y="117923"/>
                        <a:pt x="28391" y="117923"/>
                        <a:pt x="28391" y="117923"/>
                      </a:cubicBezTo>
                      <a:cubicBezTo>
                        <a:pt x="28391" y="117923"/>
                        <a:pt x="28391" y="117923"/>
                        <a:pt x="27255" y="118339"/>
                      </a:cubicBezTo>
                      <a:cubicBezTo>
                        <a:pt x="26119" y="118546"/>
                        <a:pt x="26876" y="118754"/>
                        <a:pt x="26876" y="118961"/>
                      </a:cubicBezTo>
                      <a:cubicBezTo>
                        <a:pt x="26876" y="119377"/>
                        <a:pt x="28012" y="118961"/>
                        <a:pt x="28769" y="118754"/>
                      </a:cubicBezTo>
                      <a:cubicBezTo>
                        <a:pt x="29148" y="118754"/>
                        <a:pt x="28769" y="118546"/>
                        <a:pt x="29148" y="118546"/>
                      </a:cubicBezTo>
                      <a:cubicBezTo>
                        <a:pt x="29148" y="118546"/>
                        <a:pt x="29148" y="118546"/>
                        <a:pt x="29905" y="118339"/>
                      </a:cubicBezTo>
                      <a:cubicBezTo>
                        <a:pt x="30662" y="118131"/>
                        <a:pt x="30283" y="118131"/>
                        <a:pt x="30283" y="117923"/>
                      </a:cubicBezTo>
                      <a:cubicBezTo>
                        <a:pt x="30283" y="117923"/>
                        <a:pt x="29526" y="117716"/>
                        <a:pt x="29148" y="117923"/>
                      </a:cubicBezTo>
                      <a:close/>
                      <a:moveTo>
                        <a:pt x="19305" y="118961"/>
                      </a:moveTo>
                      <a:cubicBezTo>
                        <a:pt x="19305" y="118961"/>
                        <a:pt x="19305" y="118961"/>
                        <a:pt x="19305" y="118961"/>
                      </a:cubicBezTo>
                      <a:cubicBezTo>
                        <a:pt x="19684" y="118961"/>
                        <a:pt x="20063" y="118754"/>
                        <a:pt x="20441" y="118961"/>
                      </a:cubicBezTo>
                      <a:cubicBezTo>
                        <a:pt x="20820" y="119169"/>
                        <a:pt x="20441" y="119584"/>
                        <a:pt x="20441" y="119584"/>
                      </a:cubicBezTo>
                      <a:cubicBezTo>
                        <a:pt x="20063" y="119792"/>
                        <a:pt x="19684" y="120000"/>
                        <a:pt x="19305" y="120000"/>
                      </a:cubicBezTo>
                      <a:cubicBezTo>
                        <a:pt x="18927" y="120000"/>
                        <a:pt x="18548" y="120000"/>
                        <a:pt x="18170" y="119792"/>
                      </a:cubicBezTo>
                      <a:cubicBezTo>
                        <a:pt x="18170" y="119584"/>
                        <a:pt x="18170" y="118961"/>
                        <a:pt x="18170" y="118961"/>
                      </a:cubicBezTo>
                      <a:cubicBezTo>
                        <a:pt x="18548" y="118961"/>
                        <a:pt x="19305" y="118961"/>
                        <a:pt x="19305" y="118961"/>
                      </a:cubicBezTo>
                      <a:close/>
                      <a:moveTo>
                        <a:pt x="22334" y="115847"/>
                      </a:moveTo>
                      <a:cubicBezTo>
                        <a:pt x="22334" y="115847"/>
                        <a:pt x="22334" y="115847"/>
                        <a:pt x="22334" y="115847"/>
                      </a:cubicBezTo>
                      <a:cubicBezTo>
                        <a:pt x="22334" y="115847"/>
                        <a:pt x="22334" y="115847"/>
                        <a:pt x="22334" y="115847"/>
                      </a:cubicBezTo>
                      <a:cubicBezTo>
                        <a:pt x="22334" y="115847"/>
                        <a:pt x="22334" y="116262"/>
                        <a:pt x="21955" y="116262"/>
                      </a:cubicBezTo>
                      <a:cubicBezTo>
                        <a:pt x="21198" y="116470"/>
                        <a:pt x="21577" y="115847"/>
                        <a:pt x="21577" y="115640"/>
                      </a:cubicBezTo>
                      <a:cubicBezTo>
                        <a:pt x="21577" y="115432"/>
                        <a:pt x="20063" y="115847"/>
                        <a:pt x="20063" y="115847"/>
                      </a:cubicBezTo>
                      <a:cubicBezTo>
                        <a:pt x="20063" y="115847"/>
                        <a:pt x="20063" y="116470"/>
                        <a:pt x="19684" y="116678"/>
                      </a:cubicBezTo>
                      <a:cubicBezTo>
                        <a:pt x="19305" y="116678"/>
                        <a:pt x="19305" y="116678"/>
                        <a:pt x="18927" y="116885"/>
                      </a:cubicBezTo>
                      <a:cubicBezTo>
                        <a:pt x="18548" y="117093"/>
                        <a:pt x="18548" y="117508"/>
                        <a:pt x="18548" y="117508"/>
                      </a:cubicBezTo>
                      <a:cubicBezTo>
                        <a:pt x="18927" y="117716"/>
                        <a:pt x="19684" y="117716"/>
                        <a:pt x="19684" y="117716"/>
                      </a:cubicBezTo>
                      <a:cubicBezTo>
                        <a:pt x="20063" y="117716"/>
                        <a:pt x="20063" y="117716"/>
                        <a:pt x="21198" y="118131"/>
                      </a:cubicBezTo>
                      <a:cubicBezTo>
                        <a:pt x="22712" y="118339"/>
                        <a:pt x="21577" y="118131"/>
                        <a:pt x="22712" y="118131"/>
                      </a:cubicBezTo>
                      <a:cubicBezTo>
                        <a:pt x="23470" y="118131"/>
                        <a:pt x="23091" y="118339"/>
                        <a:pt x="23470" y="118339"/>
                      </a:cubicBezTo>
                      <a:cubicBezTo>
                        <a:pt x="23848" y="118339"/>
                        <a:pt x="24227" y="118754"/>
                        <a:pt x="24605" y="118961"/>
                      </a:cubicBezTo>
                      <a:cubicBezTo>
                        <a:pt x="25362" y="119169"/>
                        <a:pt x="25741" y="118754"/>
                        <a:pt x="26119" y="118754"/>
                      </a:cubicBezTo>
                      <a:cubicBezTo>
                        <a:pt x="26119" y="118546"/>
                        <a:pt x="26876" y="117923"/>
                        <a:pt x="26876" y="117923"/>
                      </a:cubicBezTo>
                      <a:cubicBezTo>
                        <a:pt x="26876" y="117923"/>
                        <a:pt x="24605" y="117508"/>
                        <a:pt x="24605" y="117508"/>
                      </a:cubicBezTo>
                      <a:cubicBezTo>
                        <a:pt x="24227" y="117508"/>
                        <a:pt x="23848" y="116885"/>
                        <a:pt x="24605" y="116885"/>
                      </a:cubicBezTo>
                      <a:cubicBezTo>
                        <a:pt x="24984" y="116885"/>
                        <a:pt x="24984" y="117093"/>
                        <a:pt x="25362" y="117301"/>
                      </a:cubicBezTo>
                      <a:cubicBezTo>
                        <a:pt x="25362" y="117508"/>
                        <a:pt x="25741" y="117508"/>
                        <a:pt x="26119" y="117508"/>
                      </a:cubicBezTo>
                      <a:cubicBezTo>
                        <a:pt x="26498" y="117508"/>
                        <a:pt x="26876" y="117301"/>
                        <a:pt x="26876" y="117093"/>
                      </a:cubicBezTo>
                      <a:cubicBezTo>
                        <a:pt x="26876" y="116885"/>
                        <a:pt x="26498" y="117093"/>
                        <a:pt x="25741" y="116470"/>
                      </a:cubicBezTo>
                      <a:cubicBezTo>
                        <a:pt x="24605" y="115847"/>
                        <a:pt x="25741" y="116055"/>
                        <a:pt x="26119" y="116055"/>
                      </a:cubicBezTo>
                      <a:cubicBezTo>
                        <a:pt x="26119" y="115847"/>
                        <a:pt x="26876" y="115432"/>
                        <a:pt x="26876" y="115432"/>
                      </a:cubicBezTo>
                      <a:cubicBezTo>
                        <a:pt x="27255" y="115224"/>
                        <a:pt x="26119" y="115224"/>
                        <a:pt x="25741" y="115017"/>
                      </a:cubicBezTo>
                      <a:cubicBezTo>
                        <a:pt x="25362" y="115017"/>
                        <a:pt x="25362" y="115017"/>
                        <a:pt x="25362" y="115017"/>
                      </a:cubicBezTo>
                      <a:cubicBezTo>
                        <a:pt x="25362" y="115224"/>
                        <a:pt x="24227" y="115017"/>
                        <a:pt x="23848" y="114809"/>
                      </a:cubicBezTo>
                      <a:cubicBezTo>
                        <a:pt x="23848" y="114809"/>
                        <a:pt x="23848" y="114394"/>
                        <a:pt x="23470" y="114186"/>
                      </a:cubicBezTo>
                      <a:cubicBezTo>
                        <a:pt x="23470" y="114186"/>
                        <a:pt x="22712" y="114186"/>
                        <a:pt x="21955" y="114186"/>
                      </a:cubicBezTo>
                      <a:cubicBezTo>
                        <a:pt x="21198" y="114186"/>
                        <a:pt x="21577" y="114809"/>
                        <a:pt x="21577" y="114809"/>
                      </a:cubicBezTo>
                      <a:cubicBezTo>
                        <a:pt x="21577" y="114809"/>
                        <a:pt x="21955" y="115224"/>
                        <a:pt x="22334" y="115432"/>
                      </a:cubicBezTo>
                      <a:cubicBezTo>
                        <a:pt x="22334" y="115432"/>
                        <a:pt x="22334" y="115847"/>
                        <a:pt x="22334" y="115847"/>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defTabSz="457200"/>
                  <a:endParaRPr lang="it-IT" kern="0" dirty="0">
                    <a:solidFill>
                      <a:srgbClr val="7F7F7F"/>
                    </a:solidFill>
                    <a:latin typeface="Calibri" panose="020F0502020204030204" pitchFamily="34" charset="0"/>
                    <a:ea typeface="Source Sans Pro"/>
                    <a:cs typeface="Calibri" panose="020F0502020204030204" pitchFamily="34" charset="0"/>
                    <a:sym typeface="Source Sans Pro"/>
                  </a:endParaRPr>
                </a:p>
              </p:txBody>
            </p:sp>
          </p:grpSp>
          <p:sp>
            <p:nvSpPr>
              <p:cNvPr id="112" name="Freeform: Shape 62"/>
              <p:cNvSpPr/>
              <p:nvPr/>
            </p:nvSpPr>
            <p:spPr>
              <a:xfrm>
                <a:off x="7753350" y="3019425"/>
                <a:ext cx="629306" cy="2328863"/>
              </a:xfrm>
              <a:custGeom>
                <a:avLst/>
                <a:gdLst>
                  <a:gd name="connsiteX0" fmla="*/ 95250 w 629306"/>
                  <a:gd name="connsiteY0" fmla="*/ 0 h 2328863"/>
                  <a:gd name="connsiteX1" fmla="*/ 628650 w 629306"/>
                  <a:gd name="connsiteY1" fmla="*/ 966788 h 2328863"/>
                  <a:gd name="connsiteX2" fmla="*/ 0 w 629306"/>
                  <a:gd name="connsiteY2" fmla="*/ 2328863 h 2328863"/>
                </a:gdLst>
                <a:ahLst/>
                <a:cxnLst>
                  <a:cxn ang="0">
                    <a:pos x="connsiteX0" y="connsiteY0"/>
                  </a:cxn>
                  <a:cxn ang="0">
                    <a:pos x="connsiteX1" y="connsiteY1"/>
                  </a:cxn>
                  <a:cxn ang="0">
                    <a:pos x="connsiteX2" y="connsiteY2"/>
                  </a:cxn>
                </a:cxnLst>
                <a:rect l="l" t="t" r="r" b="b"/>
                <a:pathLst>
                  <a:path w="629306" h="2328863">
                    <a:moveTo>
                      <a:pt x="95250" y="0"/>
                    </a:moveTo>
                    <a:cubicBezTo>
                      <a:pt x="369887" y="289322"/>
                      <a:pt x="644525" y="578644"/>
                      <a:pt x="628650" y="966788"/>
                    </a:cubicBezTo>
                    <a:cubicBezTo>
                      <a:pt x="612775" y="1354932"/>
                      <a:pt x="306387" y="1841897"/>
                      <a:pt x="0" y="2328863"/>
                    </a:cubicBezTo>
                  </a:path>
                </a:pathLst>
              </a:cu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13" name="Freeform: Shape 267"/>
              <p:cNvSpPr/>
              <p:nvPr/>
            </p:nvSpPr>
            <p:spPr>
              <a:xfrm>
                <a:off x="6696075" y="4056695"/>
                <a:ext cx="1580448" cy="581978"/>
              </a:xfrm>
              <a:custGeom>
                <a:avLst/>
                <a:gdLst>
                  <a:gd name="connsiteX0" fmla="*/ 0 w 3176588"/>
                  <a:gd name="connsiteY0" fmla="*/ 1781175 h 1781175"/>
                  <a:gd name="connsiteX1" fmla="*/ 2605088 w 3176588"/>
                  <a:gd name="connsiteY1" fmla="*/ 952500 h 1781175"/>
                  <a:gd name="connsiteX2" fmla="*/ 3176588 w 3176588"/>
                  <a:gd name="connsiteY2" fmla="*/ 0 h 1781175"/>
                </a:gdLst>
                <a:ahLst/>
                <a:cxnLst>
                  <a:cxn ang="0">
                    <a:pos x="connsiteX0" y="connsiteY0"/>
                  </a:cxn>
                  <a:cxn ang="0">
                    <a:pos x="connsiteX1" y="connsiteY1"/>
                  </a:cxn>
                  <a:cxn ang="0">
                    <a:pos x="connsiteX2" y="connsiteY2"/>
                  </a:cxn>
                </a:cxnLst>
                <a:rect l="l" t="t" r="r" b="b"/>
                <a:pathLst>
                  <a:path w="3176588" h="1781175">
                    <a:moveTo>
                      <a:pt x="0" y="1781175"/>
                    </a:moveTo>
                    <a:cubicBezTo>
                      <a:pt x="1037828" y="1515268"/>
                      <a:pt x="2075657" y="1249362"/>
                      <a:pt x="2605088" y="952500"/>
                    </a:cubicBezTo>
                    <a:cubicBezTo>
                      <a:pt x="3134519" y="655637"/>
                      <a:pt x="3155553" y="327818"/>
                      <a:pt x="3176588" y="0"/>
                    </a:cubicBezTo>
                  </a:path>
                </a:pathLst>
              </a:cu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14" name="Freeform: Shape 268"/>
              <p:cNvSpPr/>
              <p:nvPr/>
            </p:nvSpPr>
            <p:spPr>
              <a:xfrm>
                <a:off x="6705600" y="3038475"/>
                <a:ext cx="1143000" cy="1609725"/>
              </a:xfrm>
              <a:custGeom>
                <a:avLst/>
                <a:gdLst>
                  <a:gd name="connsiteX0" fmla="*/ 0 w 1143000"/>
                  <a:gd name="connsiteY0" fmla="*/ 1609725 h 1609725"/>
                  <a:gd name="connsiteX1" fmla="*/ 909638 w 1143000"/>
                  <a:gd name="connsiteY1" fmla="*/ 833438 h 1609725"/>
                  <a:gd name="connsiteX2" fmla="*/ 1143000 w 1143000"/>
                  <a:gd name="connsiteY2" fmla="*/ 0 h 1609725"/>
                </a:gdLst>
                <a:ahLst/>
                <a:cxnLst>
                  <a:cxn ang="0">
                    <a:pos x="connsiteX0" y="connsiteY0"/>
                  </a:cxn>
                  <a:cxn ang="0">
                    <a:pos x="connsiteX1" y="connsiteY1"/>
                  </a:cxn>
                  <a:cxn ang="0">
                    <a:pos x="connsiteX2" y="connsiteY2"/>
                  </a:cxn>
                </a:cxnLst>
                <a:rect l="l" t="t" r="r" b="b"/>
                <a:pathLst>
                  <a:path w="1143000" h="1609725">
                    <a:moveTo>
                      <a:pt x="0" y="1609725"/>
                    </a:moveTo>
                    <a:cubicBezTo>
                      <a:pt x="359569" y="1355725"/>
                      <a:pt x="719138" y="1101725"/>
                      <a:pt x="909638" y="833438"/>
                    </a:cubicBezTo>
                    <a:cubicBezTo>
                      <a:pt x="1100138" y="565150"/>
                      <a:pt x="1121569" y="282575"/>
                      <a:pt x="1143000" y="0"/>
                    </a:cubicBezTo>
                  </a:path>
                </a:pathLst>
              </a:cu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grpSp>
            <p:nvGrpSpPr>
              <p:cNvPr id="115" name="Group 114"/>
              <p:cNvGrpSpPr/>
              <p:nvPr/>
            </p:nvGrpSpPr>
            <p:grpSpPr>
              <a:xfrm>
                <a:off x="6419844" y="3938392"/>
                <a:ext cx="560521" cy="560521"/>
                <a:chOff x="4821018" y="1941899"/>
                <a:chExt cx="784660" cy="784660"/>
              </a:xfrm>
            </p:grpSpPr>
            <p:sp>
              <p:nvSpPr>
                <p:cNvPr id="116" name="Teardrop 115"/>
                <p:cNvSpPr/>
                <p:nvPr/>
              </p:nvSpPr>
              <p:spPr>
                <a:xfrm rot="8100000">
                  <a:off x="4821018" y="1941899"/>
                  <a:ext cx="784660" cy="784660"/>
                </a:xfrm>
                <a:prstGeom prst="teardrop">
                  <a:avLst>
                    <a:gd name="adj" fmla="val 1176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17" name="Oval 116"/>
                <p:cNvSpPr/>
                <p:nvPr/>
              </p:nvSpPr>
              <p:spPr>
                <a:xfrm>
                  <a:off x="4920232" y="2038351"/>
                  <a:ext cx="585216" cy="585216"/>
                </a:xfrm>
                <a:prstGeom prst="ellipse">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18" name="Oval 117"/>
                <p:cNvSpPr/>
                <p:nvPr/>
              </p:nvSpPr>
              <p:spPr>
                <a:xfrm>
                  <a:off x="4952006" y="2070497"/>
                  <a:ext cx="521208" cy="521208"/>
                </a:xfrm>
                <a:prstGeom prst="ellipse">
                  <a:avLst/>
                </a:prstGeom>
                <a:blipFill>
                  <a:blip r:embed="rId7"/>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it-IT" dirty="0">
                    <a:solidFill>
                      <a:schemeClr val="tx1"/>
                    </a:solidFill>
                    <a:latin typeface="Calibri" panose="020F0502020204030204" pitchFamily="34" charset="0"/>
                    <a:cs typeface="Calibri" panose="020F0502020204030204" pitchFamily="34" charset="0"/>
                  </a:endParaRPr>
                </a:p>
              </p:txBody>
            </p:sp>
          </p:grpSp>
          <p:grpSp>
            <p:nvGrpSpPr>
              <p:cNvPr id="119" name="Group 118"/>
              <p:cNvGrpSpPr/>
              <p:nvPr/>
            </p:nvGrpSpPr>
            <p:grpSpPr>
              <a:xfrm>
                <a:off x="8001137" y="3315370"/>
                <a:ext cx="560521" cy="560521"/>
                <a:chOff x="2595635" y="3584370"/>
                <a:chExt cx="784660" cy="784660"/>
              </a:xfrm>
            </p:grpSpPr>
            <p:sp>
              <p:nvSpPr>
                <p:cNvPr id="120" name="Teardrop 119"/>
                <p:cNvSpPr/>
                <p:nvPr/>
              </p:nvSpPr>
              <p:spPr>
                <a:xfrm rot="8100000">
                  <a:off x="2595635" y="3584370"/>
                  <a:ext cx="784660" cy="784660"/>
                </a:xfrm>
                <a:prstGeom prst="teardrop">
                  <a:avLst>
                    <a:gd name="adj" fmla="val 11766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21" name="Oval 120"/>
                <p:cNvSpPr/>
                <p:nvPr/>
              </p:nvSpPr>
              <p:spPr>
                <a:xfrm>
                  <a:off x="2691254" y="3683691"/>
                  <a:ext cx="585216" cy="585217"/>
                </a:xfrm>
                <a:prstGeom prst="ellipse">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grpSp>
          <p:grpSp>
            <p:nvGrpSpPr>
              <p:cNvPr id="123" name="Group 122"/>
              <p:cNvGrpSpPr/>
              <p:nvPr/>
            </p:nvGrpSpPr>
            <p:grpSpPr>
              <a:xfrm>
                <a:off x="7564010" y="2321712"/>
                <a:ext cx="560521" cy="560521"/>
                <a:chOff x="4821018" y="1941899"/>
                <a:chExt cx="784660" cy="784660"/>
              </a:xfrm>
            </p:grpSpPr>
            <p:sp>
              <p:nvSpPr>
                <p:cNvPr id="124" name="Teardrop 123"/>
                <p:cNvSpPr/>
                <p:nvPr/>
              </p:nvSpPr>
              <p:spPr>
                <a:xfrm rot="8100000">
                  <a:off x="4821018" y="1941899"/>
                  <a:ext cx="784660" cy="784660"/>
                </a:xfrm>
                <a:prstGeom prst="teardrop">
                  <a:avLst>
                    <a:gd name="adj" fmla="val 117662"/>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25" name="Oval 124"/>
                <p:cNvSpPr/>
                <p:nvPr/>
              </p:nvSpPr>
              <p:spPr>
                <a:xfrm>
                  <a:off x="4920232" y="2038351"/>
                  <a:ext cx="585216" cy="585216"/>
                </a:xfrm>
                <a:prstGeom prst="ellipse">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26" name="Oval 125"/>
                <p:cNvSpPr/>
                <p:nvPr/>
              </p:nvSpPr>
              <p:spPr>
                <a:xfrm>
                  <a:off x="4952006" y="2070497"/>
                  <a:ext cx="521208" cy="521208"/>
                </a:xfrm>
                <a:prstGeom prst="ellipse">
                  <a:avLst/>
                </a:prstGeom>
                <a:blipFill>
                  <a:blip r:embed="rId8">
                    <a:extLst>
                      <a:ext uri="{96DAC541-7B7A-43D3-8B79-37D633B846F1}">
                        <asvg:svgBlip xmlns:asvg="http://schemas.microsoft.com/office/drawing/2016/SVG/main" xmlns="" r:embed="rId9"/>
                      </a:ext>
                    </a:extLst>
                  </a:blip>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it-IT" dirty="0">
                    <a:solidFill>
                      <a:schemeClr val="tx1"/>
                    </a:solidFill>
                    <a:latin typeface="Calibri" panose="020F0502020204030204" pitchFamily="34" charset="0"/>
                    <a:cs typeface="Calibri" panose="020F0502020204030204" pitchFamily="34" charset="0"/>
                  </a:endParaRPr>
                </a:p>
              </p:txBody>
            </p:sp>
          </p:grpSp>
          <p:grpSp>
            <p:nvGrpSpPr>
              <p:cNvPr id="127" name="Group 126"/>
              <p:cNvGrpSpPr/>
              <p:nvPr/>
            </p:nvGrpSpPr>
            <p:grpSpPr>
              <a:xfrm>
                <a:off x="7470439" y="4664765"/>
                <a:ext cx="560521" cy="560521"/>
                <a:chOff x="4821018" y="1941899"/>
                <a:chExt cx="784660" cy="784660"/>
              </a:xfrm>
            </p:grpSpPr>
            <p:sp>
              <p:nvSpPr>
                <p:cNvPr id="128" name="Teardrop 127"/>
                <p:cNvSpPr/>
                <p:nvPr/>
              </p:nvSpPr>
              <p:spPr>
                <a:xfrm rot="8100000">
                  <a:off x="4821018" y="1941899"/>
                  <a:ext cx="784660" cy="784660"/>
                </a:xfrm>
                <a:prstGeom prst="teardrop">
                  <a:avLst>
                    <a:gd name="adj" fmla="val 11766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29" name="Oval 128"/>
                <p:cNvSpPr/>
                <p:nvPr/>
              </p:nvSpPr>
              <p:spPr>
                <a:xfrm>
                  <a:off x="4920232" y="2038351"/>
                  <a:ext cx="585216" cy="585216"/>
                </a:xfrm>
                <a:prstGeom prst="ellipse">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Calibri" panose="020F0502020204030204" pitchFamily="34" charset="0"/>
                    <a:cs typeface="Calibri" panose="020F0502020204030204" pitchFamily="34" charset="0"/>
                  </a:endParaRPr>
                </a:p>
              </p:txBody>
            </p:sp>
            <p:sp>
              <p:nvSpPr>
                <p:cNvPr id="130" name="Oval 129"/>
                <p:cNvSpPr/>
                <p:nvPr/>
              </p:nvSpPr>
              <p:spPr>
                <a:xfrm>
                  <a:off x="4952006" y="2070497"/>
                  <a:ext cx="521208" cy="521208"/>
                </a:xfrm>
                <a:prstGeom prst="ellipse">
                  <a:avLst/>
                </a:prstGeom>
                <a:blipFill>
                  <a:blip r:embed="rId10">
                    <a:extLst>
                      <a:ext uri="{96DAC541-7B7A-43D3-8B79-37D633B846F1}">
                        <asvg:svgBlip xmlns:asvg="http://schemas.microsoft.com/office/drawing/2016/SVG/main" xmlns="" r:embed="rId11"/>
                      </a:ext>
                    </a:extLst>
                  </a:blip>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it-IT" dirty="0">
                    <a:solidFill>
                      <a:schemeClr val="tx1"/>
                    </a:solidFill>
                    <a:latin typeface="Calibri" panose="020F0502020204030204" pitchFamily="34" charset="0"/>
                    <a:cs typeface="Calibri" panose="020F0502020204030204" pitchFamily="34" charset="0"/>
                  </a:endParaRPr>
                </a:p>
              </p:txBody>
            </p:sp>
          </p:grpSp>
          <p:sp>
            <p:nvSpPr>
              <p:cNvPr id="107" name="Freeform 454"/>
              <p:cNvSpPr/>
              <p:nvPr/>
            </p:nvSpPr>
            <p:spPr>
              <a:xfrm>
                <a:off x="7269380" y="3864194"/>
                <a:ext cx="361014" cy="375459"/>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09" name="Freeform 454"/>
              <p:cNvSpPr/>
              <p:nvPr/>
            </p:nvSpPr>
            <p:spPr>
              <a:xfrm rot="12707563">
                <a:off x="7231675" y="4332227"/>
                <a:ext cx="361014" cy="375459"/>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10" name="Freeform 454"/>
              <p:cNvSpPr/>
              <p:nvPr/>
            </p:nvSpPr>
            <p:spPr>
              <a:xfrm rot="9706124">
                <a:off x="8013812" y="4387872"/>
                <a:ext cx="361014" cy="375459"/>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dirty="0">
                  <a:ln>
                    <a:noFill/>
                  </a:ln>
                  <a:solidFill>
                    <a:prstClr val="white"/>
                  </a:solidFill>
                  <a:effectLst/>
                  <a:uLnTx/>
                  <a:uFillTx/>
                  <a:latin typeface="Calibri" panose="020F0502020204030204" pitchFamily="34" charset="0"/>
                  <a:cs typeface="Calibri" panose="020F0502020204030204" pitchFamily="34" charset="0"/>
                </a:endParaRPr>
              </a:p>
            </p:txBody>
          </p:sp>
        </p:grpSp>
        <p:grpSp>
          <p:nvGrpSpPr>
            <p:cNvPr id="12" name="Group 11"/>
            <p:cNvGrpSpPr/>
            <p:nvPr/>
          </p:nvGrpSpPr>
          <p:grpSpPr>
            <a:xfrm>
              <a:off x="10800598" y="3575621"/>
              <a:ext cx="244800" cy="244800"/>
              <a:chOff x="10092120" y="2712873"/>
              <a:chExt cx="244800" cy="244800"/>
            </a:xfrm>
          </p:grpSpPr>
          <p:sp>
            <p:nvSpPr>
              <p:cNvPr id="11" name="Pie 10"/>
              <p:cNvSpPr/>
              <p:nvPr/>
            </p:nvSpPr>
            <p:spPr>
              <a:xfrm>
                <a:off x="10092120" y="2712873"/>
                <a:ext cx="244800" cy="244800"/>
              </a:xfrm>
              <a:prstGeom prst="pie">
                <a:avLst>
                  <a:gd name="adj1" fmla="val 38274"/>
                  <a:gd name="adj2" fmla="val 10810581"/>
                </a:avLst>
              </a:prstGeom>
              <a:solidFill>
                <a:srgbClr val="CA001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sp>
            <p:nvSpPr>
              <p:cNvPr id="132" name="Pie 131"/>
              <p:cNvSpPr/>
              <p:nvPr/>
            </p:nvSpPr>
            <p:spPr>
              <a:xfrm flipV="1">
                <a:off x="10092120" y="2712873"/>
                <a:ext cx="244800" cy="244800"/>
              </a:xfrm>
              <a:prstGeom prst="pie">
                <a:avLst>
                  <a:gd name="adj1" fmla="val 38274"/>
                  <a:gd name="adj2" fmla="val 10810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grpSp>
        <p:pic>
          <p:nvPicPr>
            <p:cNvPr id="24" name="Picture 23"/>
            <p:cNvPicPr>
              <a:picLocks noChangeAspect="1"/>
            </p:cNvPicPr>
            <p:nvPr/>
          </p:nvPicPr>
          <p:blipFill rotWithShape="1">
            <a:blip r:embed="rId12"/>
            <a:srcRect r="52291"/>
            <a:stretch/>
          </p:blipFill>
          <p:spPr>
            <a:xfrm>
              <a:off x="10970394" y="2009726"/>
              <a:ext cx="1221606" cy="2505673"/>
            </a:xfrm>
            <a:prstGeom prst="rect">
              <a:avLst/>
            </a:prstGeom>
          </p:spPr>
        </p:pic>
        <p:sp>
          <p:nvSpPr>
            <p:cNvPr id="168" name="Rectangle 167"/>
            <p:cNvSpPr>
              <a:spLocks noChangeAspect="1"/>
            </p:cNvSpPr>
            <p:nvPr/>
          </p:nvSpPr>
          <p:spPr>
            <a:xfrm>
              <a:off x="11374517" y="2174457"/>
              <a:ext cx="818987" cy="547428"/>
            </a:xfrm>
            <a:prstGeom prst="rect">
              <a:avLst/>
            </a:prstGeom>
            <a:blipFill>
              <a:blip r:embed="rId13">
                <a:extLst>
                  <a:ext uri="{96DAC541-7B7A-43D3-8B79-37D633B846F1}">
                    <asvg:svgBlip xmlns:asvg="http://schemas.microsoft.com/office/drawing/2016/SVG/main" xmlns="" r:embed="rId14"/>
                  </a:ext>
                </a:extLst>
              </a:blip>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dirty="0">
                <a:latin typeface="Calibri" panose="020F0502020204030204" pitchFamily="34" charset="0"/>
                <a:cs typeface="Calibri" panose="020F0502020204030204" pitchFamily="34" charset="0"/>
              </a:endParaRPr>
            </a:p>
          </p:txBody>
        </p:sp>
      </p:grpSp>
      <p:sp>
        <p:nvSpPr>
          <p:cNvPr id="90"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399" i="1" dirty="0">
                <a:latin typeface="Calibri" panose="020F0502020204030204" pitchFamily="34" charset="0"/>
                <a:cs typeface="Calibri" panose="020F0502020204030204" pitchFamily="34" charset="0"/>
              </a:rPr>
              <a:t>Flussi migratori in Europa ed il fenomeno delle frodi</a:t>
            </a:r>
            <a:endParaRPr lang="it-IT" sz="2399" dirty="0">
              <a:latin typeface="Calibri" panose="020F0502020204030204" pitchFamily="34" charset="0"/>
              <a:cs typeface="Calibri" panose="020F0502020204030204" pitchFamily="34" charset="0"/>
            </a:endParaRPr>
          </a:p>
        </p:txBody>
      </p:sp>
      <p:sp>
        <p:nvSpPr>
          <p:cNvPr id="100" name="Rectangle 35"/>
          <p:cNvSpPr>
            <a:spLocks noChangeArrowheads="1"/>
          </p:cNvSpPr>
          <p:nvPr/>
        </p:nvSpPr>
        <p:spPr bwMode="auto">
          <a:xfrm>
            <a:off x="630855" y="994831"/>
            <a:ext cx="1093725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algn="just">
              <a:lnSpc>
                <a:spcPct val="100000"/>
              </a:lnSpc>
              <a:spcBef>
                <a:spcPts val="0"/>
              </a:spcBef>
              <a:buNone/>
            </a:pPr>
            <a:r>
              <a:rPr lang="it-IT" sz="1600" dirty="0">
                <a:latin typeface="Calibri" panose="020F0502020204030204" pitchFamily="34" charset="0"/>
                <a:ea typeface="Calibri" panose="020F0502020204030204" pitchFamily="34" charset="0"/>
                <a:cs typeface="Calibri" panose="020F0502020204030204" pitchFamily="34" charset="0"/>
              </a:rPr>
              <a:t>I flussi migratori nei Paesi dell’UE hanno raggiunto volumi rilevanti. Tali flussi riguardano cittadini europei e non, che ricercano occupazione ed opportunità per stabilirsi in uno Stato europeo. In tale contesto, la normativa consente ai cittadini dell’UE di richiedere il trasferimento delle prestazioni previdenziali/assistenziali dallo Stato di origine a quello nel quale si sono trasferiti.</a:t>
            </a:r>
          </a:p>
        </p:txBody>
      </p:sp>
      <p:grpSp>
        <p:nvGrpSpPr>
          <p:cNvPr id="2" name="Group 1"/>
          <p:cNvGrpSpPr/>
          <p:nvPr/>
        </p:nvGrpSpPr>
        <p:grpSpPr>
          <a:xfrm>
            <a:off x="633224" y="2249298"/>
            <a:ext cx="7151909" cy="3470185"/>
            <a:chOff x="633224" y="1925638"/>
            <a:chExt cx="7151909" cy="3470185"/>
          </a:xfrm>
        </p:grpSpPr>
        <p:sp>
          <p:nvSpPr>
            <p:cNvPr id="162" name="Rectangle 161"/>
            <p:cNvSpPr/>
            <p:nvPr/>
          </p:nvSpPr>
          <p:spPr>
            <a:xfrm>
              <a:off x="633224" y="1925638"/>
              <a:ext cx="7151909" cy="654179"/>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it-IT" sz="1600" b="1" dirty="0">
                  <a:solidFill>
                    <a:schemeClr val="bg1"/>
                  </a:solidFill>
                  <a:latin typeface="Calibri" panose="020F0502020204030204" pitchFamily="34" charset="0"/>
                  <a:cs typeface="Calibri" panose="020F0502020204030204" pitchFamily="34" charset="0"/>
                </a:rPr>
                <a:t>Problema della duplicazione di identità e </a:t>
              </a:r>
            </a:p>
            <a:p>
              <a:pPr algn="ctr"/>
              <a:r>
                <a:rPr lang="it-IT" sz="1600" b="1" dirty="0">
                  <a:solidFill>
                    <a:schemeClr val="bg1"/>
                  </a:solidFill>
                  <a:latin typeface="Calibri" panose="020F0502020204030204" pitchFamily="34" charset="0"/>
                  <a:cs typeface="Calibri" panose="020F0502020204030204" pitchFamily="34" charset="0"/>
                </a:rPr>
                <a:t>difficoltà a ricondurle ad un codice univoco</a:t>
              </a:r>
            </a:p>
          </p:txBody>
        </p:sp>
        <p:sp>
          <p:nvSpPr>
            <p:cNvPr id="172" name="Rectangle 171"/>
            <p:cNvSpPr/>
            <p:nvPr/>
          </p:nvSpPr>
          <p:spPr>
            <a:xfrm>
              <a:off x="633224" y="2621078"/>
              <a:ext cx="7151909" cy="2774745"/>
            </a:xfrm>
            <a:prstGeom prst="rect">
              <a:avLst/>
            </a:prstGeom>
            <a:noFill/>
            <a:ln w="19050">
              <a:solidFill>
                <a:srgbClr val="5B9BD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it-IT" sz="1600" dirty="0">
                  <a:solidFill>
                    <a:schemeClr val="tx1"/>
                  </a:solidFill>
                  <a:latin typeface="Calibri" panose="020F0502020204030204" pitchFamily="34" charset="0"/>
                  <a:cs typeface="Calibri" panose="020F0502020204030204" pitchFamily="34" charset="0"/>
                </a:rPr>
                <a:t>In Italia, ciascuna PA i identifica univocamente il cittadino grazie al suo Codice Fiscale (CF)</a:t>
              </a:r>
              <a:r>
                <a:rPr lang="it-IT" sz="1600" b="1" i="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Tale codice è assegnato al cittadino alla nascita e rimane il medesimo per tutta la vita. Tuttavia, </a:t>
              </a:r>
              <a:r>
                <a:rPr lang="it-IT" sz="1600" b="1" dirty="0">
                  <a:solidFill>
                    <a:schemeClr val="tx1"/>
                  </a:solidFill>
                  <a:latin typeface="Calibri" panose="020F0502020204030204" pitchFamily="34" charset="0"/>
                  <a:cs typeface="Calibri" panose="020F0502020204030204" pitchFamily="34" charset="0"/>
                </a:rPr>
                <a:t>fuori dall’Italia</a:t>
              </a:r>
              <a:r>
                <a:rPr lang="it-IT" sz="1600" dirty="0">
                  <a:solidFill>
                    <a:schemeClr val="tx1"/>
                  </a:solidFill>
                  <a:latin typeface="Calibri" panose="020F0502020204030204" pitchFamily="34" charset="0"/>
                  <a:cs typeface="Calibri" panose="020F0502020204030204" pitchFamily="34" charset="0"/>
                </a:rPr>
                <a:t>, le amministrazioni estere </a:t>
              </a:r>
              <a:r>
                <a:rPr lang="it-IT" sz="1600" b="1" dirty="0">
                  <a:solidFill>
                    <a:schemeClr val="tx1"/>
                  </a:solidFill>
                  <a:latin typeface="Calibri" panose="020F0502020204030204" pitchFamily="34" charset="0"/>
                  <a:cs typeface="Calibri" panose="020F0502020204030204" pitchFamily="34" charset="0"/>
                </a:rPr>
                <a:t>non possono verificare la correttezza o veridicità del CF</a:t>
              </a:r>
              <a:r>
                <a:rPr lang="it-IT" sz="1600" dirty="0">
                  <a:solidFill>
                    <a:schemeClr val="tx1"/>
                  </a:solidFill>
                  <a:latin typeface="Calibri" panose="020F0502020204030204" pitchFamily="34" charset="0"/>
                  <a:cs typeface="Calibri" panose="020F0502020204030204" pitchFamily="34" charset="0"/>
                </a:rPr>
                <a:t>,</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aumentando la possibilità di </a:t>
              </a:r>
              <a:r>
                <a:rPr lang="it-IT" sz="1600" b="1" dirty="0">
                  <a:solidFill>
                    <a:schemeClr val="tx1"/>
                  </a:solidFill>
                  <a:latin typeface="Calibri" panose="020F0502020204030204" pitchFamily="34" charset="0"/>
                  <a:cs typeface="Calibri" panose="020F0502020204030204" pitchFamily="34" charset="0"/>
                </a:rPr>
                <a:t>frodi</a:t>
              </a:r>
              <a:r>
                <a:rPr lang="it-IT" sz="1600" dirty="0">
                  <a:solidFill>
                    <a:schemeClr val="tx1"/>
                  </a:solidFill>
                  <a:latin typeface="Calibri" panose="020F0502020204030204" pitchFamily="34" charset="0"/>
                  <a:cs typeface="Calibri" panose="020F0502020204030204" pitchFamily="34" charset="0"/>
                </a:rPr>
                <a:t> utilizzando false identità. </a:t>
              </a:r>
            </a:p>
            <a:p>
              <a:pPr algn="ctr"/>
              <a:r>
                <a:rPr lang="it-IT" sz="1600" dirty="0">
                  <a:solidFill>
                    <a:schemeClr val="tx1"/>
                  </a:solidFill>
                  <a:latin typeface="Calibri" panose="020F0502020204030204" pitchFamily="34" charset="0"/>
                  <a:cs typeface="Calibri" panose="020F0502020204030204" pitchFamily="34" charset="0"/>
                </a:rPr>
                <a:t>Ad esempio, il </a:t>
              </a:r>
              <a:r>
                <a:rPr lang="it-IT" sz="1600" b="1" dirty="0">
                  <a:solidFill>
                    <a:schemeClr val="tx1"/>
                  </a:solidFill>
                  <a:latin typeface="Calibri" panose="020F0502020204030204" pitchFamily="34" charset="0"/>
                  <a:cs typeface="Calibri" panose="020F0502020204030204" pitchFamily="34" charset="0"/>
                </a:rPr>
                <a:t>cittadino può richiedere una prestazione</a:t>
              </a:r>
              <a:r>
                <a:rPr lang="it-IT" sz="1600" dirty="0">
                  <a:solidFill>
                    <a:schemeClr val="tx1"/>
                  </a:solidFill>
                  <a:latin typeface="Calibri" panose="020F0502020204030204" pitchFamily="34" charset="0"/>
                  <a:cs typeface="Calibri" panose="020F0502020204030204" pitchFamily="34" charset="0"/>
                </a:rPr>
                <a:t> ad un </a:t>
              </a:r>
              <a:r>
                <a:rPr lang="it-IT" sz="1600" b="1" dirty="0">
                  <a:solidFill>
                    <a:schemeClr val="tx1"/>
                  </a:solidFill>
                  <a:latin typeface="Calibri" panose="020F0502020204030204" pitchFamily="34" charset="0"/>
                  <a:cs typeface="Calibri" panose="020F0502020204030204" pitchFamily="34" charset="0"/>
                </a:rPr>
                <a:t>Istituto straniero</a:t>
              </a:r>
              <a:r>
                <a:rPr lang="it-IT" sz="1600" dirty="0">
                  <a:solidFill>
                    <a:schemeClr val="tx1"/>
                  </a:solidFill>
                  <a:latin typeface="Calibri" panose="020F0502020204030204" pitchFamily="34" charset="0"/>
                  <a:cs typeface="Calibri" panose="020F0502020204030204" pitchFamily="34" charset="0"/>
                </a:rPr>
                <a:t>, che, non avendo accesso ai suoi dati, </a:t>
              </a:r>
              <a:r>
                <a:rPr lang="it-IT" sz="1600" b="1" dirty="0">
                  <a:solidFill>
                    <a:schemeClr val="tx1"/>
                  </a:solidFill>
                  <a:latin typeface="Calibri" panose="020F0502020204030204" pitchFamily="34" charset="0"/>
                  <a:cs typeface="Calibri" panose="020F0502020204030204" pitchFamily="34" charset="0"/>
                </a:rPr>
                <a:t>non è in grado di stabilire se ne abbia diritto.</a:t>
              </a:r>
              <a:r>
                <a:rPr lang="it-IT" sz="1600" dirty="0">
                  <a:solidFill>
                    <a:schemeClr val="tx1"/>
                  </a:solidFill>
                  <a:latin typeface="Calibri" panose="020F0502020204030204" pitchFamily="34" charset="0"/>
                  <a:cs typeface="Calibri" panose="020F0502020204030204" pitchFamily="34" charset="0"/>
                </a:rPr>
                <a:t> Pertanto, l’Istituto potrebbe erogare la prestazione nonostante non abbia la possibilità di identificare correttamente il cittadino.</a:t>
              </a:r>
            </a:p>
          </p:txBody>
        </p:sp>
        <p:pic>
          <p:nvPicPr>
            <p:cNvPr id="87" name="Picture 86"/>
            <p:cNvPicPr>
              <a:picLocks noChangeAspect="1"/>
            </p:cNvPicPr>
            <p:nvPr/>
          </p:nvPicPr>
          <p:blipFill>
            <a:blip r:embed="rId15">
              <a:clrChange>
                <a:clrFrom>
                  <a:srgbClr val="FFFFFF"/>
                </a:clrFrom>
                <a:clrTo>
                  <a:srgbClr val="FFFFFF">
                    <a:alpha val="0"/>
                  </a:srgbClr>
                </a:clrTo>
              </a:clrChange>
            </a:blip>
            <a:stretch>
              <a:fillRect/>
            </a:stretch>
          </p:blipFill>
          <p:spPr>
            <a:xfrm>
              <a:off x="1764943" y="1974588"/>
              <a:ext cx="585063" cy="585059"/>
            </a:xfrm>
            <a:prstGeom prst="rect">
              <a:avLst/>
            </a:prstGeom>
          </p:spPr>
        </p:pic>
      </p:grpSp>
    </p:spTree>
    <p:extLst>
      <p:ext uri="{BB962C8B-B14F-4D97-AF65-F5344CB8AC3E}">
        <p14:creationId xmlns:p14="http://schemas.microsoft.com/office/powerpoint/2010/main" val="3826188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630855" y="1937791"/>
            <a:ext cx="530045" cy="3956759"/>
            <a:chOff x="464223" y="3360918"/>
            <a:chExt cx="329116" cy="2456836"/>
          </a:xfrm>
        </p:grpSpPr>
        <p:cxnSp>
          <p:nvCxnSpPr>
            <p:cNvPr id="25" name="Straight Connector 24"/>
            <p:cNvCxnSpPr/>
            <p:nvPr/>
          </p:nvCxnSpPr>
          <p:spPr>
            <a:xfrm>
              <a:off x="628780" y="3455909"/>
              <a:ext cx="0" cy="2232000"/>
            </a:xfrm>
            <a:prstGeom prst="line">
              <a:avLst/>
            </a:prstGeom>
            <a:noFill/>
            <a:ln w="38100" cap="flat" cmpd="sng" algn="ctr">
              <a:solidFill>
                <a:srgbClr val="6E6F73"/>
              </a:solidFill>
              <a:prstDash val="solid"/>
              <a:round/>
              <a:headEnd type="none" w="med" len="med"/>
              <a:tailEnd type="none" w="med" len="med"/>
            </a:ln>
            <a:effectLst/>
          </p:spPr>
        </p:cxnSp>
        <p:sp>
          <p:nvSpPr>
            <p:cNvPr id="26" name="Oval 25"/>
            <p:cNvSpPr/>
            <p:nvPr/>
          </p:nvSpPr>
          <p:spPr>
            <a:xfrm>
              <a:off x="464223" y="3360918"/>
              <a:ext cx="329116" cy="329116"/>
            </a:xfrm>
            <a:prstGeom prst="ellipse">
              <a:avLst/>
            </a:prstGeom>
            <a:solidFill>
              <a:srgbClr val="5B9BD5"/>
            </a:solidFill>
            <a:ln w="28575" cap="flat" cmpd="sng" algn="ctr">
              <a:solidFill>
                <a:srgbClr val="5B9BD5"/>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1</a:t>
              </a:r>
            </a:p>
          </p:txBody>
        </p:sp>
        <p:sp>
          <p:nvSpPr>
            <p:cNvPr id="27" name="Oval 26"/>
            <p:cNvSpPr/>
            <p:nvPr/>
          </p:nvSpPr>
          <p:spPr>
            <a:xfrm>
              <a:off x="464223" y="3892848"/>
              <a:ext cx="329116" cy="329116"/>
            </a:xfrm>
            <a:prstGeom prst="ellipse">
              <a:avLst/>
            </a:prstGeom>
            <a:solidFill>
              <a:srgbClr val="5B9BD5"/>
            </a:solidFill>
            <a:ln w="28575" cap="flat" cmpd="sng" algn="ctr">
              <a:solidFill>
                <a:srgbClr val="5B9BD5"/>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2</a:t>
              </a:r>
            </a:p>
          </p:txBody>
        </p:sp>
        <p:sp>
          <p:nvSpPr>
            <p:cNvPr id="28" name="Oval 27"/>
            <p:cNvSpPr/>
            <p:nvPr/>
          </p:nvSpPr>
          <p:spPr>
            <a:xfrm>
              <a:off x="464223" y="4424778"/>
              <a:ext cx="329116" cy="329116"/>
            </a:xfrm>
            <a:prstGeom prst="ellipse">
              <a:avLst/>
            </a:prstGeom>
            <a:solidFill>
              <a:srgbClr val="5B9BD5"/>
            </a:solidFill>
            <a:ln w="28575" cap="flat" cmpd="sng" algn="ctr">
              <a:solidFill>
                <a:srgbClr val="5B9BD5"/>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3</a:t>
              </a:r>
            </a:p>
          </p:txBody>
        </p:sp>
        <p:sp>
          <p:nvSpPr>
            <p:cNvPr id="29" name="Oval 28"/>
            <p:cNvSpPr/>
            <p:nvPr/>
          </p:nvSpPr>
          <p:spPr>
            <a:xfrm>
              <a:off x="464223" y="4956708"/>
              <a:ext cx="329116" cy="329116"/>
            </a:xfrm>
            <a:prstGeom prst="ellipse">
              <a:avLst/>
            </a:prstGeom>
            <a:solidFill>
              <a:srgbClr val="5B9BD5"/>
            </a:solidFill>
            <a:ln w="28575" cap="flat" cmpd="sng" algn="ctr">
              <a:solidFill>
                <a:srgbClr val="5B9BD5"/>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4</a:t>
              </a:r>
            </a:p>
          </p:txBody>
        </p:sp>
        <p:sp>
          <p:nvSpPr>
            <p:cNvPr id="30" name="Oval 29"/>
            <p:cNvSpPr/>
            <p:nvPr/>
          </p:nvSpPr>
          <p:spPr>
            <a:xfrm>
              <a:off x="464223" y="5488638"/>
              <a:ext cx="329116" cy="329116"/>
            </a:xfrm>
            <a:prstGeom prst="ellipse">
              <a:avLst/>
            </a:prstGeom>
            <a:solidFill>
              <a:srgbClr val="5B9BD5"/>
            </a:solidFill>
            <a:ln w="28575" cap="flat" cmpd="sng" algn="ctr">
              <a:solidFill>
                <a:srgbClr val="5B9BD5"/>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5</a:t>
              </a:r>
            </a:p>
          </p:txBody>
        </p:sp>
      </p:grpSp>
      <p:sp>
        <p:nvSpPr>
          <p:cNvPr id="11"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399" i="1" dirty="0">
                <a:latin typeface="Calibri" panose="020F0502020204030204" pitchFamily="34" charset="0"/>
                <a:cs typeface="Calibri" panose="020F0502020204030204" pitchFamily="34" charset="0"/>
              </a:rPr>
              <a:t>ESSN è la soluzione migliore ma occorre considerare alcuni aspetti</a:t>
            </a:r>
            <a:endParaRPr lang="it-IT" sz="2399" dirty="0">
              <a:latin typeface="Calibri" panose="020F0502020204030204" pitchFamily="34" charset="0"/>
              <a:cs typeface="Calibri" panose="020F0502020204030204" pitchFamily="34" charset="0"/>
            </a:endParaRPr>
          </a:p>
        </p:txBody>
      </p:sp>
      <p:sp>
        <p:nvSpPr>
          <p:cNvPr id="12" name="Rectangle 35"/>
          <p:cNvSpPr>
            <a:spLocks noChangeArrowheads="1"/>
          </p:cNvSpPr>
          <p:nvPr/>
        </p:nvSpPr>
        <p:spPr bwMode="auto">
          <a:xfrm>
            <a:off x="630855" y="994831"/>
            <a:ext cx="1093725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lnSpc>
                <a:spcPct val="90000"/>
              </a:lnSpc>
              <a:spcBef>
                <a:spcPts val="1000"/>
              </a:spcBef>
              <a:buFont typeface="Arial" panose="020B0604020202020204" pitchFamily="34" charset="0"/>
              <a:buChar char="•"/>
              <a:defRPr sz="2800">
                <a:solidFill>
                  <a:schemeClr val="tx1"/>
                </a:solidFill>
                <a:latin typeface="Lato Light"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Lato Light"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Lato Light"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Lato Light"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Lato Light"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Lato Light" pitchFamily="34" charset="0"/>
              </a:defRPr>
            </a:lvl9pPr>
          </a:lstStyle>
          <a:p>
            <a:pPr lvl="0" algn="just">
              <a:buNone/>
              <a:defRPr/>
            </a:pPr>
            <a:r>
              <a:rPr lang="it-IT" sz="1600" kern="0" dirty="0">
                <a:latin typeface="Calibri" panose="020F0502020204030204" pitchFamily="34" charset="0"/>
                <a:ea typeface="Calibri" panose="020F0502020204030204" pitchFamily="34" charset="0"/>
                <a:cs typeface="Calibri" panose="020F0502020204030204" pitchFamily="34" charset="0"/>
              </a:rPr>
              <a:t>Al fine di risolvere le problematiche relative all’identificazione univoca del cittadino che si sposta tra più Stati, è necessario definire un </a:t>
            </a:r>
            <a:r>
              <a:rPr lang="it-IT" sz="1600" b="1" kern="0" dirty="0">
                <a:latin typeface="Calibri" panose="020F0502020204030204" pitchFamily="34" charset="0"/>
                <a:ea typeface="Calibri" panose="020F0502020204030204" pitchFamily="34" charset="0"/>
                <a:cs typeface="Calibri" panose="020F0502020204030204" pitchFamily="34" charset="0"/>
              </a:rPr>
              <a:t>numero identificativo unico a livello europeo, cosiddetto ESSN </a:t>
            </a:r>
            <a:r>
              <a:rPr lang="it-IT" sz="1600" kern="0" dirty="0">
                <a:latin typeface="Calibri" panose="020F0502020204030204" pitchFamily="34" charset="0"/>
                <a:ea typeface="Calibri" panose="020F0502020204030204" pitchFamily="34" charset="0"/>
                <a:cs typeface="Calibri" panose="020F0502020204030204" pitchFamily="34" charset="0"/>
              </a:rPr>
              <a:t>«</a:t>
            </a:r>
            <a:r>
              <a:rPr lang="en-US" sz="1600" b="1" dirty="0">
                <a:latin typeface="Calibri" panose="020F0502020204030204" pitchFamily="34" charset="0"/>
                <a:cs typeface="Calibri" panose="020F0502020204030204" pitchFamily="34" charset="0"/>
              </a:rPr>
              <a:t>European Social Security </a:t>
            </a:r>
            <a:r>
              <a:rPr lang="en-US" sz="1600" b="1" kern="0" dirty="0">
                <a:latin typeface="Calibri" panose="020F0502020204030204" pitchFamily="34" charset="0"/>
                <a:ea typeface="Calibri" panose="020F0502020204030204" pitchFamily="34" charset="0"/>
                <a:cs typeface="Calibri" panose="020F0502020204030204" pitchFamily="34" charset="0"/>
              </a:rPr>
              <a:t>Number</a:t>
            </a:r>
            <a:r>
              <a:rPr lang="it-IT" sz="1600" kern="0" dirty="0">
                <a:latin typeface="Calibri" panose="020F0502020204030204" pitchFamily="34" charset="0"/>
                <a:ea typeface="Calibri" panose="020F0502020204030204" pitchFamily="34" charset="0"/>
                <a:cs typeface="Calibri" panose="020F0502020204030204" pitchFamily="34" charset="0"/>
              </a:rPr>
              <a:t>». Tuttavia, è necessario che siano presi in considerazione i seguenti aspetti:</a:t>
            </a:r>
          </a:p>
        </p:txBody>
      </p:sp>
      <p:sp>
        <p:nvSpPr>
          <p:cNvPr id="5" name="Rectangle 4"/>
          <p:cNvSpPr/>
          <p:nvPr/>
        </p:nvSpPr>
        <p:spPr>
          <a:xfrm>
            <a:off x="1425921" y="1926216"/>
            <a:ext cx="10142191" cy="584775"/>
          </a:xfrm>
          <a:prstGeom prst="rect">
            <a:avLst/>
          </a:prstGeom>
        </p:spPr>
        <p:txBody>
          <a:bodyPr wrap="square">
            <a:spAutoFit/>
          </a:bodyPr>
          <a:lstStyle/>
          <a:p>
            <a:pPr lvl="0">
              <a:spcBef>
                <a:spcPts val="600"/>
              </a:spcBef>
              <a:spcAft>
                <a:spcPts val="600"/>
              </a:spcAft>
              <a:defRPr/>
            </a:pPr>
            <a:r>
              <a:rPr lang="it-IT" sz="1600" kern="0" dirty="0">
                <a:latin typeface="Calibri" panose="020F0502020204030204" pitchFamily="34" charset="0"/>
                <a:ea typeface="Calibri" panose="020F0502020204030204" pitchFamily="34" charset="0"/>
                <a:cs typeface="Calibri" panose="020F0502020204030204" pitchFamily="34" charset="0"/>
              </a:rPr>
              <a:t>Possibilità di definire un </a:t>
            </a:r>
            <a:r>
              <a:rPr lang="it-IT" sz="1600" b="1" kern="0" dirty="0">
                <a:latin typeface="Calibri" panose="020F0502020204030204" pitchFamily="34" charset="0"/>
                <a:ea typeface="Calibri" panose="020F0502020204030204" pitchFamily="34" charset="0"/>
                <a:cs typeface="Calibri" panose="020F0502020204030204" pitchFamily="34" charset="0"/>
              </a:rPr>
              <a:t>nuovo codice identificativo</a:t>
            </a:r>
            <a:r>
              <a:rPr lang="it-IT" sz="1600" kern="0" dirty="0">
                <a:latin typeface="Calibri" panose="020F0502020204030204" pitchFamily="34" charset="0"/>
                <a:ea typeface="Calibri" panose="020F0502020204030204" pitchFamily="34" charset="0"/>
                <a:cs typeface="Calibri" panose="020F0502020204030204" pitchFamily="34" charset="0"/>
              </a:rPr>
              <a:t> da applicare a ciascun cittadino europeo, </a:t>
            </a:r>
            <a:r>
              <a:rPr lang="it-IT" sz="1600" b="1" kern="0" dirty="0">
                <a:latin typeface="Calibri" panose="020F0502020204030204" pitchFamily="34" charset="0"/>
                <a:ea typeface="Calibri" panose="020F0502020204030204" pitchFamily="34" charset="0"/>
                <a:cs typeface="Calibri" panose="020F0502020204030204" pitchFamily="34" charset="0"/>
              </a:rPr>
              <a:t>in aggiunta a quelli già esistenti </a:t>
            </a:r>
            <a:r>
              <a:rPr lang="it-IT" sz="1600" kern="0" dirty="0">
                <a:latin typeface="Calibri" panose="020F0502020204030204" pitchFamily="34" charset="0"/>
                <a:ea typeface="Calibri" panose="020F0502020204030204" pitchFamily="34" charset="0"/>
                <a:cs typeface="Calibri" panose="020F0502020204030204" pitchFamily="34" charset="0"/>
              </a:rPr>
              <a:t>a livello nazionale</a:t>
            </a:r>
          </a:p>
        </p:txBody>
      </p:sp>
      <p:sp>
        <p:nvSpPr>
          <p:cNvPr id="6" name="Rectangle 5"/>
          <p:cNvSpPr/>
          <p:nvPr/>
        </p:nvSpPr>
        <p:spPr>
          <a:xfrm>
            <a:off x="1425921" y="2877079"/>
            <a:ext cx="10142192" cy="338554"/>
          </a:xfrm>
          <a:prstGeom prst="rect">
            <a:avLst/>
          </a:prstGeom>
        </p:spPr>
        <p:txBody>
          <a:bodyPr wrap="square">
            <a:spAutoFit/>
          </a:bodyPr>
          <a:lstStyle/>
          <a:p>
            <a:pPr lvl="0">
              <a:spcBef>
                <a:spcPts val="600"/>
              </a:spcBef>
              <a:spcAft>
                <a:spcPts val="600"/>
              </a:spcAft>
              <a:defRPr/>
            </a:pPr>
            <a:r>
              <a:rPr lang="it-IT" sz="1600" kern="0" dirty="0">
                <a:latin typeface="Calibri" panose="020F0502020204030204" pitchFamily="34" charset="0"/>
                <a:ea typeface="Calibri" panose="020F0502020204030204" pitchFamily="34" charset="0"/>
                <a:cs typeface="Calibri" panose="020F0502020204030204" pitchFamily="34" charset="0"/>
              </a:rPr>
              <a:t>Elaborazione di una </a:t>
            </a:r>
            <a:r>
              <a:rPr lang="it-IT" sz="1600" b="1" kern="0" dirty="0">
                <a:latin typeface="Calibri" panose="020F0502020204030204" pitchFamily="34" charset="0"/>
                <a:ea typeface="Calibri" panose="020F0502020204030204" pitchFamily="34" charset="0"/>
                <a:cs typeface="Calibri" panose="020F0502020204030204" pitchFamily="34" charset="0"/>
              </a:rPr>
              <a:t>normativa adeguata </a:t>
            </a:r>
            <a:r>
              <a:rPr lang="it-IT" sz="1600" kern="0" dirty="0">
                <a:latin typeface="Calibri" panose="020F0502020204030204" pitchFamily="34" charset="0"/>
                <a:ea typeface="Calibri" panose="020F0502020204030204" pitchFamily="34" charset="0"/>
                <a:cs typeface="Calibri" panose="020F0502020204030204" pitchFamily="34" charset="0"/>
              </a:rPr>
              <a:t>che regoli la sua implementazione a livello europeo </a:t>
            </a:r>
          </a:p>
        </p:txBody>
      </p:sp>
      <p:sp>
        <p:nvSpPr>
          <p:cNvPr id="7" name="Rectangle 6"/>
          <p:cNvSpPr/>
          <p:nvPr/>
        </p:nvSpPr>
        <p:spPr>
          <a:xfrm>
            <a:off x="1425921" y="3722051"/>
            <a:ext cx="10142192" cy="338554"/>
          </a:xfrm>
          <a:prstGeom prst="rect">
            <a:avLst/>
          </a:prstGeom>
        </p:spPr>
        <p:txBody>
          <a:bodyPr wrap="square">
            <a:spAutoFit/>
          </a:bodyPr>
          <a:lstStyle/>
          <a:p>
            <a:pPr lvl="0">
              <a:spcBef>
                <a:spcPts val="600"/>
              </a:spcBef>
              <a:spcAft>
                <a:spcPts val="600"/>
              </a:spcAft>
              <a:defRPr/>
            </a:pPr>
            <a:r>
              <a:rPr lang="it-IT" sz="1600" b="1" kern="0" dirty="0">
                <a:latin typeface="Calibri" panose="020F0502020204030204" pitchFamily="34" charset="0"/>
                <a:ea typeface="Calibri" panose="020F0502020204030204" pitchFamily="34" charset="0"/>
                <a:cs typeface="Calibri" panose="020F0502020204030204" pitchFamily="34" charset="0"/>
              </a:rPr>
              <a:t>Superamento </a:t>
            </a:r>
            <a:r>
              <a:rPr lang="it-IT" sz="1600" kern="0" dirty="0">
                <a:latin typeface="Calibri" panose="020F0502020204030204" pitchFamily="34" charset="0"/>
                <a:ea typeface="Calibri" panose="020F0502020204030204" pitchFamily="34" charset="0"/>
                <a:cs typeface="Calibri" panose="020F0502020204030204" pitchFamily="34" charset="0"/>
              </a:rPr>
              <a:t>per ciascuno Stato di </a:t>
            </a:r>
            <a:r>
              <a:rPr lang="it-IT" sz="1600" b="1" kern="0" dirty="0">
                <a:latin typeface="Calibri" panose="020F0502020204030204" pitchFamily="34" charset="0"/>
                <a:ea typeface="Calibri" panose="020F0502020204030204" pitchFamily="34" charset="0"/>
                <a:cs typeface="Calibri" panose="020F0502020204030204" pitchFamily="34" charset="0"/>
              </a:rPr>
              <a:t>ogni possibile vincolo normativo </a:t>
            </a:r>
            <a:r>
              <a:rPr lang="it-IT" sz="1600" kern="0" dirty="0">
                <a:latin typeface="Calibri" panose="020F0502020204030204" pitchFamily="34" charset="0"/>
                <a:ea typeface="Calibri" panose="020F0502020204030204" pitchFamily="34" charset="0"/>
                <a:cs typeface="Calibri" panose="020F0502020204030204" pitchFamily="34" charset="0"/>
              </a:rPr>
              <a:t>a livello nazionale</a:t>
            </a:r>
          </a:p>
        </p:txBody>
      </p:sp>
      <p:sp>
        <p:nvSpPr>
          <p:cNvPr id="8" name="Rectangle 7"/>
          <p:cNvSpPr/>
          <p:nvPr/>
        </p:nvSpPr>
        <p:spPr>
          <a:xfrm>
            <a:off x="1425921" y="4584015"/>
            <a:ext cx="10142190" cy="338554"/>
          </a:xfrm>
          <a:prstGeom prst="rect">
            <a:avLst/>
          </a:prstGeom>
        </p:spPr>
        <p:txBody>
          <a:bodyPr wrap="square">
            <a:spAutoFit/>
          </a:bodyPr>
          <a:lstStyle/>
          <a:p>
            <a:pPr lvl="0">
              <a:spcBef>
                <a:spcPts val="600"/>
              </a:spcBef>
              <a:spcAft>
                <a:spcPts val="600"/>
              </a:spcAft>
              <a:defRPr/>
            </a:pPr>
            <a:r>
              <a:rPr lang="it-IT" sz="1600" b="1" kern="0" dirty="0">
                <a:latin typeface="Calibri" panose="020F0502020204030204" pitchFamily="34" charset="0"/>
                <a:ea typeface="Calibri" panose="020F0502020204030204" pitchFamily="34" charset="0"/>
                <a:cs typeface="Calibri" panose="020F0502020204030204" pitchFamily="34" charset="0"/>
              </a:rPr>
              <a:t>Valutazione di una soluzione </a:t>
            </a:r>
            <a:r>
              <a:rPr lang="it-IT" sz="1600" kern="0" dirty="0">
                <a:latin typeface="Calibri" panose="020F0502020204030204" pitchFamily="34" charset="0"/>
                <a:ea typeface="Calibri" panose="020F0502020204030204" pitchFamily="34" charset="0"/>
                <a:cs typeface="Calibri" panose="020F0502020204030204" pitchFamily="34" charset="0"/>
              </a:rPr>
              <a:t>che consenta di chiarire la </a:t>
            </a:r>
            <a:r>
              <a:rPr lang="it-IT" sz="1600" b="1" kern="0" dirty="0">
                <a:latin typeface="Calibri" panose="020F0502020204030204" pitchFamily="34" charset="0"/>
                <a:ea typeface="Calibri" panose="020F0502020204030204" pitchFamily="34" charset="0"/>
                <a:cs typeface="Calibri" panose="020F0502020204030204" pitchFamily="34" charset="0"/>
              </a:rPr>
              <a:t>fattibilità tecnica </a:t>
            </a:r>
            <a:r>
              <a:rPr lang="it-IT" sz="1600" kern="0" dirty="0">
                <a:latin typeface="Calibri" panose="020F0502020204030204" pitchFamily="34" charset="0"/>
                <a:ea typeface="Calibri" panose="020F0502020204030204" pitchFamily="34" charset="0"/>
                <a:cs typeface="Calibri" panose="020F0502020204030204" pitchFamily="34" charset="0"/>
              </a:rPr>
              <a:t>del progetto </a:t>
            </a:r>
          </a:p>
        </p:txBody>
      </p:sp>
      <p:sp>
        <p:nvSpPr>
          <p:cNvPr id="9" name="Rectangle 8"/>
          <p:cNvSpPr/>
          <p:nvPr/>
        </p:nvSpPr>
        <p:spPr>
          <a:xfrm>
            <a:off x="1425921" y="5364505"/>
            <a:ext cx="10142191" cy="584775"/>
          </a:xfrm>
          <a:prstGeom prst="rect">
            <a:avLst/>
          </a:prstGeom>
        </p:spPr>
        <p:txBody>
          <a:bodyPr wrap="square">
            <a:spAutoFit/>
          </a:bodyPr>
          <a:lstStyle/>
          <a:p>
            <a:pPr lvl="0">
              <a:spcBef>
                <a:spcPts val="600"/>
              </a:spcBef>
              <a:spcAft>
                <a:spcPts val="600"/>
              </a:spcAft>
              <a:defRPr/>
            </a:pPr>
            <a:r>
              <a:rPr lang="it-IT" sz="1600" kern="0" dirty="0">
                <a:latin typeface="Calibri" panose="020F0502020204030204" pitchFamily="34" charset="0"/>
                <a:ea typeface="Calibri" panose="020F0502020204030204" pitchFamily="34" charset="0"/>
                <a:cs typeface="Calibri" panose="020F0502020204030204" pitchFamily="34" charset="0"/>
              </a:rPr>
              <a:t>Adozione di una </a:t>
            </a:r>
            <a:r>
              <a:rPr lang="it-IT" sz="1600" b="1" kern="0" dirty="0">
                <a:latin typeface="Calibri" panose="020F0502020204030204" pitchFamily="34" charset="0"/>
                <a:ea typeface="Calibri" panose="020F0502020204030204" pitchFamily="34" charset="0"/>
                <a:cs typeface="Calibri" panose="020F0502020204030204" pitchFamily="34" charset="0"/>
              </a:rPr>
              <a:t>soluzione tecnica</a:t>
            </a:r>
            <a:r>
              <a:rPr lang="it-IT" sz="1600" kern="0" dirty="0">
                <a:latin typeface="Calibri" panose="020F0502020204030204" pitchFamily="34" charset="0"/>
                <a:ea typeface="Calibri" panose="020F0502020204030204" pitchFamily="34" charset="0"/>
                <a:cs typeface="Calibri" panose="020F0502020204030204" pitchFamily="34" charset="0"/>
              </a:rPr>
              <a:t> </a:t>
            </a:r>
            <a:r>
              <a:rPr lang="it-IT" sz="1600" b="1" kern="0" dirty="0">
                <a:latin typeface="Calibri" panose="020F0502020204030204" pitchFamily="34" charset="0"/>
                <a:ea typeface="Calibri" panose="020F0502020204030204" pitchFamily="34" charset="0"/>
                <a:cs typeface="Calibri" panose="020F0502020204030204" pitchFamily="34" charset="0"/>
              </a:rPr>
              <a:t>che rispetti la sovranità </a:t>
            </a:r>
            <a:r>
              <a:rPr lang="it-IT" sz="1600" kern="0" dirty="0">
                <a:latin typeface="Calibri" panose="020F0502020204030204" pitchFamily="34" charset="0"/>
                <a:ea typeface="Calibri" panose="020F0502020204030204" pitchFamily="34" charset="0"/>
                <a:cs typeface="Calibri" panose="020F0502020204030204" pitchFamily="34" charset="0"/>
              </a:rPr>
              <a:t>di ciascuno Stato Membro e che garantisca la </a:t>
            </a:r>
            <a:r>
              <a:rPr lang="it-IT" sz="1600" b="1" kern="0" dirty="0">
                <a:latin typeface="Calibri" panose="020F0502020204030204" pitchFamily="34" charset="0"/>
                <a:ea typeface="Calibri" panose="020F0502020204030204" pitchFamily="34" charset="0"/>
                <a:cs typeface="Calibri" panose="020F0502020204030204" pitchFamily="34" charset="0"/>
              </a:rPr>
              <a:t>tutela della privacy</a:t>
            </a:r>
            <a:r>
              <a:rPr lang="it-IT" sz="1600" kern="0" dirty="0">
                <a:latin typeface="Calibri" panose="020F0502020204030204" pitchFamily="34" charset="0"/>
                <a:ea typeface="Calibri" panose="020F0502020204030204" pitchFamily="34" charset="0"/>
                <a:cs typeface="Calibri" panose="020F0502020204030204" pitchFamily="34" charset="0"/>
              </a:rPr>
              <a:t> dei cittadini</a:t>
            </a:r>
          </a:p>
        </p:txBody>
      </p:sp>
    </p:spTree>
    <p:extLst>
      <p:ext uri="{BB962C8B-B14F-4D97-AF65-F5344CB8AC3E}">
        <p14:creationId xmlns:p14="http://schemas.microsoft.com/office/powerpoint/2010/main" val="8114782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Rectangle 166"/>
          <p:cNvSpPr/>
          <p:nvPr/>
        </p:nvSpPr>
        <p:spPr>
          <a:xfrm>
            <a:off x="623888" y="1001595"/>
            <a:ext cx="1577299" cy="5163710"/>
          </a:xfrm>
          <a:prstGeom prst="rect">
            <a:avLst/>
          </a:prstGeom>
          <a:solidFill>
            <a:srgbClr val="5B9BD5"/>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600" b="1" kern="0" dirty="0">
                <a:solidFill>
                  <a:schemeClr val="bg1"/>
                </a:solidFill>
                <a:latin typeface="Calibri" panose="020F0502020204030204" pitchFamily="34" charset="0"/>
                <a:cs typeface="Calibri" panose="020F0502020204030204" pitchFamily="34" charset="0"/>
              </a:rPr>
              <a:t>Il Sig</a:t>
            </a:r>
            <a:r>
              <a:rPr kumimoji="0" lang="it-IT" sz="1600" b="1" i="0" u="none" strike="noStrike" kern="0" cap="none" spc="0" normalizeH="0" baseline="0" dirty="0">
                <a:ln>
                  <a:noFill/>
                </a:ln>
                <a:solidFill>
                  <a:schemeClr val="bg1"/>
                </a:solidFill>
                <a:effectLst/>
                <a:uLnTx/>
                <a:uFillTx/>
                <a:latin typeface="Calibri" panose="020F0502020204030204" pitchFamily="34" charset="0"/>
                <a:cs typeface="Calibri" panose="020F0502020204030204" pitchFamily="34" charset="0"/>
              </a:rPr>
              <a:t>. Rossi è nato in Italia. Si </a:t>
            </a:r>
            <a:r>
              <a:rPr lang="it-IT" sz="1600" b="1" kern="0" dirty="0">
                <a:solidFill>
                  <a:schemeClr val="bg1"/>
                </a:solidFill>
                <a:latin typeface="Calibri" panose="020F0502020204030204" pitchFamily="34" charset="0"/>
                <a:cs typeface="Calibri" panose="020F0502020204030204" pitchFamily="34" charset="0"/>
              </a:rPr>
              <a:t>trasferisce prima in Francia e poi in Germania</a:t>
            </a:r>
            <a:endParaRPr kumimoji="0" lang="it-IT" sz="1600" b="1" i="0" u="none" strike="noStrike" kern="0" cap="none" spc="0" normalizeH="0" baseline="0" dirty="0">
              <a:ln>
                <a:noFill/>
              </a:ln>
              <a:solidFill>
                <a:schemeClr val="bg1"/>
              </a:solidFill>
              <a:effectLst/>
              <a:uLnTx/>
              <a:uFillTx/>
              <a:latin typeface="Calibri" panose="020F0502020204030204" pitchFamily="34" charset="0"/>
              <a:cs typeface="Calibri" panose="020F0502020204030204" pitchFamily="34" charset="0"/>
            </a:endParaRPr>
          </a:p>
        </p:txBody>
      </p:sp>
      <p:grpSp>
        <p:nvGrpSpPr>
          <p:cNvPr id="5" name="Group 4"/>
          <p:cNvGrpSpPr/>
          <p:nvPr/>
        </p:nvGrpSpPr>
        <p:grpSpPr>
          <a:xfrm>
            <a:off x="724067" y="2249055"/>
            <a:ext cx="1376939" cy="3780000"/>
            <a:chOff x="508168" y="2548401"/>
            <a:chExt cx="1376939" cy="3276000"/>
          </a:xfrm>
        </p:grpSpPr>
        <p:sp>
          <p:nvSpPr>
            <p:cNvPr id="168" name="Rectangle 167"/>
            <p:cNvSpPr/>
            <p:nvPr/>
          </p:nvSpPr>
          <p:spPr>
            <a:xfrm>
              <a:off x="508168" y="2548401"/>
              <a:ext cx="1376939" cy="3276000"/>
            </a:xfrm>
            <a:prstGeom prst="rect">
              <a:avLst/>
            </a:prstGeom>
            <a:solidFill>
              <a:sysClr val="window" lastClr="FFFFFF"/>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grpSp>
          <p:nvGrpSpPr>
            <p:cNvPr id="200" name="Group 199"/>
            <p:cNvGrpSpPr/>
            <p:nvPr/>
          </p:nvGrpSpPr>
          <p:grpSpPr>
            <a:xfrm>
              <a:off x="726121" y="2757772"/>
              <a:ext cx="941033" cy="2857260"/>
              <a:chOff x="734755" y="2683534"/>
              <a:chExt cx="941033" cy="3506073"/>
            </a:xfrm>
          </p:grpSpPr>
          <p:grpSp>
            <p:nvGrpSpPr>
              <p:cNvPr id="201" name="Group 200"/>
              <p:cNvGrpSpPr/>
              <p:nvPr/>
            </p:nvGrpSpPr>
            <p:grpSpPr>
              <a:xfrm>
                <a:off x="809122" y="2683534"/>
                <a:ext cx="792299" cy="699681"/>
                <a:chOff x="862561" y="2633394"/>
                <a:chExt cx="792299" cy="699681"/>
              </a:xfrm>
            </p:grpSpPr>
            <p:sp>
              <p:nvSpPr>
                <p:cNvPr id="217" name="Oval 216"/>
                <p:cNvSpPr>
                  <a:spLocks noChangeAspect="1"/>
                </p:cNvSpPr>
                <p:nvPr/>
              </p:nvSpPr>
              <p:spPr>
                <a:xfrm>
                  <a:off x="862561" y="2633394"/>
                  <a:ext cx="446540" cy="446540"/>
                </a:xfrm>
                <a:prstGeom prst="ellipse">
                  <a:avLst/>
                </a:prstGeom>
                <a:blipFill>
                  <a:blip r:embed="rId3">
                    <a:extLst>
                      <a:ext uri="{96DAC541-7B7A-43D3-8B79-37D633B846F1}">
                        <asvg:svgBlip xmlns:asvg="http://schemas.microsoft.com/office/drawing/2016/SVG/main" xmlns="" r:embed="rId4"/>
                      </a:ext>
                    </a:extLst>
                  </a:blip>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pic>
              <p:nvPicPr>
                <p:cNvPr id="218" name="Picture 217"/>
                <p:cNvPicPr>
                  <a:picLocks noChangeAspect="1"/>
                </p:cNvPicPr>
                <p:nvPr/>
              </p:nvPicPr>
              <p:blipFill>
                <a:blip r:embed="rId5">
                  <a:clrChange>
                    <a:clrFrom>
                      <a:srgbClr val="FFFFFF"/>
                    </a:clrFrom>
                    <a:clrTo>
                      <a:srgbClr val="FFFFFF">
                        <a:alpha val="0"/>
                      </a:srgbClr>
                    </a:clrTo>
                  </a:clrChange>
                </a:blip>
                <a:stretch>
                  <a:fillRect/>
                </a:stretch>
              </p:blipFill>
              <p:spPr>
                <a:xfrm>
                  <a:off x="1021136" y="2701089"/>
                  <a:ext cx="633724" cy="631986"/>
                </a:xfrm>
                <a:prstGeom prst="rect">
                  <a:avLst/>
                </a:prstGeom>
              </p:spPr>
            </p:pic>
          </p:grpSp>
          <p:grpSp>
            <p:nvGrpSpPr>
              <p:cNvPr id="202" name="Group 201"/>
              <p:cNvGrpSpPr/>
              <p:nvPr/>
            </p:nvGrpSpPr>
            <p:grpSpPr>
              <a:xfrm>
                <a:off x="809122" y="4084560"/>
                <a:ext cx="792299" cy="702808"/>
                <a:chOff x="862561" y="3922353"/>
                <a:chExt cx="792299" cy="702808"/>
              </a:xfrm>
            </p:grpSpPr>
            <p:sp>
              <p:nvSpPr>
                <p:cNvPr id="215" name="Oval 214"/>
                <p:cNvSpPr/>
                <p:nvPr/>
              </p:nvSpPr>
              <p:spPr>
                <a:xfrm>
                  <a:off x="862561" y="3922353"/>
                  <a:ext cx="446540" cy="446540"/>
                </a:xfrm>
                <a:prstGeom prst="ellipse">
                  <a:avLst/>
                </a:prstGeom>
                <a:blipFill>
                  <a:blip r:embed="rId6"/>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pic>
              <p:nvPicPr>
                <p:cNvPr id="216" name="Picture 215"/>
                <p:cNvPicPr>
                  <a:picLocks noChangeAspect="1"/>
                </p:cNvPicPr>
                <p:nvPr/>
              </p:nvPicPr>
              <p:blipFill>
                <a:blip r:embed="rId5">
                  <a:clrChange>
                    <a:clrFrom>
                      <a:srgbClr val="FFFFFF"/>
                    </a:clrFrom>
                    <a:clrTo>
                      <a:srgbClr val="FFFFFF">
                        <a:alpha val="0"/>
                      </a:srgbClr>
                    </a:clrTo>
                  </a:clrChange>
                </a:blip>
                <a:stretch>
                  <a:fillRect/>
                </a:stretch>
              </p:blipFill>
              <p:spPr>
                <a:xfrm>
                  <a:off x="1021136" y="3993175"/>
                  <a:ext cx="633724" cy="631986"/>
                </a:xfrm>
                <a:prstGeom prst="rect">
                  <a:avLst/>
                </a:prstGeom>
              </p:spPr>
            </p:pic>
          </p:grpSp>
          <p:grpSp>
            <p:nvGrpSpPr>
              <p:cNvPr id="210" name="Group 209"/>
              <p:cNvGrpSpPr/>
              <p:nvPr/>
            </p:nvGrpSpPr>
            <p:grpSpPr>
              <a:xfrm>
                <a:off x="809122" y="5488713"/>
                <a:ext cx="792299" cy="700894"/>
                <a:chOff x="862561" y="5559212"/>
                <a:chExt cx="792299" cy="700894"/>
              </a:xfrm>
            </p:grpSpPr>
            <p:pic>
              <p:nvPicPr>
                <p:cNvPr id="213" name="Picture 2" descr="Risultati immagini per germania"/>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2561" y="5559212"/>
                  <a:ext cx="446540" cy="446540"/>
                </a:xfrm>
                <a:prstGeom prst="ellipse">
                  <a:avLst/>
                </a:prstGeom>
                <a:noFill/>
                <a:extLst>
                  <a:ext uri="{909E8E84-426E-40DD-AFC4-6F175D3DCCD1}">
                    <a14:hiddenFill xmlns:a14="http://schemas.microsoft.com/office/drawing/2010/main">
                      <a:solidFill>
                        <a:srgbClr val="FFFFFF"/>
                      </a:solidFill>
                    </a14:hiddenFill>
                  </a:ext>
                </a:extLst>
              </p:spPr>
            </p:pic>
            <p:pic>
              <p:nvPicPr>
                <p:cNvPr id="214" name="Picture 213"/>
                <p:cNvPicPr>
                  <a:picLocks noChangeAspect="1"/>
                </p:cNvPicPr>
                <p:nvPr/>
              </p:nvPicPr>
              <p:blipFill>
                <a:blip r:embed="rId5">
                  <a:clrChange>
                    <a:clrFrom>
                      <a:srgbClr val="FFFFFF"/>
                    </a:clrFrom>
                    <a:clrTo>
                      <a:srgbClr val="FFFFFF">
                        <a:alpha val="0"/>
                      </a:srgbClr>
                    </a:clrTo>
                  </a:clrChange>
                </a:blip>
                <a:stretch>
                  <a:fillRect/>
                </a:stretch>
              </p:blipFill>
              <p:spPr>
                <a:xfrm>
                  <a:off x="1021136" y="5628120"/>
                  <a:ext cx="633724" cy="631986"/>
                </a:xfrm>
                <a:prstGeom prst="rect">
                  <a:avLst/>
                </a:prstGeom>
              </p:spPr>
            </p:pic>
          </p:grpSp>
          <p:sp>
            <p:nvSpPr>
              <p:cNvPr id="211" name="Isosceles Triangle 210"/>
              <p:cNvSpPr/>
              <p:nvPr/>
            </p:nvSpPr>
            <p:spPr>
              <a:xfrm flipH="1" flipV="1">
                <a:off x="734755" y="3683105"/>
                <a:ext cx="941033" cy="101565"/>
              </a:xfrm>
              <a:prstGeom prst="triangle">
                <a:avLst/>
              </a:prstGeom>
              <a:solidFill>
                <a:srgbClr val="5B9BD5">
                  <a:lumMod val="40000"/>
                  <a:lumOff val="60000"/>
                </a:srgb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sp>
            <p:nvSpPr>
              <p:cNvPr id="212" name="Isosceles Triangle 211"/>
              <p:cNvSpPr/>
              <p:nvPr/>
            </p:nvSpPr>
            <p:spPr>
              <a:xfrm flipH="1" flipV="1">
                <a:off x="734755" y="5087258"/>
                <a:ext cx="941033" cy="101565"/>
              </a:xfrm>
              <a:prstGeom prst="triangle">
                <a:avLst/>
              </a:prstGeom>
              <a:solidFill>
                <a:srgbClr val="5B9BD5">
                  <a:lumMod val="40000"/>
                  <a:lumOff val="60000"/>
                </a:srgb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grpSp>
      </p:grpSp>
      <p:sp>
        <p:nvSpPr>
          <p:cNvPr id="108"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399" i="1" dirty="0">
                <a:latin typeface="Calibri" panose="020F0502020204030204" pitchFamily="34" charset="0"/>
                <a:cs typeface="Calibri" panose="020F0502020204030204" pitchFamily="34" charset="0"/>
              </a:rPr>
              <a:t>Ipotesi di gestione del numero identificativo</a:t>
            </a:r>
          </a:p>
        </p:txBody>
      </p:sp>
      <p:grpSp>
        <p:nvGrpSpPr>
          <p:cNvPr id="116" name="Group 115"/>
          <p:cNvGrpSpPr>
            <a:grpSpLocks noChangeAspect="1"/>
          </p:cNvGrpSpPr>
          <p:nvPr/>
        </p:nvGrpSpPr>
        <p:grpSpPr>
          <a:xfrm>
            <a:off x="8064545" y="996862"/>
            <a:ext cx="3503730" cy="3713034"/>
            <a:chOff x="8965740" y="1132887"/>
            <a:chExt cx="3227764" cy="3420583"/>
          </a:xfrm>
        </p:grpSpPr>
        <p:grpSp>
          <p:nvGrpSpPr>
            <p:cNvPr id="117" name="Group 116"/>
            <p:cNvGrpSpPr/>
            <p:nvPr/>
          </p:nvGrpSpPr>
          <p:grpSpPr>
            <a:xfrm>
              <a:off x="8965740" y="1132887"/>
              <a:ext cx="3227764" cy="3420583"/>
              <a:chOff x="8965740" y="2009726"/>
              <a:chExt cx="3227764" cy="3420583"/>
            </a:xfrm>
          </p:grpSpPr>
          <p:grpSp>
            <p:nvGrpSpPr>
              <p:cNvPr id="119" name="Group 118"/>
              <p:cNvGrpSpPr>
                <a:grpSpLocks noChangeAspect="1"/>
              </p:cNvGrpSpPr>
              <p:nvPr/>
            </p:nvGrpSpPr>
            <p:grpSpPr>
              <a:xfrm>
                <a:off x="8965740" y="2242939"/>
                <a:ext cx="3200676" cy="3187370"/>
                <a:chOff x="5301787" y="1383244"/>
                <a:chExt cx="4868657" cy="4848418"/>
              </a:xfrm>
            </p:grpSpPr>
            <p:grpSp>
              <p:nvGrpSpPr>
                <p:cNvPr id="122" name="Shape 2012"/>
                <p:cNvGrpSpPr/>
                <p:nvPr/>
              </p:nvGrpSpPr>
              <p:grpSpPr>
                <a:xfrm>
                  <a:off x="5301787" y="1383244"/>
                  <a:ext cx="4868657" cy="4848418"/>
                  <a:chOff x="3117355" y="235947"/>
                  <a:chExt cx="4298771" cy="4279785"/>
                </a:xfrm>
                <a:solidFill>
                  <a:sysClr val="window" lastClr="FFFFFF">
                    <a:lumMod val="85000"/>
                  </a:sysClr>
                </a:solidFill>
              </p:grpSpPr>
              <p:sp>
                <p:nvSpPr>
                  <p:cNvPr id="138" name="Shape 2013"/>
                  <p:cNvSpPr/>
                  <p:nvPr/>
                </p:nvSpPr>
                <p:spPr>
                  <a:xfrm>
                    <a:off x="5709810" y="2172877"/>
                    <a:ext cx="237476" cy="119326"/>
                  </a:xfrm>
                  <a:custGeom>
                    <a:avLst/>
                    <a:gdLst/>
                    <a:ahLst/>
                    <a:cxnLst/>
                    <a:rect l="0" t="0" r="0" b="0"/>
                    <a:pathLst>
                      <a:path w="120000" h="120000" extrusionOk="0">
                        <a:moveTo>
                          <a:pt x="50769" y="2222"/>
                        </a:moveTo>
                        <a:cubicBezTo>
                          <a:pt x="55384" y="8888"/>
                          <a:pt x="55384" y="8888"/>
                          <a:pt x="55384" y="8888"/>
                        </a:cubicBezTo>
                        <a:cubicBezTo>
                          <a:pt x="58846" y="11111"/>
                          <a:pt x="58846" y="11111"/>
                          <a:pt x="58846" y="11111"/>
                        </a:cubicBezTo>
                        <a:cubicBezTo>
                          <a:pt x="65769" y="17777"/>
                          <a:pt x="65769" y="17777"/>
                          <a:pt x="65769" y="17777"/>
                        </a:cubicBezTo>
                        <a:cubicBezTo>
                          <a:pt x="79615" y="20000"/>
                          <a:pt x="79615" y="20000"/>
                          <a:pt x="79615" y="20000"/>
                        </a:cubicBezTo>
                        <a:cubicBezTo>
                          <a:pt x="81923" y="15555"/>
                          <a:pt x="81923" y="15555"/>
                          <a:pt x="81923" y="15555"/>
                        </a:cubicBezTo>
                        <a:cubicBezTo>
                          <a:pt x="86538" y="13333"/>
                          <a:pt x="86538" y="13333"/>
                          <a:pt x="86538" y="13333"/>
                        </a:cubicBezTo>
                        <a:cubicBezTo>
                          <a:pt x="94615" y="8888"/>
                          <a:pt x="94615" y="8888"/>
                          <a:pt x="94615" y="8888"/>
                        </a:cubicBezTo>
                        <a:cubicBezTo>
                          <a:pt x="98076" y="17777"/>
                          <a:pt x="98076" y="17777"/>
                          <a:pt x="98076" y="17777"/>
                        </a:cubicBezTo>
                        <a:cubicBezTo>
                          <a:pt x="100384" y="17777"/>
                          <a:pt x="100384" y="17777"/>
                          <a:pt x="100384" y="17777"/>
                        </a:cubicBezTo>
                        <a:cubicBezTo>
                          <a:pt x="100384" y="17777"/>
                          <a:pt x="102692" y="22222"/>
                          <a:pt x="105000" y="26666"/>
                        </a:cubicBezTo>
                        <a:cubicBezTo>
                          <a:pt x="106153" y="31111"/>
                          <a:pt x="108461" y="33333"/>
                          <a:pt x="108461" y="33333"/>
                        </a:cubicBezTo>
                        <a:cubicBezTo>
                          <a:pt x="106153" y="48888"/>
                          <a:pt x="106153" y="48888"/>
                          <a:pt x="106153" y="48888"/>
                        </a:cubicBezTo>
                        <a:cubicBezTo>
                          <a:pt x="106153" y="55555"/>
                          <a:pt x="106153" y="55555"/>
                          <a:pt x="106153" y="55555"/>
                        </a:cubicBezTo>
                        <a:cubicBezTo>
                          <a:pt x="106153" y="77777"/>
                          <a:pt x="106153" y="77777"/>
                          <a:pt x="106153" y="77777"/>
                        </a:cubicBezTo>
                        <a:cubicBezTo>
                          <a:pt x="109615" y="86666"/>
                          <a:pt x="109615" y="86666"/>
                          <a:pt x="109615" y="86666"/>
                        </a:cubicBezTo>
                        <a:cubicBezTo>
                          <a:pt x="109615" y="88888"/>
                          <a:pt x="109615" y="88888"/>
                          <a:pt x="109615" y="88888"/>
                        </a:cubicBezTo>
                        <a:cubicBezTo>
                          <a:pt x="114230" y="86666"/>
                          <a:pt x="114230" y="86666"/>
                          <a:pt x="114230" y="86666"/>
                        </a:cubicBezTo>
                        <a:cubicBezTo>
                          <a:pt x="114230" y="86666"/>
                          <a:pt x="115384" y="86666"/>
                          <a:pt x="115384" y="84444"/>
                        </a:cubicBezTo>
                        <a:cubicBezTo>
                          <a:pt x="115384" y="86666"/>
                          <a:pt x="114230" y="86666"/>
                          <a:pt x="114230" y="86666"/>
                        </a:cubicBezTo>
                        <a:cubicBezTo>
                          <a:pt x="103846" y="91111"/>
                          <a:pt x="103846" y="91111"/>
                          <a:pt x="103846" y="91111"/>
                        </a:cubicBezTo>
                        <a:cubicBezTo>
                          <a:pt x="94615" y="102222"/>
                          <a:pt x="94615" y="102222"/>
                          <a:pt x="94615" y="102222"/>
                        </a:cubicBezTo>
                        <a:cubicBezTo>
                          <a:pt x="94615" y="102222"/>
                          <a:pt x="72692" y="106666"/>
                          <a:pt x="70384" y="106666"/>
                        </a:cubicBezTo>
                        <a:cubicBezTo>
                          <a:pt x="69230" y="106666"/>
                          <a:pt x="55384" y="108888"/>
                          <a:pt x="53076" y="108888"/>
                        </a:cubicBezTo>
                        <a:cubicBezTo>
                          <a:pt x="51923" y="111111"/>
                          <a:pt x="45000" y="113333"/>
                          <a:pt x="42692" y="113333"/>
                        </a:cubicBezTo>
                        <a:cubicBezTo>
                          <a:pt x="40384" y="113333"/>
                          <a:pt x="30000" y="115555"/>
                          <a:pt x="27692" y="115555"/>
                        </a:cubicBezTo>
                        <a:cubicBezTo>
                          <a:pt x="25384" y="115555"/>
                          <a:pt x="19615" y="115555"/>
                          <a:pt x="19615" y="115555"/>
                        </a:cubicBezTo>
                        <a:cubicBezTo>
                          <a:pt x="19615" y="115555"/>
                          <a:pt x="8076" y="117777"/>
                          <a:pt x="4615" y="117777"/>
                        </a:cubicBezTo>
                        <a:cubicBezTo>
                          <a:pt x="1153" y="120000"/>
                          <a:pt x="5769" y="108888"/>
                          <a:pt x="5769" y="108888"/>
                        </a:cubicBezTo>
                        <a:cubicBezTo>
                          <a:pt x="5769" y="108888"/>
                          <a:pt x="19615" y="86666"/>
                          <a:pt x="15000" y="88888"/>
                        </a:cubicBezTo>
                        <a:cubicBezTo>
                          <a:pt x="9230" y="84444"/>
                          <a:pt x="9230" y="84444"/>
                          <a:pt x="9230" y="84444"/>
                        </a:cubicBezTo>
                        <a:cubicBezTo>
                          <a:pt x="4615" y="77777"/>
                          <a:pt x="4615" y="77777"/>
                          <a:pt x="4615" y="77777"/>
                        </a:cubicBezTo>
                        <a:cubicBezTo>
                          <a:pt x="0" y="57777"/>
                          <a:pt x="5769" y="48888"/>
                          <a:pt x="10384" y="48888"/>
                        </a:cubicBezTo>
                        <a:cubicBezTo>
                          <a:pt x="13846" y="48888"/>
                          <a:pt x="23076" y="55555"/>
                          <a:pt x="28846" y="55555"/>
                        </a:cubicBezTo>
                        <a:cubicBezTo>
                          <a:pt x="49615" y="55555"/>
                          <a:pt x="45000" y="42222"/>
                          <a:pt x="43846" y="17777"/>
                        </a:cubicBezTo>
                        <a:cubicBezTo>
                          <a:pt x="43846" y="11111"/>
                          <a:pt x="45000" y="4444"/>
                          <a:pt x="46153" y="2222"/>
                        </a:cubicBezTo>
                        <a:cubicBezTo>
                          <a:pt x="47307" y="0"/>
                          <a:pt x="49615" y="4444"/>
                          <a:pt x="50769" y="2222"/>
                        </a:cubicBezTo>
                        <a:close/>
                        <a:moveTo>
                          <a:pt x="117692" y="82222"/>
                        </a:moveTo>
                        <a:cubicBezTo>
                          <a:pt x="117692" y="82222"/>
                          <a:pt x="117692" y="82222"/>
                          <a:pt x="117692" y="82222"/>
                        </a:cubicBezTo>
                        <a:cubicBezTo>
                          <a:pt x="117692" y="82222"/>
                          <a:pt x="117692" y="82222"/>
                          <a:pt x="117692" y="82222"/>
                        </a:cubicBezTo>
                        <a:cubicBezTo>
                          <a:pt x="117692" y="84444"/>
                          <a:pt x="117692" y="84444"/>
                          <a:pt x="117692" y="84444"/>
                        </a:cubicBezTo>
                        <a:cubicBezTo>
                          <a:pt x="117692" y="82222"/>
                          <a:pt x="117692" y="82222"/>
                          <a:pt x="117692" y="82222"/>
                        </a:cubicBezTo>
                        <a:cubicBezTo>
                          <a:pt x="117692" y="82222"/>
                          <a:pt x="117692" y="82222"/>
                          <a:pt x="117692" y="82222"/>
                        </a:cubicBezTo>
                        <a:close/>
                        <a:moveTo>
                          <a:pt x="117692" y="84444"/>
                        </a:moveTo>
                        <a:cubicBezTo>
                          <a:pt x="117692" y="84444"/>
                          <a:pt x="117692" y="84444"/>
                          <a:pt x="117692" y="84444"/>
                        </a:cubicBezTo>
                        <a:cubicBezTo>
                          <a:pt x="118846" y="86666"/>
                          <a:pt x="120000" y="91111"/>
                          <a:pt x="120000" y="93333"/>
                        </a:cubicBezTo>
                        <a:cubicBezTo>
                          <a:pt x="120000" y="93333"/>
                          <a:pt x="120000" y="93333"/>
                          <a:pt x="120000" y="93333"/>
                        </a:cubicBezTo>
                        <a:cubicBezTo>
                          <a:pt x="120000" y="91111"/>
                          <a:pt x="118846" y="86666"/>
                          <a:pt x="117692" y="8444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39" name="Shape 2014"/>
                  <p:cNvSpPr/>
                  <p:nvPr/>
                </p:nvSpPr>
                <p:spPr>
                  <a:xfrm>
                    <a:off x="5951685" y="3592014"/>
                    <a:ext cx="171510" cy="172598"/>
                  </a:xfrm>
                  <a:custGeom>
                    <a:avLst/>
                    <a:gdLst/>
                    <a:ahLst/>
                    <a:cxnLst/>
                    <a:rect l="0" t="0" r="0" b="0"/>
                    <a:pathLst>
                      <a:path w="120000" h="120000" extrusionOk="0">
                        <a:moveTo>
                          <a:pt x="113600" y="73846"/>
                        </a:moveTo>
                        <a:cubicBezTo>
                          <a:pt x="112000" y="75384"/>
                          <a:pt x="112000" y="75384"/>
                          <a:pt x="112000" y="75384"/>
                        </a:cubicBezTo>
                        <a:cubicBezTo>
                          <a:pt x="105600" y="78461"/>
                          <a:pt x="97600" y="75384"/>
                          <a:pt x="96000" y="86153"/>
                        </a:cubicBezTo>
                        <a:cubicBezTo>
                          <a:pt x="96000" y="104615"/>
                          <a:pt x="89600" y="86153"/>
                          <a:pt x="83200" y="86153"/>
                        </a:cubicBezTo>
                        <a:cubicBezTo>
                          <a:pt x="78400" y="86153"/>
                          <a:pt x="78400" y="89230"/>
                          <a:pt x="75200" y="92307"/>
                        </a:cubicBezTo>
                        <a:cubicBezTo>
                          <a:pt x="70400" y="95384"/>
                          <a:pt x="65600" y="96923"/>
                          <a:pt x="64000" y="100000"/>
                        </a:cubicBezTo>
                        <a:cubicBezTo>
                          <a:pt x="64000" y="103076"/>
                          <a:pt x="62400" y="106153"/>
                          <a:pt x="62400" y="109230"/>
                        </a:cubicBezTo>
                        <a:cubicBezTo>
                          <a:pt x="64000" y="113846"/>
                          <a:pt x="64000" y="118461"/>
                          <a:pt x="60800" y="118461"/>
                        </a:cubicBezTo>
                        <a:cubicBezTo>
                          <a:pt x="59200" y="118461"/>
                          <a:pt x="54400" y="120000"/>
                          <a:pt x="51200" y="118461"/>
                        </a:cubicBezTo>
                        <a:cubicBezTo>
                          <a:pt x="51200" y="116923"/>
                          <a:pt x="51200" y="116923"/>
                          <a:pt x="51200" y="116923"/>
                        </a:cubicBezTo>
                        <a:cubicBezTo>
                          <a:pt x="52800" y="112307"/>
                          <a:pt x="52800" y="112307"/>
                          <a:pt x="52800" y="112307"/>
                        </a:cubicBezTo>
                        <a:cubicBezTo>
                          <a:pt x="49600" y="107692"/>
                          <a:pt x="49600" y="107692"/>
                          <a:pt x="49600" y="107692"/>
                        </a:cubicBezTo>
                        <a:cubicBezTo>
                          <a:pt x="49600" y="107692"/>
                          <a:pt x="49600" y="107692"/>
                          <a:pt x="49600" y="106153"/>
                        </a:cubicBezTo>
                        <a:cubicBezTo>
                          <a:pt x="48000" y="104615"/>
                          <a:pt x="48000" y="101538"/>
                          <a:pt x="48000" y="101538"/>
                        </a:cubicBezTo>
                        <a:cubicBezTo>
                          <a:pt x="46400" y="96923"/>
                          <a:pt x="46400" y="96923"/>
                          <a:pt x="46400" y="96923"/>
                        </a:cubicBezTo>
                        <a:cubicBezTo>
                          <a:pt x="46400" y="96923"/>
                          <a:pt x="43200" y="93846"/>
                          <a:pt x="41600" y="92307"/>
                        </a:cubicBezTo>
                        <a:cubicBezTo>
                          <a:pt x="41600" y="92307"/>
                          <a:pt x="41600" y="90769"/>
                          <a:pt x="38400" y="89230"/>
                        </a:cubicBezTo>
                        <a:cubicBezTo>
                          <a:pt x="36800" y="89230"/>
                          <a:pt x="33600" y="87692"/>
                          <a:pt x="33600" y="87692"/>
                        </a:cubicBezTo>
                        <a:cubicBezTo>
                          <a:pt x="32000" y="87692"/>
                          <a:pt x="32000" y="87692"/>
                          <a:pt x="32000" y="87692"/>
                        </a:cubicBezTo>
                        <a:cubicBezTo>
                          <a:pt x="32000" y="87692"/>
                          <a:pt x="30400" y="87692"/>
                          <a:pt x="30400" y="87692"/>
                        </a:cubicBezTo>
                        <a:cubicBezTo>
                          <a:pt x="27200" y="84615"/>
                          <a:pt x="27200" y="84615"/>
                          <a:pt x="27200" y="84615"/>
                        </a:cubicBezTo>
                        <a:cubicBezTo>
                          <a:pt x="24000" y="84615"/>
                          <a:pt x="24000" y="84615"/>
                          <a:pt x="24000" y="84615"/>
                        </a:cubicBezTo>
                        <a:cubicBezTo>
                          <a:pt x="22400" y="80000"/>
                          <a:pt x="22400" y="80000"/>
                          <a:pt x="22400" y="80000"/>
                        </a:cubicBezTo>
                        <a:cubicBezTo>
                          <a:pt x="20800" y="75384"/>
                          <a:pt x="20800" y="75384"/>
                          <a:pt x="20800" y="75384"/>
                        </a:cubicBezTo>
                        <a:cubicBezTo>
                          <a:pt x="17600" y="72307"/>
                          <a:pt x="17600" y="72307"/>
                          <a:pt x="17600" y="72307"/>
                        </a:cubicBezTo>
                        <a:cubicBezTo>
                          <a:pt x="14400" y="70769"/>
                          <a:pt x="14400" y="70769"/>
                          <a:pt x="14400" y="70769"/>
                        </a:cubicBezTo>
                        <a:cubicBezTo>
                          <a:pt x="12800" y="69230"/>
                          <a:pt x="12800" y="69230"/>
                          <a:pt x="12800" y="69230"/>
                        </a:cubicBezTo>
                        <a:cubicBezTo>
                          <a:pt x="9600" y="67692"/>
                          <a:pt x="9600" y="67692"/>
                          <a:pt x="9600" y="67692"/>
                        </a:cubicBezTo>
                        <a:cubicBezTo>
                          <a:pt x="8000" y="64615"/>
                          <a:pt x="11200" y="61538"/>
                          <a:pt x="9600" y="58461"/>
                        </a:cubicBezTo>
                        <a:cubicBezTo>
                          <a:pt x="6400" y="55384"/>
                          <a:pt x="0" y="52307"/>
                          <a:pt x="1600" y="52307"/>
                        </a:cubicBezTo>
                        <a:cubicBezTo>
                          <a:pt x="3200" y="49230"/>
                          <a:pt x="9600" y="50769"/>
                          <a:pt x="12800" y="49230"/>
                        </a:cubicBezTo>
                        <a:cubicBezTo>
                          <a:pt x="14400" y="49230"/>
                          <a:pt x="14400" y="46153"/>
                          <a:pt x="16000" y="44615"/>
                        </a:cubicBezTo>
                        <a:cubicBezTo>
                          <a:pt x="17600" y="44615"/>
                          <a:pt x="20800" y="46153"/>
                          <a:pt x="20800" y="43076"/>
                        </a:cubicBezTo>
                        <a:cubicBezTo>
                          <a:pt x="20800" y="40000"/>
                          <a:pt x="24000" y="40000"/>
                          <a:pt x="25600" y="41538"/>
                        </a:cubicBezTo>
                        <a:cubicBezTo>
                          <a:pt x="25600" y="41538"/>
                          <a:pt x="27200" y="41538"/>
                          <a:pt x="30400" y="38461"/>
                        </a:cubicBezTo>
                        <a:cubicBezTo>
                          <a:pt x="35200" y="36923"/>
                          <a:pt x="32000" y="36923"/>
                          <a:pt x="32000" y="36923"/>
                        </a:cubicBezTo>
                        <a:cubicBezTo>
                          <a:pt x="30400" y="32307"/>
                          <a:pt x="30400" y="32307"/>
                          <a:pt x="30400" y="32307"/>
                        </a:cubicBezTo>
                        <a:cubicBezTo>
                          <a:pt x="40000" y="23076"/>
                          <a:pt x="40000" y="23076"/>
                          <a:pt x="40000" y="23076"/>
                        </a:cubicBezTo>
                        <a:cubicBezTo>
                          <a:pt x="41600" y="15384"/>
                          <a:pt x="41600" y="15384"/>
                          <a:pt x="41600" y="15384"/>
                        </a:cubicBezTo>
                        <a:cubicBezTo>
                          <a:pt x="41600" y="15384"/>
                          <a:pt x="40000" y="13846"/>
                          <a:pt x="38400" y="12307"/>
                        </a:cubicBezTo>
                        <a:cubicBezTo>
                          <a:pt x="35200" y="9230"/>
                          <a:pt x="36800" y="9230"/>
                          <a:pt x="36800" y="7692"/>
                        </a:cubicBezTo>
                        <a:cubicBezTo>
                          <a:pt x="38400" y="6153"/>
                          <a:pt x="40000" y="6153"/>
                          <a:pt x="40000" y="6153"/>
                        </a:cubicBezTo>
                        <a:cubicBezTo>
                          <a:pt x="41600" y="4615"/>
                          <a:pt x="44800" y="4615"/>
                          <a:pt x="48000" y="1538"/>
                        </a:cubicBezTo>
                        <a:cubicBezTo>
                          <a:pt x="51200" y="0"/>
                          <a:pt x="51200" y="3076"/>
                          <a:pt x="51200" y="3076"/>
                        </a:cubicBezTo>
                        <a:cubicBezTo>
                          <a:pt x="51200" y="3076"/>
                          <a:pt x="52800" y="7692"/>
                          <a:pt x="57600" y="9230"/>
                        </a:cubicBezTo>
                        <a:cubicBezTo>
                          <a:pt x="60800" y="10769"/>
                          <a:pt x="62400" y="10769"/>
                          <a:pt x="62400" y="10769"/>
                        </a:cubicBezTo>
                        <a:cubicBezTo>
                          <a:pt x="67200" y="10769"/>
                          <a:pt x="67200" y="10769"/>
                          <a:pt x="67200" y="10769"/>
                        </a:cubicBezTo>
                        <a:cubicBezTo>
                          <a:pt x="75200" y="16923"/>
                          <a:pt x="75200" y="16923"/>
                          <a:pt x="75200" y="16923"/>
                        </a:cubicBezTo>
                        <a:cubicBezTo>
                          <a:pt x="75200" y="16923"/>
                          <a:pt x="75200" y="16923"/>
                          <a:pt x="76800" y="18461"/>
                        </a:cubicBezTo>
                        <a:cubicBezTo>
                          <a:pt x="78400" y="20000"/>
                          <a:pt x="80000" y="26153"/>
                          <a:pt x="80000" y="26153"/>
                        </a:cubicBezTo>
                        <a:cubicBezTo>
                          <a:pt x="92800" y="29230"/>
                          <a:pt x="92800" y="29230"/>
                          <a:pt x="92800" y="29230"/>
                        </a:cubicBezTo>
                        <a:cubicBezTo>
                          <a:pt x="94400" y="35384"/>
                          <a:pt x="94400" y="35384"/>
                          <a:pt x="94400" y="35384"/>
                        </a:cubicBezTo>
                        <a:cubicBezTo>
                          <a:pt x="94400" y="35384"/>
                          <a:pt x="100800" y="35384"/>
                          <a:pt x="104000" y="36923"/>
                        </a:cubicBezTo>
                        <a:cubicBezTo>
                          <a:pt x="107200" y="36923"/>
                          <a:pt x="107200" y="40000"/>
                          <a:pt x="107200" y="40000"/>
                        </a:cubicBezTo>
                        <a:cubicBezTo>
                          <a:pt x="112000" y="38461"/>
                          <a:pt x="112000" y="38461"/>
                          <a:pt x="112000" y="38461"/>
                        </a:cubicBezTo>
                        <a:cubicBezTo>
                          <a:pt x="120000" y="40000"/>
                          <a:pt x="120000" y="40000"/>
                          <a:pt x="120000" y="40000"/>
                        </a:cubicBezTo>
                        <a:cubicBezTo>
                          <a:pt x="120000" y="40000"/>
                          <a:pt x="120000" y="41538"/>
                          <a:pt x="118400" y="43076"/>
                        </a:cubicBezTo>
                        <a:cubicBezTo>
                          <a:pt x="116800" y="43076"/>
                          <a:pt x="116800" y="46153"/>
                          <a:pt x="116800" y="47692"/>
                        </a:cubicBezTo>
                        <a:cubicBezTo>
                          <a:pt x="116800" y="50769"/>
                          <a:pt x="116800" y="52307"/>
                          <a:pt x="116800" y="53846"/>
                        </a:cubicBezTo>
                        <a:cubicBezTo>
                          <a:pt x="115200" y="56923"/>
                          <a:pt x="113600" y="55384"/>
                          <a:pt x="112000" y="56923"/>
                        </a:cubicBezTo>
                        <a:cubicBezTo>
                          <a:pt x="110400" y="56923"/>
                          <a:pt x="112000" y="60000"/>
                          <a:pt x="113600" y="63076"/>
                        </a:cubicBezTo>
                        <a:cubicBezTo>
                          <a:pt x="113600" y="64615"/>
                          <a:pt x="113600" y="64615"/>
                          <a:pt x="112000" y="66153"/>
                        </a:cubicBezTo>
                        <a:cubicBezTo>
                          <a:pt x="108800" y="69230"/>
                          <a:pt x="107200" y="69230"/>
                          <a:pt x="107200" y="69230"/>
                        </a:cubicBezTo>
                        <a:cubicBezTo>
                          <a:pt x="112000" y="73846"/>
                          <a:pt x="112000" y="73846"/>
                          <a:pt x="112000" y="73846"/>
                        </a:cubicBezTo>
                        <a:cubicBezTo>
                          <a:pt x="112000" y="73846"/>
                          <a:pt x="112000" y="73846"/>
                          <a:pt x="113600" y="73846"/>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0" name="Shape 2015"/>
                  <p:cNvSpPr/>
                  <p:nvPr/>
                </p:nvSpPr>
                <p:spPr>
                  <a:xfrm>
                    <a:off x="5900012" y="3680444"/>
                    <a:ext cx="193499" cy="353718"/>
                  </a:xfrm>
                  <a:custGeom>
                    <a:avLst/>
                    <a:gdLst/>
                    <a:ahLst/>
                    <a:cxnLst/>
                    <a:rect l="0" t="0" r="0" b="0"/>
                    <a:pathLst>
                      <a:path w="120000" h="120000" extrusionOk="0">
                        <a:moveTo>
                          <a:pt x="69176" y="118500"/>
                        </a:moveTo>
                        <a:cubicBezTo>
                          <a:pt x="73411" y="120000"/>
                          <a:pt x="73411" y="120000"/>
                          <a:pt x="73411" y="120000"/>
                        </a:cubicBezTo>
                        <a:cubicBezTo>
                          <a:pt x="77647" y="119250"/>
                          <a:pt x="77647" y="119250"/>
                          <a:pt x="77647" y="119250"/>
                        </a:cubicBezTo>
                        <a:cubicBezTo>
                          <a:pt x="80470" y="118500"/>
                          <a:pt x="80470" y="118500"/>
                          <a:pt x="80470" y="118500"/>
                        </a:cubicBezTo>
                        <a:cubicBezTo>
                          <a:pt x="80470" y="118500"/>
                          <a:pt x="83294" y="117000"/>
                          <a:pt x="83294" y="117000"/>
                        </a:cubicBezTo>
                        <a:cubicBezTo>
                          <a:pt x="83294" y="117000"/>
                          <a:pt x="83294" y="115500"/>
                          <a:pt x="83294" y="115500"/>
                        </a:cubicBezTo>
                        <a:cubicBezTo>
                          <a:pt x="81882" y="114750"/>
                          <a:pt x="81882" y="114750"/>
                          <a:pt x="81882" y="114750"/>
                        </a:cubicBezTo>
                        <a:cubicBezTo>
                          <a:pt x="81882" y="114750"/>
                          <a:pt x="80470" y="113250"/>
                          <a:pt x="81882" y="113250"/>
                        </a:cubicBezTo>
                        <a:cubicBezTo>
                          <a:pt x="83294" y="113250"/>
                          <a:pt x="84705" y="112500"/>
                          <a:pt x="84705" y="113250"/>
                        </a:cubicBezTo>
                        <a:cubicBezTo>
                          <a:pt x="86117" y="113250"/>
                          <a:pt x="84705" y="113250"/>
                          <a:pt x="86117" y="113250"/>
                        </a:cubicBezTo>
                        <a:cubicBezTo>
                          <a:pt x="87529" y="113250"/>
                          <a:pt x="88941" y="112500"/>
                          <a:pt x="88941" y="112500"/>
                        </a:cubicBezTo>
                        <a:cubicBezTo>
                          <a:pt x="88941" y="111750"/>
                          <a:pt x="88941" y="111750"/>
                          <a:pt x="88941" y="111750"/>
                        </a:cubicBezTo>
                        <a:cubicBezTo>
                          <a:pt x="88941" y="111750"/>
                          <a:pt x="88941" y="111750"/>
                          <a:pt x="88941" y="111750"/>
                        </a:cubicBezTo>
                        <a:cubicBezTo>
                          <a:pt x="87529" y="111000"/>
                          <a:pt x="83294" y="109500"/>
                          <a:pt x="81882" y="109500"/>
                        </a:cubicBezTo>
                        <a:cubicBezTo>
                          <a:pt x="81882" y="108750"/>
                          <a:pt x="80470" y="108000"/>
                          <a:pt x="80470" y="108000"/>
                        </a:cubicBezTo>
                        <a:cubicBezTo>
                          <a:pt x="80470" y="107250"/>
                          <a:pt x="81882" y="106500"/>
                          <a:pt x="81882" y="106500"/>
                        </a:cubicBezTo>
                        <a:cubicBezTo>
                          <a:pt x="80470" y="105750"/>
                          <a:pt x="80470" y="105750"/>
                          <a:pt x="80470" y="105750"/>
                        </a:cubicBezTo>
                        <a:cubicBezTo>
                          <a:pt x="80470" y="105750"/>
                          <a:pt x="81882" y="105000"/>
                          <a:pt x="83294" y="105000"/>
                        </a:cubicBezTo>
                        <a:cubicBezTo>
                          <a:pt x="83294" y="105000"/>
                          <a:pt x="84705" y="105000"/>
                          <a:pt x="84705" y="105000"/>
                        </a:cubicBezTo>
                        <a:cubicBezTo>
                          <a:pt x="86117" y="102750"/>
                          <a:pt x="86117" y="102750"/>
                          <a:pt x="86117" y="102750"/>
                        </a:cubicBezTo>
                        <a:cubicBezTo>
                          <a:pt x="86117" y="102750"/>
                          <a:pt x="86117" y="102000"/>
                          <a:pt x="87529" y="102000"/>
                        </a:cubicBezTo>
                        <a:cubicBezTo>
                          <a:pt x="87529" y="102000"/>
                          <a:pt x="88941" y="102000"/>
                          <a:pt x="88941" y="102000"/>
                        </a:cubicBezTo>
                        <a:cubicBezTo>
                          <a:pt x="98823" y="99000"/>
                          <a:pt x="98823" y="99000"/>
                          <a:pt x="98823" y="99000"/>
                        </a:cubicBezTo>
                        <a:cubicBezTo>
                          <a:pt x="105882" y="93000"/>
                          <a:pt x="105882" y="93000"/>
                          <a:pt x="105882" y="93000"/>
                        </a:cubicBezTo>
                        <a:cubicBezTo>
                          <a:pt x="108705" y="86250"/>
                          <a:pt x="108705" y="86250"/>
                          <a:pt x="108705" y="86250"/>
                        </a:cubicBezTo>
                        <a:cubicBezTo>
                          <a:pt x="112941" y="80250"/>
                          <a:pt x="112941" y="80250"/>
                          <a:pt x="112941" y="80250"/>
                        </a:cubicBezTo>
                        <a:cubicBezTo>
                          <a:pt x="112941" y="80250"/>
                          <a:pt x="118588" y="77250"/>
                          <a:pt x="118588" y="78000"/>
                        </a:cubicBezTo>
                        <a:cubicBezTo>
                          <a:pt x="120000" y="78750"/>
                          <a:pt x="118588" y="72000"/>
                          <a:pt x="118588" y="72000"/>
                        </a:cubicBezTo>
                        <a:cubicBezTo>
                          <a:pt x="114352" y="69750"/>
                          <a:pt x="114352" y="69750"/>
                          <a:pt x="114352" y="69750"/>
                        </a:cubicBezTo>
                        <a:cubicBezTo>
                          <a:pt x="114352" y="68250"/>
                          <a:pt x="114352" y="68250"/>
                          <a:pt x="114352" y="68250"/>
                        </a:cubicBezTo>
                        <a:cubicBezTo>
                          <a:pt x="114352" y="68250"/>
                          <a:pt x="112941" y="68250"/>
                          <a:pt x="112941" y="68250"/>
                        </a:cubicBezTo>
                        <a:cubicBezTo>
                          <a:pt x="112941" y="68250"/>
                          <a:pt x="112941" y="68250"/>
                          <a:pt x="111529" y="68250"/>
                        </a:cubicBezTo>
                        <a:cubicBezTo>
                          <a:pt x="111529" y="67500"/>
                          <a:pt x="111529" y="67500"/>
                          <a:pt x="111529" y="67500"/>
                        </a:cubicBezTo>
                        <a:cubicBezTo>
                          <a:pt x="108705" y="66000"/>
                          <a:pt x="108705" y="66000"/>
                          <a:pt x="108705" y="66000"/>
                        </a:cubicBezTo>
                        <a:cubicBezTo>
                          <a:pt x="108705" y="66000"/>
                          <a:pt x="107294" y="66750"/>
                          <a:pt x="105882" y="66750"/>
                        </a:cubicBezTo>
                        <a:cubicBezTo>
                          <a:pt x="104470" y="66750"/>
                          <a:pt x="104470" y="66000"/>
                          <a:pt x="103058" y="66000"/>
                        </a:cubicBezTo>
                        <a:cubicBezTo>
                          <a:pt x="103058" y="66000"/>
                          <a:pt x="103058" y="66000"/>
                          <a:pt x="103058" y="66000"/>
                        </a:cubicBezTo>
                        <a:cubicBezTo>
                          <a:pt x="103058" y="66000"/>
                          <a:pt x="101647" y="66000"/>
                          <a:pt x="100235" y="66000"/>
                        </a:cubicBezTo>
                        <a:cubicBezTo>
                          <a:pt x="98823" y="66000"/>
                          <a:pt x="97411"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6750"/>
                          <a:pt x="96000" y="66750"/>
                          <a:pt x="96000" y="66750"/>
                        </a:cubicBezTo>
                        <a:cubicBezTo>
                          <a:pt x="96000" y="66000"/>
                          <a:pt x="96000" y="66000"/>
                          <a:pt x="94588" y="65250"/>
                        </a:cubicBezTo>
                        <a:cubicBezTo>
                          <a:pt x="94588" y="64500"/>
                          <a:pt x="94588" y="63000"/>
                          <a:pt x="93176" y="62250"/>
                        </a:cubicBezTo>
                        <a:cubicBezTo>
                          <a:pt x="91764" y="61500"/>
                          <a:pt x="91764" y="60750"/>
                          <a:pt x="91764" y="60750"/>
                        </a:cubicBezTo>
                        <a:cubicBezTo>
                          <a:pt x="91764" y="60750"/>
                          <a:pt x="88941" y="60750"/>
                          <a:pt x="87529" y="60750"/>
                        </a:cubicBezTo>
                        <a:cubicBezTo>
                          <a:pt x="87529" y="60750"/>
                          <a:pt x="86117" y="60750"/>
                          <a:pt x="86117" y="60750"/>
                        </a:cubicBezTo>
                        <a:cubicBezTo>
                          <a:pt x="86117" y="60750"/>
                          <a:pt x="84705" y="59250"/>
                          <a:pt x="86117" y="59250"/>
                        </a:cubicBezTo>
                        <a:cubicBezTo>
                          <a:pt x="86117" y="58500"/>
                          <a:pt x="84705" y="57750"/>
                          <a:pt x="83294" y="57000"/>
                        </a:cubicBezTo>
                        <a:cubicBezTo>
                          <a:pt x="83294" y="57000"/>
                          <a:pt x="80470" y="54750"/>
                          <a:pt x="80470" y="54750"/>
                        </a:cubicBezTo>
                        <a:cubicBezTo>
                          <a:pt x="80470" y="54750"/>
                          <a:pt x="79058" y="54750"/>
                          <a:pt x="79058" y="54000"/>
                        </a:cubicBezTo>
                        <a:cubicBezTo>
                          <a:pt x="79058" y="53250"/>
                          <a:pt x="79058" y="52500"/>
                          <a:pt x="79058" y="52500"/>
                        </a:cubicBezTo>
                        <a:cubicBezTo>
                          <a:pt x="77647" y="51000"/>
                          <a:pt x="77647" y="51000"/>
                          <a:pt x="77647" y="51000"/>
                        </a:cubicBezTo>
                        <a:cubicBezTo>
                          <a:pt x="77647" y="51000"/>
                          <a:pt x="80470" y="50250"/>
                          <a:pt x="80470" y="49500"/>
                        </a:cubicBezTo>
                        <a:cubicBezTo>
                          <a:pt x="80470" y="49500"/>
                          <a:pt x="81882" y="48750"/>
                          <a:pt x="80470" y="48000"/>
                        </a:cubicBezTo>
                        <a:cubicBezTo>
                          <a:pt x="80470" y="47250"/>
                          <a:pt x="77647" y="46500"/>
                          <a:pt x="77647" y="46500"/>
                        </a:cubicBezTo>
                        <a:cubicBezTo>
                          <a:pt x="76235" y="45750"/>
                          <a:pt x="74823" y="45000"/>
                          <a:pt x="73411" y="44250"/>
                        </a:cubicBezTo>
                        <a:cubicBezTo>
                          <a:pt x="73411" y="43500"/>
                          <a:pt x="73411" y="42750"/>
                          <a:pt x="73411" y="42750"/>
                        </a:cubicBezTo>
                        <a:cubicBezTo>
                          <a:pt x="73411" y="42750"/>
                          <a:pt x="73411" y="42000"/>
                          <a:pt x="74823" y="42000"/>
                        </a:cubicBezTo>
                        <a:cubicBezTo>
                          <a:pt x="76235" y="41250"/>
                          <a:pt x="77647" y="41250"/>
                          <a:pt x="77647" y="40500"/>
                        </a:cubicBezTo>
                        <a:cubicBezTo>
                          <a:pt x="77647" y="40500"/>
                          <a:pt x="79058" y="40500"/>
                          <a:pt x="79058" y="39750"/>
                        </a:cubicBezTo>
                        <a:cubicBezTo>
                          <a:pt x="77647" y="39000"/>
                          <a:pt x="76235" y="38250"/>
                          <a:pt x="76235" y="38250"/>
                        </a:cubicBezTo>
                        <a:cubicBezTo>
                          <a:pt x="77647" y="36000"/>
                          <a:pt x="77647" y="36000"/>
                          <a:pt x="77647" y="36000"/>
                        </a:cubicBezTo>
                        <a:cubicBezTo>
                          <a:pt x="76235" y="35250"/>
                          <a:pt x="76235" y="35250"/>
                          <a:pt x="76235" y="35250"/>
                        </a:cubicBezTo>
                        <a:cubicBezTo>
                          <a:pt x="76235" y="32250"/>
                          <a:pt x="76235" y="32250"/>
                          <a:pt x="76235" y="32250"/>
                        </a:cubicBezTo>
                        <a:cubicBezTo>
                          <a:pt x="76235" y="31500"/>
                          <a:pt x="76235" y="31500"/>
                          <a:pt x="76235" y="31500"/>
                        </a:cubicBezTo>
                        <a:cubicBezTo>
                          <a:pt x="76235" y="31500"/>
                          <a:pt x="77647" y="30000"/>
                          <a:pt x="77647" y="30000"/>
                        </a:cubicBezTo>
                        <a:cubicBezTo>
                          <a:pt x="77647" y="29250"/>
                          <a:pt x="77647" y="27750"/>
                          <a:pt x="77647" y="27750"/>
                        </a:cubicBezTo>
                        <a:cubicBezTo>
                          <a:pt x="77647" y="27000"/>
                          <a:pt x="77647" y="27000"/>
                          <a:pt x="77647" y="27000"/>
                        </a:cubicBezTo>
                        <a:cubicBezTo>
                          <a:pt x="79058" y="24750"/>
                          <a:pt x="79058" y="24750"/>
                          <a:pt x="79058" y="24750"/>
                        </a:cubicBezTo>
                        <a:cubicBezTo>
                          <a:pt x="76235" y="22500"/>
                          <a:pt x="76235" y="22500"/>
                          <a:pt x="76235" y="22500"/>
                        </a:cubicBezTo>
                        <a:cubicBezTo>
                          <a:pt x="76235" y="22500"/>
                          <a:pt x="76235" y="22500"/>
                          <a:pt x="76235" y="21750"/>
                        </a:cubicBezTo>
                        <a:cubicBezTo>
                          <a:pt x="74823" y="21000"/>
                          <a:pt x="74823" y="19500"/>
                          <a:pt x="74823" y="19500"/>
                        </a:cubicBezTo>
                        <a:cubicBezTo>
                          <a:pt x="73411" y="17250"/>
                          <a:pt x="73411" y="17250"/>
                          <a:pt x="73411" y="17250"/>
                        </a:cubicBezTo>
                        <a:cubicBezTo>
                          <a:pt x="73411" y="17250"/>
                          <a:pt x="70588" y="15750"/>
                          <a:pt x="69176" y="15000"/>
                        </a:cubicBezTo>
                        <a:cubicBezTo>
                          <a:pt x="69176" y="15000"/>
                          <a:pt x="69176" y="14250"/>
                          <a:pt x="66352" y="13500"/>
                        </a:cubicBezTo>
                        <a:cubicBezTo>
                          <a:pt x="64941" y="13500"/>
                          <a:pt x="62117" y="12750"/>
                          <a:pt x="62117" y="12750"/>
                        </a:cubicBezTo>
                        <a:cubicBezTo>
                          <a:pt x="59294" y="12750"/>
                          <a:pt x="59294" y="12750"/>
                          <a:pt x="59294" y="12750"/>
                        </a:cubicBezTo>
                        <a:cubicBezTo>
                          <a:pt x="56470" y="11250"/>
                          <a:pt x="56470" y="11250"/>
                          <a:pt x="56470" y="11250"/>
                        </a:cubicBezTo>
                        <a:cubicBezTo>
                          <a:pt x="53647" y="11250"/>
                          <a:pt x="53647" y="11250"/>
                          <a:pt x="53647" y="11250"/>
                        </a:cubicBezTo>
                        <a:cubicBezTo>
                          <a:pt x="52235" y="9000"/>
                          <a:pt x="52235" y="9000"/>
                          <a:pt x="52235" y="9000"/>
                        </a:cubicBezTo>
                        <a:cubicBezTo>
                          <a:pt x="50823" y="6750"/>
                          <a:pt x="50823" y="6750"/>
                          <a:pt x="50823" y="6750"/>
                        </a:cubicBezTo>
                        <a:cubicBezTo>
                          <a:pt x="48000" y="5250"/>
                          <a:pt x="48000" y="5250"/>
                          <a:pt x="48000" y="5250"/>
                        </a:cubicBezTo>
                        <a:cubicBezTo>
                          <a:pt x="45176" y="4500"/>
                          <a:pt x="45176" y="4500"/>
                          <a:pt x="45176" y="4500"/>
                        </a:cubicBezTo>
                        <a:cubicBezTo>
                          <a:pt x="43764" y="3750"/>
                          <a:pt x="43764" y="3750"/>
                          <a:pt x="43764" y="3750"/>
                        </a:cubicBezTo>
                        <a:cubicBezTo>
                          <a:pt x="40941" y="3000"/>
                          <a:pt x="40941" y="3000"/>
                          <a:pt x="40941" y="3000"/>
                        </a:cubicBezTo>
                        <a:cubicBezTo>
                          <a:pt x="39529" y="3000"/>
                          <a:pt x="39529" y="3000"/>
                          <a:pt x="39529" y="3000"/>
                        </a:cubicBezTo>
                        <a:cubicBezTo>
                          <a:pt x="39529" y="3000"/>
                          <a:pt x="38117" y="4500"/>
                          <a:pt x="38117" y="4500"/>
                        </a:cubicBezTo>
                        <a:cubicBezTo>
                          <a:pt x="38117" y="4500"/>
                          <a:pt x="33882" y="5250"/>
                          <a:pt x="33882" y="5250"/>
                        </a:cubicBezTo>
                        <a:cubicBezTo>
                          <a:pt x="31058" y="6750"/>
                          <a:pt x="31058" y="6750"/>
                          <a:pt x="31058" y="6750"/>
                        </a:cubicBezTo>
                        <a:cubicBezTo>
                          <a:pt x="28235" y="7500"/>
                          <a:pt x="28235" y="7500"/>
                          <a:pt x="28235" y="7500"/>
                        </a:cubicBezTo>
                        <a:cubicBezTo>
                          <a:pt x="28235" y="7500"/>
                          <a:pt x="28235" y="7500"/>
                          <a:pt x="28235" y="6750"/>
                        </a:cubicBezTo>
                        <a:cubicBezTo>
                          <a:pt x="26823" y="6750"/>
                          <a:pt x="26823" y="6750"/>
                          <a:pt x="26823" y="6750"/>
                        </a:cubicBezTo>
                        <a:cubicBezTo>
                          <a:pt x="26823" y="6750"/>
                          <a:pt x="25411" y="6000"/>
                          <a:pt x="25411" y="5250"/>
                        </a:cubicBezTo>
                        <a:cubicBezTo>
                          <a:pt x="25411" y="5250"/>
                          <a:pt x="24000" y="4500"/>
                          <a:pt x="24000" y="4500"/>
                        </a:cubicBezTo>
                        <a:cubicBezTo>
                          <a:pt x="24000" y="4500"/>
                          <a:pt x="24000" y="3750"/>
                          <a:pt x="24000" y="3750"/>
                        </a:cubicBezTo>
                        <a:cubicBezTo>
                          <a:pt x="24000" y="3000"/>
                          <a:pt x="24000" y="2250"/>
                          <a:pt x="24000" y="2250"/>
                        </a:cubicBezTo>
                        <a:cubicBezTo>
                          <a:pt x="24000" y="1500"/>
                          <a:pt x="24000" y="1500"/>
                          <a:pt x="24000" y="1500"/>
                        </a:cubicBezTo>
                        <a:cubicBezTo>
                          <a:pt x="22588" y="750"/>
                          <a:pt x="22588" y="750"/>
                          <a:pt x="22588" y="750"/>
                        </a:cubicBezTo>
                        <a:cubicBezTo>
                          <a:pt x="22588" y="0"/>
                          <a:pt x="22588" y="0"/>
                          <a:pt x="22588" y="0"/>
                        </a:cubicBezTo>
                        <a:cubicBezTo>
                          <a:pt x="22588" y="0"/>
                          <a:pt x="19764" y="0"/>
                          <a:pt x="19764" y="0"/>
                        </a:cubicBezTo>
                        <a:cubicBezTo>
                          <a:pt x="19764" y="0"/>
                          <a:pt x="14117" y="3000"/>
                          <a:pt x="14117" y="3000"/>
                        </a:cubicBezTo>
                        <a:cubicBezTo>
                          <a:pt x="15529" y="3750"/>
                          <a:pt x="15529" y="3750"/>
                          <a:pt x="15529" y="3750"/>
                        </a:cubicBezTo>
                        <a:cubicBezTo>
                          <a:pt x="14117" y="5250"/>
                          <a:pt x="14117" y="5250"/>
                          <a:pt x="14117" y="5250"/>
                        </a:cubicBezTo>
                        <a:cubicBezTo>
                          <a:pt x="12705" y="6750"/>
                          <a:pt x="12705" y="6750"/>
                          <a:pt x="12705" y="6750"/>
                        </a:cubicBezTo>
                        <a:cubicBezTo>
                          <a:pt x="11294" y="8250"/>
                          <a:pt x="11294" y="8250"/>
                          <a:pt x="11294" y="8250"/>
                        </a:cubicBezTo>
                        <a:cubicBezTo>
                          <a:pt x="11294" y="8250"/>
                          <a:pt x="9882" y="9000"/>
                          <a:pt x="9882" y="9750"/>
                        </a:cubicBezTo>
                        <a:cubicBezTo>
                          <a:pt x="9882" y="9750"/>
                          <a:pt x="8470" y="10500"/>
                          <a:pt x="8470" y="10500"/>
                        </a:cubicBezTo>
                        <a:cubicBezTo>
                          <a:pt x="7058" y="11250"/>
                          <a:pt x="7058" y="11250"/>
                          <a:pt x="7058" y="11250"/>
                        </a:cubicBezTo>
                        <a:cubicBezTo>
                          <a:pt x="5647" y="12000"/>
                          <a:pt x="5647" y="12000"/>
                          <a:pt x="5647" y="12000"/>
                        </a:cubicBezTo>
                        <a:cubicBezTo>
                          <a:pt x="5647" y="13500"/>
                          <a:pt x="5647" y="13500"/>
                          <a:pt x="5647" y="13500"/>
                        </a:cubicBezTo>
                        <a:cubicBezTo>
                          <a:pt x="5647" y="13500"/>
                          <a:pt x="5647" y="14250"/>
                          <a:pt x="5647" y="15000"/>
                        </a:cubicBezTo>
                        <a:cubicBezTo>
                          <a:pt x="5647" y="15000"/>
                          <a:pt x="4235" y="15750"/>
                          <a:pt x="4235" y="15750"/>
                        </a:cubicBezTo>
                        <a:cubicBezTo>
                          <a:pt x="2823" y="17250"/>
                          <a:pt x="2823" y="17250"/>
                          <a:pt x="2823" y="17250"/>
                        </a:cubicBezTo>
                        <a:cubicBezTo>
                          <a:pt x="0" y="18750"/>
                          <a:pt x="0" y="18750"/>
                          <a:pt x="0" y="18750"/>
                        </a:cubicBezTo>
                        <a:cubicBezTo>
                          <a:pt x="0" y="20250"/>
                          <a:pt x="0" y="20250"/>
                          <a:pt x="0" y="20250"/>
                        </a:cubicBezTo>
                        <a:cubicBezTo>
                          <a:pt x="1411" y="21000"/>
                          <a:pt x="1411" y="21000"/>
                          <a:pt x="1411" y="21000"/>
                        </a:cubicBezTo>
                        <a:cubicBezTo>
                          <a:pt x="4235" y="21750"/>
                          <a:pt x="4235" y="21750"/>
                          <a:pt x="4235" y="21750"/>
                        </a:cubicBezTo>
                        <a:cubicBezTo>
                          <a:pt x="7058" y="22500"/>
                          <a:pt x="7058" y="22500"/>
                          <a:pt x="7058" y="22500"/>
                        </a:cubicBezTo>
                        <a:cubicBezTo>
                          <a:pt x="7058" y="22500"/>
                          <a:pt x="7058" y="23250"/>
                          <a:pt x="7058" y="24000"/>
                        </a:cubicBezTo>
                        <a:cubicBezTo>
                          <a:pt x="7058" y="24000"/>
                          <a:pt x="7058" y="24750"/>
                          <a:pt x="7058" y="24750"/>
                        </a:cubicBezTo>
                        <a:cubicBezTo>
                          <a:pt x="5647" y="26250"/>
                          <a:pt x="5647" y="26250"/>
                          <a:pt x="5647" y="26250"/>
                        </a:cubicBezTo>
                        <a:cubicBezTo>
                          <a:pt x="5647" y="26250"/>
                          <a:pt x="7058" y="27000"/>
                          <a:pt x="7058" y="27000"/>
                        </a:cubicBezTo>
                        <a:cubicBezTo>
                          <a:pt x="7058" y="27000"/>
                          <a:pt x="7058" y="27750"/>
                          <a:pt x="7058" y="27750"/>
                        </a:cubicBezTo>
                        <a:cubicBezTo>
                          <a:pt x="7058" y="27750"/>
                          <a:pt x="7058" y="29250"/>
                          <a:pt x="7058" y="29250"/>
                        </a:cubicBezTo>
                        <a:cubicBezTo>
                          <a:pt x="5647" y="30000"/>
                          <a:pt x="5647" y="30000"/>
                          <a:pt x="5647" y="30000"/>
                        </a:cubicBezTo>
                        <a:cubicBezTo>
                          <a:pt x="5647" y="30000"/>
                          <a:pt x="7058" y="30750"/>
                          <a:pt x="7058" y="31500"/>
                        </a:cubicBezTo>
                        <a:cubicBezTo>
                          <a:pt x="7058" y="31500"/>
                          <a:pt x="7058" y="32250"/>
                          <a:pt x="7058" y="32250"/>
                        </a:cubicBezTo>
                        <a:cubicBezTo>
                          <a:pt x="5647" y="32250"/>
                          <a:pt x="8470" y="33750"/>
                          <a:pt x="8470" y="33750"/>
                        </a:cubicBezTo>
                        <a:cubicBezTo>
                          <a:pt x="8470" y="33750"/>
                          <a:pt x="9882" y="33000"/>
                          <a:pt x="11294" y="33000"/>
                        </a:cubicBezTo>
                        <a:cubicBezTo>
                          <a:pt x="11294" y="33000"/>
                          <a:pt x="14117" y="33000"/>
                          <a:pt x="14117" y="33000"/>
                        </a:cubicBezTo>
                        <a:cubicBezTo>
                          <a:pt x="16941" y="33750"/>
                          <a:pt x="16941" y="33750"/>
                          <a:pt x="16941" y="33750"/>
                        </a:cubicBezTo>
                        <a:cubicBezTo>
                          <a:pt x="19764" y="33750"/>
                          <a:pt x="19764" y="33750"/>
                          <a:pt x="19764" y="33750"/>
                        </a:cubicBezTo>
                        <a:cubicBezTo>
                          <a:pt x="21176" y="35250"/>
                          <a:pt x="21176" y="35250"/>
                          <a:pt x="21176" y="35250"/>
                        </a:cubicBezTo>
                        <a:cubicBezTo>
                          <a:pt x="21176" y="36750"/>
                          <a:pt x="21176" y="36750"/>
                          <a:pt x="21176" y="36750"/>
                        </a:cubicBezTo>
                        <a:cubicBezTo>
                          <a:pt x="21176" y="39000"/>
                          <a:pt x="21176" y="39000"/>
                          <a:pt x="21176" y="39000"/>
                        </a:cubicBezTo>
                        <a:cubicBezTo>
                          <a:pt x="19764" y="40500"/>
                          <a:pt x="19764" y="40500"/>
                          <a:pt x="19764" y="40500"/>
                        </a:cubicBezTo>
                        <a:cubicBezTo>
                          <a:pt x="22588" y="41250"/>
                          <a:pt x="22588" y="41250"/>
                          <a:pt x="22588" y="41250"/>
                        </a:cubicBezTo>
                        <a:cubicBezTo>
                          <a:pt x="22588" y="41250"/>
                          <a:pt x="22588" y="41250"/>
                          <a:pt x="22588" y="41250"/>
                        </a:cubicBezTo>
                        <a:cubicBezTo>
                          <a:pt x="22588" y="41250"/>
                          <a:pt x="22588" y="42750"/>
                          <a:pt x="22588" y="43500"/>
                        </a:cubicBezTo>
                        <a:cubicBezTo>
                          <a:pt x="21176" y="43500"/>
                          <a:pt x="19764" y="43500"/>
                          <a:pt x="18352" y="44250"/>
                        </a:cubicBezTo>
                        <a:cubicBezTo>
                          <a:pt x="16941" y="44250"/>
                          <a:pt x="15529" y="44250"/>
                          <a:pt x="15529" y="44250"/>
                        </a:cubicBezTo>
                        <a:cubicBezTo>
                          <a:pt x="15529" y="45000"/>
                          <a:pt x="15529" y="45000"/>
                          <a:pt x="15529" y="45000"/>
                        </a:cubicBezTo>
                        <a:cubicBezTo>
                          <a:pt x="18352" y="45750"/>
                          <a:pt x="18352" y="45750"/>
                          <a:pt x="18352" y="45750"/>
                        </a:cubicBezTo>
                        <a:cubicBezTo>
                          <a:pt x="18352" y="45750"/>
                          <a:pt x="19764" y="45750"/>
                          <a:pt x="19764" y="45750"/>
                        </a:cubicBezTo>
                        <a:cubicBezTo>
                          <a:pt x="19764" y="46500"/>
                          <a:pt x="19764" y="48000"/>
                          <a:pt x="19764" y="48000"/>
                        </a:cubicBezTo>
                        <a:cubicBezTo>
                          <a:pt x="19764" y="48000"/>
                          <a:pt x="19764" y="48750"/>
                          <a:pt x="18352" y="48750"/>
                        </a:cubicBezTo>
                        <a:cubicBezTo>
                          <a:pt x="18352" y="48750"/>
                          <a:pt x="16941" y="49500"/>
                          <a:pt x="16941" y="49500"/>
                        </a:cubicBezTo>
                        <a:cubicBezTo>
                          <a:pt x="15529" y="50250"/>
                          <a:pt x="15529" y="50250"/>
                          <a:pt x="15529" y="50250"/>
                        </a:cubicBezTo>
                        <a:cubicBezTo>
                          <a:pt x="14117" y="51000"/>
                          <a:pt x="14117" y="51000"/>
                          <a:pt x="14117" y="51000"/>
                        </a:cubicBezTo>
                        <a:cubicBezTo>
                          <a:pt x="11294" y="51750"/>
                          <a:pt x="11294" y="51750"/>
                          <a:pt x="11294" y="51750"/>
                        </a:cubicBezTo>
                        <a:cubicBezTo>
                          <a:pt x="14117" y="53250"/>
                          <a:pt x="14117" y="53250"/>
                          <a:pt x="14117" y="53250"/>
                        </a:cubicBezTo>
                        <a:cubicBezTo>
                          <a:pt x="15529" y="53250"/>
                          <a:pt x="15529" y="53250"/>
                          <a:pt x="15529" y="53250"/>
                        </a:cubicBezTo>
                        <a:cubicBezTo>
                          <a:pt x="15529" y="53250"/>
                          <a:pt x="16941" y="54000"/>
                          <a:pt x="16941" y="54000"/>
                        </a:cubicBezTo>
                        <a:cubicBezTo>
                          <a:pt x="16941" y="54000"/>
                          <a:pt x="21176" y="55500"/>
                          <a:pt x="21176" y="55500"/>
                        </a:cubicBezTo>
                        <a:cubicBezTo>
                          <a:pt x="19764" y="56250"/>
                          <a:pt x="19764" y="56250"/>
                          <a:pt x="19764" y="56250"/>
                        </a:cubicBezTo>
                        <a:cubicBezTo>
                          <a:pt x="19764" y="56250"/>
                          <a:pt x="19764" y="57000"/>
                          <a:pt x="19764" y="57750"/>
                        </a:cubicBezTo>
                        <a:cubicBezTo>
                          <a:pt x="19764" y="58500"/>
                          <a:pt x="19764" y="60750"/>
                          <a:pt x="19764" y="60750"/>
                        </a:cubicBezTo>
                        <a:cubicBezTo>
                          <a:pt x="18352" y="61500"/>
                          <a:pt x="18352" y="61500"/>
                          <a:pt x="18352" y="61500"/>
                        </a:cubicBezTo>
                        <a:cubicBezTo>
                          <a:pt x="18352" y="62250"/>
                          <a:pt x="19764" y="64500"/>
                          <a:pt x="19764" y="64500"/>
                        </a:cubicBezTo>
                        <a:cubicBezTo>
                          <a:pt x="19764" y="65250"/>
                          <a:pt x="19764" y="65250"/>
                          <a:pt x="19764" y="65250"/>
                        </a:cubicBezTo>
                        <a:cubicBezTo>
                          <a:pt x="18352" y="66000"/>
                          <a:pt x="18352" y="66000"/>
                          <a:pt x="18352" y="66000"/>
                        </a:cubicBezTo>
                        <a:cubicBezTo>
                          <a:pt x="24000" y="67500"/>
                          <a:pt x="24000" y="67500"/>
                          <a:pt x="24000" y="67500"/>
                        </a:cubicBezTo>
                        <a:cubicBezTo>
                          <a:pt x="22588" y="69000"/>
                          <a:pt x="22588" y="69000"/>
                          <a:pt x="22588" y="69000"/>
                        </a:cubicBezTo>
                        <a:cubicBezTo>
                          <a:pt x="19764" y="69750"/>
                          <a:pt x="19764" y="69750"/>
                          <a:pt x="19764" y="69750"/>
                        </a:cubicBezTo>
                        <a:cubicBezTo>
                          <a:pt x="19764" y="69750"/>
                          <a:pt x="18352" y="69750"/>
                          <a:pt x="18352" y="69750"/>
                        </a:cubicBezTo>
                        <a:cubicBezTo>
                          <a:pt x="18352" y="70500"/>
                          <a:pt x="18352" y="71250"/>
                          <a:pt x="18352" y="71250"/>
                        </a:cubicBezTo>
                        <a:cubicBezTo>
                          <a:pt x="19764" y="72000"/>
                          <a:pt x="19764" y="72000"/>
                          <a:pt x="19764" y="72000"/>
                        </a:cubicBezTo>
                        <a:cubicBezTo>
                          <a:pt x="18352" y="72750"/>
                          <a:pt x="18352" y="72750"/>
                          <a:pt x="18352" y="72750"/>
                        </a:cubicBezTo>
                        <a:cubicBezTo>
                          <a:pt x="18352" y="72750"/>
                          <a:pt x="18352" y="72750"/>
                          <a:pt x="18352" y="72750"/>
                        </a:cubicBezTo>
                        <a:cubicBezTo>
                          <a:pt x="18352" y="72750"/>
                          <a:pt x="18352" y="74250"/>
                          <a:pt x="18352" y="74250"/>
                        </a:cubicBezTo>
                        <a:cubicBezTo>
                          <a:pt x="18352" y="74250"/>
                          <a:pt x="18352" y="75000"/>
                          <a:pt x="16941" y="75000"/>
                        </a:cubicBezTo>
                        <a:cubicBezTo>
                          <a:pt x="16941" y="75000"/>
                          <a:pt x="15529" y="75750"/>
                          <a:pt x="15529" y="75750"/>
                        </a:cubicBezTo>
                        <a:cubicBezTo>
                          <a:pt x="16941" y="77250"/>
                          <a:pt x="16941" y="77250"/>
                          <a:pt x="16941" y="77250"/>
                        </a:cubicBezTo>
                        <a:cubicBezTo>
                          <a:pt x="15529" y="80250"/>
                          <a:pt x="15529" y="80250"/>
                          <a:pt x="15529" y="80250"/>
                        </a:cubicBezTo>
                        <a:cubicBezTo>
                          <a:pt x="15529" y="81000"/>
                          <a:pt x="15529" y="81000"/>
                          <a:pt x="15529" y="81000"/>
                        </a:cubicBezTo>
                        <a:cubicBezTo>
                          <a:pt x="16941" y="83250"/>
                          <a:pt x="16941" y="83250"/>
                          <a:pt x="16941" y="83250"/>
                        </a:cubicBezTo>
                        <a:cubicBezTo>
                          <a:pt x="19764" y="85500"/>
                          <a:pt x="19764" y="85500"/>
                          <a:pt x="19764" y="85500"/>
                        </a:cubicBezTo>
                        <a:cubicBezTo>
                          <a:pt x="22588" y="87000"/>
                          <a:pt x="22588" y="87000"/>
                          <a:pt x="22588" y="87000"/>
                        </a:cubicBezTo>
                        <a:cubicBezTo>
                          <a:pt x="24000" y="88500"/>
                          <a:pt x="24000" y="88500"/>
                          <a:pt x="24000" y="88500"/>
                        </a:cubicBezTo>
                        <a:cubicBezTo>
                          <a:pt x="26823" y="89250"/>
                          <a:pt x="26823" y="89250"/>
                          <a:pt x="26823" y="89250"/>
                        </a:cubicBezTo>
                        <a:cubicBezTo>
                          <a:pt x="25411" y="91500"/>
                          <a:pt x="25411" y="91500"/>
                          <a:pt x="25411" y="91500"/>
                        </a:cubicBezTo>
                        <a:cubicBezTo>
                          <a:pt x="26823" y="92250"/>
                          <a:pt x="26823" y="92250"/>
                          <a:pt x="26823" y="92250"/>
                        </a:cubicBezTo>
                        <a:cubicBezTo>
                          <a:pt x="26823" y="93750"/>
                          <a:pt x="26823" y="93750"/>
                          <a:pt x="26823" y="93750"/>
                        </a:cubicBezTo>
                        <a:cubicBezTo>
                          <a:pt x="26823" y="93750"/>
                          <a:pt x="26823" y="93750"/>
                          <a:pt x="25411" y="94500"/>
                        </a:cubicBezTo>
                        <a:cubicBezTo>
                          <a:pt x="25411" y="94500"/>
                          <a:pt x="25411" y="94500"/>
                          <a:pt x="24000" y="93750"/>
                        </a:cubicBezTo>
                        <a:cubicBezTo>
                          <a:pt x="22588" y="93750"/>
                          <a:pt x="21176" y="92250"/>
                          <a:pt x="21176" y="92250"/>
                        </a:cubicBezTo>
                        <a:cubicBezTo>
                          <a:pt x="21176" y="92250"/>
                          <a:pt x="19764" y="90750"/>
                          <a:pt x="19764" y="90750"/>
                        </a:cubicBezTo>
                        <a:cubicBezTo>
                          <a:pt x="19764" y="90750"/>
                          <a:pt x="18352" y="90000"/>
                          <a:pt x="18352" y="90000"/>
                        </a:cubicBezTo>
                        <a:cubicBezTo>
                          <a:pt x="15529" y="90000"/>
                          <a:pt x="15529" y="90000"/>
                          <a:pt x="15529" y="90000"/>
                        </a:cubicBezTo>
                        <a:cubicBezTo>
                          <a:pt x="15529" y="90000"/>
                          <a:pt x="15529" y="90750"/>
                          <a:pt x="15529" y="90750"/>
                        </a:cubicBezTo>
                        <a:cubicBezTo>
                          <a:pt x="15529" y="91500"/>
                          <a:pt x="15529" y="91500"/>
                          <a:pt x="16941" y="92250"/>
                        </a:cubicBezTo>
                        <a:cubicBezTo>
                          <a:pt x="18352" y="93000"/>
                          <a:pt x="18352" y="93000"/>
                          <a:pt x="19764" y="93000"/>
                        </a:cubicBezTo>
                        <a:cubicBezTo>
                          <a:pt x="19764" y="93000"/>
                          <a:pt x="19764" y="93750"/>
                          <a:pt x="21176" y="93750"/>
                        </a:cubicBezTo>
                        <a:cubicBezTo>
                          <a:pt x="21176" y="94500"/>
                          <a:pt x="21176" y="96000"/>
                          <a:pt x="21176" y="96000"/>
                        </a:cubicBezTo>
                        <a:cubicBezTo>
                          <a:pt x="24000" y="97500"/>
                          <a:pt x="24000" y="97500"/>
                          <a:pt x="24000" y="97500"/>
                        </a:cubicBezTo>
                        <a:cubicBezTo>
                          <a:pt x="26823" y="98250"/>
                          <a:pt x="26823" y="98250"/>
                          <a:pt x="26823" y="98250"/>
                        </a:cubicBezTo>
                        <a:cubicBezTo>
                          <a:pt x="38117" y="101250"/>
                          <a:pt x="38117" y="101250"/>
                          <a:pt x="38117" y="101250"/>
                        </a:cubicBezTo>
                        <a:cubicBezTo>
                          <a:pt x="42352" y="102000"/>
                          <a:pt x="42352" y="102000"/>
                          <a:pt x="42352" y="102000"/>
                        </a:cubicBezTo>
                        <a:cubicBezTo>
                          <a:pt x="43764" y="102000"/>
                          <a:pt x="43764" y="102000"/>
                          <a:pt x="43764" y="102000"/>
                        </a:cubicBezTo>
                        <a:cubicBezTo>
                          <a:pt x="45176" y="103500"/>
                          <a:pt x="45176" y="103500"/>
                          <a:pt x="45176" y="103500"/>
                        </a:cubicBezTo>
                        <a:cubicBezTo>
                          <a:pt x="46588" y="104250"/>
                          <a:pt x="46588" y="104250"/>
                          <a:pt x="46588" y="104250"/>
                        </a:cubicBezTo>
                        <a:cubicBezTo>
                          <a:pt x="46588" y="104250"/>
                          <a:pt x="48000" y="104250"/>
                          <a:pt x="49411" y="104250"/>
                        </a:cubicBezTo>
                        <a:cubicBezTo>
                          <a:pt x="49411" y="104250"/>
                          <a:pt x="52235" y="104250"/>
                          <a:pt x="52235" y="104250"/>
                        </a:cubicBezTo>
                        <a:cubicBezTo>
                          <a:pt x="52235" y="104250"/>
                          <a:pt x="53647" y="103500"/>
                          <a:pt x="53647" y="104250"/>
                        </a:cubicBezTo>
                        <a:cubicBezTo>
                          <a:pt x="53647" y="105000"/>
                          <a:pt x="57882" y="108750"/>
                          <a:pt x="57882" y="108750"/>
                        </a:cubicBezTo>
                        <a:cubicBezTo>
                          <a:pt x="57882" y="108750"/>
                          <a:pt x="57882" y="109500"/>
                          <a:pt x="59294" y="110250"/>
                        </a:cubicBezTo>
                        <a:cubicBezTo>
                          <a:pt x="60705" y="111000"/>
                          <a:pt x="63529" y="111750"/>
                          <a:pt x="63529" y="111750"/>
                        </a:cubicBezTo>
                        <a:cubicBezTo>
                          <a:pt x="63529" y="111750"/>
                          <a:pt x="62117" y="112500"/>
                          <a:pt x="62117" y="113250"/>
                        </a:cubicBezTo>
                        <a:cubicBezTo>
                          <a:pt x="63529" y="114000"/>
                          <a:pt x="62117" y="114000"/>
                          <a:pt x="63529" y="114000"/>
                        </a:cubicBezTo>
                        <a:cubicBezTo>
                          <a:pt x="63529" y="114750"/>
                          <a:pt x="63529" y="114750"/>
                          <a:pt x="63529" y="114750"/>
                        </a:cubicBezTo>
                        <a:cubicBezTo>
                          <a:pt x="63529" y="114750"/>
                          <a:pt x="63529" y="114750"/>
                          <a:pt x="63529" y="115500"/>
                        </a:cubicBezTo>
                        <a:cubicBezTo>
                          <a:pt x="64941" y="115500"/>
                          <a:pt x="64941" y="116250"/>
                          <a:pt x="64941" y="116250"/>
                        </a:cubicBezTo>
                        <a:cubicBezTo>
                          <a:pt x="64941" y="118500"/>
                          <a:pt x="64941" y="118500"/>
                          <a:pt x="64941" y="118500"/>
                        </a:cubicBezTo>
                        <a:cubicBezTo>
                          <a:pt x="67764" y="118500"/>
                          <a:pt x="67764" y="118500"/>
                          <a:pt x="67764" y="118500"/>
                        </a:cubicBezTo>
                        <a:lnTo>
                          <a:pt x="69176" y="1185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1" name="Shape 2016"/>
                  <p:cNvSpPr/>
                  <p:nvPr/>
                </p:nvSpPr>
                <p:spPr>
                  <a:xfrm>
                    <a:off x="5900012" y="3680444"/>
                    <a:ext cx="193499" cy="353718"/>
                  </a:xfrm>
                  <a:custGeom>
                    <a:avLst/>
                    <a:gdLst/>
                    <a:ahLst/>
                    <a:cxnLst/>
                    <a:rect l="0" t="0" r="0" b="0"/>
                    <a:pathLst>
                      <a:path w="120000" h="120000" extrusionOk="0">
                        <a:moveTo>
                          <a:pt x="73411" y="120000"/>
                        </a:moveTo>
                        <a:cubicBezTo>
                          <a:pt x="73411" y="120000"/>
                          <a:pt x="73411" y="120000"/>
                          <a:pt x="73411" y="120000"/>
                        </a:cubicBezTo>
                        <a:cubicBezTo>
                          <a:pt x="69176" y="118500"/>
                          <a:pt x="69176" y="118500"/>
                          <a:pt x="69176" y="118500"/>
                        </a:cubicBezTo>
                        <a:cubicBezTo>
                          <a:pt x="67764" y="119250"/>
                          <a:pt x="67764" y="119250"/>
                          <a:pt x="67764" y="119250"/>
                        </a:cubicBezTo>
                        <a:cubicBezTo>
                          <a:pt x="64941" y="118500"/>
                          <a:pt x="64941" y="118500"/>
                          <a:pt x="64941" y="118500"/>
                        </a:cubicBezTo>
                        <a:cubicBezTo>
                          <a:pt x="64941" y="116250"/>
                          <a:pt x="64941" y="116250"/>
                          <a:pt x="64941" y="116250"/>
                        </a:cubicBezTo>
                        <a:cubicBezTo>
                          <a:pt x="64941" y="116250"/>
                          <a:pt x="63529" y="116250"/>
                          <a:pt x="63529" y="115500"/>
                        </a:cubicBezTo>
                        <a:cubicBezTo>
                          <a:pt x="63529" y="114000"/>
                          <a:pt x="63529" y="114000"/>
                          <a:pt x="63529" y="114000"/>
                        </a:cubicBezTo>
                        <a:cubicBezTo>
                          <a:pt x="62117" y="114750"/>
                          <a:pt x="62117" y="114750"/>
                          <a:pt x="62117" y="114750"/>
                        </a:cubicBezTo>
                        <a:cubicBezTo>
                          <a:pt x="62117" y="114000"/>
                          <a:pt x="62117" y="114000"/>
                          <a:pt x="62117" y="114000"/>
                        </a:cubicBezTo>
                        <a:cubicBezTo>
                          <a:pt x="62117" y="113250"/>
                          <a:pt x="62117" y="113250"/>
                          <a:pt x="62117" y="113250"/>
                        </a:cubicBezTo>
                        <a:cubicBezTo>
                          <a:pt x="62117" y="112500"/>
                          <a:pt x="62117" y="111750"/>
                          <a:pt x="63529" y="111750"/>
                        </a:cubicBezTo>
                        <a:cubicBezTo>
                          <a:pt x="62117" y="111750"/>
                          <a:pt x="59294" y="111000"/>
                          <a:pt x="59294" y="110250"/>
                        </a:cubicBezTo>
                        <a:cubicBezTo>
                          <a:pt x="57882" y="110250"/>
                          <a:pt x="57882" y="108750"/>
                          <a:pt x="57882" y="108750"/>
                        </a:cubicBezTo>
                        <a:cubicBezTo>
                          <a:pt x="56470" y="108750"/>
                          <a:pt x="53647" y="105750"/>
                          <a:pt x="53647" y="104250"/>
                        </a:cubicBezTo>
                        <a:cubicBezTo>
                          <a:pt x="50823" y="104250"/>
                          <a:pt x="49411" y="104250"/>
                          <a:pt x="49411" y="104250"/>
                        </a:cubicBezTo>
                        <a:cubicBezTo>
                          <a:pt x="48000" y="104250"/>
                          <a:pt x="46588" y="104250"/>
                          <a:pt x="46588" y="104250"/>
                        </a:cubicBezTo>
                        <a:cubicBezTo>
                          <a:pt x="45176" y="103500"/>
                          <a:pt x="45176" y="103500"/>
                          <a:pt x="45176" y="103500"/>
                        </a:cubicBezTo>
                        <a:cubicBezTo>
                          <a:pt x="43764" y="102750"/>
                          <a:pt x="43764" y="102750"/>
                          <a:pt x="43764" y="102750"/>
                        </a:cubicBezTo>
                        <a:cubicBezTo>
                          <a:pt x="38117" y="101250"/>
                          <a:pt x="38117" y="101250"/>
                          <a:pt x="38117" y="101250"/>
                        </a:cubicBezTo>
                        <a:cubicBezTo>
                          <a:pt x="21176" y="96000"/>
                          <a:pt x="21176" y="96000"/>
                          <a:pt x="21176" y="96000"/>
                        </a:cubicBezTo>
                        <a:cubicBezTo>
                          <a:pt x="21176" y="96000"/>
                          <a:pt x="19764" y="94500"/>
                          <a:pt x="19764" y="93750"/>
                        </a:cubicBezTo>
                        <a:cubicBezTo>
                          <a:pt x="19764" y="93750"/>
                          <a:pt x="19764" y="93750"/>
                          <a:pt x="19764" y="93000"/>
                        </a:cubicBezTo>
                        <a:cubicBezTo>
                          <a:pt x="18352" y="93000"/>
                          <a:pt x="16941" y="93000"/>
                          <a:pt x="16941" y="92250"/>
                        </a:cubicBezTo>
                        <a:cubicBezTo>
                          <a:pt x="15529" y="92250"/>
                          <a:pt x="15529" y="91500"/>
                          <a:pt x="14117" y="90750"/>
                        </a:cubicBezTo>
                        <a:cubicBezTo>
                          <a:pt x="14117" y="90750"/>
                          <a:pt x="14117" y="90000"/>
                          <a:pt x="14117" y="90000"/>
                        </a:cubicBezTo>
                        <a:cubicBezTo>
                          <a:pt x="18352" y="90000"/>
                          <a:pt x="18352" y="90000"/>
                          <a:pt x="18352" y="90000"/>
                        </a:cubicBezTo>
                        <a:cubicBezTo>
                          <a:pt x="18352" y="90000"/>
                          <a:pt x="19764" y="90750"/>
                          <a:pt x="19764" y="90750"/>
                        </a:cubicBezTo>
                        <a:cubicBezTo>
                          <a:pt x="21176" y="90750"/>
                          <a:pt x="21176" y="92250"/>
                          <a:pt x="21176" y="92250"/>
                        </a:cubicBezTo>
                        <a:cubicBezTo>
                          <a:pt x="21176" y="92250"/>
                          <a:pt x="22588" y="93750"/>
                          <a:pt x="24000" y="93750"/>
                        </a:cubicBezTo>
                        <a:cubicBezTo>
                          <a:pt x="24000" y="93750"/>
                          <a:pt x="25411" y="93750"/>
                          <a:pt x="25411" y="93750"/>
                        </a:cubicBezTo>
                        <a:cubicBezTo>
                          <a:pt x="25411" y="93750"/>
                          <a:pt x="25411" y="93750"/>
                          <a:pt x="25411" y="93750"/>
                        </a:cubicBezTo>
                        <a:cubicBezTo>
                          <a:pt x="26823" y="92250"/>
                          <a:pt x="26823" y="92250"/>
                          <a:pt x="26823" y="92250"/>
                        </a:cubicBezTo>
                        <a:cubicBezTo>
                          <a:pt x="25411" y="91500"/>
                          <a:pt x="25411" y="91500"/>
                          <a:pt x="25411" y="91500"/>
                        </a:cubicBezTo>
                        <a:cubicBezTo>
                          <a:pt x="25411" y="89250"/>
                          <a:pt x="25411" y="89250"/>
                          <a:pt x="25411" y="89250"/>
                        </a:cubicBezTo>
                        <a:cubicBezTo>
                          <a:pt x="24000" y="88500"/>
                          <a:pt x="24000" y="88500"/>
                          <a:pt x="24000" y="88500"/>
                        </a:cubicBezTo>
                        <a:cubicBezTo>
                          <a:pt x="22588" y="87000"/>
                          <a:pt x="22588" y="87000"/>
                          <a:pt x="22588" y="87000"/>
                        </a:cubicBezTo>
                        <a:cubicBezTo>
                          <a:pt x="16941" y="83250"/>
                          <a:pt x="16941" y="83250"/>
                          <a:pt x="16941" y="83250"/>
                        </a:cubicBezTo>
                        <a:cubicBezTo>
                          <a:pt x="14117" y="81000"/>
                          <a:pt x="14117" y="81000"/>
                          <a:pt x="14117" y="81000"/>
                        </a:cubicBezTo>
                        <a:cubicBezTo>
                          <a:pt x="16941" y="77250"/>
                          <a:pt x="16941" y="77250"/>
                          <a:pt x="16941" y="77250"/>
                        </a:cubicBezTo>
                        <a:cubicBezTo>
                          <a:pt x="15529" y="75750"/>
                          <a:pt x="15529" y="75750"/>
                          <a:pt x="15529" y="75750"/>
                        </a:cubicBezTo>
                        <a:cubicBezTo>
                          <a:pt x="15529" y="75750"/>
                          <a:pt x="16941" y="75000"/>
                          <a:pt x="16941" y="75000"/>
                        </a:cubicBezTo>
                        <a:cubicBezTo>
                          <a:pt x="16941" y="75000"/>
                          <a:pt x="18352" y="74250"/>
                          <a:pt x="18352" y="74250"/>
                        </a:cubicBezTo>
                        <a:cubicBezTo>
                          <a:pt x="18352" y="74250"/>
                          <a:pt x="18352" y="73500"/>
                          <a:pt x="18352" y="73500"/>
                        </a:cubicBezTo>
                        <a:cubicBezTo>
                          <a:pt x="18352" y="72750"/>
                          <a:pt x="18352" y="72750"/>
                          <a:pt x="18352" y="72750"/>
                        </a:cubicBezTo>
                        <a:cubicBezTo>
                          <a:pt x="19764" y="71250"/>
                          <a:pt x="19764" y="71250"/>
                          <a:pt x="19764" y="71250"/>
                        </a:cubicBezTo>
                        <a:cubicBezTo>
                          <a:pt x="16941" y="71250"/>
                          <a:pt x="16941" y="71250"/>
                          <a:pt x="16941" y="71250"/>
                        </a:cubicBezTo>
                        <a:cubicBezTo>
                          <a:pt x="16941" y="70500"/>
                          <a:pt x="18352" y="69750"/>
                          <a:pt x="18352" y="69750"/>
                        </a:cubicBezTo>
                        <a:cubicBezTo>
                          <a:pt x="18352" y="69750"/>
                          <a:pt x="18352" y="69750"/>
                          <a:pt x="19764" y="69750"/>
                        </a:cubicBezTo>
                        <a:cubicBezTo>
                          <a:pt x="22588" y="68250"/>
                          <a:pt x="22588" y="68250"/>
                          <a:pt x="22588" y="68250"/>
                        </a:cubicBezTo>
                        <a:cubicBezTo>
                          <a:pt x="22588" y="67500"/>
                          <a:pt x="22588" y="67500"/>
                          <a:pt x="22588" y="67500"/>
                        </a:cubicBezTo>
                        <a:cubicBezTo>
                          <a:pt x="18352" y="66750"/>
                          <a:pt x="18352" y="66750"/>
                          <a:pt x="18352" y="66750"/>
                        </a:cubicBezTo>
                        <a:cubicBezTo>
                          <a:pt x="19764" y="64500"/>
                          <a:pt x="19764" y="64500"/>
                          <a:pt x="19764" y="64500"/>
                        </a:cubicBezTo>
                        <a:cubicBezTo>
                          <a:pt x="18352" y="63750"/>
                          <a:pt x="16941" y="62250"/>
                          <a:pt x="16941" y="62250"/>
                        </a:cubicBezTo>
                        <a:cubicBezTo>
                          <a:pt x="18352" y="60750"/>
                          <a:pt x="18352" y="60750"/>
                          <a:pt x="18352" y="60750"/>
                        </a:cubicBezTo>
                        <a:cubicBezTo>
                          <a:pt x="18352" y="60750"/>
                          <a:pt x="19764" y="58500"/>
                          <a:pt x="19764" y="57750"/>
                        </a:cubicBezTo>
                        <a:cubicBezTo>
                          <a:pt x="19764" y="57000"/>
                          <a:pt x="19764" y="56250"/>
                          <a:pt x="19764" y="56250"/>
                        </a:cubicBezTo>
                        <a:cubicBezTo>
                          <a:pt x="19764" y="55500"/>
                          <a:pt x="19764" y="55500"/>
                          <a:pt x="19764" y="55500"/>
                        </a:cubicBezTo>
                        <a:cubicBezTo>
                          <a:pt x="18352" y="54750"/>
                          <a:pt x="16941" y="54000"/>
                          <a:pt x="16941" y="54000"/>
                        </a:cubicBezTo>
                        <a:cubicBezTo>
                          <a:pt x="16941" y="54000"/>
                          <a:pt x="15529" y="54000"/>
                          <a:pt x="15529" y="53250"/>
                        </a:cubicBezTo>
                        <a:cubicBezTo>
                          <a:pt x="14117" y="53250"/>
                          <a:pt x="14117" y="53250"/>
                          <a:pt x="14117" y="53250"/>
                        </a:cubicBezTo>
                        <a:cubicBezTo>
                          <a:pt x="11294" y="51750"/>
                          <a:pt x="11294" y="51750"/>
                          <a:pt x="11294" y="51750"/>
                        </a:cubicBezTo>
                        <a:cubicBezTo>
                          <a:pt x="15529" y="50250"/>
                          <a:pt x="15529" y="50250"/>
                          <a:pt x="15529" y="50250"/>
                        </a:cubicBezTo>
                        <a:cubicBezTo>
                          <a:pt x="15529" y="49500"/>
                          <a:pt x="15529" y="49500"/>
                          <a:pt x="15529" y="49500"/>
                        </a:cubicBezTo>
                        <a:cubicBezTo>
                          <a:pt x="16941" y="48750"/>
                          <a:pt x="18352" y="48750"/>
                          <a:pt x="18352" y="48750"/>
                        </a:cubicBezTo>
                        <a:cubicBezTo>
                          <a:pt x="18352" y="48750"/>
                          <a:pt x="19764" y="48000"/>
                          <a:pt x="19764" y="48000"/>
                        </a:cubicBezTo>
                        <a:cubicBezTo>
                          <a:pt x="19764" y="47250"/>
                          <a:pt x="19764" y="46500"/>
                          <a:pt x="19764" y="45750"/>
                        </a:cubicBezTo>
                        <a:cubicBezTo>
                          <a:pt x="15529" y="45000"/>
                          <a:pt x="15529" y="45000"/>
                          <a:pt x="15529" y="45000"/>
                        </a:cubicBezTo>
                        <a:cubicBezTo>
                          <a:pt x="15529" y="44250"/>
                          <a:pt x="15529" y="44250"/>
                          <a:pt x="15529" y="44250"/>
                        </a:cubicBezTo>
                        <a:cubicBezTo>
                          <a:pt x="15529" y="44250"/>
                          <a:pt x="16941" y="44250"/>
                          <a:pt x="18352" y="43500"/>
                        </a:cubicBezTo>
                        <a:cubicBezTo>
                          <a:pt x="19764" y="43500"/>
                          <a:pt x="21176" y="42750"/>
                          <a:pt x="21176" y="42750"/>
                        </a:cubicBezTo>
                        <a:cubicBezTo>
                          <a:pt x="22588" y="42750"/>
                          <a:pt x="22588" y="42000"/>
                          <a:pt x="22588" y="41250"/>
                        </a:cubicBezTo>
                        <a:cubicBezTo>
                          <a:pt x="19764" y="40500"/>
                          <a:pt x="19764" y="40500"/>
                          <a:pt x="19764" y="40500"/>
                        </a:cubicBezTo>
                        <a:cubicBezTo>
                          <a:pt x="21176" y="39000"/>
                          <a:pt x="21176" y="39000"/>
                          <a:pt x="21176" y="39000"/>
                        </a:cubicBezTo>
                        <a:cubicBezTo>
                          <a:pt x="19764" y="36750"/>
                          <a:pt x="19764" y="36750"/>
                          <a:pt x="19764" y="36750"/>
                        </a:cubicBezTo>
                        <a:cubicBezTo>
                          <a:pt x="21176" y="35250"/>
                          <a:pt x="21176" y="35250"/>
                          <a:pt x="21176" y="35250"/>
                        </a:cubicBezTo>
                        <a:cubicBezTo>
                          <a:pt x="19764" y="34500"/>
                          <a:pt x="19764" y="34500"/>
                          <a:pt x="19764" y="34500"/>
                        </a:cubicBezTo>
                        <a:cubicBezTo>
                          <a:pt x="14117" y="33000"/>
                          <a:pt x="14117" y="33000"/>
                          <a:pt x="14117" y="33000"/>
                        </a:cubicBezTo>
                        <a:cubicBezTo>
                          <a:pt x="12705" y="33000"/>
                          <a:pt x="12705" y="33000"/>
                          <a:pt x="12705" y="33000"/>
                        </a:cubicBezTo>
                        <a:cubicBezTo>
                          <a:pt x="11294" y="33000"/>
                          <a:pt x="9882" y="33750"/>
                          <a:pt x="9882" y="33750"/>
                        </a:cubicBezTo>
                        <a:cubicBezTo>
                          <a:pt x="5647" y="33000"/>
                          <a:pt x="5647" y="32250"/>
                          <a:pt x="5647" y="32250"/>
                        </a:cubicBezTo>
                        <a:cubicBezTo>
                          <a:pt x="7058" y="32250"/>
                          <a:pt x="7058" y="31500"/>
                          <a:pt x="7058" y="31500"/>
                        </a:cubicBezTo>
                        <a:cubicBezTo>
                          <a:pt x="5647" y="30750"/>
                          <a:pt x="5647" y="30750"/>
                          <a:pt x="5647" y="30750"/>
                        </a:cubicBezTo>
                        <a:cubicBezTo>
                          <a:pt x="5647" y="29250"/>
                          <a:pt x="5647" y="29250"/>
                          <a:pt x="5647" y="29250"/>
                        </a:cubicBezTo>
                        <a:cubicBezTo>
                          <a:pt x="5647" y="29250"/>
                          <a:pt x="7058" y="27750"/>
                          <a:pt x="7058" y="27750"/>
                        </a:cubicBezTo>
                        <a:cubicBezTo>
                          <a:pt x="5647" y="27000"/>
                          <a:pt x="5647" y="26250"/>
                          <a:pt x="5647" y="26250"/>
                        </a:cubicBezTo>
                        <a:cubicBezTo>
                          <a:pt x="7058" y="24750"/>
                          <a:pt x="7058" y="24750"/>
                          <a:pt x="7058" y="24750"/>
                        </a:cubicBezTo>
                        <a:cubicBezTo>
                          <a:pt x="7058" y="24000"/>
                          <a:pt x="7058" y="24000"/>
                          <a:pt x="7058" y="24000"/>
                        </a:cubicBezTo>
                        <a:cubicBezTo>
                          <a:pt x="7058" y="23250"/>
                          <a:pt x="7058" y="22500"/>
                          <a:pt x="7058" y="22500"/>
                        </a:cubicBezTo>
                        <a:cubicBezTo>
                          <a:pt x="1411" y="21000"/>
                          <a:pt x="1411" y="21000"/>
                          <a:pt x="1411" y="21000"/>
                        </a:cubicBezTo>
                        <a:cubicBezTo>
                          <a:pt x="0" y="20250"/>
                          <a:pt x="0" y="20250"/>
                          <a:pt x="0" y="20250"/>
                        </a:cubicBezTo>
                        <a:cubicBezTo>
                          <a:pt x="0" y="18750"/>
                          <a:pt x="0" y="18750"/>
                          <a:pt x="0" y="18750"/>
                        </a:cubicBezTo>
                        <a:cubicBezTo>
                          <a:pt x="2823" y="17250"/>
                          <a:pt x="2823" y="17250"/>
                          <a:pt x="2823" y="17250"/>
                        </a:cubicBezTo>
                        <a:cubicBezTo>
                          <a:pt x="4235" y="15750"/>
                          <a:pt x="4235" y="15750"/>
                          <a:pt x="4235" y="15750"/>
                        </a:cubicBezTo>
                        <a:cubicBezTo>
                          <a:pt x="4235" y="15000"/>
                          <a:pt x="4235" y="15000"/>
                          <a:pt x="4235" y="14250"/>
                        </a:cubicBezTo>
                        <a:cubicBezTo>
                          <a:pt x="4235" y="14250"/>
                          <a:pt x="5647" y="13500"/>
                          <a:pt x="5647" y="13500"/>
                        </a:cubicBezTo>
                        <a:cubicBezTo>
                          <a:pt x="5647" y="12000"/>
                          <a:pt x="5647" y="12000"/>
                          <a:pt x="5647" y="12000"/>
                        </a:cubicBezTo>
                        <a:cubicBezTo>
                          <a:pt x="5647" y="11250"/>
                          <a:pt x="5647" y="11250"/>
                          <a:pt x="5647" y="11250"/>
                        </a:cubicBezTo>
                        <a:cubicBezTo>
                          <a:pt x="7058" y="10500"/>
                          <a:pt x="7058" y="10500"/>
                          <a:pt x="7058" y="10500"/>
                        </a:cubicBezTo>
                        <a:cubicBezTo>
                          <a:pt x="7058" y="10500"/>
                          <a:pt x="8470" y="9750"/>
                          <a:pt x="9882" y="9750"/>
                        </a:cubicBezTo>
                        <a:cubicBezTo>
                          <a:pt x="9882" y="9000"/>
                          <a:pt x="9882" y="8250"/>
                          <a:pt x="9882" y="8250"/>
                        </a:cubicBezTo>
                        <a:cubicBezTo>
                          <a:pt x="15529" y="3750"/>
                          <a:pt x="15529" y="3750"/>
                          <a:pt x="15529" y="3750"/>
                        </a:cubicBezTo>
                        <a:cubicBezTo>
                          <a:pt x="14117" y="3000"/>
                          <a:pt x="14117" y="3000"/>
                          <a:pt x="14117" y="3000"/>
                        </a:cubicBezTo>
                        <a:cubicBezTo>
                          <a:pt x="18352" y="0"/>
                          <a:pt x="19764" y="0"/>
                          <a:pt x="19764" y="0"/>
                        </a:cubicBezTo>
                        <a:cubicBezTo>
                          <a:pt x="21176" y="0"/>
                          <a:pt x="22588" y="0"/>
                          <a:pt x="22588" y="0"/>
                        </a:cubicBezTo>
                        <a:cubicBezTo>
                          <a:pt x="24000" y="750"/>
                          <a:pt x="24000" y="750"/>
                          <a:pt x="24000" y="750"/>
                        </a:cubicBezTo>
                        <a:cubicBezTo>
                          <a:pt x="25411" y="1500"/>
                          <a:pt x="25411" y="1500"/>
                          <a:pt x="25411" y="1500"/>
                        </a:cubicBezTo>
                        <a:cubicBezTo>
                          <a:pt x="25411" y="2250"/>
                          <a:pt x="25411" y="2250"/>
                          <a:pt x="25411" y="2250"/>
                        </a:cubicBezTo>
                        <a:cubicBezTo>
                          <a:pt x="25411" y="3000"/>
                          <a:pt x="24000" y="3000"/>
                          <a:pt x="24000" y="3750"/>
                        </a:cubicBezTo>
                        <a:cubicBezTo>
                          <a:pt x="25411" y="3750"/>
                          <a:pt x="24000" y="4500"/>
                          <a:pt x="24000" y="4500"/>
                        </a:cubicBezTo>
                        <a:cubicBezTo>
                          <a:pt x="25411" y="4500"/>
                          <a:pt x="25411" y="5250"/>
                          <a:pt x="25411" y="5250"/>
                        </a:cubicBezTo>
                        <a:cubicBezTo>
                          <a:pt x="26823" y="6000"/>
                          <a:pt x="26823" y="6000"/>
                          <a:pt x="26823" y="6000"/>
                        </a:cubicBezTo>
                        <a:cubicBezTo>
                          <a:pt x="26823" y="6750"/>
                          <a:pt x="28235" y="6750"/>
                          <a:pt x="28235" y="6750"/>
                        </a:cubicBezTo>
                        <a:cubicBezTo>
                          <a:pt x="31058" y="6000"/>
                          <a:pt x="31058" y="6000"/>
                          <a:pt x="31058" y="6000"/>
                        </a:cubicBezTo>
                        <a:cubicBezTo>
                          <a:pt x="33882" y="5250"/>
                          <a:pt x="33882" y="5250"/>
                          <a:pt x="33882" y="5250"/>
                        </a:cubicBezTo>
                        <a:cubicBezTo>
                          <a:pt x="33882" y="5250"/>
                          <a:pt x="36705" y="4500"/>
                          <a:pt x="38117" y="4500"/>
                        </a:cubicBezTo>
                        <a:cubicBezTo>
                          <a:pt x="38117" y="4500"/>
                          <a:pt x="38117" y="3750"/>
                          <a:pt x="39529" y="3000"/>
                        </a:cubicBezTo>
                        <a:cubicBezTo>
                          <a:pt x="40941" y="3000"/>
                          <a:pt x="40941" y="3000"/>
                          <a:pt x="40941" y="3000"/>
                        </a:cubicBezTo>
                        <a:cubicBezTo>
                          <a:pt x="43764" y="3000"/>
                          <a:pt x="43764" y="3000"/>
                          <a:pt x="43764" y="3000"/>
                        </a:cubicBezTo>
                        <a:cubicBezTo>
                          <a:pt x="45176" y="4500"/>
                          <a:pt x="45176" y="4500"/>
                          <a:pt x="45176" y="4500"/>
                        </a:cubicBezTo>
                        <a:cubicBezTo>
                          <a:pt x="48000" y="5250"/>
                          <a:pt x="48000" y="5250"/>
                          <a:pt x="48000" y="5250"/>
                        </a:cubicBezTo>
                        <a:cubicBezTo>
                          <a:pt x="50823" y="6750"/>
                          <a:pt x="50823" y="6750"/>
                          <a:pt x="50823" y="6750"/>
                        </a:cubicBezTo>
                        <a:cubicBezTo>
                          <a:pt x="52235" y="9000"/>
                          <a:pt x="52235" y="9000"/>
                          <a:pt x="52235" y="9000"/>
                        </a:cubicBezTo>
                        <a:cubicBezTo>
                          <a:pt x="55058" y="11250"/>
                          <a:pt x="55058" y="11250"/>
                          <a:pt x="55058" y="11250"/>
                        </a:cubicBezTo>
                        <a:cubicBezTo>
                          <a:pt x="56470" y="10500"/>
                          <a:pt x="56470" y="10500"/>
                          <a:pt x="56470" y="10500"/>
                        </a:cubicBezTo>
                        <a:cubicBezTo>
                          <a:pt x="59294" y="12000"/>
                          <a:pt x="59294" y="12000"/>
                          <a:pt x="59294" y="12000"/>
                        </a:cubicBezTo>
                        <a:cubicBezTo>
                          <a:pt x="62117" y="12750"/>
                          <a:pt x="62117" y="12750"/>
                          <a:pt x="62117" y="12750"/>
                        </a:cubicBezTo>
                        <a:cubicBezTo>
                          <a:pt x="62117" y="12750"/>
                          <a:pt x="64941" y="12750"/>
                          <a:pt x="67764" y="13500"/>
                        </a:cubicBezTo>
                        <a:cubicBezTo>
                          <a:pt x="69176" y="13500"/>
                          <a:pt x="69176" y="14250"/>
                          <a:pt x="69176" y="14250"/>
                        </a:cubicBezTo>
                        <a:cubicBezTo>
                          <a:pt x="70588" y="15750"/>
                          <a:pt x="73411" y="17250"/>
                          <a:pt x="73411" y="17250"/>
                        </a:cubicBezTo>
                        <a:cubicBezTo>
                          <a:pt x="74823" y="19500"/>
                          <a:pt x="74823" y="19500"/>
                          <a:pt x="74823" y="19500"/>
                        </a:cubicBezTo>
                        <a:cubicBezTo>
                          <a:pt x="74823" y="19500"/>
                          <a:pt x="76235" y="21000"/>
                          <a:pt x="76235" y="21750"/>
                        </a:cubicBezTo>
                        <a:cubicBezTo>
                          <a:pt x="76235" y="21750"/>
                          <a:pt x="76235" y="22500"/>
                          <a:pt x="76235" y="22500"/>
                        </a:cubicBezTo>
                        <a:cubicBezTo>
                          <a:pt x="80470" y="24750"/>
                          <a:pt x="80470" y="24750"/>
                          <a:pt x="80470" y="24750"/>
                        </a:cubicBezTo>
                        <a:cubicBezTo>
                          <a:pt x="79058" y="27000"/>
                          <a:pt x="79058" y="27000"/>
                          <a:pt x="79058" y="27000"/>
                        </a:cubicBezTo>
                        <a:cubicBezTo>
                          <a:pt x="77647" y="28500"/>
                          <a:pt x="77647" y="28500"/>
                          <a:pt x="77647" y="28500"/>
                        </a:cubicBezTo>
                        <a:cubicBezTo>
                          <a:pt x="77647" y="28500"/>
                          <a:pt x="77647" y="30000"/>
                          <a:pt x="77647" y="30000"/>
                        </a:cubicBezTo>
                        <a:cubicBezTo>
                          <a:pt x="77647" y="30000"/>
                          <a:pt x="77647" y="31500"/>
                          <a:pt x="77647" y="31500"/>
                        </a:cubicBezTo>
                        <a:cubicBezTo>
                          <a:pt x="76235" y="32250"/>
                          <a:pt x="76235" y="32250"/>
                          <a:pt x="76235" y="32250"/>
                        </a:cubicBezTo>
                        <a:cubicBezTo>
                          <a:pt x="77647" y="36000"/>
                          <a:pt x="77647" y="36000"/>
                          <a:pt x="77647" y="36000"/>
                        </a:cubicBezTo>
                        <a:cubicBezTo>
                          <a:pt x="76235" y="38250"/>
                          <a:pt x="76235" y="38250"/>
                          <a:pt x="76235" y="38250"/>
                        </a:cubicBezTo>
                        <a:cubicBezTo>
                          <a:pt x="77647" y="38250"/>
                          <a:pt x="79058" y="39000"/>
                          <a:pt x="79058" y="39750"/>
                        </a:cubicBezTo>
                        <a:cubicBezTo>
                          <a:pt x="80470" y="39750"/>
                          <a:pt x="79058" y="40500"/>
                          <a:pt x="79058" y="40500"/>
                        </a:cubicBezTo>
                        <a:cubicBezTo>
                          <a:pt x="77647" y="41250"/>
                          <a:pt x="77647" y="41250"/>
                          <a:pt x="76235" y="42000"/>
                        </a:cubicBezTo>
                        <a:cubicBezTo>
                          <a:pt x="74823" y="42000"/>
                          <a:pt x="74823" y="42000"/>
                          <a:pt x="74823" y="42000"/>
                        </a:cubicBezTo>
                        <a:cubicBezTo>
                          <a:pt x="74823" y="42750"/>
                          <a:pt x="73411" y="42750"/>
                          <a:pt x="73411" y="42750"/>
                        </a:cubicBezTo>
                        <a:cubicBezTo>
                          <a:pt x="73411" y="42750"/>
                          <a:pt x="73411" y="43500"/>
                          <a:pt x="73411" y="44250"/>
                        </a:cubicBezTo>
                        <a:cubicBezTo>
                          <a:pt x="74823" y="45000"/>
                          <a:pt x="77647" y="45750"/>
                          <a:pt x="77647" y="45750"/>
                        </a:cubicBezTo>
                        <a:cubicBezTo>
                          <a:pt x="77647" y="45750"/>
                          <a:pt x="80470" y="47250"/>
                          <a:pt x="80470" y="48000"/>
                        </a:cubicBezTo>
                        <a:cubicBezTo>
                          <a:pt x="81882" y="48000"/>
                          <a:pt x="80470" y="48750"/>
                          <a:pt x="80470" y="49500"/>
                        </a:cubicBezTo>
                        <a:cubicBezTo>
                          <a:pt x="80470" y="49500"/>
                          <a:pt x="80470" y="50250"/>
                          <a:pt x="77647" y="51000"/>
                        </a:cubicBezTo>
                        <a:cubicBezTo>
                          <a:pt x="79058" y="51750"/>
                          <a:pt x="79058" y="51750"/>
                          <a:pt x="79058" y="51750"/>
                        </a:cubicBezTo>
                        <a:cubicBezTo>
                          <a:pt x="80470" y="54000"/>
                          <a:pt x="80470" y="54000"/>
                          <a:pt x="80470" y="54000"/>
                        </a:cubicBezTo>
                        <a:cubicBezTo>
                          <a:pt x="80470" y="54000"/>
                          <a:pt x="80470" y="54750"/>
                          <a:pt x="80470" y="54750"/>
                        </a:cubicBezTo>
                        <a:cubicBezTo>
                          <a:pt x="81882" y="55500"/>
                          <a:pt x="83294" y="57000"/>
                          <a:pt x="84705" y="57000"/>
                        </a:cubicBezTo>
                        <a:cubicBezTo>
                          <a:pt x="84705" y="57000"/>
                          <a:pt x="86117" y="58500"/>
                          <a:pt x="86117" y="59250"/>
                        </a:cubicBezTo>
                        <a:cubicBezTo>
                          <a:pt x="86117" y="59250"/>
                          <a:pt x="86117" y="60000"/>
                          <a:pt x="86117" y="60000"/>
                        </a:cubicBezTo>
                        <a:cubicBezTo>
                          <a:pt x="86117" y="60000"/>
                          <a:pt x="87529" y="60000"/>
                          <a:pt x="87529" y="60000"/>
                        </a:cubicBezTo>
                        <a:cubicBezTo>
                          <a:pt x="88941" y="60750"/>
                          <a:pt x="91764" y="60750"/>
                          <a:pt x="91764" y="60750"/>
                        </a:cubicBezTo>
                        <a:cubicBezTo>
                          <a:pt x="91764" y="60750"/>
                          <a:pt x="93176" y="61500"/>
                          <a:pt x="93176" y="62250"/>
                        </a:cubicBezTo>
                        <a:cubicBezTo>
                          <a:pt x="94588" y="63000"/>
                          <a:pt x="96000" y="64500"/>
                          <a:pt x="96000" y="65250"/>
                        </a:cubicBezTo>
                        <a:cubicBezTo>
                          <a:pt x="96000" y="65250"/>
                          <a:pt x="96000" y="66000"/>
                          <a:pt x="96000" y="66000"/>
                        </a:cubicBezTo>
                        <a:cubicBezTo>
                          <a:pt x="96000" y="66750"/>
                          <a:pt x="96000" y="66750"/>
                          <a:pt x="96000" y="66750"/>
                        </a:cubicBezTo>
                        <a:cubicBezTo>
                          <a:pt x="96000" y="67500"/>
                          <a:pt x="97411" y="66750"/>
                          <a:pt x="97411" y="66750"/>
                        </a:cubicBezTo>
                        <a:cubicBezTo>
                          <a:pt x="97411" y="66750"/>
                          <a:pt x="98823" y="66000"/>
                          <a:pt x="98823" y="66000"/>
                        </a:cubicBezTo>
                        <a:cubicBezTo>
                          <a:pt x="100235" y="66000"/>
                          <a:pt x="101647" y="66000"/>
                          <a:pt x="103058" y="66000"/>
                        </a:cubicBezTo>
                        <a:cubicBezTo>
                          <a:pt x="104470" y="66000"/>
                          <a:pt x="104470" y="66000"/>
                          <a:pt x="104470" y="66000"/>
                        </a:cubicBezTo>
                        <a:cubicBezTo>
                          <a:pt x="107294" y="66000"/>
                          <a:pt x="107294" y="66000"/>
                          <a:pt x="108705" y="66000"/>
                        </a:cubicBezTo>
                        <a:cubicBezTo>
                          <a:pt x="111529" y="66750"/>
                          <a:pt x="111529" y="66750"/>
                          <a:pt x="111529" y="66750"/>
                        </a:cubicBezTo>
                        <a:cubicBezTo>
                          <a:pt x="112941" y="68250"/>
                          <a:pt x="112941" y="68250"/>
                          <a:pt x="112941" y="68250"/>
                        </a:cubicBezTo>
                        <a:cubicBezTo>
                          <a:pt x="112941" y="68250"/>
                          <a:pt x="114352" y="68250"/>
                          <a:pt x="114352" y="68250"/>
                        </a:cubicBezTo>
                        <a:cubicBezTo>
                          <a:pt x="115764" y="69750"/>
                          <a:pt x="115764" y="69750"/>
                          <a:pt x="115764" y="69750"/>
                        </a:cubicBezTo>
                        <a:cubicBezTo>
                          <a:pt x="118588" y="72000"/>
                          <a:pt x="118588" y="72000"/>
                          <a:pt x="118588" y="72000"/>
                        </a:cubicBezTo>
                        <a:cubicBezTo>
                          <a:pt x="120000" y="78000"/>
                          <a:pt x="120000" y="78000"/>
                          <a:pt x="120000" y="78000"/>
                        </a:cubicBezTo>
                        <a:cubicBezTo>
                          <a:pt x="117176" y="78000"/>
                          <a:pt x="114352" y="79500"/>
                          <a:pt x="112941" y="80250"/>
                        </a:cubicBezTo>
                        <a:cubicBezTo>
                          <a:pt x="108705" y="86250"/>
                          <a:pt x="108705" y="86250"/>
                          <a:pt x="108705" y="86250"/>
                        </a:cubicBezTo>
                        <a:cubicBezTo>
                          <a:pt x="105882" y="93000"/>
                          <a:pt x="105882" y="93000"/>
                          <a:pt x="105882" y="93000"/>
                        </a:cubicBezTo>
                        <a:cubicBezTo>
                          <a:pt x="98823" y="99000"/>
                          <a:pt x="98823" y="99000"/>
                          <a:pt x="98823" y="99000"/>
                        </a:cubicBezTo>
                        <a:cubicBezTo>
                          <a:pt x="88941" y="102000"/>
                          <a:pt x="88941" y="102000"/>
                          <a:pt x="88941" y="102000"/>
                        </a:cubicBezTo>
                        <a:cubicBezTo>
                          <a:pt x="87529" y="102000"/>
                          <a:pt x="87529" y="102000"/>
                          <a:pt x="87529" y="102000"/>
                        </a:cubicBezTo>
                        <a:cubicBezTo>
                          <a:pt x="87529" y="102000"/>
                          <a:pt x="86117" y="102750"/>
                          <a:pt x="86117" y="102750"/>
                        </a:cubicBezTo>
                        <a:cubicBezTo>
                          <a:pt x="84705" y="105000"/>
                          <a:pt x="84705" y="105000"/>
                          <a:pt x="84705" y="105000"/>
                        </a:cubicBezTo>
                        <a:cubicBezTo>
                          <a:pt x="83294" y="105750"/>
                          <a:pt x="83294" y="105750"/>
                          <a:pt x="83294" y="105750"/>
                        </a:cubicBezTo>
                        <a:cubicBezTo>
                          <a:pt x="81882" y="105750"/>
                          <a:pt x="81882" y="105750"/>
                          <a:pt x="81882" y="105750"/>
                        </a:cubicBezTo>
                        <a:cubicBezTo>
                          <a:pt x="81882" y="106500"/>
                          <a:pt x="81882" y="106500"/>
                          <a:pt x="81882" y="106500"/>
                        </a:cubicBezTo>
                        <a:cubicBezTo>
                          <a:pt x="81882" y="107250"/>
                          <a:pt x="81882" y="107250"/>
                          <a:pt x="81882" y="108000"/>
                        </a:cubicBezTo>
                        <a:cubicBezTo>
                          <a:pt x="81882" y="108000"/>
                          <a:pt x="81882" y="108000"/>
                          <a:pt x="81882" y="108750"/>
                        </a:cubicBezTo>
                        <a:cubicBezTo>
                          <a:pt x="81882" y="108750"/>
                          <a:pt x="83294" y="108750"/>
                          <a:pt x="83294" y="109500"/>
                        </a:cubicBezTo>
                        <a:cubicBezTo>
                          <a:pt x="83294" y="109500"/>
                          <a:pt x="84705" y="110250"/>
                          <a:pt x="86117" y="110250"/>
                        </a:cubicBezTo>
                        <a:cubicBezTo>
                          <a:pt x="87529" y="111000"/>
                          <a:pt x="88941" y="111000"/>
                          <a:pt x="88941" y="111000"/>
                        </a:cubicBezTo>
                        <a:cubicBezTo>
                          <a:pt x="90352" y="112500"/>
                          <a:pt x="90352" y="112500"/>
                          <a:pt x="90352" y="112500"/>
                        </a:cubicBezTo>
                        <a:cubicBezTo>
                          <a:pt x="88941" y="113250"/>
                          <a:pt x="87529" y="113250"/>
                          <a:pt x="86117" y="113250"/>
                        </a:cubicBezTo>
                        <a:cubicBezTo>
                          <a:pt x="86117" y="113250"/>
                          <a:pt x="84705" y="113250"/>
                          <a:pt x="84705" y="113250"/>
                        </a:cubicBezTo>
                        <a:cubicBezTo>
                          <a:pt x="83294" y="113250"/>
                          <a:pt x="83294" y="113250"/>
                          <a:pt x="81882" y="113250"/>
                        </a:cubicBezTo>
                        <a:cubicBezTo>
                          <a:pt x="81882" y="113250"/>
                          <a:pt x="81882" y="114000"/>
                          <a:pt x="81882" y="114750"/>
                        </a:cubicBezTo>
                        <a:cubicBezTo>
                          <a:pt x="83294" y="115500"/>
                          <a:pt x="83294" y="115500"/>
                          <a:pt x="83294" y="115500"/>
                        </a:cubicBezTo>
                        <a:cubicBezTo>
                          <a:pt x="83294" y="115500"/>
                          <a:pt x="83294" y="117000"/>
                          <a:pt x="83294" y="117000"/>
                        </a:cubicBezTo>
                        <a:cubicBezTo>
                          <a:pt x="83294" y="117000"/>
                          <a:pt x="83294" y="117750"/>
                          <a:pt x="80470" y="118500"/>
                        </a:cubicBezTo>
                        <a:cubicBezTo>
                          <a:pt x="79058" y="120000"/>
                          <a:pt x="79058" y="120000"/>
                          <a:pt x="79058" y="120000"/>
                        </a:cubicBezTo>
                        <a:cubicBezTo>
                          <a:pt x="73411" y="120000"/>
                          <a:pt x="73411" y="120000"/>
                          <a:pt x="73411" y="120000"/>
                        </a:cubicBezTo>
                        <a:cubicBezTo>
                          <a:pt x="73411" y="120000"/>
                          <a:pt x="73411" y="120000"/>
                          <a:pt x="73411" y="120000"/>
                        </a:cubicBezTo>
                        <a:close/>
                        <a:moveTo>
                          <a:pt x="69176" y="118500"/>
                        </a:moveTo>
                        <a:cubicBezTo>
                          <a:pt x="69176" y="118500"/>
                          <a:pt x="69176" y="118500"/>
                          <a:pt x="69176" y="118500"/>
                        </a:cubicBezTo>
                        <a:cubicBezTo>
                          <a:pt x="73411" y="119250"/>
                          <a:pt x="73411" y="119250"/>
                          <a:pt x="73411" y="119250"/>
                        </a:cubicBezTo>
                        <a:cubicBezTo>
                          <a:pt x="77647" y="119250"/>
                          <a:pt x="77647" y="119250"/>
                          <a:pt x="77647" y="119250"/>
                        </a:cubicBezTo>
                        <a:cubicBezTo>
                          <a:pt x="80470" y="118500"/>
                          <a:pt x="80470" y="118500"/>
                          <a:pt x="80470" y="118500"/>
                        </a:cubicBezTo>
                        <a:cubicBezTo>
                          <a:pt x="81882" y="117750"/>
                          <a:pt x="83294" y="117000"/>
                          <a:pt x="83294" y="117000"/>
                        </a:cubicBezTo>
                        <a:cubicBezTo>
                          <a:pt x="83294" y="117000"/>
                          <a:pt x="81882" y="115500"/>
                          <a:pt x="81882" y="115500"/>
                        </a:cubicBezTo>
                        <a:cubicBezTo>
                          <a:pt x="81882" y="114750"/>
                          <a:pt x="81882" y="114750"/>
                          <a:pt x="81882" y="114750"/>
                        </a:cubicBezTo>
                        <a:cubicBezTo>
                          <a:pt x="81882" y="114750"/>
                          <a:pt x="80470" y="114000"/>
                          <a:pt x="80470" y="113250"/>
                        </a:cubicBezTo>
                        <a:cubicBezTo>
                          <a:pt x="80470" y="113250"/>
                          <a:pt x="81882" y="112500"/>
                          <a:pt x="81882" y="112500"/>
                        </a:cubicBezTo>
                        <a:cubicBezTo>
                          <a:pt x="83294" y="112500"/>
                          <a:pt x="83294" y="112500"/>
                          <a:pt x="83294" y="112500"/>
                        </a:cubicBezTo>
                        <a:cubicBezTo>
                          <a:pt x="83294" y="112500"/>
                          <a:pt x="84705" y="112500"/>
                          <a:pt x="84705" y="112500"/>
                        </a:cubicBezTo>
                        <a:cubicBezTo>
                          <a:pt x="86117" y="113250"/>
                          <a:pt x="86117" y="113250"/>
                          <a:pt x="86117" y="113250"/>
                        </a:cubicBezTo>
                        <a:cubicBezTo>
                          <a:pt x="86117" y="113250"/>
                          <a:pt x="86117" y="113250"/>
                          <a:pt x="86117" y="113250"/>
                        </a:cubicBezTo>
                        <a:cubicBezTo>
                          <a:pt x="87529" y="113250"/>
                          <a:pt x="88941" y="112500"/>
                          <a:pt x="88941" y="111750"/>
                        </a:cubicBezTo>
                        <a:cubicBezTo>
                          <a:pt x="88941" y="111750"/>
                          <a:pt x="88941" y="111750"/>
                          <a:pt x="88941" y="111750"/>
                        </a:cubicBezTo>
                        <a:cubicBezTo>
                          <a:pt x="87529" y="111750"/>
                          <a:pt x="87529" y="111000"/>
                          <a:pt x="86117" y="111000"/>
                        </a:cubicBezTo>
                        <a:cubicBezTo>
                          <a:pt x="83294" y="110250"/>
                          <a:pt x="81882" y="109500"/>
                          <a:pt x="81882" y="109500"/>
                        </a:cubicBezTo>
                        <a:cubicBezTo>
                          <a:pt x="81882" y="109500"/>
                          <a:pt x="81882" y="108750"/>
                          <a:pt x="81882" y="108750"/>
                        </a:cubicBezTo>
                        <a:cubicBezTo>
                          <a:pt x="80470" y="108750"/>
                          <a:pt x="80470" y="108000"/>
                          <a:pt x="80470" y="108000"/>
                        </a:cubicBezTo>
                        <a:cubicBezTo>
                          <a:pt x="80470" y="107250"/>
                          <a:pt x="80470" y="106500"/>
                          <a:pt x="80470" y="106500"/>
                        </a:cubicBezTo>
                        <a:cubicBezTo>
                          <a:pt x="80470" y="105750"/>
                          <a:pt x="80470" y="105750"/>
                          <a:pt x="80470" y="105750"/>
                        </a:cubicBezTo>
                        <a:cubicBezTo>
                          <a:pt x="80470" y="105750"/>
                          <a:pt x="81882" y="105000"/>
                          <a:pt x="83294" y="105000"/>
                        </a:cubicBezTo>
                        <a:cubicBezTo>
                          <a:pt x="84705" y="105000"/>
                          <a:pt x="84705" y="105000"/>
                          <a:pt x="84705" y="105000"/>
                        </a:cubicBezTo>
                        <a:cubicBezTo>
                          <a:pt x="86117" y="102750"/>
                          <a:pt x="86117" y="102750"/>
                          <a:pt x="86117" y="102750"/>
                        </a:cubicBezTo>
                        <a:cubicBezTo>
                          <a:pt x="86117" y="102750"/>
                          <a:pt x="86117" y="102000"/>
                          <a:pt x="87529" y="102000"/>
                        </a:cubicBezTo>
                        <a:cubicBezTo>
                          <a:pt x="88941" y="102000"/>
                          <a:pt x="88941" y="102000"/>
                          <a:pt x="88941" y="102000"/>
                        </a:cubicBezTo>
                        <a:cubicBezTo>
                          <a:pt x="88941" y="102000"/>
                          <a:pt x="88941" y="102000"/>
                          <a:pt x="88941" y="102000"/>
                        </a:cubicBezTo>
                        <a:cubicBezTo>
                          <a:pt x="98823" y="99000"/>
                          <a:pt x="98823" y="99000"/>
                          <a:pt x="98823" y="99000"/>
                        </a:cubicBezTo>
                        <a:cubicBezTo>
                          <a:pt x="105882" y="93000"/>
                          <a:pt x="105882" y="93000"/>
                          <a:pt x="105882" y="93000"/>
                        </a:cubicBezTo>
                        <a:cubicBezTo>
                          <a:pt x="107294" y="86250"/>
                          <a:pt x="107294" y="86250"/>
                          <a:pt x="107294" y="86250"/>
                        </a:cubicBezTo>
                        <a:cubicBezTo>
                          <a:pt x="111529" y="80250"/>
                          <a:pt x="111529" y="80250"/>
                          <a:pt x="111529" y="80250"/>
                        </a:cubicBezTo>
                        <a:cubicBezTo>
                          <a:pt x="112941" y="79500"/>
                          <a:pt x="117176" y="78000"/>
                          <a:pt x="118588" y="78000"/>
                        </a:cubicBezTo>
                        <a:cubicBezTo>
                          <a:pt x="118588" y="77250"/>
                          <a:pt x="118588" y="75000"/>
                          <a:pt x="117176" y="72000"/>
                        </a:cubicBezTo>
                        <a:cubicBezTo>
                          <a:pt x="114352" y="69750"/>
                          <a:pt x="114352" y="69750"/>
                          <a:pt x="114352" y="69750"/>
                        </a:cubicBezTo>
                        <a:cubicBezTo>
                          <a:pt x="114352" y="68250"/>
                          <a:pt x="114352" y="68250"/>
                          <a:pt x="114352" y="68250"/>
                        </a:cubicBezTo>
                        <a:cubicBezTo>
                          <a:pt x="114352" y="69000"/>
                          <a:pt x="112941" y="69000"/>
                          <a:pt x="112941" y="68250"/>
                        </a:cubicBezTo>
                        <a:cubicBezTo>
                          <a:pt x="112941" y="68250"/>
                          <a:pt x="111529" y="68250"/>
                          <a:pt x="111529" y="68250"/>
                        </a:cubicBezTo>
                        <a:cubicBezTo>
                          <a:pt x="111529" y="67500"/>
                          <a:pt x="111529" y="67500"/>
                          <a:pt x="111529" y="67500"/>
                        </a:cubicBezTo>
                        <a:cubicBezTo>
                          <a:pt x="107294" y="66750"/>
                          <a:pt x="107294" y="66750"/>
                          <a:pt x="107294" y="66750"/>
                        </a:cubicBezTo>
                        <a:cubicBezTo>
                          <a:pt x="107294" y="66750"/>
                          <a:pt x="107294" y="66750"/>
                          <a:pt x="105882" y="66750"/>
                        </a:cubicBezTo>
                        <a:cubicBezTo>
                          <a:pt x="105882" y="66750"/>
                          <a:pt x="104470" y="66750"/>
                          <a:pt x="104470" y="66750"/>
                        </a:cubicBezTo>
                        <a:cubicBezTo>
                          <a:pt x="101647" y="66000"/>
                          <a:pt x="100235" y="66000"/>
                          <a:pt x="100235" y="66750"/>
                        </a:cubicBezTo>
                        <a:cubicBezTo>
                          <a:pt x="98823" y="66750"/>
                          <a:pt x="98823" y="66750"/>
                          <a:pt x="97411" y="67500"/>
                        </a:cubicBezTo>
                        <a:cubicBezTo>
                          <a:pt x="97411" y="67500"/>
                          <a:pt x="97411" y="67500"/>
                          <a:pt x="97411" y="67500"/>
                        </a:cubicBezTo>
                        <a:cubicBezTo>
                          <a:pt x="96000" y="68250"/>
                          <a:pt x="96000" y="67500"/>
                          <a:pt x="96000" y="67500"/>
                        </a:cubicBezTo>
                        <a:cubicBezTo>
                          <a:pt x="96000" y="67500"/>
                          <a:pt x="96000" y="67500"/>
                          <a:pt x="94588" y="67500"/>
                        </a:cubicBezTo>
                        <a:cubicBezTo>
                          <a:pt x="94588" y="66000"/>
                          <a:pt x="94588" y="66000"/>
                          <a:pt x="94588" y="66000"/>
                        </a:cubicBezTo>
                        <a:cubicBezTo>
                          <a:pt x="94588" y="66000"/>
                          <a:pt x="94588" y="65250"/>
                          <a:pt x="94588" y="65250"/>
                        </a:cubicBezTo>
                        <a:cubicBezTo>
                          <a:pt x="94588" y="64500"/>
                          <a:pt x="93176" y="63000"/>
                          <a:pt x="93176" y="62250"/>
                        </a:cubicBezTo>
                        <a:cubicBezTo>
                          <a:pt x="91764" y="61500"/>
                          <a:pt x="91764" y="61500"/>
                          <a:pt x="91764" y="60750"/>
                        </a:cubicBezTo>
                        <a:cubicBezTo>
                          <a:pt x="91764" y="60750"/>
                          <a:pt x="88941" y="60750"/>
                          <a:pt x="88941" y="60750"/>
                        </a:cubicBezTo>
                        <a:cubicBezTo>
                          <a:pt x="87529" y="60750"/>
                          <a:pt x="86117" y="60750"/>
                          <a:pt x="86117" y="60750"/>
                        </a:cubicBezTo>
                        <a:cubicBezTo>
                          <a:pt x="84705" y="60000"/>
                          <a:pt x="84705" y="59250"/>
                          <a:pt x="86117" y="58500"/>
                        </a:cubicBezTo>
                        <a:cubicBezTo>
                          <a:pt x="86117" y="58500"/>
                          <a:pt x="84705" y="57750"/>
                          <a:pt x="83294" y="57000"/>
                        </a:cubicBezTo>
                        <a:cubicBezTo>
                          <a:pt x="83294" y="57000"/>
                          <a:pt x="80470" y="54750"/>
                          <a:pt x="80470" y="54750"/>
                        </a:cubicBezTo>
                        <a:cubicBezTo>
                          <a:pt x="80470" y="54750"/>
                          <a:pt x="79058" y="54750"/>
                          <a:pt x="79058" y="54000"/>
                        </a:cubicBezTo>
                        <a:cubicBezTo>
                          <a:pt x="77647" y="51000"/>
                          <a:pt x="77647" y="51000"/>
                          <a:pt x="77647" y="51000"/>
                        </a:cubicBezTo>
                        <a:cubicBezTo>
                          <a:pt x="79058" y="50250"/>
                          <a:pt x="79058" y="49500"/>
                          <a:pt x="79058" y="49500"/>
                        </a:cubicBezTo>
                        <a:cubicBezTo>
                          <a:pt x="80470" y="48750"/>
                          <a:pt x="80470" y="48000"/>
                          <a:pt x="80470" y="48000"/>
                        </a:cubicBezTo>
                        <a:cubicBezTo>
                          <a:pt x="80470" y="48000"/>
                          <a:pt x="77647" y="46500"/>
                          <a:pt x="76235" y="46500"/>
                        </a:cubicBezTo>
                        <a:cubicBezTo>
                          <a:pt x="76235" y="46500"/>
                          <a:pt x="73411" y="45000"/>
                          <a:pt x="73411" y="44250"/>
                        </a:cubicBezTo>
                        <a:cubicBezTo>
                          <a:pt x="72000" y="43500"/>
                          <a:pt x="72000" y="42750"/>
                          <a:pt x="72000" y="42750"/>
                        </a:cubicBezTo>
                        <a:cubicBezTo>
                          <a:pt x="73411" y="42000"/>
                          <a:pt x="73411" y="42000"/>
                          <a:pt x="74823" y="42000"/>
                        </a:cubicBezTo>
                        <a:cubicBezTo>
                          <a:pt x="76235" y="41250"/>
                          <a:pt x="76235" y="41250"/>
                          <a:pt x="76235" y="41250"/>
                        </a:cubicBezTo>
                        <a:cubicBezTo>
                          <a:pt x="76235" y="41250"/>
                          <a:pt x="77647" y="40500"/>
                          <a:pt x="77647" y="40500"/>
                        </a:cubicBezTo>
                        <a:cubicBezTo>
                          <a:pt x="77647" y="39750"/>
                          <a:pt x="77647" y="39750"/>
                          <a:pt x="77647" y="39750"/>
                        </a:cubicBezTo>
                        <a:cubicBezTo>
                          <a:pt x="77647" y="39750"/>
                          <a:pt x="76235" y="38250"/>
                          <a:pt x="76235" y="38250"/>
                        </a:cubicBezTo>
                        <a:cubicBezTo>
                          <a:pt x="77647" y="36000"/>
                          <a:pt x="77647" y="36000"/>
                          <a:pt x="77647" y="36000"/>
                        </a:cubicBezTo>
                        <a:cubicBezTo>
                          <a:pt x="76235" y="35250"/>
                          <a:pt x="76235" y="35250"/>
                          <a:pt x="76235" y="35250"/>
                        </a:cubicBezTo>
                        <a:cubicBezTo>
                          <a:pt x="76235" y="32250"/>
                          <a:pt x="76235" y="32250"/>
                          <a:pt x="76235" y="32250"/>
                        </a:cubicBezTo>
                        <a:cubicBezTo>
                          <a:pt x="76235" y="31500"/>
                          <a:pt x="76235" y="31500"/>
                          <a:pt x="76235" y="31500"/>
                        </a:cubicBezTo>
                        <a:cubicBezTo>
                          <a:pt x="76235" y="30750"/>
                          <a:pt x="76235" y="30000"/>
                          <a:pt x="76235" y="30000"/>
                        </a:cubicBezTo>
                        <a:cubicBezTo>
                          <a:pt x="76235" y="29250"/>
                          <a:pt x="77647" y="28500"/>
                          <a:pt x="77647" y="27750"/>
                        </a:cubicBezTo>
                        <a:cubicBezTo>
                          <a:pt x="77647" y="26250"/>
                          <a:pt x="77647" y="26250"/>
                          <a:pt x="77647" y="26250"/>
                        </a:cubicBezTo>
                        <a:cubicBezTo>
                          <a:pt x="79058" y="24750"/>
                          <a:pt x="79058" y="24750"/>
                          <a:pt x="79058" y="24750"/>
                        </a:cubicBezTo>
                        <a:cubicBezTo>
                          <a:pt x="76235" y="22500"/>
                          <a:pt x="76235" y="22500"/>
                          <a:pt x="76235" y="22500"/>
                        </a:cubicBezTo>
                        <a:cubicBezTo>
                          <a:pt x="76235" y="22500"/>
                          <a:pt x="76235" y="22500"/>
                          <a:pt x="74823" y="21750"/>
                        </a:cubicBezTo>
                        <a:cubicBezTo>
                          <a:pt x="74823" y="21000"/>
                          <a:pt x="73411" y="19500"/>
                          <a:pt x="73411" y="19500"/>
                        </a:cubicBezTo>
                        <a:cubicBezTo>
                          <a:pt x="72000" y="18000"/>
                          <a:pt x="72000" y="18000"/>
                          <a:pt x="72000" y="18000"/>
                        </a:cubicBezTo>
                        <a:cubicBezTo>
                          <a:pt x="72000" y="17250"/>
                          <a:pt x="69176" y="15750"/>
                          <a:pt x="69176" y="15750"/>
                        </a:cubicBezTo>
                        <a:cubicBezTo>
                          <a:pt x="69176" y="15000"/>
                          <a:pt x="67764" y="15000"/>
                          <a:pt x="67764" y="15000"/>
                        </a:cubicBezTo>
                        <a:cubicBezTo>
                          <a:pt x="67764" y="14250"/>
                          <a:pt x="67764" y="14250"/>
                          <a:pt x="66352" y="14250"/>
                        </a:cubicBezTo>
                        <a:cubicBezTo>
                          <a:pt x="64941" y="13500"/>
                          <a:pt x="62117" y="12750"/>
                          <a:pt x="62117" y="12750"/>
                        </a:cubicBezTo>
                        <a:cubicBezTo>
                          <a:pt x="59294" y="12750"/>
                          <a:pt x="59294" y="12750"/>
                          <a:pt x="59294" y="12750"/>
                        </a:cubicBezTo>
                        <a:cubicBezTo>
                          <a:pt x="56470" y="11250"/>
                          <a:pt x="56470" y="11250"/>
                          <a:pt x="56470" y="11250"/>
                        </a:cubicBezTo>
                        <a:cubicBezTo>
                          <a:pt x="55058" y="12000"/>
                          <a:pt x="55058" y="12000"/>
                          <a:pt x="55058" y="12000"/>
                        </a:cubicBezTo>
                        <a:cubicBezTo>
                          <a:pt x="50823" y="9000"/>
                          <a:pt x="50823" y="9000"/>
                          <a:pt x="50823" y="9000"/>
                        </a:cubicBezTo>
                        <a:cubicBezTo>
                          <a:pt x="50823" y="6750"/>
                          <a:pt x="50823" y="6750"/>
                          <a:pt x="50823" y="6750"/>
                        </a:cubicBezTo>
                        <a:cubicBezTo>
                          <a:pt x="40941" y="3000"/>
                          <a:pt x="40941" y="3000"/>
                          <a:pt x="40941" y="3000"/>
                        </a:cubicBezTo>
                        <a:cubicBezTo>
                          <a:pt x="39529" y="3750"/>
                          <a:pt x="39529" y="3750"/>
                          <a:pt x="39529" y="3750"/>
                        </a:cubicBezTo>
                        <a:cubicBezTo>
                          <a:pt x="39529" y="3750"/>
                          <a:pt x="38117" y="4500"/>
                          <a:pt x="38117" y="4500"/>
                        </a:cubicBezTo>
                        <a:cubicBezTo>
                          <a:pt x="38117" y="5250"/>
                          <a:pt x="33882" y="5250"/>
                          <a:pt x="33882" y="5250"/>
                        </a:cubicBezTo>
                        <a:cubicBezTo>
                          <a:pt x="32470" y="6750"/>
                          <a:pt x="32470" y="6750"/>
                          <a:pt x="32470" y="6750"/>
                        </a:cubicBezTo>
                        <a:cubicBezTo>
                          <a:pt x="28235" y="7500"/>
                          <a:pt x="28235" y="7500"/>
                          <a:pt x="28235" y="7500"/>
                        </a:cubicBezTo>
                        <a:cubicBezTo>
                          <a:pt x="28235" y="7500"/>
                          <a:pt x="26823" y="7500"/>
                          <a:pt x="26823" y="7500"/>
                        </a:cubicBezTo>
                        <a:cubicBezTo>
                          <a:pt x="26823" y="6750"/>
                          <a:pt x="25411" y="6750"/>
                          <a:pt x="25411" y="6750"/>
                        </a:cubicBezTo>
                        <a:cubicBezTo>
                          <a:pt x="25411" y="6000"/>
                          <a:pt x="25411" y="6000"/>
                          <a:pt x="25411" y="6000"/>
                        </a:cubicBezTo>
                        <a:cubicBezTo>
                          <a:pt x="24000" y="5250"/>
                          <a:pt x="24000" y="4500"/>
                          <a:pt x="24000" y="4500"/>
                        </a:cubicBezTo>
                        <a:cubicBezTo>
                          <a:pt x="24000" y="3750"/>
                          <a:pt x="24000" y="3750"/>
                          <a:pt x="24000" y="3750"/>
                        </a:cubicBezTo>
                        <a:cubicBezTo>
                          <a:pt x="24000" y="3000"/>
                          <a:pt x="24000" y="3000"/>
                          <a:pt x="24000" y="2250"/>
                        </a:cubicBezTo>
                        <a:cubicBezTo>
                          <a:pt x="24000" y="1500"/>
                          <a:pt x="24000" y="1500"/>
                          <a:pt x="24000" y="1500"/>
                        </a:cubicBezTo>
                        <a:cubicBezTo>
                          <a:pt x="21176" y="750"/>
                          <a:pt x="21176" y="750"/>
                          <a:pt x="21176" y="750"/>
                        </a:cubicBezTo>
                        <a:cubicBezTo>
                          <a:pt x="21176" y="750"/>
                          <a:pt x="19764" y="0"/>
                          <a:pt x="19764" y="0"/>
                        </a:cubicBezTo>
                        <a:cubicBezTo>
                          <a:pt x="19764" y="750"/>
                          <a:pt x="16941" y="1500"/>
                          <a:pt x="15529" y="3000"/>
                        </a:cubicBezTo>
                        <a:cubicBezTo>
                          <a:pt x="15529" y="3750"/>
                          <a:pt x="15529" y="3750"/>
                          <a:pt x="15529" y="3750"/>
                        </a:cubicBezTo>
                        <a:cubicBezTo>
                          <a:pt x="12705" y="6750"/>
                          <a:pt x="12705" y="6750"/>
                          <a:pt x="12705" y="6750"/>
                        </a:cubicBezTo>
                        <a:cubicBezTo>
                          <a:pt x="11294" y="9000"/>
                          <a:pt x="11294" y="9000"/>
                          <a:pt x="11294" y="9000"/>
                        </a:cubicBezTo>
                        <a:cubicBezTo>
                          <a:pt x="11294" y="9000"/>
                          <a:pt x="11294" y="9750"/>
                          <a:pt x="9882" y="9750"/>
                        </a:cubicBezTo>
                        <a:cubicBezTo>
                          <a:pt x="9882" y="10500"/>
                          <a:pt x="8470" y="11250"/>
                          <a:pt x="8470" y="11250"/>
                        </a:cubicBezTo>
                        <a:cubicBezTo>
                          <a:pt x="7058" y="11250"/>
                          <a:pt x="7058" y="11250"/>
                          <a:pt x="7058" y="11250"/>
                        </a:cubicBezTo>
                        <a:cubicBezTo>
                          <a:pt x="5647" y="12000"/>
                          <a:pt x="5647" y="12000"/>
                          <a:pt x="5647" y="12000"/>
                        </a:cubicBezTo>
                        <a:cubicBezTo>
                          <a:pt x="7058" y="13500"/>
                          <a:pt x="7058" y="13500"/>
                          <a:pt x="7058" y="13500"/>
                        </a:cubicBezTo>
                        <a:cubicBezTo>
                          <a:pt x="5647" y="13500"/>
                          <a:pt x="5647" y="14250"/>
                          <a:pt x="5647" y="15000"/>
                        </a:cubicBezTo>
                        <a:cubicBezTo>
                          <a:pt x="5647" y="15000"/>
                          <a:pt x="5647" y="15000"/>
                          <a:pt x="4235" y="15750"/>
                        </a:cubicBezTo>
                        <a:cubicBezTo>
                          <a:pt x="4235" y="17250"/>
                          <a:pt x="4235" y="17250"/>
                          <a:pt x="4235" y="17250"/>
                        </a:cubicBezTo>
                        <a:cubicBezTo>
                          <a:pt x="0" y="19500"/>
                          <a:pt x="0" y="19500"/>
                          <a:pt x="0" y="19500"/>
                        </a:cubicBezTo>
                        <a:cubicBezTo>
                          <a:pt x="0" y="20250"/>
                          <a:pt x="0" y="20250"/>
                          <a:pt x="0" y="20250"/>
                        </a:cubicBezTo>
                        <a:cubicBezTo>
                          <a:pt x="1411" y="21000"/>
                          <a:pt x="1411" y="21000"/>
                          <a:pt x="1411" y="21000"/>
                        </a:cubicBezTo>
                        <a:cubicBezTo>
                          <a:pt x="7058" y="22500"/>
                          <a:pt x="7058" y="22500"/>
                          <a:pt x="7058" y="22500"/>
                        </a:cubicBezTo>
                        <a:cubicBezTo>
                          <a:pt x="8470" y="22500"/>
                          <a:pt x="8470" y="23250"/>
                          <a:pt x="8470" y="24000"/>
                        </a:cubicBezTo>
                        <a:cubicBezTo>
                          <a:pt x="8470" y="24000"/>
                          <a:pt x="7058" y="24750"/>
                          <a:pt x="7058" y="24750"/>
                        </a:cubicBezTo>
                        <a:cubicBezTo>
                          <a:pt x="7058" y="26250"/>
                          <a:pt x="7058" y="26250"/>
                          <a:pt x="7058" y="26250"/>
                        </a:cubicBezTo>
                        <a:cubicBezTo>
                          <a:pt x="7058" y="26250"/>
                          <a:pt x="7058" y="27000"/>
                          <a:pt x="7058" y="27000"/>
                        </a:cubicBezTo>
                        <a:cubicBezTo>
                          <a:pt x="7058" y="27000"/>
                          <a:pt x="8470" y="27750"/>
                          <a:pt x="8470" y="27750"/>
                        </a:cubicBezTo>
                        <a:cubicBezTo>
                          <a:pt x="8470" y="28500"/>
                          <a:pt x="7058" y="29250"/>
                          <a:pt x="7058" y="29250"/>
                        </a:cubicBezTo>
                        <a:cubicBezTo>
                          <a:pt x="5647" y="30000"/>
                          <a:pt x="5647" y="30000"/>
                          <a:pt x="5647" y="30000"/>
                        </a:cubicBezTo>
                        <a:cubicBezTo>
                          <a:pt x="7058" y="30750"/>
                          <a:pt x="7058" y="30750"/>
                          <a:pt x="7058" y="30750"/>
                        </a:cubicBezTo>
                        <a:cubicBezTo>
                          <a:pt x="7058" y="30750"/>
                          <a:pt x="7058" y="32250"/>
                          <a:pt x="7058" y="32250"/>
                        </a:cubicBezTo>
                        <a:cubicBezTo>
                          <a:pt x="7058" y="32250"/>
                          <a:pt x="8470" y="33000"/>
                          <a:pt x="9882" y="33000"/>
                        </a:cubicBezTo>
                        <a:cubicBezTo>
                          <a:pt x="9882" y="33000"/>
                          <a:pt x="9882" y="33000"/>
                          <a:pt x="11294" y="33000"/>
                        </a:cubicBezTo>
                        <a:cubicBezTo>
                          <a:pt x="12705" y="33000"/>
                          <a:pt x="12705" y="33000"/>
                          <a:pt x="12705" y="33000"/>
                        </a:cubicBezTo>
                        <a:cubicBezTo>
                          <a:pt x="14117" y="33000"/>
                          <a:pt x="14117" y="33000"/>
                          <a:pt x="14117" y="33000"/>
                        </a:cubicBezTo>
                        <a:cubicBezTo>
                          <a:pt x="19764" y="33750"/>
                          <a:pt x="19764" y="33750"/>
                          <a:pt x="19764" y="33750"/>
                        </a:cubicBezTo>
                        <a:cubicBezTo>
                          <a:pt x="21176" y="34500"/>
                          <a:pt x="21176" y="34500"/>
                          <a:pt x="21176" y="34500"/>
                        </a:cubicBezTo>
                        <a:cubicBezTo>
                          <a:pt x="21176" y="36750"/>
                          <a:pt x="21176" y="36750"/>
                          <a:pt x="21176" y="36750"/>
                        </a:cubicBezTo>
                        <a:cubicBezTo>
                          <a:pt x="22588" y="39000"/>
                          <a:pt x="22588" y="39000"/>
                          <a:pt x="22588" y="39000"/>
                        </a:cubicBezTo>
                        <a:cubicBezTo>
                          <a:pt x="21176" y="40500"/>
                          <a:pt x="21176" y="40500"/>
                          <a:pt x="21176" y="40500"/>
                        </a:cubicBezTo>
                        <a:cubicBezTo>
                          <a:pt x="22588" y="40500"/>
                          <a:pt x="22588" y="40500"/>
                          <a:pt x="22588" y="40500"/>
                        </a:cubicBezTo>
                        <a:cubicBezTo>
                          <a:pt x="22588" y="40500"/>
                          <a:pt x="22588" y="41250"/>
                          <a:pt x="22588" y="41250"/>
                        </a:cubicBezTo>
                        <a:cubicBezTo>
                          <a:pt x="22588" y="42000"/>
                          <a:pt x="22588" y="43500"/>
                          <a:pt x="22588" y="43500"/>
                        </a:cubicBezTo>
                        <a:cubicBezTo>
                          <a:pt x="21176" y="43500"/>
                          <a:pt x="19764" y="44250"/>
                          <a:pt x="18352" y="44250"/>
                        </a:cubicBezTo>
                        <a:cubicBezTo>
                          <a:pt x="16941" y="44250"/>
                          <a:pt x="15529" y="44250"/>
                          <a:pt x="15529" y="44250"/>
                        </a:cubicBezTo>
                        <a:cubicBezTo>
                          <a:pt x="15529" y="45000"/>
                          <a:pt x="15529" y="45000"/>
                          <a:pt x="15529" y="45000"/>
                        </a:cubicBezTo>
                        <a:cubicBezTo>
                          <a:pt x="18352" y="45750"/>
                          <a:pt x="18352" y="45750"/>
                          <a:pt x="18352" y="45750"/>
                        </a:cubicBezTo>
                        <a:cubicBezTo>
                          <a:pt x="19764" y="45750"/>
                          <a:pt x="19764" y="45750"/>
                          <a:pt x="19764" y="45750"/>
                        </a:cubicBezTo>
                        <a:cubicBezTo>
                          <a:pt x="21176" y="46500"/>
                          <a:pt x="21176" y="48000"/>
                          <a:pt x="21176" y="48000"/>
                        </a:cubicBezTo>
                        <a:cubicBezTo>
                          <a:pt x="19764" y="48000"/>
                          <a:pt x="19764" y="48750"/>
                          <a:pt x="19764" y="48750"/>
                        </a:cubicBezTo>
                        <a:cubicBezTo>
                          <a:pt x="18352" y="48750"/>
                          <a:pt x="16941" y="49500"/>
                          <a:pt x="16941" y="49500"/>
                        </a:cubicBezTo>
                        <a:cubicBezTo>
                          <a:pt x="14117" y="51000"/>
                          <a:pt x="14117" y="51000"/>
                          <a:pt x="14117" y="51000"/>
                        </a:cubicBezTo>
                        <a:cubicBezTo>
                          <a:pt x="12705" y="51750"/>
                          <a:pt x="12705" y="51750"/>
                          <a:pt x="12705" y="51750"/>
                        </a:cubicBezTo>
                        <a:cubicBezTo>
                          <a:pt x="14117" y="53250"/>
                          <a:pt x="14117" y="53250"/>
                          <a:pt x="14117" y="53250"/>
                        </a:cubicBezTo>
                        <a:cubicBezTo>
                          <a:pt x="15529" y="53250"/>
                          <a:pt x="15529" y="53250"/>
                          <a:pt x="15529" y="53250"/>
                        </a:cubicBezTo>
                        <a:cubicBezTo>
                          <a:pt x="16941" y="53250"/>
                          <a:pt x="16941" y="53250"/>
                          <a:pt x="16941" y="54000"/>
                        </a:cubicBezTo>
                        <a:cubicBezTo>
                          <a:pt x="16941" y="54000"/>
                          <a:pt x="16941" y="54000"/>
                          <a:pt x="21176" y="54750"/>
                        </a:cubicBezTo>
                        <a:cubicBezTo>
                          <a:pt x="21176" y="56250"/>
                          <a:pt x="21176" y="56250"/>
                          <a:pt x="21176" y="56250"/>
                        </a:cubicBezTo>
                        <a:cubicBezTo>
                          <a:pt x="21176" y="56250"/>
                          <a:pt x="21176" y="57000"/>
                          <a:pt x="21176" y="57750"/>
                        </a:cubicBezTo>
                        <a:cubicBezTo>
                          <a:pt x="21176" y="58500"/>
                          <a:pt x="19764" y="60750"/>
                          <a:pt x="19764" y="60750"/>
                        </a:cubicBezTo>
                        <a:cubicBezTo>
                          <a:pt x="18352" y="62250"/>
                          <a:pt x="18352" y="62250"/>
                          <a:pt x="18352" y="62250"/>
                        </a:cubicBezTo>
                        <a:cubicBezTo>
                          <a:pt x="18352" y="62250"/>
                          <a:pt x="19764" y="63000"/>
                          <a:pt x="19764" y="64500"/>
                        </a:cubicBezTo>
                        <a:cubicBezTo>
                          <a:pt x="18352" y="66750"/>
                          <a:pt x="18352" y="66750"/>
                          <a:pt x="18352" y="66750"/>
                        </a:cubicBezTo>
                        <a:cubicBezTo>
                          <a:pt x="24000" y="67500"/>
                          <a:pt x="24000" y="67500"/>
                          <a:pt x="24000" y="67500"/>
                        </a:cubicBezTo>
                        <a:cubicBezTo>
                          <a:pt x="24000" y="69000"/>
                          <a:pt x="24000" y="69000"/>
                          <a:pt x="24000" y="69000"/>
                        </a:cubicBezTo>
                        <a:cubicBezTo>
                          <a:pt x="19764" y="69750"/>
                          <a:pt x="19764" y="69750"/>
                          <a:pt x="19764" y="69750"/>
                        </a:cubicBezTo>
                        <a:cubicBezTo>
                          <a:pt x="19764" y="69750"/>
                          <a:pt x="18352" y="69750"/>
                          <a:pt x="18352" y="70500"/>
                        </a:cubicBezTo>
                        <a:cubicBezTo>
                          <a:pt x="18352" y="70500"/>
                          <a:pt x="18352" y="71250"/>
                          <a:pt x="18352" y="71250"/>
                        </a:cubicBezTo>
                        <a:cubicBezTo>
                          <a:pt x="21176" y="71250"/>
                          <a:pt x="21176" y="71250"/>
                          <a:pt x="21176" y="71250"/>
                        </a:cubicBezTo>
                        <a:cubicBezTo>
                          <a:pt x="18352" y="72750"/>
                          <a:pt x="18352" y="72750"/>
                          <a:pt x="18352" y="72750"/>
                        </a:cubicBezTo>
                        <a:cubicBezTo>
                          <a:pt x="18352" y="72750"/>
                          <a:pt x="18352" y="74250"/>
                          <a:pt x="18352" y="74250"/>
                        </a:cubicBezTo>
                        <a:cubicBezTo>
                          <a:pt x="18352" y="74250"/>
                          <a:pt x="18352" y="75000"/>
                          <a:pt x="18352" y="75750"/>
                        </a:cubicBezTo>
                        <a:cubicBezTo>
                          <a:pt x="16941" y="75750"/>
                          <a:pt x="16941" y="75750"/>
                          <a:pt x="16941" y="75750"/>
                        </a:cubicBezTo>
                        <a:cubicBezTo>
                          <a:pt x="16941" y="77250"/>
                          <a:pt x="16941" y="77250"/>
                          <a:pt x="16941" y="77250"/>
                        </a:cubicBezTo>
                        <a:cubicBezTo>
                          <a:pt x="15529" y="81000"/>
                          <a:pt x="15529" y="81000"/>
                          <a:pt x="15529" y="81000"/>
                        </a:cubicBezTo>
                        <a:cubicBezTo>
                          <a:pt x="19764" y="85500"/>
                          <a:pt x="19764" y="85500"/>
                          <a:pt x="19764" y="85500"/>
                        </a:cubicBezTo>
                        <a:cubicBezTo>
                          <a:pt x="24000" y="87750"/>
                          <a:pt x="24000" y="87750"/>
                          <a:pt x="24000" y="87750"/>
                        </a:cubicBezTo>
                        <a:cubicBezTo>
                          <a:pt x="26823" y="89250"/>
                          <a:pt x="26823" y="89250"/>
                          <a:pt x="26823" y="89250"/>
                        </a:cubicBezTo>
                        <a:cubicBezTo>
                          <a:pt x="25411" y="91500"/>
                          <a:pt x="25411" y="91500"/>
                          <a:pt x="25411" y="91500"/>
                        </a:cubicBezTo>
                        <a:cubicBezTo>
                          <a:pt x="26823" y="92250"/>
                          <a:pt x="26823" y="92250"/>
                          <a:pt x="26823" y="92250"/>
                        </a:cubicBezTo>
                        <a:cubicBezTo>
                          <a:pt x="26823" y="93750"/>
                          <a:pt x="26823" y="93750"/>
                          <a:pt x="26823" y="93750"/>
                        </a:cubicBezTo>
                        <a:cubicBezTo>
                          <a:pt x="26823" y="93750"/>
                          <a:pt x="26823" y="94500"/>
                          <a:pt x="25411" y="94500"/>
                        </a:cubicBezTo>
                        <a:cubicBezTo>
                          <a:pt x="25411" y="94500"/>
                          <a:pt x="24000" y="94500"/>
                          <a:pt x="24000" y="94500"/>
                        </a:cubicBezTo>
                        <a:cubicBezTo>
                          <a:pt x="22588" y="93750"/>
                          <a:pt x="21176" y="92250"/>
                          <a:pt x="21176" y="92250"/>
                        </a:cubicBezTo>
                        <a:cubicBezTo>
                          <a:pt x="21176" y="92250"/>
                          <a:pt x="19764" y="91500"/>
                          <a:pt x="19764" y="90750"/>
                        </a:cubicBezTo>
                        <a:cubicBezTo>
                          <a:pt x="19764" y="90750"/>
                          <a:pt x="18352" y="90000"/>
                          <a:pt x="18352" y="90000"/>
                        </a:cubicBezTo>
                        <a:cubicBezTo>
                          <a:pt x="15529" y="90000"/>
                          <a:pt x="15529" y="90000"/>
                          <a:pt x="15529" y="90000"/>
                        </a:cubicBezTo>
                        <a:cubicBezTo>
                          <a:pt x="15529" y="90750"/>
                          <a:pt x="15529" y="90750"/>
                          <a:pt x="15529" y="90750"/>
                        </a:cubicBezTo>
                        <a:cubicBezTo>
                          <a:pt x="15529" y="90750"/>
                          <a:pt x="16941" y="91500"/>
                          <a:pt x="16941" y="92250"/>
                        </a:cubicBezTo>
                        <a:cubicBezTo>
                          <a:pt x="18352" y="92250"/>
                          <a:pt x="19764" y="93000"/>
                          <a:pt x="19764" y="93000"/>
                        </a:cubicBezTo>
                        <a:cubicBezTo>
                          <a:pt x="19764" y="93000"/>
                          <a:pt x="21176" y="93750"/>
                          <a:pt x="21176" y="93750"/>
                        </a:cubicBezTo>
                        <a:cubicBezTo>
                          <a:pt x="21176" y="93750"/>
                          <a:pt x="22588" y="96000"/>
                          <a:pt x="22588" y="96000"/>
                        </a:cubicBezTo>
                        <a:cubicBezTo>
                          <a:pt x="38117" y="101250"/>
                          <a:pt x="38117" y="101250"/>
                          <a:pt x="38117" y="101250"/>
                        </a:cubicBezTo>
                        <a:cubicBezTo>
                          <a:pt x="43764" y="102000"/>
                          <a:pt x="43764" y="102000"/>
                          <a:pt x="43764" y="102000"/>
                        </a:cubicBezTo>
                        <a:cubicBezTo>
                          <a:pt x="45176" y="103500"/>
                          <a:pt x="45176" y="103500"/>
                          <a:pt x="45176" y="103500"/>
                        </a:cubicBezTo>
                        <a:cubicBezTo>
                          <a:pt x="46588" y="103500"/>
                          <a:pt x="46588" y="103500"/>
                          <a:pt x="46588" y="103500"/>
                        </a:cubicBezTo>
                        <a:cubicBezTo>
                          <a:pt x="46588" y="103500"/>
                          <a:pt x="48000" y="103500"/>
                          <a:pt x="49411" y="103500"/>
                        </a:cubicBezTo>
                        <a:cubicBezTo>
                          <a:pt x="49411" y="103500"/>
                          <a:pt x="49411" y="103500"/>
                          <a:pt x="49411" y="103500"/>
                        </a:cubicBezTo>
                        <a:cubicBezTo>
                          <a:pt x="49411" y="103500"/>
                          <a:pt x="52235" y="104250"/>
                          <a:pt x="52235" y="104250"/>
                        </a:cubicBezTo>
                        <a:cubicBezTo>
                          <a:pt x="52235" y="104250"/>
                          <a:pt x="53647" y="104250"/>
                          <a:pt x="53647" y="104250"/>
                        </a:cubicBezTo>
                        <a:cubicBezTo>
                          <a:pt x="53647" y="105000"/>
                          <a:pt x="56470" y="107250"/>
                          <a:pt x="57882" y="108750"/>
                        </a:cubicBezTo>
                        <a:cubicBezTo>
                          <a:pt x="57882" y="108750"/>
                          <a:pt x="59294" y="109500"/>
                          <a:pt x="59294" y="110250"/>
                        </a:cubicBezTo>
                        <a:cubicBezTo>
                          <a:pt x="60705" y="110250"/>
                          <a:pt x="63529" y="111000"/>
                          <a:pt x="63529" y="111000"/>
                        </a:cubicBezTo>
                        <a:cubicBezTo>
                          <a:pt x="63529" y="111750"/>
                          <a:pt x="63529" y="112500"/>
                          <a:pt x="63529" y="113250"/>
                        </a:cubicBezTo>
                        <a:cubicBezTo>
                          <a:pt x="63529" y="113250"/>
                          <a:pt x="63529" y="113250"/>
                          <a:pt x="63529" y="114000"/>
                        </a:cubicBezTo>
                        <a:cubicBezTo>
                          <a:pt x="63529" y="114750"/>
                          <a:pt x="64941" y="114750"/>
                          <a:pt x="64941" y="114750"/>
                        </a:cubicBezTo>
                        <a:cubicBezTo>
                          <a:pt x="64941" y="115500"/>
                          <a:pt x="66352" y="116250"/>
                          <a:pt x="66352" y="116250"/>
                        </a:cubicBezTo>
                        <a:cubicBezTo>
                          <a:pt x="66352" y="118500"/>
                          <a:pt x="66352" y="118500"/>
                          <a:pt x="66352" y="118500"/>
                        </a:cubicBezTo>
                        <a:cubicBezTo>
                          <a:pt x="67764" y="118500"/>
                          <a:pt x="67764" y="118500"/>
                          <a:pt x="67764" y="118500"/>
                        </a:cubicBezTo>
                        <a:lnTo>
                          <a:pt x="69176" y="1185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2" name="Shape 2017"/>
                  <p:cNvSpPr/>
                  <p:nvPr/>
                </p:nvSpPr>
                <p:spPr>
                  <a:xfrm>
                    <a:off x="5810958" y="3583492"/>
                    <a:ext cx="177008" cy="196037"/>
                  </a:xfrm>
                  <a:custGeom>
                    <a:avLst/>
                    <a:gdLst/>
                    <a:ahLst/>
                    <a:cxnLst/>
                    <a:rect l="0" t="0" r="0" b="0"/>
                    <a:pathLst>
                      <a:path w="120000" h="120000" extrusionOk="0">
                        <a:moveTo>
                          <a:pt x="64615" y="117303"/>
                        </a:moveTo>
                        <a:cubicBezTo>
                          <a:pt x="64615" y="117303"/>
                          <a:pt x="72307" y="120000"/>
                          <a:pt x="70769" y="120000"/>
                        </a:cubicBezTo>
                        <a:cubicBezTo>
                          <a:pt x="70769" y="120000"/>
                          <a:pt x="70769" y="120000"/>
                          <a:pt x="70769" y="118651"/>
                        </a:cubicBezTo>
                        <a:cubicBezTo>
                          <a:pt x="70769" y="118651"/>
                          <a:pt x="69230" y="120000"/>
                          <a:pt x="69230" y="120000"/>
                        </a:cubicBezTo>
                        <a:cubicBezTo>
                          <a:pt x="69230" y="120000"/>
                          <a:pt x="66153" y="117303"/>
                          <a:pt x="67692" y="117303"/>
                        </a:cubicBezTo>
                        <a:cubicBezTo>
                          <a:pt x="67692" y="117303"/>
                          <a:pt x="67692" y="115955"/>
                          <a:pt x="67692" y="115955"/>
                        </a:cubicBezTo>
                        <a:cubicBezTo>
                          <a:pt x="67692" y="114606"/>
                          <a:pt x="66153" y="113258"/>
                          <a:pt x="66153" y="113258"/>
                        </a:cubicBezTo>
                        <a:cubicBezTo>
                          <a:pt x="67692" y="111910"/>
                          <a:pt x="67692" y="111910"/>
                          <a:pt x="67692" y="111910"/>
                        </a:cubicBezTo>
                        <a:cubicBezTo>
                          <a:pt x="67692" y="111910"/>
                          <a:pt x="67692" y="109213"/>
                          <a:pt x="67692" y="109213"/>
                        </a:cubicBezTo>
                        <a:cubicBezTo>
                          <a:pt x="67692" y="109213"/>
                          <a:pt x="67692" y="107865"/>
                          <a:pt x="67692" y="107865"/>
                        </a:cubicBezTo>
                        <a:cubicBezTo>
                          <a:pt x="67692" y="107865"/>
                          <a:pt x="66153" y="106516"/>
                          <a:pt x="66153" y="106516"/>
                        </a:cubicBezTo>
                        <a:cubicBezTo>
                          <a:pt x="67692" y="103820"/>
                          <a:pt x="67692" y="103820"/>
                          <a:pt x="67692" y="103820"/>
                        </a:cubicBezTo>
                        <a:cubicBezTo>
                          <a:pt x="67692" y="103820"/>
                          <a:pt x="67692" y="102471"/>
                          <a:pt x="67692" y="102471"/>
                        </a:cubicBezTo>
                        <a:cubicBezTo>
                          <a:pt x="67692" y="101123"/>
                          <a:pt x="67692" y="99775"/>
                          <a:pt x="67692" y="99775"/>
                        </a:cubicBezTo>
                        <a:cubicBezTo>
                          <a:pt x="64615" y="98426"/>
                          <a:pt x="64615" y="98426"/>
                          <a:pt x="64615" y="98426"/>
                        </a:cubicBezTo>
                        <a:cubicBezTo>
                          <a:pt x="61538" y="97078"/>
                          <a:pt x="61538" y="97078"/>
                          <a:pt x="61538" y="97078"/>
                        </a:cubicBezTo>
                        <a:cubicBezTo>
                          <a:pt x="60000" y="95730"/>
                          <a:pt x="60000" y="95730"/>
                          <a:pt x="60000" y="95730"/>
                        </a:cubicBezTo>
                        <a:cubicBezTo>
                          <a:pt x="60000" y="93033"/>
                          <a:pt x="60000" y="93033"/>
                          <a:pt x="60000" y="93033"/>
                        </a:cubicBezTo>
                        <a:cubicBezTo>
                          <a:pt x="63076" y="90337"/>
                          <a:pt x="63076" y="90337"/>
                          <a:pt x="63076" y="90337"/>
                        </a:cubicBezTo>
                        <a:cubicBezTo>
                          <a:pt x="64615" y="87640"/>
                          <a:pt x="64615" y="87640"/>
                          <a:pt x="64615" y="87640"/>
                        </a:cubicBezTo>
                        <a:cubicBezTo>
                          <a:pt x="64615" y="87640"/>
                          <a:pt x="66153" y="86292"/>
                          <a:pt x="66153" y="86292"/>
                        </a:cubicBezTo>
                        <a:cubicBezTo>
                          <a:pt x="66153" y="84943"/>
                          <a:pt x="66153" y="83595"/>
                          <a:pt x="66153" y="83595"/>
                        </a:cubicBezTo>
                        <a:cubicBezTo>
                          <a:pt x="66153" y="80898"/>
                          <a:pt x="66153" y="80898"/>
                          <a:pt x="66153" y="80898"/>
                        </a:cubicBezTo>
                        <a:cubicBezTo>
                          <a:pt x="67692" y="79550"/>
                          <a:pt x="67692" y="79550"/>
                          <a:pt x="67692" y="79550"/>
                        </a:cubicBezTo>
                        <a:cubicBezTo>
                          <a:pt x="69230" y="78202"/>
                          <a:pt x="69230" y="78202"/>
                          <a:pt x="69230" y="78202"/>
                        </a:cubicBezTo>
                        <a:cubicBezTo>
                          <a:pt x="69230" y="78202"/>
                          <a:pt x="70769" y="76853"/>
                          <a:pt x="70769" y="76853"/>
                        </a:cubicBezTo>
                        <a:cubicBezTo>
                          <a:pt x="70769" y="75505"/>
                          <a:pt x="72307" y="74157"/>
                          <a:pt x="72307" y="74157"/>
                        </a:cubicBezTo>
                        <a:cubicBezTo>
                          <a:pt x="73846" y="71460"/>
                          <a:pt x="73846" y="71460"/>
                          <a:pt x="73846" y="71460"/>
                        </a:cubicBezTo>
                        <a:cubicBezTo>
                          <a:pt x="75384" y="68764"/>
                          <a:pt x="75384" y="68764"/>
                          <a:pt x="75384" y="68764"/>
                        </a:cubicBezTo>
                        <a:cubicBezTo>
                          <a:pt x="76923" y="66067"/>
                          <a:pt x="76923" y="66067"/>
                          <a:pt x="76923" y="66067"/>
                        </a:cubicBezTo>
                        <a:cubicBezTo>
                          <a:pt x="75384" y="64719"/>
                          <a:pt x="75384" y="64719"/>
                          <a:pt x="75384" y="64719"/>
                        </a:cubicBezTo>
                        <a:cubicBezTo>
                          <a:pt x="75384" y="64719"/>
                          <a:pt x="81538" y="59325"/>
                          <a:pt x="81538" y="59325"/>
                        </a:cubicBezTo>
                        <a:cubicBezTo>
                          <a:pt x="81538" y="59325"/>
                          <a:pt x="84615" y="59325"/>
                          <a:pt x="84615" y="59325"/>
                        </a:cubicBezTo>
                        <a:cubicBezTo>
                          <a:pt x="84615" y="60674"/>
                          <a:pt x="84615" y="60674"/>
                          <a:pt x="84615" y="60674"/>
                        </a:cubicBezTo>
                        <a:cubicBezTo>
                          <a:pt x="86153" y="62022"/>
                          <a:pt x="86153" y="62022"/>
                          <a:pt x="86153" y="62022"/>
                        </a:cubicBezTo>
                        <a:cubicBezTo>
                          <a:pt x="86153" y="63370"/>
                          <a:pt x="86153" y="63370"/>
                          <a:pt x="86153" y="63370"/>
                        </a:cubicBezTo>
                        <a:cubicBezTo>
                          <a:pt x="86153" y="63370"/>
                          <a:pt x="86153" y="64719"/>
                          <a:pt x="86153" y="66067"/>
                        </a:cubicBezTo>
                        <a:cubicBezTo>
                          <a:pt x="86153" y="66067"/>
                          <a:pt x="86153" y="67415"/>
                          <a:pt x="86153" y="67415"/>
                        </a:cubicBezTo>
                        <a:cubicBezTo>
                          <a:pt x="86153" y="67415"/>
                          <a:pt x="87692" y="68764"/>
                          <a:pt x="87692" y="68764"/>
                        </a:cubicBezTo>
                        <a:cubicBezTo>
                          <a:pt x="87692" y="70112"/>
                          <a:pt x="89230" y="71460"/>
                          <a:pt x="89230" y="71460"/>
                        </a:cubicBezTo>
                        <a:cubicBezTo>
                          <a:pt x="89230" y="71460"/>
                          <a:pt x="89230" y="71460"/>
                          <a:pt x="90769" y="71460"/>
                        </a:cubicBezTo>
                        <a:cubicBezTo>
                          <a:pt x="90769" y="72808"/>
                          <a:pt x="90769" y="72808"/>
                          <a:pt x="90769" y="72808"/>
                        </a:cubicBezTo>
                        <a:cubicBezTo>
                          <a:pt x="93846" y="71460"/>
                          <a:pt x="93846" y="71460"/>
                          <a:pt x="93846" y="71460"/>
                        </a:cubicBezTo>
                        <a:cubicBezTo>
                          <a:pt x="96923" y="68764"/>
                          <a:pt x="96923" y="68764"/>
                          <a:pt x="96923" y="68764"/>
                        </a:cubicBezTo>
                        <a:cubicBezTo>
                          <a:pt x="96923" y="68764"/>
                          <a:pt x="101538" y="67415"/>
                          <a:pt x="101538" y="67415"/>
                        </a:cubicBezTo>
                        <a:cubicBezTo>
                          <a:pt x="101538" y="67415"/>
                          <a:pt x="103076" y="64719"/>
                          <a:pt x="103076" y="64719"/>
                        </a:cubicBezTo>
                        <a:cubicBezTo>
                          <a:pt x="104615" y="64719"/>
                          <a:pt x="104615" y="64719"/>
                          <a:pt x="104615" y="64719"/>
                        </a:cubicBezTo>
                        <a:cubicBezTo>
                          <a:pt x="104615" y="64719"/>
                          <a:pt x="104615" y="64719"/>
                          <a:pt x="104615" y="64719"/>
                        </a:cubicBezTo>
                        <a:cubicBezTo>
                          <a:pt x="103076" y="62022"/>
                          <a:pt x="106153" y="59325"/>
                          <a:pt x="104615" y="56629"/>
                        </a:cubicBezTo>
                        <a:cubicBezTo>
                          <a:pt x="104615" y="56629"/>
                          <a:pt x="103076" y="55280"/>
                          <a:pt x="103076" y="55280"/>
                        </a:cubicBezTo>
                        <a:cubicBezTo>
                          <a:pt x="103076" y="55280"/>
                          <a:pt x="103076" y="55280"/>
                          <a:pt x="103076" y="55280"/>
                        </a:cubicBezTo>
                        <a:cubicBezTo>
                          <a:pt x="103076" y="55280"/>
                          <a:pt x="103076" y="55280"/>
                          <a:pt x="103076" y="55280"/>
                        </a:cubicBezTo>
                        <a:cubicBezTo>
                          <a:pt x="100000" y="52584"/>
                          <a:pt x="95384" y="51235"/>
                          <a:pt x="96923" y="51235"/>
                        </a:cubicBezTo>
                        <a:cubicBezTo>
                          <a:pt x="98461" y="48539"/>
                          <a:pt x="104615" y="49887"/>
                          <a:pt x="107692" y="48539"/>
                        </a:cubicBezTo>
                        <a:cubicBezTo>
                          <a:pt x="109230" y="48539"/>
                          <a:pt x="109230" y="45842"/>
                          <a:pt x="110769" y="44494"/>
                        </a:cubicBezTo>
                        <a:cubicBezTo>
                          <a:pt x="112307" y="44494"/>
                          <a:pt x="115384" y="45842"/>
                          <a:pt x="115384" y="43146"/>
                        </a:cubicBezTo>
                        <a:cubicBezTo>
                          <a:pt x="115384" y="40449"/>
                          <a:pt x="118461" y="40449"/>
                          <a:pt x="120000" y="41797"/>
                        </a:cubicBezTo>
                        <a:cubicBezTo>
                          <a:pt x="120000" y="41797"/>
                          <a:pt x="120000" y="41797"/>
                          <a:pt x="120000" y="41797"/>
                        </a:cubicBezTo>
                        <a:cubicBezTo>
                          <a:pt x="118461" y="39101"/>
                          <a:pt x="113846" y="36404"/>
                          <a:pt x="112307" y="35056"/>
                        </a:cubicBezTo>
                        <a:cubicBezTo>
                          <a:pt x="112307" y="35056"/>
                          <a:pt x="112307" y="33707"/>
                          <a:pt x="109230" y="33707"/>
                        </a:cubicBezTo>
                        <a:cubicBezTo>
                          <a:pt x="107692" y="33707"/>
                          <a:pt x="104615" y="31011"/>
                          <a:pt x="104615" y="31011"/>
                        </a:cubicBezTo>
                        <a:cubicBezTo>
                          <a:pt x="100000" y="31011"/>
                          <a:pt x="100000" y="31011"/>
                          <a:pt x="100000" y="31011"/>
                        </a:cubicBezTo>
                        <a:cubicBezTo>
                          <a:pt x="100000" y="31011"/>
                          <a:pt x="95384" y="26966"/>
                          <a:pt x="95384" y="26966"/>
                        </a:cubicBezTo>
                        <a:cubicBezTo>
                          <a:pt x="93846" y="26966"/>
                          <a:pt x="89230" y="25617"/>
                          <a:pt x="89230" y="25617"/>
                        </a:cubicBezTo>
                        <a:cubicBezTo>
                          <a:pt x="89230" y="22921"/>
                          <a:pt x="89230" y="22921"/>
                          <a:pt x="89230" y="22921"/>
                        </a:cubicBezTo>
                        <a:cubicBezTo>
                          <a:pt x="89230" y="22921"/>
                          <a:pt x="87692" y="22921"/>
                          <a:pt x="87692" y="22921"/>
                        </a:cubicBezTo>
                        <a:cubicBezTo>
                          <a:pt x="86153" y="22921"/>
                          <a:pt x="84615" y="24269"/>
                          <a:pt x="84615" y="24269"/>
                        </a:cubicBezTo>
                        <a:cubicBezTo>
                          <a:pt x="80000" y="25617"/>
                          <a:pt x="80000" y="25617"/>
                          <a:pt x="80000" y="25617"/>
                        </a:cubicBezTo>
                        <a:cubicBezTo>
                          <a:pt x="80000" y="25617"/>
                          <a:pt x="76923" y="25617"/>
                          <a:pt x="76923" y="25617"/>
                        </a:cubicBezTo>
                        <a:cubicBezTo>
                          <a:pt x="75384" y="24269"/>
                          <a:pt x="73846" y="21573"/>
                          <a:pt x="73846" y="21573"/>
                        </a:cubicBezTo>
                        <a:cubicBezTo>
                          <a:pt x="73846" y="21573"/>
                          <a:pt x="73846" y="21573"/>
                          <a:pt x="72307" y="21573"/>
                        </a:cubicBezTo>
                        <a:cubicBezTo>
                          <a:pt x="70769" y="22921"/>
                          <a:pt x="73846" y="24269"/>
                          <a:pt x="70769" y="22921"/>
                        </a:cubicBezTo>
                        <a:cubicBezTo>
                          <a:pt x="66153" y="21573"/>
                          <a:pt x="66153" y="21573"/>
                          <a:pt x="66153" y="21573"/>
                        </a:cubicBezTo>
                        <a:cubicBezTo>
                          <a:pt x="63076" y="18876"/>
                          <a:pt x="63076" y="18876"/>
                          <a:pt x="63076" y="18876"/>
                        </a:cubicBezTo>
                        <a:cubicBezTo>
                          <a:pt x="61538" y="18876"/>
                          <a:pt x="61538" y="18876"/>
                          <a:pt x="61538" y="18876"/>
                        </a:cubicBezTo>
                        <a:cubicBezTo>
                          <a:pt x="60000" y="18876"/>
                          <a:pt x="60000" y="18876"/>
                          <a:pt x="60000" y="18876"/>
                        </a:cubicBezTo>
                        <a:cubicBezTo>
                          <a:pt x="60000" y="18876"/>
                          <a:pt x="58461" y="16179"/>
                          <a:pt x="58461" y="16179"/>
                        </a:cubicBezTo>
                        <a:cubicBezTo>
                          <a:pt x="58461" y="16179"/>
                          <a:pt x="58461" y="13483"/>
                          <a:pt x="58461" y="13483"/>
                        </a:cubicBezTo>
                        <a:cubicBezTo>
                          <a:pt x="56923" y="13483"/>
                          <a:pt x="52307" y="12134"/>
                          <a:pt x="52307" y="12134"/>
                        </a:cubicBezTo>
                        <a:cubicBezTo>
                          <a:pt x="50769" y="9438"/>
                          <a:pt x="50769" y="9438"/>
                          <a:pt x="50769" y="9438"/>
                        </a:cubicBezTo>
                        <a:cubicBezTo>
                          <a:pt x="50769" y="9438"/>
                          <a:pt x="50769" y="9438"/>
                          <a:pt x="50769" y="9438"/>
                        </a:cubicBezTo>
                        <a:cubicBezTo>
                          <a:pt x="49230" y="9438"/>
                          <a:pt x="46153" y="8089"/>
                          <a:pt x="46153" y="8089"/>
                        </a:cubicBezTo>
                        <a:cubicBezTo>
                          <a:pt x="44615" y="6741"/>
                          <a:pt x="44615" y="6741"/>
                          <a:pt x="44615" y="6741"/>
                        </a:cubicBezTo>
                        <a:cubicBezTo>
                          <a:pt x="40000" y="6741"/>
                          <a:pt x="40000" y="6741"/>
                          <a:pt x="40000" y="6741"/>
                        </a:cubicBezTo>
                        <a:cubicBezTo>
                          <a:pt x="38461" y="4044"/>
                          <a:pt x="38461" y="4044"/>
                          <a:pt x="38461" y="4044"/>
                        </a:cubicBezTo>
                        <a:cubicBezTo>
                          <a:pt x="38461" y="4044"/>
                          <a:pt x="36923" y="2696"/>
                          <a:pt x="36923" y="2696"/>
                        </a:cubicBezTo>
                        <a:cubicBezTo>
                          <a:pt x="38461" y="2696"/>
                          <a:pt x="38461" y="0"/>
                          <a:pt x="38461" y="0"/>
                        </a:cubicBezTo>
                        <a:cubicBezTo>
                          <a:pt x="35384" y="0"/>
                          <a:pt x="35384" y="0"/>
                          <a:pt x="35384" y="0"/>
                        </a:cubicBezTo>
                        <a:cubicBezTo>
                          <a:pt x="35384" y="0"/>
                          <a:pt x="32307" y="1348"/>
                          <a:pt x="32307" y="1348"/>
                        </a:cubicBezTo>
                        <a:cubicBezTo>
                          <a:pt x="32307" y="1348"/>
                          <a:pt x="30769" y="2696"/>
                          <a:pt x="30769" y="2696"/>
                        </a:cubicBezTo>
                        <a:cubicBezTo>
                          <a:pt x="29230" y="2696"/>
                          <a:pt x="29230" y="2696"/>
                          <a:pt x="29230" y="2696"/>
                        </a:cubicBezTo>
                        <a:cubicBezTo>
                          <a:pt x="27692" y="1348"/>
                          <a:pt x="27692" y="1348"/>
                          <a:pt x="27692" y="1348"/>
                        </a:cubicBezTo>
                        <a:cubicBezTo>
                          <a:pt x="26153" y="0"/>
                          <a:pt x="26153" y="0"/>
                          <a:pt x="26153" y="0"/>
                        </a:cubicBezTo>
                        <a:cubicBezTo>
                          <a:pt x="23076" y="2696"/>
                          <a:pt x="23076" y="2696"/>
                          <a:pt x="23076" y="2696"/>
                        </a:cubicBezTo>
                        <a:cubicBezTo>
                          <a:pt x="21538" y="4044"/>
                          <a:pt x="21538" y="4044"/>
                          <a:pt x="21538" y="4044"/>
                        </a:cubicBezTo>
                        <a:cubicBezTo>
                          <a:pt x="21538" y="4044"/>
                          <a:pt x="21538" y="5393"/>
                          <a:pt x="21538" y="5393"/>
                        </a:cubicBezTo>
                        <a:cubicBezTo>
                          <a:pt x="21538" y="5393"/>
                          <a:pt x="24615" y="5393"/>
                          <a:pt x="24615" y="5393"/>
                        </a:cubicBezTo>
                        <a:cubicBezTo>
                          <a:pt x="24615" y="8089"/>
                          <a:pt x="24615" y="8089"/>
                          <a:pt x="24615" y="8089"/>
                        </a:cubicBezTo>
                        <a:cubicBezTo>
                          <a:pt x="24615" y="8089"/>
                          <a:pt x="24615" y="8089"/>
                          <a:pt x="26153" y="8089"/>
                        </a:cubicBezTo>
                        <a:cubicBezTo>
                          <a:pt x="26153" y="8089"/>
                          <a:pt x="27692" y="9438"/>
                          <a:pt x="27692" y="9438"/>
                        </a:cubicBezTo>
                        <a:cubicBezTo>
                          <a:pt x="29230" y="10786"/>
                          <a:pt x="29230" y="10786"/>
                          <a:pt x="29230" y="10786"/>
                        </a:cubicBezTo>
                        <a:cubicBezTo>
                          <a:pt x="29230" y="13483"/>
                          <a:pt x="29230" y="13483"/>
                          <a:pt x="29230" y="13483"/>
                        </a:cubicBezTo>
                        <a:cubicBezTo>
                          <a:pt x="32307" y="14831"/>
                          <a:pt x="32307" y="14831"/>
                          <a:pt x="32307" y="14831"/>
                        </a:cubicBezTo>
                        <a:cubicBezTo>
                          <a:pt x="32307" y="17528"/>
                          <a:pt x="32307" y="17528"/>
                          <a:pt x="32307" y="17528"/>
                        </a:cubicBezTo>
                        <a:cubicBezTo>
                          <a:pt x="30769" y="18876"/>
                          <a:pt x="30769" y="18876"/>
                          <a:pt x="30769" y="18876"/>
                        </a:cubicBezTo>
                        <a:cubicBezTo>
                          <a:pt x="29230" y="20224"/>
                          <a:pt x="29230" y="20224"/>
                          <a:pt x="29230" y="20224"/>
                        </a:cubicBezTo>
                        <a:cubicBezTo>
                          <a:pt x="26153" y="20224"/>
                          <a:pt x="26153" y="20224"/>
                          <a:pt x="26153" y="20224"/>
                        </a:cubicBezTo>
                        <a:cubicBezTo>
                          <a:pt x="26153" y="18876"/>
                          <a:pt x="26153" y="18876"/>
                          <a:pt x="26153" y="18876"/>
                        </a:cubicBezTo>
                        <a:cubicBezTo>
                          <a:pt x="24615" y="16179"/>
                          <a:pt x="24615" y="16179"/>
                          <a:pt x="24615" y="16179"/>
                        </a:cubicBezTo>
                        <a:cubicBezTo>
                          <a:pt x="23076" y="14831"/>
                          <a:pt x="23076" y="14831"/>
                          <a:pt x="23076" y="14831"/>
                        </a:cubicBezTo>
                        <a:cubicBezTo>
                          <a:pt x="18461" y="16179"/>
                          <a:pt x="18461" y="16179"/>
                          <a:pt x="18461" y="16179"/>
                        </a:cubicBezTo>
                        <a:cubicBezTo>
                          <a:pt x="18461" y="18876"/>
                          <a:pt x="18461" y="18876"/>
                          <a:pt x="18461" y="18876"/>
                        </a:cubicBezTo>
                        <a:cubicBezTo>
                          <a:pt x="10769" y="24269"/>
                          <a:pt x="10769" y="24269"/>
                          <a:pt x="10769" y="24269"/>
                        </a:cubicBezTo>
                        <a:cubicBezTo>
                          <a:pt x="12307" y="26966"/>
                          <a:pt x="12307" y="26966"/>
                          <a:pt x="12307" y="26966"/>
                        </a:cubicBezTo>
                        <a:cubicBezTo>
                          <a:pt x="9230" y="29662"/>
                          <a:pt x="9230" y="29662"/>
                          <a:pt x="9230" y="29662"/>
                        </a:cubicBezTo>
                        <a:cubicBezTo>
                          <a:pt x="9230" y="33707"/>
                          <a:pt x="9230" y="33707"/>
                          <a:pt x="9230" y="33707"/>
                        </a:cubicBezTo>
                        <a:cubicBezTo>
                          <a:pt x="10769" y="37752"/>
                          <a:pt x="10769" y="37752"/>
                          <a:pt x="10769" y="37752"/>
                        </a:cubicBezTo>
                        <a:cubicBezTo>
                          <a:pt x="10769" y="40449"/>
                          <a:pt x="10769" y="40449"/>
                          <a:pt x="10769" y="40449"/>
                        </a:cubicBezTo>
                        <a:cubicBezTo>
                          <a:pt x="4615" y="41797"/>
                          <a:pt x="4615" y="41797"/>
                          <a:pt x="4615" y="41797"/>
                        </a:cubicBezTo>
                        <a:cubicBezTo>
                          <a:pt x="0" y="43146"/>
                          <a:pt x="0" y="43146"/>
                          <a:pt x="0" y="43146"/>
                        </a:cubicBezTo>
                        <a:cubicBezTo>
                          <a:pt x="0" y="47191"/>
                          <a:pt x="0" y="47191"/>
                          <a:pt x="0" y="47191"/>
                        </a:cubicBezTo>
                        <a:cubicBezTo>
                          <a:pt x="0" y="48539"/>
                          <a:pt x="0" y="48539"/>
                          <a:pt x="0" y="48539"/>
                        </a:cubicBezTo>
                        <a:cubicBezTo>
                          <a:pt x="4615" y="53932"/>
                          <a:pt x="4615" y="53932"/>
                          <a:pt x="4615" y="53932"/>
                        </a:cubicBezTo>
                        <a:cubicBezTo>
                          <a:pt x="3076" y="55280"/>
                          <a:pt x="3076" y="55280"/>
                          <a:pt x="3076" y="55280"/>
                        </a:cubicBezTo>
                        <a:cubicBezTo>
                          <a:pt x="1538" y="56629"/>
                          <a:pt x="1538" y="56629"/>
                          <a:pt x="1538" y="56629"/>
                        </a:cubicBezTo>
                        <a:cubicBezTo>
                          <a:pt x="6153" y="62022"/>
                          <a:pt x="6153" y="62022"/>
                          <a:pt x="6153" y="62022"/>
                        </a:cubicBezTo>
                        <a:cubicBezTo>
                          <a:pt x="7692" y="63370"/>
                          <a:pt x="7692" y="63370"/>
                          <a:pt x="7692" y="63370"/>
                        </a:cubicBezTo>
                        <a:cubicBezTo>
                          <a:pt x="10769" y="63370"/>
                          <a:pt x="10769" y="63370"/>
                          <a:pt x="10769" y="63370"/>
                        </a:cubicBezTo>
                        <a:cubicBezTo>
                          <a:pt x="10769" y="66067"/>
                          <a:pt x="10769" y="66067"/>
                          <a:pt x="10769" y="66067"/>
                        </a:cubicBezTo>
                        <a:cubicBezTo>
                          <a:pt x="10769" y="67415"/>
                          <a:pt x="10769" y="67415"/>
                          <a:pt x="10769" y="67415"/>
                        </a:cubicBezTo>
                        <a:cubicBezTo>
                          <a:pt x="10769" y="70112"/>
                          <a:pt x="10769" y="70112"/>
                          <a:pt x="10769" y="70112"/>
                        </a:cubicBezTo>
                        <a:cubicBezTo>
                          <a:pt x="7692" y="72808"/>
                          <a:pt x="7692" y="72808"/>
                          <a:pt x="7692" y="72808"/>
                        </a:cubicBezTo>
                        <a:cubicBezTo>
                          <a:pt x="9230" y="75505"/>
                          <a:pt x="9230" y="75505"/>
                          <a:pt x="9230" y="75505"/>
                        </a:cubicBezTo>
                        <a:cubicBezTo>
                          <a:pt x="6153" y="74157"/>
                          <a:pt x="6153" y="74157"/>
                          <a:pt x="6153" y="74157"/>
                        </a:cubicBezTo>
                        <a:cubicBezTo>
                          <a:pt x="4615" y="76853"/>
                          <a:pt x="4615" y="76853"/>
                          <a:pt x="4615" y="76853"/>
                        </a:cubicBezTo>
                        <a:cubicBezTo>
                          <a:pt x="6153" y="78202"/>
                          <a:pt x="6153" y="78202"/>
                          <a:pt x="6153" y="78202"/>
                        </a:cubicBezTo>
                        <a:cubicBezTo>
                          <a:pt x="4615" y="79550"/>
                          <a:pt x="4615" y="79550"/>
                          <a:pt x="4615" y="79550"/>
                        </a:cubicBezTo>
                        <a:cubicBezTo>
                          <a:pt x="7692" y="82247"/>
                          <a:pt x="7692" y="82247"/>
                          <a:pt x="7692" y="82247"/>
                        </a:cubicBezTo>
                        <a:cubicBezTo>
                          <a:pt x="13846" y="83595"/>
                          <a:pt x="13846" y="83595"/>
                          <a:pt x="13846" y="83595"/>
                        </a:cubicBezTo>
                        <a:cubicBezTo>
                          <a:pt x="16923" y="82247"/>
                          <a:pt x="16923" y="82247"/>
                          <a:pt x="16923" y="82247"/>
                        </a:cubicBezTo>
                        <a:cubicBezTo>
                          <a:pt x="18461" y="80898"/>
                          <a:pt x="18461" y="80898"/>
                          <a:pt x="18461" y="80898"/>
                        </a:cubicBezTo>
                        <a:cubicBezTo>
                          <a:pt x="16923" y="79550"/>
                          <a:pt x="16923" y="79550"/>
                          <a:pt x="16923" y="79550"/>
                        </a:cubicBezTo>
                        <a:cubicBezTo>
                          <a:pt x="16923" y="79550"/>
                          <a:pt x="16923" y="78202"/>
                          <a:pt x="18461" y="78202"/>
                        </a:cubicBezTo>
                        <a:cubicBezTo>
                          <a:pt x="18461" y="76853"/>
                          <a:pt x="20000" y="76853"/>
                          <a:pt x="20000" y="76853"/>
                        </a:cubicBezTo>
                        <a:cubicBezTo>
                          <a:pt x="20000" y="78202"/>
                          <a:pt x="20000" y="78202"/>
                          <a:pt x="20000" y="78202"/>
                        </a:cubicBezTo>
                        <a:cubicBezTo>
                          <a:pt x="24615" y="78202"/>
                          <a:pt x="24615" y="78202"/>
                          <a:pt x="24615" y="78202"/>
                        </a:cubicBezTo>
                        <a:cubicBezTo>
                          <a:pt x="24615" y="80898"/>
                          <a:pt x="24615" y="80898"/>
                          <a:pt x="24615" y="80898"/>
                        </a:cubicBezTo>
                        <a:cubicBezTo>
                          <a:pt x="23076" y="82247"/>
                          <a:pt x="23076" y="82247"/>
                          <a:pt x="23076" y="82247"/>
                        </a:cubicBezTo>
                        <a:cubicBezTo>
                          <a:pt x="21538" y="80898"/>
                          <a:pt x="21538" y="80898"/>
                          <a:pt x="21538" y="80898"/>
                        </a:cubicBezTo>
                        <a:cubicBezTo>
                          <a:pt x="21538" y="80898"/>
                          <a:pt x="21538" y="82247"/>
                          <a:pt x="21538" y="82247"/>
                        </a:cubicBezTo>
                        <a:cubicBezTo>
                          <a:pt x="21538" y="82247"/>
                          <a:pt x="21538" y="86292"/>
                          <a:pt x="21538" y="86292"/>
                        </a:cubicBezTo>
                        <a:cubicBezTo>
                          <a:pt x="21538" y="86292"/>
                          <a:pt x="21538" y="87640"/>
                          <a:pt x="20000" y="86292"/>
                        </a:cubicBezTo>
                        <a:cubicBezTo>
                          <a:pt x="20000" y="86292"/>
                          <a:pt x="18461" y="84943"/>
                          <a:pt x="18461" y="84943"/>
                        </a:cubicBezTo>
                        <a:cubicBezTo>
                          <a:pt x="13846" y="83595"/>
                          <a:pt x="13846" y="83595"/>
                          <a:pt x="13846" y="83595"/>
                        </a:cubicBezTo>
                        <a:cubicBezTo>
                          <a:pt x="12307" y="84943"/>
                          <a:pt x="12307" y="84943"/>
                          <a:pt x="12307" y="84943"/>
                        </a:cubicBezTo>
                        <a:cubicBezTo>
                          <a:pt x="12307" y="84943"/>
                          <a:pt x="12307" y="86292"/>
                          <a:pt x="12307" y="87640"/>
                        </a:cubicBezTo>
                        <a:cubicBezTo>
                          <a:pt x="13846" y="87640"/>
                          <a:pt x="15384" y="87640"/>
                          <a:pt x="15384" y="87640"/>
                        </a:cubicBezTo>
                        <a:cubicBezTo>
                          <a:pt x="15384" y="87640"/>
                          <a:pt x="18461" y="87640"/>
                          <a:pt x="18461" y="87640"/>
                        </a:cubicBezTo>
                        <a:cubicBezTo>
                          <a:pt x="18461" y="87640"/>
                          <a:pt x="18461" y="87640"/>
                          <a:pt x="20000" y="87640"/>
                        </a:cubicBezTo>
                        <a:cubicBezTo>
                          <a:pt x="20000" y="87640"/>
                          <a:pt x="23076" y="87640"/>
                          <a:pt x="23076" y="87640"/>
                        </a:cubicBezTo>
                        <a:cubicBezTo>
                          <a:pt x="23076" y="90337"/>
                          <a:pt x="23076" y="90337"/>
                          <a:pt x="23076" y="90337"/>
                        </a:cubicBezTo>
                        <a:cubicBezTo>
                          <a:pt x="26153" y="93033"/>
                          <a:pt x="26153" y="93033"/>
                          <a:pt x="26153" y="93033"/>
                        </a:cubicBezTo>
                        <a:cubicBezTo>
                          <a:pt x="32307" y="93033"/>
                          <a:pt x="32307" y="93033"/>
                          <a:pt x="32307" y="93033"/>
                        </a:cubicBezTo>
                        <a:cubicBezTo>
                          <a:pt x="33846" y="93033"/>
                          <a:pt x="33846" y="93033"/>
                          <a:pt x="33846" y="93033"/>
                        </a:cubicBezTo>
                        <a:cubicBezTo>
                          <a:pt x="38461" y="95730"/>
                          <a:pt x="38461" y="95730"/>
                          <a:pt x="38461" y="95730"/>
                        </a:cubicBezTo>
                        <a:cubicBezTo>
                          <a:pt x="38461" y="95730"/>
                          <a:pt x="40000" y="98426"/>
                          <a:pt x="41538" y="98426"/>
                        </a:cubicBezTo>
                        <a:cubicBezTo>
                          <a:pt x="41538" y="98426"/>
                          <a:pt x="43076" y="101123"/>
                          <a:pt x="43076" y="101123"/>
                        </a:cubicBezTo>
                        <a:cubicBezTo>
                          <a:pt x="46153" y="101123"/>
                          <a:pt x="46153" y="101123"/>
                          <a:pt x="46153" y="101123"/>
                        </a:cubicBezTo>
                        <a:cubicBezTo>
                          <a:pt x="47692" y="101123"/>
                          <a:pt x="47692" y="101123"/>
                          <a:pt x="47692" y="101123"/>
                        </a:cubicBezTo>
                        <a:cubicBezTo>
                          <a:pt x="47692" y="101123"/>
                          <a:pt x="49230" y="102471"/>
                          <a:pt x="49230" y="102471"/>
                        </a:cubicBezTo>
                        <a:cubicBezTo>
                          <a:pt x="47692" y="103820"/>
                          <a:pt x="47692" y="103820"/>
                          <a:pt x="47692" y="103820"/>
                        </a:cubicBezTo>
                        <a:cubicBezTo>
                          <a:pt x="49230" y="106516"/>
                          <a:pt x="49230" y="106516"/>
                          <a:pt x="49230" y="106516"/>
                        </a:cubicBezTo>
                        <a:cubicBezTo>
                          <a:pt x="52307" y="106516"/>
                          <a:pt x="52307" y="106516"/>
                          <a:pt x="52307" y="106516"/>
                        </a:cubicBezTo>
                        <a:cubicBezTo>
                          <a:pt x="52307" y="106516"/>
                          <a:pt x="52307" y="106516"/>
                          <a:pt x="52307" y="107865"/>
                        </a:cubicBezTo>
                        <a:cubicBezTo>
                          <a:pt x="52307" y="107865"/>
                          <a:pt x="53846" y="110561"/>
                          <a:pt x="53846" y="110561"/>
                        </a:cubicBezTo>
                        <a:cubicBezTo>
                          <a:pt x="53846" y="111910"/>
                          <a:pt x="53846" y="111910"/>
                          <a:pt x="53846" y="111910"/>
                        </a:cubicBezTo>
                        <a:cubicBezTo>
                          <a:pt x="53846" y="111910"/>
                          <a:pt x="55384" y="111910"/>
                          <a:pt x="55384" y="113258"/>
                        </a:cubicBezTo>
                        <a:cubicBezTo>
                          <a:pt x="55384" y="113258"/>
                          <a:pt x="55384" y="113258"/>
                          <a:pt x="55384" y="114606"/>
                        </a:cubicBezTo>
                        <a:cubicBezTo>
                          <a:pt x="56923" y="114606"/>
                          <a:pt x="60000" y="114606"/>
                          <a:pt x="60000" y="114606"/>
                        </a:cubicBezTo>
                        <a:cubicBezTo>
                          <a:pt x="61538" y="115955"/>
                          <a:pt x="61538" y="115955"/>
                          <a:pt x="61538" y="115955"/>
                        </a:cubicBezTo>
                        <a:cubicBezTo>
                          <a:pt x="63076" y="117303"/>
                          <a:pt x="63076" y="117303"/>
                          <a:pt x="63076" y="117303"/>
                        </a:cubicBezTo>
                        <a:lnTo>
                          <a:pt x="64615" y="117303"/>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3" name="Shape 2018"/>
                  <p:cNvSpPr/>
                  <p:nvPr/>
                </p:nvSpPr>
                <p:spPr>
                  <a:xfrm>
                    <a:off x="6017651" y="3676182"/>
                    <a:ext cx="241874" cy="205626"/>
                  </a:xfrm>
                  <a:custGeom>
                    <a:avLst/>
                    <a:gdLst/>
                    <a:ahLst/>
                    <a:cxnLst/>
                    <a:rect l="0" t="0" r="0" b="0"/>
                    <a:pathLst>
                      <a:path w="120000" h="120000" extrusionOk="0">
                        <a:moveTo>
                          <a:pt x="23773" y="116129"/>
                        </a:moveTo>
                        <a:cubicBezTo>
                          <a:pt x="23773" y="116129"/>
                          <a:pt x="22641" y="116129"/>
                          <a:pt x="21509" y="116129"/>
                        </a:cubicBezTo>
                        <a:cubicBezTo>
                          <a:pt x="20377" y="116129"/>
                          <a:pt x="19245" y="118709"/>
                          <a:pt x="18113" y="118709"/>
                        </a:cubicBezTo>
                        <a:cubicBezTo>
                          <a:pt x="18113" y="118709"/>
                          <a:pt x="18113" y="118709"/>
                          <a:pt x="18113" y="117419"/>
                        </a:cubicBezTo>
                        <a:cubicBezTo>
                          <a:pt x="18113" y="116129"/>
                          <a:pt x="18113" y="116129"/>
                          <a:pt x="16981" y="114838"/>
                        </a:cubicBezTo>
                        <a:cubicBezTo>
                          <a:pt x="16981" y="113548"/>
                          <a:pt x="16981" y="110967"/>
                          <a:pt x="15849" y="109677"/>
                        </a:cubicBezTo>
                        <a:cubicBezTo>
                          <a:pt x="14716" y="108387"/>
                          <a:pt x="14716" y="107096"/>
                          <a:pt x="14716" y="107096"/>
                        </a:cubicBezTo>
                        <a:cubicBezTo>
                          <a:pt x="14716" y="107096"/>
                          <a:pt x="12452" y="107096"/>
                          <a:pt x="11320" y="107096"/>
                        </a:cubicBezTo>
                        <a:cubicBezTo>
                          <a:pt x="11320" y="107096"/>
                          <a:pt x="10188" y="107096"/>
                          <a:pt x="10188" y="107096"/>
                        </a:cubicBezTo>
                        <a:cubicBezTo>
                          <a:pt x="10188" y="107096"/>
                          <a:pt x="9056" y="104516"/>
                          <a:pt x="10188" y="104516"/>
                        </a:cubicBezTo>
                        <a:cubicBezTo>
                          <a:pt x="10188" y="103225"/>
                          <a:pt x="9056" y="101935"/>
                          <a:pt x="7924" y="100645"/>
                        </a:cubicBezTo>
                        <a:cubicBezTo>
                          <a:pt x="7924" y="100645"/>
                          <a:pt x="5660" y="96774"/>
                          <a:pt x="5660" y="96774"/>
                        </a:cubicBezTo>
                        <a:cubicBezTo>
                          <a:pt x="5660" y="96774"/>
                          <a:pt x="4528" y="96774"/>
                          <a:pt x="4528" y="95483"/>
                        </a:cubicBezTo>
                        <a:cubicBezTo>
                          <a:pt x="4528" y="94193"/>
                          <a:pt x="4528" y="92903"/>
                          <a:pt x="4528" y="92903"/>
                        </a:cubicBezTo>
                        <a:cubicBezTo>
                          <a:pt x="3396" y="90322"/>
                          <a:pt x="3396" y="90322"/>
                          <a:pt x="3396" y="90322"/>
                        </a:cubicBezTo>
                        <a:cubicBezTo>
                          <a:pt x="3396" y="90322"/>
                          <a:pt x="5660" y="89032"/>
                          <a:pt x="5660" y="87741"/>
                        </a:cubicBezTo>
                        <a:cubicBezTo>
                          <a:pt x="5660" y="87741"/>
                          <a:pt x="6792" y="86451"/>
                          <a:pt x="5660" y="85161"/>
                        </a:cubicBezTo>
                        <a:cubicBezTo>
                          <a:pt x="5660" y="83870"/>
                          <a:pt x="3396" y="82580"/>
                          <a:pt x="3396" y="82580"/>
                        </a:cubicBezTo>
                        <a:cubicBezTo>
                          <a:pt x="2264" y="81290"/>
                          <a:pt x="1132" y="80000"/>
                          <a:pt x="0" y="78709"/>
                        </a:cubicBezTo>
                        <a:cubicBezTo>
                          <a:pt x="0" y="77419"/>
                          <a:pt x="0" y="76129"/>
                          <a:pt x="0" y="76129"/>
                        </a:cubicBezTo>
                        <a:cubicBezTo>
                          <a:pt x="0" y="76129"/>
                          <a:pt x="0" y="74838"/>
                          <a:pt x="1132" y="74838"/>
                        </a:cubicBezTo>
                        <a:cubicBezTo>
                          <a:pt x="2264" y="73548"/>
                          <a:pt x="3396" y="73548"/>
                          <a:pt x="3396" y="72258"/>
                        </a:cubicBezTo>
                        <a:cubicBezTo>
                          <a:pt x="3396" y="72258"/>
                          <a:pt x="4528" y="72258"/>
                          <a:pt x="4528" y="70967"/>
                        </a:cubicBezTo>
                        <a:cubicBezTo>
                          <a:pt x="3396" y="69677"/>
                          <a:pt x="2264" y="68387"/>
                          <a:pt x="2264" y="68387"/>
                        </a:cubicBezTo>
                        <a:cubicBezTo>
                          <a:pt x="3396" y="64516"/>
                          <a:pt x="3396" y="64516"/>
                          <a:pt x="3396" y="64516"/>
                        </a:cubicBezTo>
                        <a:cubicBezTo>
                          <a:pt x="2264" y="63225"/>
                          <a:pt x="2264" y="63225"/>
                          <a:pt x="2264" y="63225"/>
                        </a:cubicBezTo>
                        <a:cubicBezTo>
                          <a:pt x="2264" y="58064"/>
                          <a:pt x="2264" y="58064"/>
                          <a:pt x="2264" y="58064"/>
                        </a:cubicBezTo>
                        <a:cubicBezTo>
                          <a:pt x="2264" y="56774"/>
                          <a:pt x="2264" y="56774"/>
                          <a:pt x="2264" y="56774"/>
                        </a:cubicBezTo>
                        <a:cubicBezTo>
                          <a:pt x="2264" y="56774"/>
                          <a:pt x="3396" y="54193"/>
                          <a:pt x="3396" y="54193"/>
                        </a:cubicBezTo>
                        <a:cubicBezTo>
                          <a:pt x="3396" y="52903"/>
                          <a:pt x="3396" y="50322"/>
                          <a:pt x="3396" y="50322"/>
                        </a:cubicBezTo>
                        <a:cubicBezTo>
                          <a:pt x="3396" y="50322"/>
                          <a:pt x="3396" y="50322"/>
                          <a:pt x="3396" y="50322"/>
                        </a:cubicBezTo>
                        <a:cubicBezTo>
                          <a:pt x="5660" y="51612"/>
                          <a:pt x="9056" y="50322"/>
                          <a:pt x="10188" y="50322"/>
                        </a:cubicBezTo>
                        <a:cubicBezTo>
                          <a:pt x="12452" y="50322"/>
                          <a:pt x="12452" y="46451"/>
                          <a:pt x="11320" y="42580"/>
                        </a:cubicBezTo>
                        <a:cubicBezTo>
                          <a:pt x="11320" y="40000"/>
                          <a:pt x="12452" y="37419"/>
                          <a:pt x="12452" y="34838"/>
                        </a:cubicBezTo>
                        <a:cubicBezTo>
                          <a:pt x="13584" y="32258"/>
                          <a:pt x="16981" y="30967"/>
                          <a:pt x="20377" y="28387"/>
                        </a:cubicBezTo>
                        <a:cubicBezTo>
                          <a:pt x="22641" y="25806"/>
                          <a:pt x="22641" y="23225"/>
                          <a:pt x="26037" y="23225"/>
                        </a:cubicBezTo>
                        <a:cubicBezTo>
                          <a:pt x="26037" y="23225"/>
                          <a:pt x="27169" y="23225"/>
                          <a:pt x="28301" y="24516"/>
                        </a:cubicBezTo>
                        <a:cubicBezTo>
                          <a:pt x="28301" y="24516"/>
                          <a:pt x="28301" y="25806"/>
                          <a:pt x="29433" y="27096"/>
                        </a:cubicBezTo>
                        <a:cubicBezTo>
                          <a:pt x="29433" y="27096"/>
                          <a:pt x="29433" y="27096"/>
                          <a:pt x="30566" y="27096"/>
                        </a:cubicBezTo>
                        <a:cubicBezTo>
                          <a:pt x="32830" y="30967"/>
                          <a:pt x="35094" y="33548"/>
                          <a:pt x="35094" y="23225"/>
                        </a:cubicBezTo>
                        <a:cubicBezTo>
                          <a:pt x="36226" y="14193"/>
                          <a:pt x="41886" y="16774"/>
                          <a:pt x="46415" y="14193"/>
                        </a:cubicBezTo>
                        <a:cubicBezTo>
                          <a:pt x="46415" y="14193"/>
                          <a:pt x="46415" y="14193"/>
                          <a:pt x="47547" y="12903"/>
                        </a:cubicBezTo>
                        <a:cubicBezTo>
                          <a:pt x="48679" y="14193"/>
                          <a:pt x="49811" y="14193"/>
                          <a:pt x="50943" y="14193"/>
                        </a:cubicBezTo>
                        <a:cubicBezTo>
                          <a:pt x="52075" y="14193"/>
                          <a:pt x="52075" y="14193"/>
                          <a:pt x="52075" y="14193"/>
                        </a:cubicBezTo>
                        <a:cubicBezTo>
                          <a:pt x="52075" y="14193"/>
                          <a:pt x="55471" y="9032"/>
                          <a:pt x="55471" y="9032"/>
                        </a:cubicBezTo>
                        <a:cubicBezTo>
                          <a:pt x="56603" y="9032"/>
                          <a:pt x="58867" y="7741"/>
                          <a:pt x="58867" y="7741"/>
                        </a:cubicBezTo>
                        <a:cubicBezTo>
                          <a:pt x="61132" y="3870"/>
                          <a:pt x="61132" y="3870"/>
                          <a:pt x="61132" y="3870"/>
                        </a:cubicBezTo>
                        <a:cubicBezTo>
                          <a:pt x="61132" y="3870"/>
                          <a:pt x="63396" y="5161"/>
                          <a:pt x="64528" y="5161"/>
                        </a:cubicBezTo>
                        <a:cubicBezTo>
                          <a:pt x="65660" y="5161"/>
                          <a:pt x="66792" y="5161"/>
                          <a:pt x="69056" y="5161"/>
                        </a:cubicBezTo>
                        <a:cubicBezTo>
                          <a:pt x="70188" y="3870"/>
                          <a:pt x="70188" y="3870"/>
                          <a:pt x="70188" y="3870"/>
                        </a:cubicBezTo>
                        <a:cubicBezTo>
                          <a:pt x="70188" y="3870"/>
                          <a:pt x="72452" y="1290"/>
                          <a:pt x="74716" y="1290"/>
                        </a:cubicBezTo>
                        <a:cubicBezTo>
                          <a:pt x="76981" y="0"/>
                          <a:pt x="76981" y="1290"/>
                          <a:pt x="76981" y="1290"/>
                        </a:cubicBezTo>
                        <a:cubicBezTo>
                          <a:pt x="76981" y="1290"/>
                          <a:pt x="80377" y="1290"/>
                          <a:pt x="82641" y="1290"/>
                        </a:cubicBezTo>
                        <a:cubicBezTo>
                          <a:pt x="82641" y="1290"/>
                          <a:pt x="82641" y="0"/>
                          <a:pt x="82641" y="0"/>
                        </a:cubicBezTo>
                        <a:cubicBezTo>
                          <a:pt x="86037" y="2580"/>
                          <a:pt x="86037" y="6451"/>
                          <a:pt x="89433" y="10322"/>
                        </a:cubicBezTo>
                        <a:cubicBezTo>
                          <a:pt x="93962" y="15483"/>
                          <a:pt x="98490" y="14193"/>
                          <a:pt x="106415" y="19354"/>
                        </a:cubicBezTo>
                        <a:cubicBezTo>
                          <a:pt x="106415" y="20645"/>
                          <a:pt x="110943" y="24516"/>
                          <a:pt x="112075" y="28387"/>
                        </a:cubicBezTo>
                        <a:cubicBezTo>
                          <a:pt x="113207" y="33548"/>
                          <a:pt x="117735" y="33548"/>
                          <a:pt x="118867" y="38709"/>
                        </a:cubicBezTo>
                        <a:cubicBezTo>
                          <a:pt x="118867" y="42580"/>
                          <a:pt x="116603" y="43870"/>
                          <a:pt x="116603" y="47741"/>
                        </a:cubicBezTo>
                        <a:cubicBezTo>
                          <a:pt x="116603" y="51612"/>
                          <a:pt x="118867" y="60645"/>
                          <a:pt x="120000" y="61935"/>
                        </a:cubicBezTo>
                        <a:cubicBezTo>
                          <a:pt x="120000" y="61935"/>
                          <a:pt x="120000" y="63225"/>
                          <a:pt x="120000" y="63225"/>
                        </a:cubicBezTo>
                        <a:cubicBezTo>
                          <a:pt x="109811" y="65806"/>
                          <a:pt x="109811" y="65806"/>
                          <a:pt x="109811" y="65806"/>
                        </a:cubicBezTo>
                        <a:cubicBezTo>
                          <a:pt x="110943" y="77419"/>
                          <a:pt x="110943" y="77419"/>
                          <a:pt x="110943" y="77419"/>
                        </a:cubicBezTo>
                        <a:cubicBezTo>
                          <a:pt x="105283" y="82580"/>
                          <a:pt x="105283" y="82580"/>
                          <a:pt x="105283" y="82580"/>
                        </a:cubicBezTo>
                        <a:cubicBezTo>
                          <a:pt x="105283" y="82580"/>
                          <a:pt x="91698" y="85161"/>
                          <a:pt x="90566" y="85161"/>
                        </a:cubicBezTo>
                        <a:cubicBezTo>
                          <a:pt x="89433" y="85161"/>
                          <a:pt x="83773" y="86451"/>
                          <a:pt x="81509" y="87741"/>
                        </a:cubicBezTo>
                        <a:cubicBezTo>
                          <a:pt x="79245" y="87741"/>
                          <a:pt x="75849" y="90322"/>
                          <a:pt x="74716" y="90322"/>
                        </a:cubicBezTo>
                        <a:cubicBezTo>
                          <a:pt x="72452" y="91612"/>
                          <a:pt x="71320" y="98064"/>
                          <a:pt x="71320" y="98064"/>
                        </a:cubicBezTo>
                        <a:cubicBezTo>
                          <a:pt x="71320" y="98064"/>
                          <a:pt x="67924" y="103225"/>
                          <a:pt x="66792" y="104516"/>
                        </a:cubicBezTo>
                        <a:cubicBezTo>
                          <a:pt x="65660" y="105806"/>
                          <a:pt x="60000" y="109677"/>
                          <a:pt x="60000" y="109677"/>
                        </a:cubicBezTo>
                        <a:cubicBezTo>
                          <a:pt x="60000" y="109677"/>
                          <a:pt x="54339" y="109677"/>
                          <a:pt x="53207" y="109677"/>
                        </a:cubicBezTo>
                        <a:cubicBezTo>
                          <a:pt x="50943" y="109677"/>
                          <a:pt x="48679" y="112258"/>
                          <a:pt x="46415" y="112258"/>
                        </a:cubicBezTo>
                        <a:cubicBezTo>
                          <a:pt x="43018" y="113548"/>
                          <a:pt x="40754" y="114838"/>
                          <a:pt x="39622" y="114838"/>
                        </a:cubicBezTo>
                        <a:cubicBezTo>
                          <a:pt x="38490" y="114838"/>
                          <a:pt x="32830" y="116129"/>
                          <a:pt x="32830" y="116129"/>
                        </a:cubicBezTo>
                        <a:cubicBezTo>
                          <a:pt x="32830" y="120000"/>
                          <a:pt x="32830" y="120000"/>
                          <a:pt x="32830" y="120000"/>
                        </a:cubicBezTo>
                        <a:cubicBezTo>
                          <a:pt x="32830" y="120000"/>
                          <a:pt x="31698" y="120000"/>
                          <a:pt x="31698" y="120000"/>
                        </a:cubicBezTo>
                        <a:cubicBezTo>
                          <a:pt x="31698" y="120000"/>
                          <a:pt x="31698" y="120000"/>
                          <a:pt x="30566" y="120000"/>
                        </a:cubicBezTo>
                        <a:cubicBezTo>
                          <a:pt x="30566" y="118709"/>
                          <a:pt x="30566" y="118709"/>
                          <a:pt x="30566" y="118709"/>
                        </a:cubicBezTo>
                        <a:cubicBezTo>
                          <a:pt x="28301" y="116129"/>
                          <a:pt x="28301" y="116129"/>
                          <a:pt x="28301" y="116129"/>
                        </a:cubicBezTo>
                        <a:cubicBezTo>
                          <a:pt x="28301" y="116129"/>
                          <a:pt x="27169" y="117419"/>
                          <a:pt x="26037" y="117419"/>
                        </a:cubicBezTo>
                        <a:cubicBezTo>
                          <a:pt x="24905" y="117419"/>
                          <a:pt x="24905" y="116129"/>
                          <a:pt x="23773" y="11612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4" name="Shape 2019"/>
                  <p:cNvSpPr/>
                  <p:nvPr/>
                </p:nvSpPr>
                <p:spPr>
                  <a:xfrm>
                    <a:off x="5588873" y="2851550"/>
                    <a:ext cx="445269" cy="240785"/>
                  </a:xfrm>
                  <a:custGeom>
                    <a:avLst/>
                    <a:gdLst/>
                    <a:ahLst/>
                    <a:cxnLst/>
                    <a:rect l="0" t="0" r="0" b="0"/>
                    <a:pathLst>
                      <a:path w="120000" h="120000" extrusionOk="0">
                        <a:moveTo>
                          <a:pt x="16000" y="59449"/>
                        </a:moveTo>
                        <a:cubicBezTo>
                          <a:pt x="17846" y="57247"/>
                          <a:pt x="17846" y="57247"/>
                          <a:pt x="17846" y="57247"/>
                        </a:cubicBezTo>
                        <a:cubicBezTo>
                          <a:pt x="17846" y="57247"/>
                          <a:pt x="17846" y="53944"/>
                          <a:pt x="18461" y="55045"/>
                        </a:cubicBezTo>
                        <a:cubicBezTo>
                          <a:pt x="18461" y="55045"/>
                          <a:pt x="19692" y="53944"/>
                          <a:pt x="19692" y="53944"/>
                        </a:cubicBezTo>
                        <a:cubicBezTo>
                          <a:pt x="20307" y="51743"/>
                          <a:pt x="20307" y="51743"/>
                          <a:pt x="20307" y="51743"/>
                        </a:cubicBezTo>
                        <a:cubicBezTo>
                          <a:pt x="20923" y="48440"/>
                          <a:pt x="20923" y="48440"/>
                          <a:pt x="20923" y="48440"/>
                        </a:cubicBezTo>
                        <a:cubicBezTo>
                          <a:pt x="24000" y="46238"/>
                          <a:pt x="24000" y="46238"/>
                          <a:pt x="24000" y="46238"/>
                        </a:cubicBezTo>
                        <a:cubicBezTo>
                          <a:pt x="24615" y="40733"/>
                          <a:pt x="24615" y="40733"/>
                          <a:pt x="24615" y="40733"/>
                        </a:cubicBezTo>
                        <a:cubicBezTo>
                          <a:pt x="24000" y="37431"/>
                          <a:pt x="24000" y="37431"/>
                          <a:pt x="24000" y="37431"/>
                        </a:cubicBezTo>
                        <a:cubicBezTo>
                          <a:pt x="24000" y="37431"/>
                          <a:pt x="24000" y="33027"/>
                          <a:pt x="24615" y="33027"/>
                        </a:cubicBezTo>
                        <a:cubicBezTo>
                          <a:pt x="25230" y="33027"/>
                          <a:pt x="27076" y="30825"/>
                          <a:pt x="27076" y="30825"/>
                        </a:cubicBezTo>
                        <a:cubicBezTo>
                          <a:pt x="28923" y="27522"/>
                          <a:pt x="28923" y="27522"/>
                          <a:pt x="28923" y="27522"/>
                        </a:cubicBezTo>
                        <a:cubicBezTo>
                          <a:pt x="28923" y="25321"/>
                          <a:pt x="28923" y="25321"/>
                          <a:pt x="28923" y="25321"/>
                        </a:cubicBezTo>
                        <a:cubicBezTo>
                          <a:pt x="30153" y="20917"/>
                          <a:pt x="30153" y="20917"/>
                          <a:pt x="30153" y="20917"/>
                        </a:cubicBezTo>
                        <a:cubicBezTo>
                          <a:pt x="31384" y="18715"/>
                          <a:pt x="31384" y="18715"/>
                          <a:pt x="31384" y="18715"/>
                        </a:cubicBezTo>
                        <a:cubicBezTo>
                          <a:pt x="32615" y="16513"/>
                          <a:pt x="32615" y="16513"/>
                          <a:pt x="32615" y="16513"/>
                        </a:cubicBezTo>
                        <a:cubicBezTo>
                          <a:pt x="34461" y="15412"/>
                          <a:pt x="34461" y="15412"/>
                          <a:pt x="34461" y="15412"/>
                        </a:cubicBezTo>
                        <a:cubicBezTo>
                          <a:pt x="34461" y="15412"/>
                          <a:pt x="35076" y="15412"/>
                          <a:pt x="35692" y="15412"/>
                        </a:cubicBezTo>
                        <a:cubicBezTo>
                          <a:pt x="36307" y="15412"/>
                          <a:pt x="36923" y="14311"/>
                          <a:pt x="36923" y="14311"/>
                        </a:cubicBezTo>
                        <a:cubicBezTo>
                          <a:pt x="37538" y="14311"/>
                          <a:pt x="39384" y="14311"/>
                          <a:pt x="39384" y="14311"/>
                        </a:cubicBezTo>
                        <a:cubicBezTo>
                          <a:pt x="39384" y="14311"/>
                          <a:pt x="40615" y="12110"/>
                          <a:pt x="40615" y="13211"/>
                        </a:cubicBezTo>
                        <a:cubicBezTo>
                          <a:pt x="40615" y="15412"/>
                          <a:pt x="40615" y="16513"/>
                          <a:pt x="40615" y="16513"/>
                        </a:cubicBezTo>
                        <a:cubicBezTo>
                          <a:pt x="41230" y="17614"/>
                          <a:pt x="41846" y="19816"/>
                          <a:pt x="41846" y="19816"/>
                        </a:cubicBezTo>
                        <a:cubicBezTo>
                          <a:pt x="41846" y="19816"/>
                          <a:pt x="43076" y="19816"/>
                          <a:pt x="43692" y="18715"/>
                        </a:cubicBezTo>
                        <a:cubicBezTo>
                          <a:pt x="44307" y="17614"/>
                          <a:pt x="45538" y="16513"/>
                          <a:pt x="45538" y="16513"/>
                        </a:cubicBezTo>
                        <a:cubicBezTo>
                          <a:pt x="45538" y="16513"/>
                          <a:pt x="46769" y="18715"/>
                          <a:pt x="46769" y="17614"/>
                        </a:cubicBezTo>
                        <a:cubicBezTo>
                          <a:pt x="46769" y="16513"/>
                          <a:pt x="46769" y="12110"/>
                          <a:pt x="46769" y="12110"/>
                        </a:cubicBezTo>
                        <a:cubicBezTo>
                          <a:pt x="48000" y="8807"/>
                          <a:pt x="48000" y="8807"/>
                          <a:pt x="48000" y="8807"/>
                        </a:cubicBezTo>
                        <a:cubicBezTo>
                          <a:pt x="48000" y="8807"/>
                          <a:pt x="49230" y="8807"/>
                          <a:pt x="49230" y="7706"/>
                        </a:cubicBezTo>
                        <a:cubicBezTo>
                          <a:pt x="49230" y="6605"/>
                          <a:pt x="50461" y="4403"/>
                          <a:pt x="50461" y="4403"/>
                        </a:cubicBezTo>
                        <a:cubicBezTo>
                          <a:pt x="52307" y="4403"/>
                          <a:pt x="52307" y="4403"/>
                          <a:pt x="52307" y="4403"/>
                        </a:cubicBezTo>
                        <a:cubicBezTo>
                          <a:pt x="53538" y="11009"/>
                          <a:pt x="53538" y="11009"/>
                          <a:pt x="53538" y="11009"/>
                        </a:cubicBezTo>
                        <a:cubicBezTo>
                          <a:pt x="55384" y="13211"/>
                          <a:pt x="55384" y="13211"/>
                          <a:pt x="55384" y="13211"/>
                        </a:cubicBezTo>
                        <a:cubicBezTo>
                          <a:pt x="56000" y="14311"/>
                          <a:pt x="56000" y="14311"/>
                          <a:pt x="56000" y="14311"/>
                        </a:cubicBezTo>
                        <a:cubicBezTo>
                          <a:pt x="57230" y="15412"/>
                          <a:pt x="57230" y="15412"/>
                          <a:pt x="57230" y="15412"/>
                        </a:cubicBezTo>
                        <a:cubicBezTo>
                          <a:pt x="59076" y="15412"/>
                          <a:pt x="59076" y="15412"/>
                          <a:pt x="59076" y="15412"/>
                        </a:cubicBezTo>
                        <a:cubicBezTo>
                          <a:pt x="59076" y="16513"/>
                          <a:pt x="59076" y="16513"/>
                          <a:pt x="59076" y="16513"/>
                        </a:cubicBezTo>
                        <a:cubicBezTo>
                          <a:pt x="60307" y="18715"/>
                          <a:pt x="60307" y="18715"/>
                          <a:pt x="60307" y="18715"/>
                        </a:cubicBezTo>
                        <a:cubicBezTo>
                          <a:pt x="60923" y="22018"/>
                          <a:pt x="60923" y="22018"/>
                          <a:pt x="60923" y="22018"/>
                        </a:cubicBezTo>
                        <a:cubicBezTo>
                          <a:pt x="59692" y="24220"/>
                          <a:pt x="59692" y="24220"/>
                          <a:pt x="59692" y="24220"/>
                        </a:cubicBezTo>
                        <a:cubicBezTo>
                          <a:pt x="59692" y="25321"/>
                          <a:pt x="59692" y="25321"/>
                          <a:pt x="59692" y="25321"/>
                        </a:cubicBezTo>
                        <a:cubicBezTo>
                          <a:pt x="60307" y="26422"/>
                          <a:pt x="60307" y="26422"/>
                          <a:pt x="60307" y="26422"/>
                        </a:cubicBezTo>
                        <a:cubicBezTo>
                          <a:pt x="60307" y="26422"/>
                          <a:pt x="60923" y="26422"/>
                          <a:pt x="60923" y="26422"/>
                        </a:cubicBezTo>
                        <a:cubicBezTo>
                          <a:pt x="60923" y="26422"/>
                          <a:pt x="62153" y="25321"/>
                          <a:pt x="62769" y="25321"/>
                        </a:cubicBezTo>
                        <a:cubicBezTo>
                          <a:pt x="62769" y="25321"/>
                          <a:pt x="62769" y="24220"/>
                          <a:pt x="62769" y="24220"/>
                        </a:cubicBezTo>
                        <a:cubicBezTo>
                          <a:pt x="62769" y="24220"/>
                          <a:pt x="64000" y="23119"/>
                          <a:pt x="64000" y="23119"/>
                        </a:cubicBezTo>
                        <a:cubicBezTo>
                          <a:pt x="64000" y="23119"/>
                          <a:pt x="64615" y="23119"/>
                          <a:pt x="64615" y="23119"/>
                        </a:cubicBezTo>
                        <a:cubicBezTo>
                          <a:pt x="64615" y="24220"/>
                          <a:pt x="65230" y="25321"/>
                          <a:pt x="65230" y="25321"/>
                        </a:cubicBezTo>
                        <a:cubicBezTo>
                          <a:pt x="65230" y="25321"/>
                          <a:pt x="65846" y="24220"/>
                          <a:pt x="65846" y="25321"/>
                        </a:cubicBezTo>
                        <a:cubicBezTo>
                          <a:pt x="65846" y="25321"/>
                          <a:pt x="66461" y="25321"/>
                          <a:pt x="66461" y="25321"/>
                        </a:cubicBezTo>
                        <a:cubicBezTo>
                          <a:pt x="66461" y="25321"/>
                          <a:pt x="66461" y="25321"/>
                          <a:pt x="66461" y="24220"/>
                        </a:cubicBezTo>
                        <a:cubicBezTo>
                          <a:pt x="66461" y="22018"/>
                          <a:pt x="66461" y="22018"/>
                          <a:pt x="66461" y="22018"/>
                        </a:cubicBezTo>
                        <a:cubicBezTo>
                          <a:pt x="66461" y="20917"/>
                          <a:pt x="66461" y="19816"/>
                          <a:pt x="66461" y="19816"/>
                        </a:cubicBezTo>
                        <a:cubicBezTo>
                          <a:pt x="67076" y="18715"/>
                          <a:pt x="67076" y="18715"/>
                          <a:pt x="67076" y="17614"/>
                        </a:cubicBezTo>
                        <a:cubicBezTo>
                          <a:pt x="67076" y="17614"/>
                          <a:pt x="66461" y="16513"/>
                          <a:pt x="67076" y="16513"/>
                        </a:cubicBezTo>
                        <a:cubicBezTo>
                          <a:pt x="67692" y="16513"/>
                          <a:pt x="68307" y="16513"/>
                          <a:pt x="68307" y="16513"/>
                        </a:cubicBezTo>
                        <a:cubicBezTo>
                          <a:pt x="68307" y="16513"/>
                          <a:pt x="68307" y="15412"/>
                          <a:pt x="68307" y="15412"/>
                        </a:cubicBezTo>
                        <a:cubicBezTo>
                          <a:pt x="68307" y="15412"/>
                          <a:pt x="68923" y="14311"/>
                          <a:pt x="69538" y="14311"/>
                        </a:cubicBezTo>
                        <a:cubicBezTo>
                          <a:pt x="69538" y="14311"/>
                          <a:pt x="69538" y="15412"/>
                          <a:pt x="70153" y="14311"/>
                        </a:cubicBezTo>
                        <a:cubicBezTo>
                          <a:pt x="70769" y="13211"/>
                          <a:pt x="70153" y="13211"/>
                          <a:pt x="70153" y="13211"/>
                        </a:cubicBezTo>
                        <a:cubicBezTo>
                          <a:pt x="70153" y="12110"/>
                          <a:pt x="70153" y="12110"/>
                          <a:pt x="70153" y="12110"/>
                        </a:cubicBezTo>
                        <a:cubicBezTo>
                          <a:pt x="70769" y="11009"/>
                          <a:pt x="70153" y="12110"/>
                          <a:pt x="71384" y="12110"/>
                        </a:cubicBezTo>
                        <a:cubicBezTo>
                          <a:pt x="72000" y="11009"/>
                          <a:pt x="72615" y="11009"/>
                          <a:pt x="72615" y="11009"/>
                        </a:cubicBezTo>
                        <a:cubicBezTo>
                          <a:pt x="72615" y="11009"/>
                          <a:pt x="72615" y="9908"/>
                          <a:pt x="72615" y="9908"/>
                        </a:cubicBezTo>
                        <a:cubicBezTo>
                          <a:pt x="73846" y="8807"/>
                          <a:pt x="73846" y="8807"/>
                          <a:pt x="73846" y="8807"/>
                        </a:cubicBezTo>
                        <a:cubicBezTo>
                          <a:pt x="73846" y="8807"/>
                          <a:pt x="73846" y="9908"/>
                          <a:pt x="73846" y="9908"/>
                        </a:cubicBezTo>
                        <a:cubicBezTo>
                          <a:pt x="73846" y="9908"/>
                          <a:pt x="74461" y="9908"/>
                          <a:pt x="75076" y="9908"/>
                        </a:cubicBezTo>
                        <a:cubicBezTo>
                          <a:pt x="75076" y="9908"/>
                          <a:pt x="75692" y="11009"/>
                          <a:pt x="75692" y="9908"/>
                        </a:cubicBezTo>
                        <a:cubicBezTo>
                          <a:pt x="75692" y="9908"/>
                          <a:pt x="76307" y="9908"/>
                          <a:pt x="76307" y="8807"/>
                        </a:cubicBezTo>
                        <a:cubicBezTo>
                          <a:pt x="76307" y="8807"/>
                          <a:pt x="76307" y="8807"/>
                          <a:pt x="76307" y="8807"/>
                        </a:cubicBezTo>
                        <a:cubicBezTo>
                          <a:pt x="76307" y="8807"/>
                          <a:pt x="76307" y="7706"/>
                          <a:pt x="76923" y="7706"/>
                        </a:cubicBezTo>
                        <a:cubicBezTo>
                          <a:pt x="77538" y="8807"/>
                          <a:pt x="76923" y="8807"/>
                          <a:pt x="77538" y="8807"/>
                        </a:cubicBezTo>
                        <a:cubicBezTo>
                          <a:pt x="77538" y="7706"/>
                          <a:pt x="78769" y="6605"/>
                          <a:pt x="78769" y="6605"/>
                        </a:cubicBezTo>
                        <a:cubicBezTo>
                          <a:pt x="78769" y="6605"/>
                          <a:pt x="78769" y="6605"/>
                          <a:pt x="79384" y="8807"/>
                        </a:cubicBezTo>
                        <a:cubicBezTo>
                          <a:pt x="79384" y="9908"/>
                          <a:pt x="80000" y="9908"/>
                          <a:pt x="80615" y="9908"/>
                        </a:cubicBezTo>
                        <a:cubicBezTo>
                          <a:pt x="80615" y="9908"/>
                          <a:pt x="80615" y="9908"/>
                          <a:pt x="80615" y="9908"/>
                        </a:cubicBezTo>
                        <a:cubicBezTo>
                          <a:pt x="80615" y="11009"/>
                          <a:pt x="81230" y="12110"/>
                          <a:pt x="81230" y="12110"/>
                        </a:cubicBezTo>
                        <a:cubicBezTo>
                          <a:pt x="81846" y="12110"/>
                          <a:pt x="81846" y="12110"/>
                          <a:pt x="81846" y="12110"/>
                        </a:cubicBezTo>
                        <a:cubicBezTo>
                          <a:pt x="82461" y="11009"/>
                          <a:pt x="82461" y="11009"/>
                          <a:pt x="82461" y="11009"/>
                        </a:cubicBezTo>
                        <a:cubicBezTo>
                          <a:pt x="82461" y="11009"/>
                          <a:pt x="82461" y="12110"/>
                          <a:pt x="83076" y="12110"/>
                        </a:cubicBezTo>
                        <a:cubicBezTo>
                          <a:pt x="83692" y="12110"/>
                          <a:pt x="84307" y="13211"/>
                          <a:pt x="84307" y="13211"/>
                        </a:cubicBezTo>
                        <a:cubicBezTo>
                          <a:pt x="84307" y="12110"/>
                          <a:pt x="84923" y="11009"/>
                          <a:pt x="84923" y="11009"/>
                        </a:cubicBezTo>
                        <a:cubicBezTo>
                          <a:pt x="84923" y="9908"/>
                          <a:pt x="84923" y="9908"/>
                          <a:pt x="85538" y="8807"/>
                        </a:cubicBezTo>
                        <a:cubicBezTo>
                          <a:pt x="85538" y="8807"/>
                          <a:pt x="87384" y="7706"/>
                          <a:pt x="87384" y="7706"/>
                        </a:cubicBezTo>
                        <a:cubicBezTo>
                          <a:pt x="87384" y="7706"/>
                          <a:pt x="86769" y="5504"/>
                          <a:pt x="86153" y="5504"/>
                        </a:cubicBezTo>
                        <a:cubicBezTo>
                          <a:pt x="86153" y="5504"/>
                          <a:pt x="85538" y="4403"/>
                          <a:pt x="86769" y="3302"/>
                        </a:cubicBezTo>
                        <a:cubicBezTo>
                          <a:pt x="87384" y="3302"/>
                          <a:pt x="88000" y="3302"/>
                          <a:pt x="88000" y="3302"/>
                        </a:cubicBezTo>
                        <a:cubicBezTo>
                          <a:pt x="89230" y="4403"/>
                          <a:pt x="89230" y="4403"/>
                          <a:pt x="89230" y="4403"/>
                        </a:cubicBezTo>
                        <a:cubicBezTo>
                          <a:pt x="89230" y="3302"/>
                          <a:pt x="89230" y="3302"/>
                          <a:pt x="89230" y="3302"/>
                        </a:cubicBezTo>
                        <a:cubicBezTo>
                          <a:pt x="89846" y="2201"/>
                          <a:pt x="89846" y="2201"/>
                          <a:pt x="89846" y="2201"/>
                        </a:cubicBezTo>
                        <a:cubicBezTo>
                          <a:pt x="89846" y="2201"/>
                          <a:pt x="90461" y="1100"/>
                          <a:pt x="90461" y="1100"/>
                        </a:cubicBezTo>
                        <a:cubicBezTo>
                          <a:pt x="90461" y="1100"/>
                          <a:pt x="91076" y="1100"/>
                          <a:pt x="91076" y="1100"/>
                        </a:cubicBezTo>
                        <a:cubicBezTo>
                          <a:pt x="91692" y="1100"/>
                          <a:pt x="92307" y="1100"/>
                          <a:pt x="92307" y="1100"/>
                        </a:cubicBezTo>
                        <a:cubicBezTo>
                          <a:pt x="92307" y="1100"/>
                          <a:pt x="92923" y="2201"/>
                          <a:pt x="92923" y="2201"/>
                        </a:cubicBezTo>
                        <a:cubicBezTo>
                          <a:pt x="93538" y="2201"/>
                          <a:pt x="94153" y="2201"/>
                          <a:pt x="94153" y="2201"/>
                        </a:cubicBezTo>
                        <a:cubicBezTo>
                          <a:pt x="94153" y="2201"/>
                          <a:pt x="94769" y="3302"/>
                          <a:pt x="94769" y="2201"/>
                        </a:cubicBezTo>
                        <a:cubicBezTo>
                          <a:pt x="95384" y="2201"/>
                          <a:pt x="95384" y="1100"/>
                          <a:pt x="95384" y="1100"/>
                        </a:cubicBezTo>
                        <a:cubicBezTo>
                          <a:pt x="95384" y="1100"/>
                          <a:pt x="97846" y="0"/>
                          <a:pt x="97846" y="0"/>
                        </a:cubicBezTo>
                        <a:cubicBezTo>
                          <a:pt x="97846" y="0"/>
                          <a:pt x="98461" y="0"/>
                          <a:pt x="98461" y="0"/>
                        </a:cubicBezTo>
                        <a:cubicBezTo>
                          <a:pt x="99076" y="1100"/>
                          <a:pt x="99692" y="1100"/>
                          <a:pt x="99692" y="1100"/>
                        </a:cubicBezTo>
                        <a:cubicBezTo>
                          <a:pt x="100307" y="1100"/>
                          <a:pt x="100923" y="2201"/>
                          <a:pt x="100923" y="2201"/>
                        </a:cubicBezTo>
                        <a:cubicBezTo>
                          <a:pt x="101538" y="3302"/>
                          <a:pt x="102153" y="3302"/>
                          <a:pt x="102153" y="3302"/>
                        </a:cubicBezTo>
                        <a:cubicBezTo>
                          <a:pt x="102153" y="3302"/>
                          <a:pt x="102153" y="1100"/>
                          <a:pt x="102153" y="1100"/>
                        </a:cubicBezTo>
                        <a:cubicBezTo>
                          <a:pt x="102769" y="1100"/>
                          <a:pt x="103384" y="1100"/>
                          <a:pt x="103384" y="1100"/>
                        </a:cubicBezTo>
                        <a:cubicBezTo>
                          <a:pt x="104000" y="2201"/>
                          <a:pt x="104000" y="2201"/>
                          <a:pt x="104000" y="2201"/>
                        </a:cubicBezTo>
                        <a:cubicBezTo>
                          <a:pt x="104000" y="2201"/>
                          <a:pt x="104615" y="3302"/>
                          <a:pt x="105230" y="3302"/>
                        </a:cubicBezTo>
                        <a:cubicBezTo>
                          <a:pt x="105230" y="3302"/>
                          <a:pt x="105846" y="2201"/>
                          <a:pt x="105846" y="2201"/>
                        </a:cubicBezTo>
                        <a:cubicBezTo>
                          <a:pt x="105846" y="3302"/>
                          <a:pt x="106461" y="3302"/>
                          <a:pt x="106461" y="4403"/>
                        </a:cubicBezTo>
                        <a:cubicBezTo>
                          <a:pt x="106461" y="4403"/>
                          <a:pt x="107076" y="5504"/>
                          <a:pt x="107076" y="5504"/>
                        </a:cubicBezTo>
                        <a:cubicBezTo>
                          <a:pt x="107076" y="6605"/>
                          <a:pt x="107692" y="6605"/>
                          <a:pt x="107692" y="6605"/>
                        </a:cubicBezTo>
                        <a:cubicBezTo>
                          <a:pt x="107692" y="7706"/>
                          <a:pt x="107692" y="8807"/>
                          <a:pt x="107692" y="8807"/>
                        </a:cubicBezTo>
                        <a:cubicBezTo>
                          <a:pt x="107692" y="8807"/>
                          <a:pt x="107692" y="8807"/>
                          <a:pt x="107692" y="9908"/>
                        </a:cubicBezTo>
                        <a:cubicBezTo>
                          <a:pt x="108307" y="9908"/>
                          <a:pt x="110153" y="9908"/>
                          <a:pt x="110153" y="9908"/>
                        </a:cubicBezTo>
                        <a:cubicBezTo>
                          <a:pt x="110153" y="9908"/>
                          <a:pt x="110769" y="9908"/>
                          <a:pt x="110769" y="11009"/>
                        </a:cubicBezTo>
                        <a:cubicBezTo>
                          <a:pt x="110769" y="11009"/>
                          <a:pt x="112000" y="11009"/>
                          <a:pt x="112000" y="11009"/>
                        </a:cubicBezTo>
                        <a:cubicBezTo>
                          <a:pt x="112000" y="11009"/>
                          <a:pt x="112615" y="9908"/>
                          <a:pt x="112615" y="11009"/>
                        </a:cubicBezTo>
                        <a:cubicBezTo>
                          <a:pt x="112615" y="11009"/>
                          <a:pt x="112615" y="12110"/>
                          <a:pt x="112615" y="12110"/>
                        </a:cubicBezTo>
                        <a:cubicBezTo>
                          <a:pt x="113846" y="12110"/>
                          <a:pt x="113846" y="12110"/>
                          <a:pt x="113846" y="12110"/>
                        </a:cubicBezTo>
                        <a:cubicBezTo>
                          <a:pt x="114461" y="12110"/>
                          <a:pt x="114461" y="12110"/>
                          <a:pt x="114461" y="12110"/>
                        </a:cubicBezTo>
                        <a:cubicBezTo>
                          <a:pt x="114461" y="12110"/>
                          <a:pt x="115076" y="11009"/>
                          <a:pt x="115076" y="12110"/>
                        </a:cubicBezTo>
                        <a:cubicBezTo>
                          <a:pt x="115076" y="12110"/>
                          <a:pt x="115692" y="12110"/>
                          <a:pt x="115692" y="12110"/>
                        </a:cubicBezTo>
                        <a:cubicBezTo>
                          <a:pt x="115692" y="12110"/>
                          <a:pt x="116923" y="13211"/>
                          <a:pt x="116923" y="13211"/>
                        </a:cubicBezTo>
                        <a:cubicBezTo>
                          <a:pt x="116923" y="13211"/>
                          <a:pt x="117538" y="13211"/>
                          <a:pt x="118153" y="13211"/>
                        </a:cubicBezTo>
                        <a:cubicBezTo>
                          <a:pt x="118153" y="13211"/>
                          <a:pt x="120000" y="13211"/>
                          <a:pt x="120000" y="13211"/>
                        </a:cubicBezTo>
                        <a:cubicBezTo>
                          <a:pt x="120000" y="13211"/>
                          <a:pt x="120000" y="14311"/>
                          <a:pt x="120000" y="15412"/>
                        </a:cubicBezTo>
                        <a:cubicBezTo>
                          <a:pt x="120000" y="15412"/>
                          <a:pt x="120000" y="17614"/>
                          <a:pt x="120000" y="17614"/>
                        </a:cubicBezTo>
                        <a:cubicBezTo>
                          <a:pt x="120000" y="17614"/>
                          <a:pt x="119384" y="18715"/>
                          <a:pt x="119384" y="19816"/>
                        </a:cubicBezTo>
                        <a:cubicBezTo>
                          <a:pt x="118769" y="19816"/>
                          <a:pt x="118769" y="22018"/>
                          <a:pt x="118769" y="22018"/>
                        </a:cubicBezTo>
                        <a:cubicBezTo>
                          <a:pt x="118769" y="22018"/>
                          <a:pt x="118769" y="23119"/>
                          <a:pt x="118769" y="23119"/>
                        </a:cubicBezTo>
                        <a:cubicBezTo>
                          <a:pt x="118769" y="23119"/>
                          <a:pt x="118769" y="25321"/>
                          <a:pt x="118769" y="25321"/>
                        </a:cubicBezTo>
                        <a:cubicBezTo>
                          <a:pt x="118153" y="27522"/>
                          <a:pt x="118153" y="27522"/>
                          <a:pt x="118153" y="27522"/>
                        </a:cubicBezTo>
                        <a:cubicBezTo>
                          <a:pt x="118153" y="27522"/>
                          <a:pt x="117538" y="28623"/>
                          <a:pt x="118153" y="29724"/>
                        </a:cubicBezTo>
                        <a:cubicBezTo>
                          <a:pt x="118153" y="29724"/>
                          <a:pt x="118153" y="30825"/>
                          <a:pt x="118153" y="30825"/>
                        </a:cubicBezTo>
                        <a:cubicBezTo>
                          <a:pt x="118769" y="31926"/>
                          <a:pt x="118769" y="31926"/>
                          <a:pt x="118769" y="31926"/>
                        </a:cubicBezTo>
                        <a:cubicBezTo>
                          <a:pt x="117538" y="34128"/>
                          <a:pt x="117538" y="34128"/>
                          <a:pt x="117538" y="34128"/>
                        </a:cubicBezTo>
                        <a:cubicBezTo>
                          <a:pt x="117538" y="36330"/>
                          <a:pt x="117538" y="36330"/>
                          <a:pt x="117538" y="36330"/>
                        </a:cubicBezTo>
                        <a:cubicBezTo>
                          <a:pt x="117538" y="36330"/>
                          <a:pt x="118153" y="37431"/>
                          <a:pt x="117538" y="38532"/>
                        </a:cubicBezTo>
                        <a:cubicBezTo>
                          <a:pt x="117538" y="38532"/>
                          <a:pt x="116923" y="39633"/>
                          <a:pt x="116923" y="39633"/>
                        </a:cubicBezTo>
                        <a:cubicBezTo>
                          <a:pt x="116923" y="39633"/>
                          <a:pt x="115692" y="41834"/>
                          <a:pt x="115692" y="41834"/>
                        </a:cubicBezTo>
                        <a:cubicBezTo>
                          <a:pt x="115692" y="41834"/>
                          <a:pt x="115692" y="42935"/>
                          <a:pt x="115692" y="42935"/>
                        </a:cubicBezTo>
                        <a:cubicBezTo>
                          <a:pt x="115692" y="42935"/>
                          <a:pt x="115076" y="45137"/>
                          <a:pt x="115076" y="45137"/>
                        </a:cubicBezTo>
                        <a:cubicBezTo>
                          <a:pt x="115076" y="45137"/>
                          <a:pt x="115076" y="48440"/>
                          <a:pt x="115076" y="48440"/>
                        </a:cubicBezTo>
                        <a:cubicBezTo>
                          <a:pt x="115076" y="48440"/>
                          <a:pt x="115692" y="49541"/>
                          <a:pt x="115692" y="49541"/>
                        </a:cubicBezTo>
                        <a:cubicBezTo>
                          <a:pt x="115692" y="49541"/>
                          <a:pt x="115692" y="50642"/>
                          <a:pt x="115692" y="51743"/>
                        </a:cubicBezTo>
                        <a:cubicBezTo>
                          <a:pt x="115076" y="51743"/>
                          <a:pt x="115692" y="52844"/>
                          <a:pt x="115692" y="53944"/>
                        </a:cubicBezTo>
                        <a:cubicBezTo>
                          <a:pt x="115692" y="53944"/>
                          <a:pt x="115692" y="55045"/>
                          <a:pt x="115692" y="55045"/>
                        </a:cubicBezTo>
                        <a:cubicBezTo>
                          <a:pt x="115076" y="57247"/>
                          <a:pt x="115076" y="57247"/>
                          <a:pt x="115076" y="57247"/>
                        </a:cubicBezTo>
                        <a:cubicBezTo>
                          <a:pt x="114461" y="57247"/>
                          <a:pt x="114461" y="57247"/>
                          <a:pt x="114461" y="57247"/>
                        </a:cubicBezTo>
                        <a:cubicBezTo>
                          <a:pt x="115076" y="60550"/>
                          <a:pt x="115076" y="60550"/>
                          <a:pt x="115076" y="60550"/>
                        </a:cubicBezTo>
                        <a:cubicBezTo>
                          <a:pt x="113846" y="62752"/>
                          <a:pt x="113846" y="62752"/>
                          <a:pt x="113846" y="62752"/>
                        </a:cubicBezTo>
                        <a:cubicBezTo>
                          <a:pt x="108923" y="62752"/>
                          <a:pt x="108923" y="62752"/>
                          <a:pt x="108923" y="62752"/>
                        </a:cubicBezTo>
                        <a:cubicBezTo>
                          <a:pt x="104000" y="53944"/>
                          <a:pt x="104000" y="53944"/>
                          <a:pt x="104000" y="53944"/>
                        </a:cubicBezTo>
                        <a:cubicBezTo>
                          <a:pt x="100307" y="52844"/>
                          <a:pt x="100307" y="52844"/>
                          <a:pt x="100307" y="52844"/>
                        </a:cubicBezTo>
                        <a:cubicBezTo>
                          <a:pt x="97230" y="57247"/>
                          <a:pt x="97230" y="57247"/>
                          <a:pt x="97230" y="57247"/>
                        </a:cubicBezTo>
                        <a:cubicBezTo>
                          <a:pt x="92923" y="58348"/>
                          <a:pt x="92923" y="58348"/>
                          <a:pt x="92923" y="58348"/>
                        </a:cubicBezTo>
                        <a:cubicBezTo>
                          <a:pt x="89846" y="55045"/>
                          <a:pt x="89846" y="55045"/>
                          <a:pt x="89846" y="55045"/>
                        </a:cubicBezTo>
                        <a:cubicBezTo>
                          <a:pt x="81230" y="59449"/>
                          <a:pt x="81230" y="59449"/>
                          <a:pt x="81230" y="59449"/>
                        </a:cubicBezTo>
                        <a:cubicBezTo>
                          <a:pt x="80615" y="62752"/>
                          <a:pt x="80615" y="62752"/>
                          <a:pt x="80615" y="62752"/>
                        </a:cubicBezTo>
                        <a:cubicBezTo>
                          <a:pt x="79384" y="70458"/>
                          <a:pt x="79384" y="70458"/>
                          <a:pt x="79384" y="70458"/>
                        </a:cubicBezTo>
                        <a:cubicBezTo>
                          <a:pt x="77538" y="77064"/>
                          <a:pt x="77538" y="77064"/>
                          <a:pt x="77538" y="77064"/>
                        </a:cubicBezTo>
                        <a:cubicBezTo>
                          <a:pt x="75076" y="79266"/>
                          <a:pt x="75076" y="79266"/>
                          <a:pt x="75076" y="79266"/>
                        </a:cubicBezTo>
                        <a:cubicBezTo>
                          <a:pt x="73230" y="81467"/>
                          <a:pt x="73230" y="81467"/>
                          <a:pt x="73230" y="81467"/>
                        </a:cubicBezTo>
                        <a:cubicBezTo>
                          <a:pt x="71384" y="85871"/>
                          <a:pt x="71384" y="85871"/>
                          <a:pt x="71384" y="85871"/>
                        </a:cubicBezTo>
                        <a:cubicBezTo>
                          <a:pt x="67692" y="85871"/>
                          <a:pt x="67692" y="85871"/>
                          <a:pt x="67692" y="85871"/>
                        </a:cubicBezTo>
                        <a:cubicBezTo>
                          <a:pt x="65230" y="84770"/>
                          <a:pt x="65230" y="84770"/>
                          <a:pt x="65230" y="84770"/>
                        </a:cubicBezTo>
                        <a:cubicBezTo>
                          <a:pt x="61538" y="85871"/>
                          <a:pt x="61538" y="85871"/>
                          <a:pt x="61538" y="85871"/>
                        </a:cubicBezTo>
                        <a:cubicBezTo>
                          <a:pt x="60307" y="92477"/>
                          <a:pt x="60307" y="92477"/>
                          <a:pt x="60307" y="92477"/>
                        </a:cubicBezTo>
                        <a:cubicBezTo>
                          <a:pt x="57846" y="93577"/>
                          <a:pt x="57846" y="93577"/>
                          <a:pt x="57846" y="93577"/>
                        </a:cubicBezTo>
                        <a:cubicBezTo>
                          <a:pt x="53538" y="94678"/>
                          <a:pt x="53538" y="94678"/>
                          <a:pt x="53538" y="94678"/>
                        </a:cubicBezTo>
                        <a:cubicBezTo>
                          <a:pt x="48000" y="97981"/>
                          <a:pt x="48000" y="97981"/>
                          <a:pt x="48000" y="97981"/>
                        </a:cubicBezTo>
                        <a:cubicBezTo>
                          <a:pt x="44923" y="103486"/>
                          <a:pt x="44923" y="103486"/>
                          <a:pt x="44923" y="103486"/>
                        </a:cubicBezTo>
                        <a:cubicBezTo>
                          <a:pt x="44923" y="105688"/>
                          <a:pt x="44923" y="105688"/>
                          <a:pt x="44923" y="105688"/>
                        </a:cubicBezTo>
                        <a:cubicBezTo>
                          <a:pt x="44923" y="105688"/>
                          <a:pt x="47384" y="108990"/>
                          <a:pt x="48615" y="110091"/>
                        </a:cubicBezTo>
                        <a:cubicBezTo>
                          <a:pt x="49846" y="112293"/>
                          <a:pt x="46153" y="113394"/>
                          <a:pt x="45538" y="114495"/>
                        </a:cubicBezTo>
                        <a:cubicBezTo>
                          <a:pt x="44923" y="115596"/>
                          <a:pt x="39384" y="116697"/>
                          <a:pt x="39384" y="116697"/>
                        </a:cubicBezTo>
                        <a:cubicBezTo>
                          <a:pt x="28923" y="117798"/>
                          <a:pt x="28923" y="117798"/>
                          <a:pt x="28923" y="117798"/>
                        </a:cubicBezTo>
                        <a:cubicBezTo>
                          <a:pt x="23384" y="120000"/>
                          <a:pt x="23384" y="120000"/>
                          <a:pt x="23384" y="120000"/>
                        </a:cubicBezTo>
                        <a:cubicBezTo>
                          <a:pt x="20923" y="117798"/>
                          <a:pt x="20923" y="117798"/>
                          <a:pt x="20923" y="117798"/>
                        </a:cubicBezTo>
                        <a:cubicBezTo>
                          <a:pt x="16615" y="113394"/>
                          <a:pt x="16615" y="113394"/>
                          <a:pt x="16615" y="113394"/>
                        </a:cubicBezTo>
                        <a:cubicBezTo>
                          <a:pt x="13538" y="107889"/>
                          <a:pt x="13538" y="107889"/>
                          <a:pt x="13538" y="107889"/>
                        </a:cubicBezTo>
                        <a:cubicBezTo>
                          <a:pt x="13538" y="107889"/>
                          <a:pt x="13538" y="107889"/>
                          <a:pt x="13538" y="107889"/>
                        </a:cubicBezTo>
                        <a:cubicBezTo>
                          <a:pt x="8615" y="106788"/>
                          <a:pt x="8615" y="106788"/>
                          <a:pt x="8615" y="106788"/>
                        </a:cubicBezTo>
                        <a:cubicBezTo>
                          <a:pt x="8615" y="107889"/>
                          <a:pt x="8615" y="107889"/>
                          <a:pt x="8615" y="107889"/>
                        </a:cubicBezTo>
                        <a:cubicBezTo>
                          <a:pt x="8615" y="112293"/>
                          <a:pt x="8615" y="112293"/>
                          <a:pt x="8615" y="112293"/>
                        </a:cubicBezTo>
                        <a:cubicBezTo>
                          <a:pt x="6769" y="116697"/>
                          <a:pt x="6769" y="116697"/>
                          <a:pt x="6769" y="116697"/>
                        </a:cubicBezTo>
                        <a:cubicBezTo>
                          <a:pt x="5538" y="113394"/>
                          <a:pt x="4923" y="107889"/>
                          <a:pt x="3692" y="102385"/>
                        </a:cubicBezTo>
                        <a:cubicBezTo>
                          <a:pt x="3692" y="102385"/>
                          <a:pt x="3692" y="101284"/>
                          <a:pt x="3076" y="100183"/>
                        </a:cubicBezTo>
                        <a:cubicBezTo>
                          <a:pt x="3076" y="99082"/>
                          <a:pt x="2461" y="96880"/>
                          <a:pt x="2461" y="96880"/>
                        </a:cubicBezTo>
                        <a:cubicBezTo>
                          <a:pt x="2461" y="96880"/>
                          <a:pt x="2461" y="96880"/>
                          <a:pt x="2461" y="96880"/>
                        </a:cubicBezTo>
                        <a:cubicBezTo>
                          <a:pt x="1846" y="95779"/>
                          <a:pt x="1230" y="94678"/>
                          <a:pt x="1230" y="94678"/>
                        </a:cubicBezTo>
                        <a:cubicBezTo>
                          <a:pt x="1230" y="94678"/>
                          <a:pt x="1230" y="93577"/>
                          <a:pt x="1230" y="93577"/>
                        </a:cubicBezTo>
                        <a:cubicBezTo>
                          <a:pt x="615" y="93577"/>
                          <a:pt x="0" y="92477"/>
                          <a:pt x="0" y="92477"/>
                        </a:cubicBezTo>
                        <a:cubicBezTo>
                          <a:pt x="0" y="92477"/>
                          <a:pt x="0" y="89174"/>
                          <a:pt x="0" y="89174"/>
                        </a:cubicBezTo>
                        <a:cubicBezTo>
                          <a:pt x="0" y="86972"/>
                          <a:pt x="0" y="86972"/>
                          <a:pt x="0" y="86972"/>
                        </a:cubicBezTo>
                        <a:cubicBezTo>
                          <a:pt x="1230" y="84770"/>
                          <a:pt x="1230" y="84770"/>
                          <a:pt x="1230" y="84770"/>
                        </a:cubicBezTo>
                        <a:cubicBezTo>
                          <a:pt x="1230" y="84770"/>
                          <a:pt x="1230" y="82568"/>
                          <a:pt x="1230" y="82568"/>
                        </a:cubicBezTo>
                        <a:cubicBezTo>
                          <a:pt x="1230" y="82568"/>
                          <a:pt x="1846" y="80366"/>
                          <a:pt x="1846" y="80366"/>
                        </a:cubicBezTo>
                        <a:cubicBezTo>
                          <a:pt x="1230" y="79266"/>
                          <a:pt x="1230" y="79266"/>
                          <a:pt x="1230" y="79266"/>
                        </a:cubicBezTo>
                        <a:cubicBezTo>
                          <a:pt x="1230" y="75963"/>
                          <a:pt x="1230" y="75963"/>
                          <a:pt x="1230" y="75963"/>
                        </a:cubicBezTo>
                        <a:cubicBezTo>
                          <a:pt x="1846" y="74862"/>
                          <a:pt x="1846" y="74862"/>
                          <a:pt x="1846" y="74862"/>
                        </a:cubicBezTo>
                        <a:cubicBezTo>
                          <a:pt x="1846" y="72660"/>
                          <a:pt x="1846" y="72660"/>
                          <a:pt x="1846" y="72660"/>
                        </a:cubicBezTo>
                        <a:cubicBezTo>
                          <a:pt x="1846" y="72660"/>
                          <a:pt x="1846" y="71559"/>
                          <a:pt x="1846" y="71559"/>
                        </a:cubicBezTo>
                        <a:cubicBezTo>
                          <a:pt x="2461" y="71559"/>
                          <a:pt x="2461" y="68256"/>
                          <a:pt x="2461" y="68256"/>
                        </a:cubicBezTo>
                        <a:cubicBezTo>
                          <a:pt x="2461" y="68256"/>
                          <a:pt x="3076" y="66055"/>
                          <a:pt x="3076" y="66055"/>
                        </a:cubicBezTo>
                        <a:cubicBezTo>
                          <a:pt x="3692" y="66055"/>
                          <a:pt x="3692" y="64954"/>
                          <a:pt x="3692" y="64954"/>
                        </a:cubicBezTo>
                        <a:cubicBezTo>
                          <a:pt x="3692" y="63853"/>
                          <a:pt x="3692" y="62752"/>
                          <a:pt x="3692" y="62752"/>
                        </a:cubicBezTo>
                        <a:cubicBezTo>
                          <a:pt x="4923" y="61651"/>
                          <a:pt x="4923" y="61651"/>
                          <a:pt x="4923" y="61651"/>
                        </a:cubicBezTo>
                        <a:cubicBezTo>
                          <a:pt x="4923" y="61651"/>
                          <a:pt x="5538" y="60550"/>
                          <a:pt x="5538" y="60550"/>
                        </a:cubicBezTo>
                        <a:cubicBezTo>
                          <a:pt x="5538" y="60550"/>
                          <a:pt x="6153" y="60550"/>
                          <a:pt x="6769" y="60550"/>
                        </a:cubicBezTo>
                        <a:cubicBezTo>
                          <a:pt x="6769" y="60550"/>
                          <a:pt x="7384" y="60550"/>
                          <a:pt x="8000" y="60550"/>
                        </a:cubicBezTo>
                        <a:cubicBezTo>
                          <a:pt x="8000" y="60550"/>
                          <a:pt x="8000" y="61651"/>
                          <a:pt x="8615" y="61651"/>
                        </a:cubicBezTo>
                        <a:cubicBezTo>
                          <a:pt x="9230" y="61651"/>
                          <a:pt x="9846" y="62752"/>
                          <a:pt x="9846" y="62752"/>
                        </a:cubicBezTo>
                        <a:cubicBezTo>
                          <a:pt x="10461" y="61651"/>
                          <a:pt x="10461" y="61651"/>
                          <a:pt x="10461" y="61651"/>
                        </a:cubicBezTo>
                        <a:cubicBezTo>
                          <a:pt x="11076" y="61651"/>
                          <a:pt x="11076" y="60550"/>
                          <a:pt x="11076" y="60550"/>
                        </a:cubicBezTo>
                        <a:cubicBezTo>
                          <a:pt x="11692" y="60550"/>
                          <a:pt x="12923" y="61651"/>
                          <a:pt x="12923" y="61651"/>
                        </a:cubicBezTo>
                        <a:cubicBezTo>
                          <a:pt x="12923" y="61651"/>
                          <a:pt x="13538" y="62752"/>
                          <a:pt x="13538" y="61651"/>
                        </a:cubicBezTo>
                        <a:cubicBezTo>
                          <a:pt x="14153" y="61651"/>
                          <a:pt x="14769" y="60550"/>
                          <a:pt x="14769" y="60550"/>
                        </a:cubicBezTo>
                        <a:cubicBezTo>
                          <a:pt x="16000" y="59449"/>
                          <a:pt x="16000" y="59449"/>
                          <a:pt x="16000" y="5944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5" name="Shape 2020"/>
                  <p:cNvSpPr/>
                  <p:nvPr/>
                </p:nvSpPr>
                <p:spPr>
                  <a:xfrm>
                    <a:off x="5320612" y="3211660"/>
                    <a:ext cx="266061" cy="194972"/>
                  </a:xfrm>
                  <a:custGeom>
                    <a:avLst/>
                    <a:gdLst/>
                    <a:ahLst/>
                    <a:cxnLst/>
                    <a:rect l="0" t="0" r="0" b="0"/>
                    <a:pathLst>
                      <a:path w="120000" h="120000" extrusionOk="0">
                        <a:moveTo>
                          <a:pt x="9230" y="65454"/>
                        </a:moveTo>
                        <a:cubicBezTo>
                          <a:pt x="7179" y="64090"/>
                          <a:pt x="7179" y="64090"/>
                          <a:pt x="7179" y="64090"/>
                        </a:cubicBezTo>
                        <a:cubicBezTo>
                          <a:pt x="5128" y="62727"/>
                          <a:pt x="5128" y="62727"/>
                          <a:pt x="5128" y="62727"/>
                        </a:cubicBezTo>
                        <a:cubicBezTo>
                          <a:pt x="2051" y="62727"/>
                          <a:pt x="2051" y="62727"/>
                          <a:pt x="2051" y="62727"/>
                        </a:cubicBezTo>
                        <a:cubicBezTo>
                          <a:pt x="0" y="60000"/>
                          <a:pt x="0" y="60000"/>
                          <a:pt x="0" y="60000"/>
                        </a:cubicBezTo>
                        <a:cubicBezTo>
                          <a:pt x="1025" y="57272"/>
                          <a:pt x="1025" y="57272"/>
                          <a:pt x="1025" y="57272"/>
                        </a:cubicBezTo>
                        <a:cubicBezTo>
                          <a:pt x="1025" y="54545"/>
                          <a:pt x="1025" y="54545"/>
                          <a:pt x="1025" y="54545"/>
                        </a:cubicBezTo>
                        <a:cubicBezTo>
                          <a:pt x="1025" y="54545"/>
                          <a:pt x="3076" y="51818"/>
                          <a:pt x="3076" y="51818"/>
                        </a:cubicBezTo>
                        <a:cubicBezTo>
                          <a:pt x="4102" y="50454"/>
                          <a:pt x="6153" y="49090"/>
                          <a:pt x="6153" y="49090"/>
                        </a:cubicBezTo>
                        <a:cubicBezTo>
                          <a:pt x="7179" y="46363"/>
                          <a:pt x="7179" y="46363"/>
                          <a:pt x="7179" y="46363"/>
                        </a:cubicBezTo>
                        <a:cubicBezTo>
                          <a:pt x="7179" y="46363"/>
                          <a:pt x="8205" y="45000"/>
                          <a:pt x="9230" y="45000"/>
                        </a:cubicBezTo>
                        <a:cubicBezTo>
                          <a:pt x="10256" y="45000"/>
                          <a:pt x="10256" y="46363"/>
                          <a:pt x="10256" y="45000"/>
                        </a:cubicBezTo>
                        <a:cubicBezTo>
                          <a:pt x="11282" y="45000"/>
                          <a:pt x="11282" y="39545"/>
                          <a:pt x="11282" y="39545"/>
                        </a:cubicBezTo>
                        <a:cubicBezTo>
                          <a:pt x="11282" y="36818"/>
                          <a:pt x="11282" y="36818"/>
                          <a:pt x="11282" y="36818"/>
                        </a:cubicBezTo>
                        <a:cubicBezTo>
                          <a:pt x="13333" y="36818"/>
                          <a:pt x="13333" y="36818"/>
                          <a:pt x="13333" y="36818"/>
                        </a:cubicBezTo>
                        <a:cubicBezTo>
                          <a:pt x="22564" y="40909"/>
                          <a:pt x="22564" y="40909"/>
                          <a:pt x="22564" y="40909"/>
                        </a:cubicBezTo>
                        <a:cubicBezTo>
                          <a:pt x="32820" y="42272"/>
                          <a:pt x="32820" y="42272"/>
                          <a:pt x="32820" y="42272"/>
                        </a:cubicBezTo>
                        <a:cubicBezTo>
                          <a:pt x="42051" y="42272"/>
                          <a:pt x="42051" y="42272"/>
                          <a:pt x="42051" y="42272"/>
                        </a:cubicBezTo>
                        <a:cubicBezTo>
                          <a:pt x="44102" y="42272"/>
                          <a:pt x="44102" y="42272"/>
                          <a:pt x="44102" y="42272"/>
                        </a:cubicBezTo>
                        <a:cubicBezTo>
                          <a:pt x="47179" y="39545"/>
                          <a:pt x="47179" y="39545"/>
                          <a:pt x="47179" y="39545"/>
                        </a:cubicBezTo>
                        <a:cubicBezTo>
                          <a:pt x="49230" y="35454"/>
                          <a:pt x="49230" y="35454"/>
                          <a:pt x="49230" y="35454"/>
                        </a:cubicBezTo>
                        <a:cubicBezTo>
                          <a:pt x="53333" y="34090"/>
                          <a:pt x="53333" y="34090"/>
                          <a:pt x="53333" y="34090"/>
                        </a:cubicBezTo>
                        <a:cubicBezTo>
                          <a:pt x="54358" y="31363"/>
                          <a:pt x="54358" y="31363"/>
                          <a:pt x="54358" y="31363"/>
                        </a:cubicBezTo>
                        <a:cubicBezTo>
                          <a:pt x="56410" y="25909"/>
                          <a:pt x="56410" y="25909"/>
                          <a:pt x="56410" y="25909"/>
                        </a:cubicBezTo>
                        <a:cubicBezTo>
                          <a:pt x="59487" y="23181"/>
                          <a:pt x="59487" y="23181"/>
                          <a:pt x="59487" y="23181"/>
                        </a:cubicBezTo>
                        <a:cubicBezTo>
                          <a:pt x="65641" y="23181"/>
                          <a:pt x="65641" y="23181"/>
                          <a:pt x="65641" y="23181"/>
                        </a:cubicBezTo>
                        <a:cubicBezTo>
                          <a:pt x="72820" y="20454"/>
                          <a:pt x="72820" y="20454"/>
                          <a:pt x="72820" y="20454"/>
                        </a:cubicBezTo>
                        <a:cubicBezTo>
                          <a:pt x="77948" y="23181"/>
                          <a:pt x="77948" y="23181"/>
                          <a:pt x="77948" y="23181"/>
                        </a:cubicBezTo>
                        <a:cubicBezTo>
                          <a:pt x="84102" y="17727"/>
                          <a:pt x="84102" y="17727"/>
                          <a:pt x="84102" y="17727"/>
                        </a:cubicBezTo>
                        <a:cubicBezTo>
                          <a:pt x="87179" y="16363"/>
                          <a:pt x="87179" y="16363"/>
                          <a:pt x="87179" y="16363"/>
                        </a:cubicBezTo>
                        <a:cubicBezTo>
                          <a:pt x="92307" y="13636"/>
                          <a:pt x="92307" y="13636"/>
                          <a:pt x="92307" y="13636"/>
                        </a:cubicBezTo>
                        <a:cubicBezTo>
                          <a:pt x="98461" y="19090"/>
                          <a:pt x="98461" y="19090"/>
                          <a:pt x="98461" y="19090"/>
                        </a:cubicBezTo>
                        <a:cubicBezTo>
                          <a:pt x="97435" y="10909"/>
                          <a:pt x="97435" y="10909"/>
                          <a:pt x="97435" y="10909"/>
                        </a:cubicBezTo>
                        <a:cubicBezTo>
                          <a:pt x="98461" y="5454"/>
                          <a:pt x="98461" y="5454"/>
                          <a:pt x="98461" y="5454"/>
                        </a:cubicBezTo>
                        <a:cubicBezTo>
                          <a:pt x="102564" y="2727"/>
                          <a:pt x="102564" y="2727"/>
                          <a:pt x="102564" y="2727"/>
                        </a:cubicBezTo>
                        <a:cubicBezTo>
                          <a:pt x="103589" y="2727"/>
                          <a:pt x="103589" y="2727"/>
                          <a:pt x="103589" y="2727"/>
                        </a:cubicBezTo>
                        <a:cubicBezTo>
                          <a:pt x="103589" y="2727"/>
                          <a:pt x="103589" y="2727"/>
                          <a:pt x="103589" y="2727"/>
                        </a:cubicBezTo>
                        <a:cubicBezTo>
                          <a:pt x="107692" y="0"/>
                          <a:pt x="107692" y="0"/>
                          <a:pt x="107692" y="0"/>
                        </a:cubicBezTo>
                        <a:cubicBezTo>
                          <a:pt x="109743" y="2727"/>
                          <a:pt x="109743" y="2727"/>
                          <a:pt x="109743" y="2727"/>
                        </a:cubicBezTo>
                        <a:cubicBezTo>
                          <a:pt x="110769" y="5454"/>
                          <a:pt x="110769" y="5454"/>
                          <a:pt x="110769" y="5454"/>
                        </a:cubicBezTo>
                        <a:cubicBezTo>
                          <a:pt x="110769" y="5454"/>
                          <a:pt x="110769" y="5454"/>
                          <a:pt x="110769" y="5454"/>
                        </a:cubicBezTo>
                        <a:cubicBezTo>
                          <a:pt x="110769" y="5454"/>
                          <a:pt x="110769" y="5454"/>
                          <a:pt x="110769" y="6818"/>
                        </a:cubicBezTo>
                        <a:cubicBezTo>
                          <a:pt x="110769" y="6818"/>
                          <a:pt x="110769" y="6818"/>
                          <a:pt x="110769" y="6818"/>
                        </a:cubicBezTo>
                        <a:cubicBezTo>
                          <a:pt x="110769" y="8181"/>
                          <a:pt x="110769" y="8181"/>
                          <a:pt x="110769" y="8181"/>
                        </a:cubicBezTo>
                        <a:cubicBezTo>
                          <a:pt x="111794" y="9545"/>
                          <a:pt x="111794" y="9545"/>
                          <a:pt x="111794" y="9545"/>
                        </a:cubicBezTo>
                        <a:cubicBezTo>
                          <a:pt x="112820" y="10909"/>
                          <a:pt x="112820" y="10909"/>
                          <a:pt x="112820" y="10909"/>
                        </a:cubicBezTo>
                        <a:cubicBezTo>
                          <a:pt x="112820" y="10909"/>
                          <a:pt x="112820" y="10909"/>
                          <a:pt x="112820" y="10909"/>
                        </a:cubicBezTo>
                        <a:cubicBezTo>
                          <a:pt x="113846" y="13636"/>
                          <a:pt x="113846" y="13636"/>
                          <a:pt x="113846" y="13636"/>
                        </a:cubicBezTo>
                        <a:cubicBezTo>
                          <a:pt x="113846" y="16363"/>
                          <a:pt x="113846" y="16363"/>
                          <a:pt x="113846" y="16363"/>
                        </a:cubicBezTo>
                        <a:cubicBezTo>
                          <a:pt x="120000" y="25909"/>
                          <a:pt x="120000" y="25909"/>
                          <a:pt x="120000" y="25909"/>
                        </a:cubicBezTo>
                        <a:cubicBezTo>
                          <a:pt x="120000" y="25909"/>
                          <a:pt x="117948" y="25909"/>
                          <a:pt x="117948" y="25909"/>
                        </a:cubicBezTo>
                        <a:cubicBezTo>
                          <a:pt x="116923" y="25909"/>
                          <a:pt x="114871" y="25909"/>
                          <a:pt x="114871" y="25909"/>
                        </a:cubicBezTo>
                        <a:cubicBezTo>
                          <a:pt x="114871" y="25909"/>
                          <a:pt x="113846" y="27272"/>
                          <a:pt x="112820" y="27272"/>
                        </a:cubicBezTo>
                        <a:cubicBezTo>
                          <a:pt x="112820" y="27272"/>
                          <a:pt x="111794" y="30000"/>
                          <a:pt x="111794" y="30000"/>
                        </a:cubicBezTo>
                        <a:cubicBezTo>
                          <a:pt x="110769" y="31363"/>
                          <a:pt x="110769" y="31363"/>
                          <a:pt x="110769" y="31363"/>
                        </a:cubicBezTo>
                        <a:cubicBezTo>
                          <a:pt x="111794" y="32727"/>
                          <a:pt x="111794" y="32727"/>
                          <a:pt x="111794" y="32727"/>
                        </a:cubicBezTo>
                        <a:cubicBezTo>
                          <a:pt x="113846" y="38181"/>
                          <a:pt x="114871" y="38181"/>
                          <a:pt x="109743" y="36818"/>
                        </a:cubicBezTo>
                        <a:cubicBezTo>
                          <a:pt x="107692" y="35454"/>
                          <a:pt x="107692" y="35454"/>
                          <a:pt x="107692" y="35454"/>
                        </a:cubicBezTo>
                        <a:cubicBezTo>
                          <a:pt x="106666" y="36818"/>
                          <a:pt x="106666" y="36818"/>
                          <a:pt x="106666" y="36818"/>
                        </a:cubicBezTo>
                        <a:cubicBezTo>
                          <a:pt x="104615" y="38181"/>
                          <a:pt x="104615" y="38181"/>
                          <a:pt x="104615" y="38181"/>
                        </a:cubicBezTo>
                        <a:cubicBezTo>
                          <a:pt x="104615" y="38181"/>
                          <a:pt x="104615" y="38181"/>
                          <a:pt x="104615" y="38181"/>
                        </a:cubicBezTo>
                        <a:cubicBezTo>
                          <a:pt x="104615" y="38181"/>
                          <a:pt x="104615" y="40909"/>
                          <a:pt x="104615" y="40909"/>
                        </a:cubicBezTo>
                        <a:cubicBezTo>
                          <a:pt x="103589" y="43636"/>
                          <a:pt x="103589" y="43636"/>
                          <a:pt x="103589" y="43636"/>
                        </a:cubicBezTo>
                        <a:cubicBezTo>
                          <a:pt x="101538" y="45000"/>
                          <a:pt x="101538" y="45000"/>
                          <a:pt x="101538" y="45000"/>
                        </a:cubicBezTo>
                        <a:cubicBezTo>
                          <a:pt x="99487" y="46363"/>
                          <a:pt x="99487" y="46363"/>
                          <a:pt x="99487" y="46363"/>
                        </a:cubicBezTo>
                        <a:cubicBezTo>
                          <a:pt x="98461" y="47727"/>
                          <a:pt x="98461" y="47727"/>
                          <a:pt x="98461" y="47727"/>
                        </a:cubicBezTo>
                        <a:cubicBezTo>
                          <a:pt x="96410" y="47727"/>
                          <a:pt x="96410" y="47727"/>
                          <a:pt x="96410" y="47727"/>
                        </a:cubicBezTo>
                        <a:cubicBezTo>
                          <a:pt x="94358" y="49090"/>
                          <a:pt x="94358" y="49090"/>
                          <a:pt x="94358" y="49090"/>
                        </a:cubicBezTo>
                        <a:cubicBezTo>
                          <a:pt x="93333" y="51818"/>
                          <a:pt x="93333" y="51818"/>
                          <a:pt x="93333" y="51818"/>
                        </a:cubicBezTo>
                        <a:cubicBezTo>
                          <a:pt x="93333" y="51818"/>
                          <a:pt x="91282" y="51818"/>
                          <a:pt x="91282" y="51818"/>
                        </a:cubicBezTo>
                        <a:cubicBezTo>
                          <a:pt x="91282" y="51818"/>
                          <a:pt x="88205" y="53181"/>
                          <a:pt x="88205" y="53181"/>
                        </a:cubicBezTo>
                        <a:cubicBezTo>
                          <a:pt x="88205" y="55909"/>
                          <a:pt x="88205" y="55909"/>
                          <a:pt x="88205" y="55909"/>
                        </a:cubicBezTo>
                        <a:cubicBezTo>
                          <a:pt x="88205" y="55909"/>
                          <a:pt x="87179" y="57272"/>
                          <a:pt x="87179" y="57272"/>
                        </a:cubicBezTo>
                        <a:cubicBezTo>
                          <a:pt x="87179" y="57272"/>
                          <a:pt x="87179" y="61363"/>
                          <a:pt x="87179" y="61363"/>
                        </a:cubicBezTo>
                        <a:cubicBezTo>
                          <a:pt x="87179" y="61363"/>
                          <a:pt x="89230" y="62727"/>
                          <a:pt x="89230" y="62727"/>
                        </a:cubicBezTo>
                        <a:cubicBezTo>
                          <a:pt x="90256" y="64090"/>
                          <a:pt x="90256" y="64090"/>
                          <a:pt x="90256" y="64090"/>
                        </a:cubicBezTo>
                        <a:cubicBezTo>
                          <a:pt x="91282" y="65454"/>
                          <a:pt x="91282" y="65454"/>
                          <a:pt x="91282" y="65454"/>
                        </a:cubicBezTo>
                        <a:cubicBezTo>
                          <a:pt x="91282" y="65454"/>
                          <a:pt x="92307" y="66818"/>
                          <a:pt x="92307" y="66818"/>
                        </a:cubicBezTo>
                        <a:cubicBezTo>
                          <a:pt x="91282" y="66818"/>
                          <a:pt x="91282" y="70909"/>
                          <a:pt x="91282" y="70909"/>
                        </a:cubicBezTo>
                        <a:cubicBezTo>
                          <a:pt x="92307" y="75000"/>
                          <a:pt x="92307" y="75000"/>
                          <a:pt x="92307" y="75000"/>
                        </a:cubicBezTo>
                        <a:cubicBezTo>
                          <a:pt x="91282" y="76363"/>
                          <a:pt x="91282" y="76363"/>
                          <a:pt x="91282" y="76363"/>
                        </a:cubicBezTo>
                        <a:cubicBezTo>
                          <a:pt x="92307" y="79090"/>
                          <a:pt x="92307" y="79090"/>
                          <a:pt x="92307" y="79090"/>
                        </a:cubicBezTo>
                        <a:cubicBezTo>
                          <a:pt x="92307" y="79090"/>
                          <a:pt x="93333" y="79090"/>
                          <a:pt x="92307" y="80454"/>
                        </a:cubicBezTo>
                        <a:cubicBezTo>
                          <a:pt x="91282" y="80454"/>
                          <a:pt x="90256" y="81818"/>
                          <a:pt x="90256" y="81818"/>
                        </a:cubicBezTo>
                        <a:cubicBezTo>
                          <a:pt x="90256" y="81818"/>
                          <a:pt x="88205" y="81818"/>
                          <a:pt x="88205" y="81818"/>
                        </a:cubicBezTo>
                        <a:cubicBezTo>
                          <a:pt x="88205" y="81818"/>
                          <a:pt x="86153" y="81818"/>
                          <a:pt x="86153" y="81818"/>
                        </a:cubicBezTo>
                        <a:cubicBezTo>
                          <a:pt x="85128" y="84545"/>
                          <a:pt x="85128" y="84545"/>
                          <a:pt x="85128" y="84545"/>
                        </a:cubicBezTo>
                        <a:cubicBezTo>
                          <a:pt x="83076" y="83181"/>
                          <a:pt x="83076" y="83181"/>
                          <a:pt x="83076" y="83181"/>
                        </a:cubicBezTo>
                        <a:cubicBezTo>
                          <a:pt x="83076" y="85909"/>
                          <a:pt x="83076" y="85909"/>
                          <a:pt x="83076" y="85909"/>
                        </a:cubicBezTo>
                        <a:cubicBezTo>
                          <a:pt x="80000" y="87272"/>
                          <a:pt x="80000" y="87272"/>
                          <a:pt x="80000" y="87272"/>
                        </a:cubicBezTo>
                        <a:cubicBezTo>
                          <a:pt x="77948" y="88636"/>
                          <a:pt x="77948" y="88636"/>
                          <a:pt x="77948" y="88636"/>
                        </a:cubicBezTo>
                        <a:cubicBezTo>
                          <a:pt x="76923" y="91363"/>
                          <a:pt x="76923" y="91363"/>
                          <a:pt x="76923" y="91363"/>
                        </a:cubicBezTo>
                        <a:cubicBezTo>
                          <a:pt x="77948" y="92727"/>
                          <a:pt x="77948" y="92727"/>
                          <a:pt x="77948" y="92727"/>
                        </a:cubicBezTo>
                        <a:cubicBezTo>
                          <a:pt x="77948" y="92727"/>
                          <a:pt x="78974" y="94090"/>
                          <a:pt x="78974" y="92727"/>
                        </a:cubicBezTo>
                        <a:cubicBezTo>
                          <a:pt x="78974" y="92727"/>
                          <a:pt x="78974" y="91363"/>
                          <a:pt x="78974" y="91363"/>
                        </a:cubicBezTo>
                        <a:cubicBezTo>
                          <a:pt x="80000" y="92727"/>
                          <a:pt x="81025" y="94090"/>
                          <a:pt x="81025" y="94090"/>
                        </a:cubicBezTo>
                        <a:cubicBezTo>
                          <a:pt x="82051" y="96818"/>
                          <a:pt x="82051" y="96818"/>
                          <a:pt x="82051" y="96818"/>
                        </a:cubicBezTo>
                        <a:cubicBezTo>
                          <a:pt x="82051" y="96818"/>
                          <a:pt x="80000" y="96818"/>
                          <a:pt x="80000" y="96818"/>
                        </a:cubicBezTo>
                        <a:cubicBezTo>
                          <a:pt x="80000" y="96818"/>
                          <a:pt x="78974" y="98181"/>
                          <a:pt x="78974" y="98181"/>
                        </a:cubicBezTo>
                        <a:cubicBezTo>
                          <a:pt x="77948" y="99545"/>
                          <a:pt x="77948" y="99545"/>
                          <a:pt x="77948" y="99545"/>
                        </a:cubicBezTo>
                        <a:cubicBezTo>
                          <a:pt x="77948" y="100909"/>
                          <a:pt x="77948" y="100909"/>
                          <a:pt x="77948" y="102272"/>
                        </a:cubicBezTo>
                        <a:cubicBezTo>
                          <a:pt x="77948" y="102272"/>
                          <a:pt x="77948" y="103636"/>
                          <a:pt x="77948" y="103636"/>
                        </a:cubicBezTo>
                        <a:cubicBezTo>
                          <a:pt x="78974" y="103636"/>
                          <a:pt x="80000" y="106363"/>
                          <a:pt x="80000" y="106363"/>
                        </a:cubicBezTo>
                        <a:cubicBezTo>
                          <a:pt x="80000" y="106363"/>
                          <a:pt x="81025" y="107727"/>
                          <a:pt x="81025" y="107727"/>
                        </a:cubicBezTo>
                        <a:cubicBezTo>
                          <a:pt x="81025" y="107727"/>
                          <a:pt x="81025" y="109090"/>
                          <a:pt x="81025" y="109090"/>
                        </a:cubicBezTo>
                        <a:cubicBezTo>
                          <a:pt x="81025" y="109090"/>
                          <a:pt x="80000" y="110454"/>
                          <a:pt x="78974" y="110454"/>
                        </a:cubicBezTo>
                        <a:cubicBezTo>
                          <a:pt x="78974" y="110454"/>
                          <a:pt x="76923" y="110454"/>
                          <a:pt x="76923" y="110454"/>
                        </a:cubicBezTo>
                        <a:cubicBezTo>
                          <a:pt x="76923" y="110454"/>
                          <a:pt x="75897" y="113181"/>
                          <a:pt x="75897" y="113181"/>
                        </a:cubicBezTo>
                        <a:cubicBezTo>
                          <a:pt x="75897" y="113181"/>
                          <a:pt x="74871" y="113181"/>
                          <a:pt x="73846" y="113181"/>
                        </a:cubicBezTo>
                        <a:cubicBezTo>
                          <a:pt x="73846" y="113181"/>
                          <a:pt x="75897" y="114545"/>
                          <a:pt x="73846" y="113181"/>
                        </a:cubicBezTo>
                        <a:cubicBezTo>
                          <a:pt x="70769" y="111818"/>
                          <a:pt x="70769" y="110454"/>
                          <a:pt x="70769" y="110454"/>
                        </a:cubicBezTo>
                        <a:cubicBezTo>
                          <a:pt x="70769" y="110454"/>
                          <a:pt x="69743" y="109090"/>
                          <a:pt x="69743" y="109090"/>
                        </a:cubicBezTo>
                        <a:cubicBezTo>
                          <a:pt x="68717" y="109090"/>
                          <a:pt x="67692" y="109090"/>
                          <a:pt x="67692" y="109090"/>
                        </a:cubicBezTo>
                        <a:cubicBezTo>
                          <a:pt x="65641" y="109090"/>
                          <a:pt x="65641" y="109090"/>
                          <a:pt x="65641" y="109090"/>
                        </a:cubicBezTo>
                        <a:cubicBezTo>
                          <a:pt x="64615" y="107727"/>
                          <a:pt x="64615" y="107727"/>
                          <a:pt x="64615" y="107727"/>
                        </a:cubicBezTo>
                        <a:cubicBezTo>
                          <a:pt x="63589" y="110454"/>
                          <a:pt x="63589" y="110454"/>
                          <a:pt x="63589" y="110454"/>
                        </a:cubicBezTo>
                        <a:cubicBezTo>
                          <a:pt x="63589" y="110454"/>
                          <a:pt x="63589" y="111818"/>
                          <a:pt x="62564" y="111818"/>
                        </a:cubicBezTo>
                        <a:cubicBezTo>
                          <a:pt x="61538" y="113181"/>
                          <a:pt x="62564" y="113181"/>
                          <a:pt x="61538" y="113181"/>
                        </a:cubicBezTo>
                        <a:cubicBezTo>
                          <a:pt x="59487" y="113181"/>
                          <a:pt x="58461" y="110454"/>
                          <a:pt x="58461" y="110454"/>
                        </a:cubicBezTo>
                        <a:cubicBezTo>
                          <a:pt x="58461" y="110454"/>
                          <a:pt x="56410" y="109090"/>
                          <a:pt x="56410" y="109090"/>
                        </a:cubicBezTo>
                        <a:cubicBezTo>
                          <a:pt x="55384" y="107727"/>
                          <a:pt x="55384" y="107727"/>
                          <a:pt x="55384" y="107727"/>
                        </a:cubicBezTo>
                        <a:cubicBezTo>
                          <a:pt x="54358" y="107727"/>
                          <a:pt x="54358" y="109090"/>
                          <a:pt x="54358" y="106363"/>
                        </a:cubicBezTo>
                        <a:cubicBezTo>
                          <a:pt x="54358" y="105000"/>
                          <a:pt x="54358" y="105000"/>
                          <a:pt x="54358" y="105000"/>
                        </a:cubicBezTo>
                        <a:cubicBezTo>
                          <a:pt x="53333" y="103636"/>
                          <a:pt x="53333" y="105000"/>
                          <a:pt x="52307" y="103636"/>
                        </a:cubicBezTo>
                        <a:cubicBezTo>
                          <a:pt x="52307" y="102272"/>
                          <a:pt x="51282" y="100909"/>
                          <a:pt x="51282" y="100909"/>
                        </a:cubicBezTo>
                        <a:cubicBezTo>
                          <a:pt x="50256" y="98181"/>
                          <a:pt x="50256" y="98181"/>
                          <a:pt x="50256" y="98181"/>
                        </a:cubicBezTo>
                        <a:cubicBezTo>
                          <a:pt x="50256" y="98181"/>
                          <a:pt x="50256" y="98181"/>
                          <a:pt x="50256" y="99545"/>
                        </a:cubicBezTo>
                        <a:cubicBezTo>
                          <a:pt x="49230" y="100909"/>
                          <a:pt x="48205" y="100909"/>
                          <a:pt x="48205" y="100909"/>
                        </a:cubicBezTo>
                        <a:cubicBezTo>
                          <a:pt x="48205" y="102272"/>
                          <a:pt x="47179" y="103636"/>
                          <a:pt x="47179" y="103636"/>
                        </a:cubicBezTo>
                        <a:cubicBezTo>
                          <a:pt x="47179" y="103636"/>
                          <a:pt x="46153" y="105000"/>
                          <a:pt x="46153" y="106363"/>
                        </a:cubicBezTo>
                        <a:cubicBezTo>
                          <a:pt x="47179" y="106363"/>
                          <a:pt x="47179" y="106363"/>
                          <a:pt x="47179" y="107727"/>
                        </a:cubicBezTo>
                        <a:cubicBezTo>
                          <a:pt x="47179" y="107727"/>
                          <a:pt x="46153" y="109090"/>
                          <a:pt x="46153" y="109090"/>
                        </a:cubicBezTo>
                        <a:cubicBezTo>
                          <a:pt x="45128" y="110454"/>
                          <a:pt x="45128" y="110454"/>
                          <a:pt x="44102" y="110454"/>
                        </a:cubicBezTo>
                        <a:cubicBezTo>
                          <a:pt x="44102" y="111818"/>
                          <a:pt x="42051" y="113181"/>
                          <a:pt x="42051" y="113181"/>
                        </a:cubicBezTo>
                        <a:cubicBezTo>
                          <a:pt x="40000" y="113181"/>
                          <a:pt x="40000" y="113181"/>
                          <a:pt x="40000" y="113181"/>
                        </a:cubicBezTo>
                        <a:cubicBezTo>
                          <a:pt x="36923" y="111818"/>
                          <a:pt x="36923" y="111818"/>
                          <a:pt x="36923" y="111818"/>
                        </a:cubicBezTo>
                        <a:cubicBezTo>
                          <a:pt x="34871" y="114545"/>
                          <a:pt x="34871" y="114545"/>
                          <a:pt x="34871" y="114545"/>
                        </a:cubicBezTo>
                        <a:cubicBezTo>
                          <a:pt x="34871" y="114545"/>
                          <a:pt x="33846" y="114545"/>
                          <a:pt x="33846" y="114545"/>
                        </a:cubicBezTo>
                        <a:cubicBezTo>
                          <a:pt x="32820" y="114545"/>
                          <a:pt x="31794" y="114545"/>
                          <a:pt x="31794" y="114545"/>
                        </a:cubicBezTo>
                        <a:cubicBezTo>
                          <a:pt x="31794" y="114545"/>
                          <a:pt x="30769" y="113181"/>
                          <a:pt x="29743" y="113181"/>
                        </a:cubicBezTo>
                        <a:cubicBezTo>
                          <a:pt x="29743" y="113181"/>
                          <a:pt x="28717" y="113181"/>
                          <a:pt x="28717" y="113181"/>
                        </a:cubicBezTo>
                        <a:cubicBezTo>
                          <a:pt x="27692" y="113181"/>
                          <a:pt x="26666" y="113181"/>
                          <a:pt x="26666" y="113181"/>
                        </a:cubicBezTo>
                        <a:cubicBezTo>
                          <a:pt x="26666" y="114545"/>
                          <a:pt x="26666" y="114545"/>
                          <a:pt x="26666" y="114545"/>
                        </a:cubicBezTo>
                        <a:cubicBezTo>
                          <a:pt x="26666" y="114545"/>
                          <a:pt x="27692" y="114545"/>
                          <a:pt x="27692" y="114545"/>
                        </a:cubicBezTo>
                        <a:cubicBezTo>
                          <a:pt x="27692" y="115909"/>
                          <a:pt x="27692" y="117272"/>
                          <a:pt x="27692" y="117272"/>
                        </a:cubicBezTo>
                        <a:cubicBezTo>
                          <a:pt x="27692" y="117272"/>
                          <a:pt x="26666" y="117272"/>
                          <a:pt x="26666" y="117272"/>
                        </a:cubicBezTo>
                        <a:cubicBezTo>
                          <a:pt x="26666" y="118636"/>
                          <a:pt x="24615" y="118636"/>
                          <a:pt x="24615" y="118636"/>
                        </a:cubicBezTo>
                        <a:cubicBezTo>
                          <a:pt x="24615" y="118636"/>
                          <a:pt x="24615" y="120000"/>
                          <a:pt x="24615" y="120000"/>
                        </a:cubicBezTo>
                        <a:cubicBezTo>
                          <a:pt x="24615" y="120000"/>
                          <a:pt x="24615" y="120000"/>
                          <a:pt x="23589" y="120000"/>
                        </a:cubicBezTo>
                        <a:cubicBezTo>
                          <a:pt x="22564" y="120000"/>
                          <a:pt x="22564" y="120000"/>
                          <a:pt x="21538" y="120000"/>
                        </a:cubicBezTo>
                        <a:cubicBezTo>
                          <a:pt x="21538" y="118636"/>
                          <a:pt x="20512" y="118636"/>
                          <a:pt x="19487" y="118636"/>
                        </a:cubicBezTo>
                        <a:cubicBezTo>
                          <a:pt x="19487" y="118636"/>
                          <a:pt x="16410" y="117272"/>
                          <a:pt x="16410" y="117272"/>
                        </a:cubicBezTo>
                        <a:cubicBezTo>
                          <a:pt x="16410" y="117272"/>
                          <a:pt x="15384" y="118636"/>
                          <a:pt x="15384" y="118636"/>
                        </a:cubicBezTo>
                        <a:cubicBezTo>
                          <a:pt x="14358" y="118636"/>
                          <a:pt x="13333" y="118636"/>
                          <a:pt x="12307" y="117272"/>
                        </a:cubicBezTo>
                        <a:cubicBezTo>
                          <a:pt x="12307" y="117272"/>
                          <a:pt x="11282" y="117272"/>
                          <a:pt x="11282" y="117272"/>
                        </a:cubicBezTo>
                        <a:cubicBezTo>
                          <a:pt x="11282" y="115909"/>
                          <a:pt x="11282" y="114545"/>
                          <a:pt x="11282" y="114545"/>
                        </a:cubicBezTo>
                        <a:cubicBezTo>
                          <a:pt x="11282" y="114545"/>
                          <a:pt x="10256" y="113181"/>
                          <a:pt x="11282" y="113181"/>
                        </a:cubicBezTo>
                        <a:cubicBezTo>
                          <a:pt x="11282" y="113181"/>
                          <a:pt x="12307" y="113181"/>
                          <a:pt x="13333" y="113181"/>
                        </a:cubicBezTo>
                        <a:cubicBezTo>
                          <a:pt x="14358" y="113181"/>
                          <a:pt x="15384" y="113181"/>
                          <a:pt x="15384" y="111818"/>
                        </a:cubicBezTo>
                        <a:cubicBezTo>
                          <a:pt x="15384" y="111818"/>
                          <a:pt x="15384" y="111818"/>
                          <a:pt x="16410" y="111818"/>
                        </a:cubicBezTo>
                        <a:cubicBezTo>
                          <a:pt x="16410" y="111818"/>
                          <a:pt x="17435" y="113181"/>
                          <a:pt x="17435" y="111818"/>
                        </a:cubicBezTo>
                        <a:cubicBezTo>
                          <a:pt x="17435" y="110454"/>
                          <a:pt x="17435" y="110454"/>
                          <a:pt x="17435" y="110454"/>
                        </a:cubicBezTo>
                        <a:cubicBezTo>
                          <a:pt x="16410" y="109090"/>
                          <a:pt x="16410" y="109090"/>
                          <a:pt x="16410" y="109090"/>
                        </a:cubicBezTo>
                        <a:cubicBezTo>
                          <a:pt x="16410" y="109090"/>
                          <a:pt x="17435" y="107727"/>
                          <a:pt x="17435" y="107727"/>
                        </a:cubicBezTo>
                        <a:cubicBezTo>
                          <a:pt x="18461" y="107727"/>
                          <a:pt x="19487" y="107727"/>
                          <a:pt x="19487" y="107727"/>
                        </a:cubicBezTo>
                        <a:cubicBezTo>
                          <a:pt x="20512" y="107727"/>
                          <a:pt x="21538" y="107727"/>
                          <a:pt x="21538" y="107727"/>
                        </a:cubicBezTo>
                        <a:cubicBezTo>
                          <a:pt x="21538" y="107727"/>
                          <a:pt x="21538" y="107727"/>
                          <a:pt x="22564" y="106363"/>
                        </a:cubicBezTo>
                        <a:cubicBezTo>
                          <a:pt x="22564" y="106363"/>
                          <a:pt x="18461" y="106363"/>
                          <a:pt x="17435" y="105000"/>
                        </a:cubicBezTo>
                        <a:cubicBezTo>
                          <a:pt x="15384" y="102272"/>
                          <a:pt x="13333" y="100909"/>
                          <a:pt x="13333" y="95454"/>
                        </a:cubicBezTo>
                        <a:cubicBezTo>
                          <a:pt x="12307" y="95454"/>
                          <a:pt x="12307" y="92727"/>
                          <a:pt x="11282" y="92727"/>
                        </a:cubicBezTo>
                        <a:cubicBezTo>
                          <a:pt x="11282" y="92727"/>
                          <a:pt x="9230" y="91363"/>
                          <a:pt x="9230" y="91363"/>
                        </a:cubicBezTo>
                        <a:cubicBezTo>
                          <a:pt x="9230" y="90000"/>
                          <a:pt x="9230" y="90000"/>
                          <a:pt x="10256" y="88636"/>
                        </a:cubicBezTo>
                        <a:cubicBezTo>
                          <a:pt x="10256" y="87272"/>
                          <a:pt x="10256" y="87272"/>
                          <a:pt x="11282" y="85909"/>
                        </a:cubicBezTo>
                        <a:cubicBezTo>
                          <a:pt x="11282" y="85909"/>
                          <a:pt x="11282" y="83181"/>
                          <a:pt x="11282" y="83181"/>
                        </a:cubicBezTo>
                        <a:cubicBezTo>
                          <a:pt x="11282" y="83181"/>
                          <a:pt x="12307" y="81818"/>
                          <a:pt x="11282" y="81818"/>
                        </a:cubicBezTo>
                        <a:cubicBezTo>
                          <a:pt x="11282" y="80454"/>
                          <a:pt x="10256" y="79090"/>
                          <a:pt x="10256" y="79090"/>
                        </a:cubicBezTo>
                        <a:cubicBezTo>
                          <a:pt x="10256" y="79090"/>
                          <a:pt x="10256" y="79090"/>
                          <a:pt x="9230" y="79090"/>
                        </a:cubicBezTo>
                        <a:cubicBezTo>
                          <a:pt x="9230" y="80454"/>
                          <a:pt x="9230" y="80454"/>
                          <a:pt x="9230" y="80454"/>
                        </a:cubicBezTo>
                        <a:cubicBezTo>
                          <a:pt x="7179" y="81818"/>
                          <a:pt x="7179" y="81818"/>
                          <a:pt x="7179" y="81818"/>
                        </a:cubicBezTo>
                        <a:cubicBezTo>
                          <a:pt x="7179" y="81818"/>
                          <a:pt x="6153" y="79090"/>
                          <a:pt x="6153" y="79090"/>
                        </a:cubicBezTo>
                        <a:cubicBezTo>
                          <a:pt x="5128" y="79090"/>
                          <a:pt x="5128" y="79090"/>
                          <a:pt x="5128" y="77727"/>
                        </a:cubicBezTo>
                        <a:cubicBezTo>
                          <a:pt x="5128" y="77727"/>
                          <a:pt x="6153" y="76363"/>
                          <a:pt x="6153" y="76363"/>
                        </a:cubicBezTo>
                        <a:cubicBezTo>
                          <a:pt x="6153" y="76363"/>
                          <a:pt x="5128" y="75000"/>
                          <a:pt x="5128" y="75000"/>
                        </a:cubicBezTo>
                        <a:cubicBezTo>
                          <a:pt x="5128" y="75000"/>
                          <a:pt x="6153" y="72272"/>
                          <a:pt x="7179" y="72272"/>
                        </a:cubicBezTo>
                        <a:cubicBezTo>
                          <a:pt x="8205" y="70909"/>
                          <a:pt x="10256" y="68181"/>
                          <a:pt x="10256" y="68181"/>
                        </a:cubicBezTo>
                        <a:cubicBezTo>
                          <a:pt x="11282" y="65454"/>
                          <a:pt x="11282" y="65454"/>
                          <a:pt x="11282" y="65454"/>
                        </a:cubicBezTo>
                        <a:cubicBezTo>
                          <a:pt x="10256" y="64090"/>
                          <a:pt x="10256" y="64090"/>
                          <a:pt x="10256" y="64090"/>
                        </a:cubicBezTo>
                        <a:cubicBezTo>
                          <a:pt x="10256" y="64090"/>
                          <a:pt x="9230" y="65454"/>
                          <a:pt x="9230" y="6545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6" name="Shape 2021"/>
                  <p:cNvSpPr/>
                  <p:nvPr/>
                </p:nvSpPr>
                <p:spPr>
                  <a:xfrm>
                    <a:off x="5338203" y="3253211"/>
                    <a:ext cx="517832" cy="466653"/>
                  </a:xfrm>
                  <a:custGeom>
                    <a:avLst/>
                    <a:gdLst/>
                    <a:ahLst/>
                    <a:cxnLst/>
                    <a:rect l="0" t="0" r="0" b="0"/>
                    <a:pathLst>
                      <a:path w="120000" h="120000" extrusionOk="0">
                        <a:moveTo>
                          <a:pt x="113656" y="46635"/>
                        </a:moveTo>
                        <a:cubicBezTo>
                          <a:pt x="113656" y="45497"/>
                          <a:pt x="113127" y="44928"/>
                          <a:pt x="114185" y="44360"/>
                        </a:cubicBezTo>
                        <a:cubicBezTo>
                          <a:pt x="114713" y="44360"/>
                          <a:pt x="115242" y="45497"/>
                          <a:pt x="115242" y="44360"/>
                        </a:cubicBezTo>
                        <a:cubicBezTo>
                          <a:pt x="115242" y="43222"/>
                          <a:pt x="115770" y="43791"/>
                          <a:pt x="115242" y="42654"/>
                        </a:cubicBezTo>
                        <a:cubicBezTo>
                          <a:pt x="115242" y="42654"/>
                          <a:pt x="115242" y="42654"/>
                          <a:pt x="115242" y="42654"/>
                        </a:cubicBezTo>
                        <a:cubicBezTo>
                          <a:pt x="115242" y="42654"/>
                          <a:pt x="115242" y="42654"/>
                          <a:pt x="115242" y="42654"/>
                        </a:cubicBezTo>
                        <a:cubicBezTo>
                          <a:pt x="115242" y="42654"/>
                          <a:pt x="115242" y="43791"/>
                          <a:pt x="114713" y="43791"/>
                        </a:cubicBezTo>
                        <a:cubicBezTo>
                          <a:pt x="114713" y="43791"/>
                          <a:pt x="114185" y="44360"/>
                          <a:pt x="113656" y="44360"/>
                        </a:cubicBezTo>
                        <a:cubicBezTo>
                          <a:pt x="113127" y="43791"/>
                          <a:pt x="113127" y="43791"/>
                          <a:pt x="113127" y="43791"/>
                        </a:cubicBezTo>
                        <a:cubicBezTo>
                          <a:pt x="114185" y="42654"/>
                          <a:pt x="114185" y="42654"/>
                          <a:pt x="114185" y="42654"/>
                        </a:cubicBezTo>
                        <a:cubicBezTo>
                          <a:pt x="114185" y="40379"/>
                          <a:pt x="114185" y="40379"/>
                          <a:pt x="114185" y="40379"/>
                        </a:cubicBezTo>
                        <a:cubicBezTo>
                          <a:pt x="114185" y="40379"/>
                          <a:pt x="113656" y="39241"/>
                          <a:pt x="113127" y="38104"/>
                        </a:cubicBezTo>
                        <a:cubicBezTo>
                          <a:pt x="112599" y="37535"/>
                          <a:pt x="112070" y="36966"/>
                          <a:pt x="112070" y="36966"/>
                        </a:cubicBezTo>
                        <a:cubicBezTo>
                          <a:pt x="113656" y="35829"/>
                          <a:pt x="113656" y="35829"/>
                          <a:pt x="113656" y="35829"/>
                        </a:cubicBezTo>
                        <a:cubicBezTo>
                          <a:pt x="114185" y="35260"/>
                          <a:pt x="114185" y="35260"/>
                          <a:pt x="114185" y="35260"/>
                        </a:cubicBezTo>
                        <a:cubicBezTo>
                          <a:pt x="114185" y="34691"/>
                          <a:pt x="114185" y="34691"/>
                          <a:pt x="114185" y="34691"/>
                        </a:cubicBezTo>
                        <a:cubicBezTo>
                          <a:pt x="114185" y="34691"/>
                          <a:pt x="115242" y="35829"/>
                          <a:pt x="116299" y="35829"/>
                        </a:cubicBezTo>
                        <a:cubicBezTo>
                          <a:pt x="116828" y="35829"/>
                          <a:pt x="116299" y="35829"/>
                          <a:pt x="117356" y="35260"/>
                        </a:cubicBezTo>
                        <a:cubicBezTo>
                          <a:pt x="118414" y="35260"/>
                          <a:pt x="120000" y="33554"/>
                          <a:pt x="120000" y="33554"/>
                        </a:cubicBezTo>
                        <a:cubicBezTo>
                          <a:pt x="120000" y="33554"/>
                          <a:pt x="118942" y="32417"/>
                          <a:pt x="118414" y="32417"/>
                        </a:cubicBezTo>
                        <a:cubicBezTo>
                          <a:pt x="117885" y="32985"/>
                          <a:pt x="118414" y="32985"/>
                          <a:pt x="116828" y="32985"/>
                        </a:cubicBezTo>
                        <a:cubicBezTo>
                          <a:pt x="115242" y="32417"/>
                          <a:pt x="114713" y="31848"/>
                          <a:pt x="114713" y="31848"/>
                        </a:cubicBezTo>
                        <a:cubicBezTo>
                          <a:pt x="114713" y="31848"/>
                          <a:pt x="114185" y="31848"/>
                          <a:pt x="113656" y="31848"/>
                        </a:cubicBezTo>
                        <a:cubicBezTo>
                          <a:pt x="113127" y="31848"/>
                          <a:pt x="113127" y="31848"/>
                          <a:pt x="112599" y="31279"/>
                        </a:cubicBezTo>
                        <a:cubicBezTo>
                          <a:pt x="111541" y="30142"/>
                          <a:pt x="110484" y="29004"/>
                          <a:pt x="110484" y="29004"/>
                        </a:cubicBezTo>
                        <a:cubicBezTo>
                          <a:pt x="110484" y="29004"/>
                          <a:pt x="109427" y="29573"/>
                          <a:pt x="109427" y="29004"/>
                        </a:cubicBezTo>
                        <a:cubicBezTo>
                          <a:pt x="109427" y="29004"/>
                          <a:pt x="109955" y="27867"/>
                          <a:pt x="109955" y="27867"/>
                        </a:cubicBezTo>
                        <a:cubicBezTo>
                          <a:pt x="109955" y="27298"/>
                          <a:pt x="109955" y="27298"/>
                          <a:pt x="109955" y="27298"/>
                        </a:cubicBezTo>
                        <a:cubicBezTo>
                          <a:pt x="109427" y="26729"/>
                          <a:pt x="109427" y="26729"/>
                          <a:pt x="109427" y="26729"/>
                        </a:cubicBezTo>
                        <a:cubicBezTo>
                          <a:pt x="109427" y="26729"/>
                          <a:pt x="110484" y="26729"/>
                          <a:pt x="110484" y="26729"/>
                        </a:cubicBezTo>
                        <a:cubicBezTo>
                          <a:pt x="111013" y="26161"/>
                          <a:pt x="111013" y="26161"/>
                          <a:pt x="111013" y="26161"/>
                        </a:cubicBezTo>
                        <a:cubicBezTo>
                          <a:pt x="112070" y="25023"/>
                          <a:pt x="111013" y="23886"/>
                          <a:pt x="109427" y="24454"/>
                        </a:cubicBezTo>
                        <a:cubicBezTo>
                          <a:pt x="108898" y="24454"/>
                          <a:pt x="108370" y="25023"/>
                          <a:pt x="108370" y="25023"/>
                        </a:cubicBezTo>
                        <a:cubicBezTo>
                          <a:pt x="107841" y="25023"/>
                          <a:pt x="106784" y="24454"/>
                          <a:pt x="106784" y="23886"/>
                        </a:cubicBezTo>
                        <a:cubicBezTo>
                          <a:pt x="106784" y="23317"/>
                          <a:pt x="106255" y="23317"/>
                          <a:pt x="107312" y="22748"/>
                        </a:cubicBezTo>
                        <a:cubicBezTo>
                          <a:pt x="107841" y="22748"/>
                          <a:pt x="108370" y="21611"/>
                          <a:pt x="108370" y="21611"/>
                        </a:cubicBezTo>
                        <a:cubicBezTo>
                          <a:pt x="107312" y="19905"/>
                          <a:pt x="107312" y="19905"/>
                          <a:pt x="107312" y="19905"/>
                        </a:cubicBezTo>
                        <a:cubicBezTo>
                          <a:pt x="107841" y="16492"/>
                          <a:pt x="107841" y="16492"/>
                          <a:pt x="107841" y="16492"/>
                        </a:cubicBezTo>
                        <a:cubicBezTo>
                          <a:pt x="105726" y="15924"/>
                          <a:pt x="105726" y="15924"/>
                          <a:pt x="105726" y="15924"/>
                        </a:cubicBezTo>
                        <a:cubicBezTo>
                          <a:pt x="105726" y="14786"/>
                          <a:pt x="105726" y="14786"/>
                          <a:pt x="105726" y="14786"/>
                        </a:cubicBezTo>
                        <a:cubicBezTo>
                          <a:pt x="104669" y="14218"/>
                          <a:pt x="104669" y="14218"/>
                          <a:pt x="104669" y="14218"/>
                        </a:cubicBezTo>
                        <a:cubicBezTo>
                          <a:pt x="103612" y="17061"/>
                          <a:pt x="103612" y="17061"/>
                          <a:pt x="103612" y="17061"/>
                        </a:cubicBezTo>
                        <a:cubicBezTo>
                          <a:pt x="103612" y="17061"/>
                          <a:pt x="102026" y="17630"/>
                          <a:pt x="102026" y="18199"/>
                        </a:cubicBezTo>
                        <a:cubicBezTo>
                          <a:pt x="101497" y="18767"/>
                          <a:pt x="98854" y="18767"/>
                          <a:pt x="98854" y="18767"/>
                        </a:cubicBezTo>
                        <a:cubicBezTo>
                          <a:pt x="96740" y="18767"/>
                          <a:pt x="96740" y="18767"/>
                          <a:pt x="96740" y="18767"/>
                        </a:cubicBezTo>
                        <a:cubicBezTo>
                          <a:pt x="93039" y="19905"/>
                          <a:pt x="93039" y="19905"/>
                          <a:pt x="93039" y="19905"/>
                        </a:cubicBezTo>
                        <a:cubicBezTo>
                          <a:pt x="93039" y="19905"/>
                          <a:pt x="91982" y="20473"/>
                          <a:pt x="91453" y="20473"/>
                        </a:cubicBezTo>
                        <a:cubicBezTo>
                          <a:pt x="90925" y="20473"/>
                          <a:pt x="88281" y="19905"/>
                          <a:pt x="88281" y="19905"/>
                        </a:cubicBezTo>
                        <a:cubicBezTo>
                          <a:pt x="86696" y="20473"/>
                          <a:pt x="86696" y="20473"/>
                          <a:pt x="86696" y="20473"/>
                        </a:cubicBezTo>
                        <a:cubicBezTo>
                          <a:pt x="82995" y="19336"/>
                          <a:pt x="82995" y="19336"/>
                          <a:pt x="82995" y="19336"/>
                        </a:cubicBezTo>
                        <a:cubicBezTo>
                          <a:pt x="81938" y="18199"/>
                          <a:pt x="81938" y="18199"/>
                          <a:pt x="81938" y="18199"/>
                        </a:cubicBezTo>
                        <a:cubicBezTo>
                          <a:pt x="81409" y="17630"/>
                          <a:pt x="81409" y="17630"/>
                          <a:pt x="81409" y="17630"/>
                        </a:cubicBezTo>
                        <a:cubicBezTo>
                          <a:pt x="78766" y="17061"/>
                          <a:pt x="78766" y="17061"/>
                          <a:pt x="78766" y="17061"/>
                        </a:cubicBezTo>
                        <a:cubicBezTo>
                          <a:pt x="78237" y="15924"/>
                          <a:pt x="78237" y="15924"/>
                          <a:pt x="78237" y="15924"/>
                        </a:cubicBezTo>
                        <a:cubicBezTo>
                          <a:pt x="76123" y="15924"/>
                          <a:pt x="76123" y="15924"/>
                          <a:pt x="76123" y="15924"/>
                        </a:cubicBezTo>
                        <a:cubicBezTo>
                          <a:pt x="76123" y="15924"/>
                          <a:pt x="76123" y="15924"/>
                          <a:pt x="76123" y="15924"/>
                        </a:cubicBezTo>
                        <a:cubicBezTo>
                          <a:pt x="76123" y="15924"/>
                          <a:pt x="76123" y="15924"/>
                          <a:pt x="76123" y="15924"/>
                        </a:cubicBezTo>
                        <a:cubicBezTo>
                          <a:pt x="75066" y="15355"/>
                          <a:pt x="75066" y="15355"/>
                          <a:pt x="75066" y="15355"/>
                        </a:cubicBezTo>
                        <a:cubicBezTo>
                          <a:pt x="75066" y="14786"/>
                          <a:pt x="75066" y="14786"/>
                          <a:pt x="75066" y="14786"/>
                        </a:cubicBezTo>
                        <a:cubicBezTo>
                          <a:pt x="74537" y="14786"/>
                          <a:pt x="74537" y="14786"/>
                          <a:pt x="74537" y="14218"/>
                        </a:cubicBezTo>
                        <a:cubicBezTo>
                          <a:pt x="74008" y="13649"/>
                          <a:pt x="74008" y="13649"/>
                          <a:pt x="74008" y="13649"/>
                        </a:cubicBezTo>
                        <a:cubicBezTo>
                          <a:pt x="71365" y="10236"/>
                          <a:pt x="71365" y="10236"/>
                          <a:pt x="71365" y="10236"/>
                        </a:cubicBezTo>
                        <a:cubicBezTo>
                          <a:pt x="70837" y="10236"/>
                          <a:pt x="70837" y="10236"/>
                          <a:pt x="70837" y="10236"/>
                        </a:cubicBezTo>
                        <a:cubicBezTo>
                          <a:pt x="70837" y="10236"/>
                          <a:pt x="70837" y="10236"/>
                          <a:pt x="70837" y="10236"/>
                        </a:cubicBezTo>
                        <a:cubicBezTo>
                          <a:pt x="66079" y="8530"/>
                          <a:pt x="66079" y="8530"/>
                          <a:pt x="66079" y="8530"/>
                        </a:cubicBezTo>
                        <a:cubicBezTo>
                          <a:pt x="64493" y="6255"/>
                          <a:pt x="64493" y="6255"/>
                          <a:pt x="64493" y="6255"/>
                        </a:cubicBezTo>
                        <a:cubicBezTo>
                          <a:pt x="62907" y="5118"/>
                          <a:pt x="62907" y="5118"/>
                          <a:pt x="62907" y="5118"/>
                        </a:cubicBezTo>
                        <a:cubicBezTo>
                          <a:pt x="60792" y="3412"/>
                          <a:pt x="60792" y="3412"/>
                          <a:pt x="60792" y="3412"/>
                        </a:cubicBezTo>
                        <a:cubicBezTo>
                          <a:pt x="58678" y="1706"/>
                          <a:pt x="58678" y="1706"/>
                          <a:pt x="58678" y="1706"/>
                        </a:cubicBezTo>
                        <a:cubicBezTo>
                          <a:pt x="57621" y="568"/>
                          <a:pt x="57621" y="568"/>
                          <a:pt x="57621" y="568"/>
                        </a:cubicBezTo>
                        <a:cubicBezTo>
                          <a:pt x="57621" y="568"/>
                          <a:pt x="57621" y="568"/>
                          <a:pt x="57621" y="568"/>
                        </a:cubicBezTo>
                        <a:cubicBezTo>
                          <a:pt x="57621" y="568"/>
                          <a:pt x="57092" y="0"/>
                          <a:pt x="57092" y="0"/>
                        </a:cubicBezTo>
                        <a:cubicBezTo>
                          <a:pt x="57092" y="0"/>
                          <a:pt x="56563" y="0"/>
                          <a:pt x="56563" y="0"/>
                        </a:cubicBezTo>
                        <a:cubicBezTo>
                          <a:pt x="56035" y="0"/>
                          <a:pt x="54977" y="0"/>
                          <a:pt x="54977" y="0"/>
                        </a:cubicBezTo>
                        <a:cubicBezTo>
                          <a:pt x="54977" y="0"/>
                          <a:pt x="54449" y="568"/>
                          <a:pt x="53920" y="568"/>
                        </a:cubicBezTo>
                        <a:cubicBezTo>
                          <a:pt x="53920" y="568"/>
                          <a:pt x="53392" y="1706"/>
                          <a:pt x="53392" y="1706"/>
                        </a:cubicBezTo>
                        <a:cubicBezTo>
                          <a:pt x="52863" y="2274"/>
                          <a:pt x="52863" y="2274"/>
                          <a:pt x="52863" y="2274"/>
                        </a:cubicBezTo>
                        <a:cubicBezTo>
                          <a:pt x="53392" y="2843"/>
                          <a:pt x="53392" y="2843"/>
                          <a:pt x="53392" y="2843"/>
                        </a:cubicBezTo>
                        <a:cubicBezTo>
                          <a:pt x="54449" y="5118"/>
                          <a:pt x="54977" y="5118"/>
                          <a:pt x="52334" y="4549"/>
                        </a:cubicBezTo>
                        <a:cubicBezTo>
                          <a:pt x="51277" y="3981"/>
                          <a:pt x="51277" y="3981"/>
                          <a:pt x="51277" y="3981"/>
                        </a:cubicBezTo>
                        <a:cubicBezTo>
                          <a:pt x="50748" y="4549"/>
                          <a:pt x="50748" y="4549"/>
                          <a:pt x="50748" y="4549"/>
                        </a:cubicBezTo>
                        <a:cubicBezTo>
                          <a:pt x="49691" y="5118"/>
                          <a:pt x="49691" y="5118"/>
                          <a:pt x="49691" y="5118"/>
                        </a:cubicBezTo>
                        <a:cubicBezTo>
                          <a:pt x="49691" y="5118"/>
                          <a:pt x="49691" y="5118"/>
                          <a:pt x="49691" y="5118"/>
                        </a:cubicBezTo>
                        <a:cubicBezTo>
                          <a:pt x="49691" y="5118"/>
                          <a:pt x="49691" y="6255"/>
                          <a:pt x="49691" y="6255"/>
                        </a:cubicBezTo>
                        <a:cubicBezTo>
                          <a:pt x="49162" y="7393"/>
                          <a:pt x="49162" y="7393"/>
                          <a:pt x="49162" y="7393"/>
                        </a:cubicBezTo>
                        <a:cubicBezTo>
                          <a:pt x="48105" y="7962"/>
                          <a:pt x="48105" y="7962"/>
                          <a:pt x="48105" y="7962"/>
                        </a:cubicBezTo>
                        <a:cubicBezTo>
                          <a:pt x="47048" y="8530"/>
                          <a:pt x="47048" y="8530"/>
                          <a:pt x="47048" y="8530"/>
                        </a:cubicBezTo>
                        <a:cubicBezTo>
                          <a:pt x="46519" y="9099"/>
                          <a:pt x="46519" y="9099"/>
                          <a:pt x="46519" y="9099"/>
                        </a:cubicBezTo>
                        <a:cubicBezTo>
                          <a:pt x="45462" y="9099"/>
                          <a:pt x="45462" y="9099"/>
                          <a:pt x="45462" y="9099"/>
                        </a:cubicBezTo>
                        <a:cubicBezTo>
                          <a:pt x="44405" y="9668"/>
                          <a:pt x="44405" y="9668"/>
                          <a:pt x="44405" y="9668"/>
                        </a:cubicBezTo>
                        <a:cubicBezTo>
                          <a:pt x="43876" y="10805"/>
                          <a:pt x="43876" y="10805"/>
                          <a:pt x="43876" y="10805"/>
                        </a:cubicBezTo>
                        <a:cubicBezTo>
                          <a:pt x="43876" y="10805"/>
                          <a:pt x="42819" y="10805"/>
                          <a:pt x="42819" y="10805"/>
                        </a:cubicBezTo>
                        <a:cubicBezTo>
                          <a:pt x="42819" y="10805"/>
                          <a:pt x="41233" y="11374"/>
                          <a:pt x="41233" y="11374"/>
                        </a:cubicBezTo>
                        <a:cubicBezTo>
                          <a:pt x="41233" y="12511"/>
                          <a:pt x="41233" y="12511"/>
                          <a:pt x="41233" y="12511"/>
                        </a:cubicBezTo>
                        <a:cubicBezTo>
                          <a:pt x="41233" y="12511"/>
                          <a:pt x="40704" y="13080"/>
                          <a:pt x="40704" y="13080"/>
                        </a:cubicBezTo>
                        <a:cubicBezTo>
                          <a:pt x="40704" y="13080"/>
                          <a:pt x="40704" y="14786"/>
                          <a:pt x="40704" y="14786"/>
                        </a:cubicBezTo>
                        <a:cubicBezTo>
                          <a:pt x="40704" y="14786"/>
                          <a:pt x="41762" y="15355"/>
                          <a:pt x="41762" y="15355"/>
                        </a:cubicBezTo>
                        <a:cubicBezTo>
                          <a:pt x="42290" y="15924"/>
                          <a:pt x="42290" y="15924"/>
                          <a:pt x="42290" y="15924"/>
                        </a:cubicBezTo>
                        <a:cubicBezTo>
                          <a:pt x="42819" y="16492"/>
                          <a:pt x="42819" y="16492"/>
                          <a:pt x="42819" y="16492"/>
                        </a:cubicBezTo>
                        <a:cubicBezTo>
                          <a:pt x="42819" y="16492"/>
                          <a:pt x="43348" y="17061"/>
                          <a:pt x="43348" y="17061"/>
                        </a:cubicBezTo>
                        <a:cubicBezTo>
                          <a:pt x="42819" y="17061"/>
                          <a:pt x="42819" y="18767"/>
                          <a:pt x="42819" y="18767"/>
                        </a:cubicBezTo>
                        <a:cubicBezTo>
                          <a:pt x="43348" y="20473"/>
                          <a:pt x="43348" y="20473"/>
                          <a:pt x="43348" y="20473"/>
                        </a:cubicBezTo>
                        <a:cubicBezTo>
                          <a:pt x="42819" y="21042"/>
                          <a:pt x="42819" y="21042"/>
                          <a:pt x="42819" y="21042"/>
                        </a:cubicBezTo>
                        <a:cubicBezTo>
                          <a:pt x="43348" y="22180"/>
                          <a:pt x="43348" y="22180"/>
                          <a:pt x="43348" y="22180"/>
                        </a:cubicBezTo>
                        <a:cubicBezTo>
                          <a:pt x="43348" y="22180"/>
                          <a:pt x="43876" y="22180"/>
                          <a:pt x="43348" y="22748"/>
                        </a:cubicBezTo>
                        <a:cubicBezTo>
                          <a:pt x="42819" y="22748"/>
                          <a:pt x="42290" y="23317"/>
                          <a:pt x="42290" y="23317"/>
                        </a:cubicBezTo>
                        <a:cubicBezTo>
                          <a:pt x="42290" y="23317"/>
                          <a:pt x="41233" y="23317"/>
                          <a:pt x="41233" y="23317"/>
                        </a:cubicBezTo>
                        <a:cubicBezTo>
                          <a:pt x="41233" y="23317"/>
                          <a:pt x="40176" y="23317"/>
                          <a:pt x="40176" y="23317"/>
                        </a:cubicBezTo>
                        <a:cubicBezTo>
                          <a:pt x="39647" y="24454"/>
                          <a:pt x="39647" y="24454"/>
                          <a:pt x="39647" y="24454"/>
                        </a:cubicBezTo>
                        <a:cubicBezTo>
                          <a:pt x="38590" y="23886"/>
                          <a:pt x="38590" y="23886"/>
                          <a:pt x="38590" y="23886"/>
                        </a:cubicBezTo>
                        <a:cubicBezTo>
                          <a:pt x="38590" y="25023"/>
                          <a:pt x="38590" y="25023"/>
                          <a:pt x="38590" y="25023"/>
                        </a:cubicBezTo>
                        <a:cubicBezTo>
                          <a:pt x="37004" y="25592"/>
                          <a:pt x="37004" y="25592"/>
                          <a:pt x="37004" y="25592"/>
                        </a:cubicBezTo>
                        <a:cubicBezTo>
                          <a:pt x="35947" y="26161"/>
                          <a:pt x="35947" y="26161"/>
                          <a:pt x="35947" y="26161"/>
                        </a:cubicBezTo>
                        <a:cubicBezTo>
                          <a:pt x="35418" y="27298"/>
                          <a:pt x="35418" y="27298"/>
                          <a:pt x="35418" y="27298"/>
                        </a:cubicBezTo>
                        <a:cubicBezTo>
                          <a:pt x="35947" y="27867"/>
                          <a:pt x="35947" y="27867"/>
                          <a:pt x="35947" y="27867"/>
                        </a:cubicBezTo>
                        <a:cubicBezTo>
                          <a:pt x="35947" y="27867"/>
                          <a:pt x="36475" y="28436"/>
                          <a:pt x="36475" y="27867"/>
                        </a:cubicBezTo>
                        <a:cubicBezTo>
                          <a:pt x="36475" y="27867"/>
                          <a:pt x="36475" y="27298"/>
                          <a:pt x="36475" y="27298"/>
                        </a:cubicBezTo>
                        <a:cubicBezTo>
                          <a:pt x="37004" y="27867"/>
                          <a:pt x="37533" y="28436"/>
                          <a:pt x="37533" y="28436"/>
                        </a:cubicBezTo>
                        <a:cubicBezTo>
                          <a:pt x="38061" y="29573"/>
                          <a:pt x="38061" y="29573"/>
                          <a:pt x="38061" y="29573"/>
                        </a:cubicBezTo>
                        <a:cubicBezTo>
                          <a:pt x="38061" y="29573"/>
                          <a:pt x="37004" y="29573"/>
                          <a:pt x="37004" y="29573"/>
                        </a:cubicBezTo>
                        <a:cubicBezTo>
                          <a:pt x="37004" y="29573"/>
                          <a:pt x="36475" y="30142"/>
                          <a:pt x="36475" y="30142"/>
                        </a:cubicBezTo>
                        <a:cubicBezTo>
                          <a:pt x="35947" y="30710"/>
                          <a:pt x="35947" y="30710"/>
                          <a:pt x="35947" y="30710"/>
                        </a:cubicBezTo>
                        <a:cubicBezTo>
                          <a:pt x="35947" y="31279"/>
                          <a:pt x="35947" y="31279"/>
                          <a:pt x="35947" y="31848"/>
                        </a:cubicBezTo>
                        <a:cubicBezTo>
                          <a:pt x="35947" y="31848"/>
                          <a:pt x="35947" y="32417"/>
                          <a:pt x="35947" y="32417"/>
                        </a:cubicBezTo>
                        <a:cubicBezTo>
                          <a:pt x="36475" y="32417"/>
                          <a:pt x="37004" y="33554"/>
                          <a:pt x="37004" y="33554"/>
                        </a:cubicBezTo>
                        <a:cubicBezTo>
                          <a:pt x="37004" y="33554"/>
                          <a:pt x="37533" y="34123"/>
                          <a:pt x="37533" y="34123"/>
                        </a:cubicBezTo>
                        <a:cubicBezTo>
                          <a:pt x="37533" y="34123"/>
                          <a:pt x="37533" y="34691"/>
                          <a:pt x="37533" y="34691"/>
                        </a:cubicBezTo>
                        <a:cubicBezTo>
                          <a:pt x="37533" y="34691"/>
                          <a:pt x="37004" y="35260"/>
                          <a:pt x="36475" y="35260"/>
                        </a:cubicBezTo>
                        <a:cubicBezTo>
                          <a:pt x="36475" y="35260"/>
                          <a:pt x="35418" y="35260"/>
                          <a:pt x="35418" y="35260"/>
                        </a:cubicBezTo>
                        <a:cubicBezTo>
                          <a:pt x="35418" y="35260"/>
                          <a:pt x="34889" y="36398"/>
                          <a:pt x="34889" y="36398"/>
                        </a:cubicBezTo>
                        <a:cubicBezTo>
                          <a:pt x="34889" y="36398"/>
                          <a:pt x="34361" y="36398"/>
                          <a:pt x="33832" y="36398"/>
                        </a:cubicBezTo>
                        <a:cubicBezTo>
                          <a:pt x="33832" y="36398"/>
                          <a:pt x="34889" y="36966"/>
                          <a:pt x="33832" y="36398"/>
                        </a:cubicBezTo>
                        <a:cubicBezTo>
                          <a:pt x="32246" y="35829"/>
                          <a:pt x="32246" y="35260"/>
                          <a:pt x="32246" y="35260"/>
                        </a:cubicBezTo>
                        <a:cubicBezTo>
                          <a:pt x="32246" y="35260"/>
                          <a:pt x="31718" y="34691"/>
                          <a:pt x="31718" y="34691"/>
                        </a:cubicBezTo>
                        <a:cubicBezTo>
                          <a:pt x="31189" y="34691"/>
                          <a:pt x="30660" y="34691"/>
                          <a:pt x="30660" y="34691"/>
                        </a:cubicBezTo>
                        <a:cubicBezTo>
                          <a:pt x="29603" y="34691"/>
                          <a:pt x="29603" y="34691"/>
                          <a:pt x="29603" y="34691"/>
                        </a:cubicBezTo>
                        <a:cubicBezTo>
                          <a:pt x="29074" y="34123"/>
                          <a:pt x="29074" y="34123"/>
                          <a:pt x="29074" y="34123"/>
                        </a:cubicBezTo>
                        <a:cubicBezTo>
                          <a:pt x="28546" y="35260"/>
                          <a:pt x="28546" y="35260"/>
                          <a:pt x="28546" y="35260"/>
                        </a:cubicBezTo>
                        <a:cubicBezTo>
                          <a:pt x="28546" y="35260"/>
                          <a:pt x="28546" y="35829"/>
                          <a:pt x="28017" y="35829"/>
                        </a:cubicBezTo>
                        <a:cubicBezTo>
                          <a:pt x="27488" y="36398"/>
                          <a:pt x="28017" y="36398"/>
                          <a:pt x="27488" y="36398"/>
                        </a:cubicBezTo>
                        <a:cubicBezTo>
                          <a:pt x="26431" y="36398"/>
                          <a:pt x="25903" y="35260"/>
                          <a:pt x="25903" y="35260"/>
                        </a:cubicBezTo>
                        <a:cubicBezTo>
                          <a:pt x="25903" y="35260"/>
                          <a:pt x="24845" y="34691"/>
                          <a:pt x="24845" y="34691"/>
                        </a:cubicBezTo>
                        <a:cubicBezTo>
                          <a:pt x="24317" y="34123"/>
                          <a:pt x="24317" y="34123"/>
                          <a:pt x="24317" y="34123"/>
                        </a:cubicBezTo>
                        <a:cubicBezTo>
                          <a:pt x="23788" y="34123"/>
                          <a:pt x="23788" y="34691"/>
                          <a:pt x="23788" y="33554"/>
                        </a:cubicBezTo>
                        <a:cubicBezTo>
                          <a:pt x="23788" y="32985"/>
                          <a:pt x="23788" y="32985"/>
                          <a:pt x="23788" y="32985"/>
                        </a:cubicBezTo>
                        <a:cubicBezTo>
                          <a:pt x="23259" y="32417"/>
                          <a:pt x="23259" y="32985"/>
                          <a:pt x="22731" y="32417"/>
                        </a:cubicBezTo>
                        <a:cubicBezTo>
                          <a:pt x="22731" y="31848"/>
                          <a:pt x="22202" y="31279"/>
                          <a:pt x="22202" y="31279"/>
                        </a:cubicBezTo>
                        <a:cubicBezTo>
                          <a:pt x="21674" y="30142"/>
                          <a:pt x="21674" y="30142"/>
                          <a:pt x="21674" y="30142"/>
                        </a:cubicBezTo>
                        <a:cubicBezTo>
                          <a:pt x="21674" y="30142"/>
                          <a:pt x="21674" y="30142"/>
                          <a:pt x="21674" y="30710"/>
                        </a:cubicBezTo>
                        <a:cubicBezTo>
                          <a:pt x="21145" y="31279"/>
                          <a:pt x="20616" y="31279"/>
                          <a:pt x="20616" y="31279"/>
                        </a:cubicBezTo>
                        <a:cubicBezTo>
                          <a:pt x="20616" y="31848"/>
                          <a:pt x="20088" y="32417"/>
                          <a:pt x="20088" y="32417"/>
                        </a:cubicBezTo>
                        <a:cubicBezTo>
                          <a:pt x="20088" y="32417"/>
                          <a:pt x="19559" y="32985"/>
                          <a:pt x="19559" y="33554"/>
                        </a:cubicBezTo>
                        <a:cubicBezTo>
                          <a:pt x="20088" y="33554"/>
                          <a:pt x="20088" y="33554"/>
                          <a:pt x="20088" y="34123"/>
                        </a:cubicBezTo>
                        <a:cubicBezTo>
                          <a:pt x="20088" y="34123"/>
                          <a:pt x="19559" y="34691"/>
                          <a:pt x="19559" y="34691"/>
                        </a:cubicBezTo>
                        <a:cubicBezTo>
                          <a:pt x="19030" y="35260"/>
                          <a:pt x="19030" y="35260"/>
                          <a:pt x="18502" y="35260"/>
                        </a:cubicBezTo>
                        <a:cubicBezTo>
                          <a:pt x="18502" y="35829"/>
                          <a:pt x="17444" y="36398"/>
                          <a:pt x="17444" y="36398"/>
                        </a:cubicBezTo>
                        <a:cubicBezTo>
                          <a:pt x="16387" y="36398"/>
                          <a:pt x="16387" y="36398"/>
                          <a:pt x="16387" y="36398"/>
                        </a:cubicBezTo>
                        <a:cubicBezTo>
                          <a:pt x="14801" y="35829"/>
                          <a:pt x="14801" y="35829"/>
                          <a:pt x="14801" y="35829"/>
                        </a:cubicBezTo>
                        <a:cubicBezTo>
                          <a:pt x="13744" y="36966"/>
                          <a:pt x="13744" y="36966"/>
                          <a:pt x="13744" y="36966"/>
                        </a:cubicBezTo>
                        <a:cubicBezTo>
                          <a:pt x="13744" y="36966"/>
                          <a:pt x="13215" y="36966"/>
                          <a:pt x="13215" y="36966"/>
                        </a:cubicBezTo>
                        <a:cubicBezTo>
                          <a:pt x="12687" y="36966"/>
                          <a:pt x="12158" y="36966"/>
                          <a:pt x="12158" y="36966"/>
                        </a:cubicBezTo>
                        <a:cubicBezTo>
                          <a:pt x="12158" y="36966"/>
                          <a:pt x="11629" y="36398"/>
                          <a:pt x="11101" y="36398"/>
                        </a:cubicBezTo>
                        <a:cubicBezTo>
                          <a:pt x="11101" y="36398"/>
                          <a:pt x="10572" y="36398"/>
                          <a:pt x="10572" y="36398"/>
                        </a:cubicBezTo>
                        <a:cubicBezTo>
                          <a:pt x="10044" y="36398"/>
                          <a:pt x="9515" y="36398"/>
                          <a:pt x="9515" y="36398"/>
                        </a:cubicBezTo>
                        <a:cubicBezTo>
                          <a:pt x="9515" y="36966"/>
                          <a:pt x="9515" y="36966"/>
                          <a:pt x="9515" y="36966"/>
                        </a:cubicBezTo>
                        <a:cubicBezTo>
                          <a:pt x="9515" y="36966"/>
                          <a:pt x="10044" y="36966"/>
                          <a:pt x="10044" y="36966"/>
                        </a:cubicBezTo>
                        <a:cubicBezTo>
                          <a:pt x="10044" y="37535"/>
                          <a:pt x="10044" y="38104"/>
                          <a:pt x="10044" y="38104"/>
                        </a:cubicBezTo>
                        <a:cubicBezTo>
                          <a:pt x="10044" y="38104"/>
                          <a:pt x="9515" y="38104"/>
                          <a:pt x="9515" y="38104"/>
                        </a:cubicBezTo>
                        <a:cubicBezTo>
                          <a:pt x="9515" y="38672"/>
                          <a:pt x="8458" y="38672"/>
                          <a:pt x="8458" y="38672"/>
                        </a:cubicBezTo>
                        <a:cubicBezTo>
                          <a:pt x="8458" y="38672"/>
                          <a:pt x="8458" y="39241"/>
                          <a:pt x="8458" y="39241"/>
                        </a:cubicBezTo>
                        <a:cubicBezTo>
                          <a:pt x="8458" y="39241"/>
                          <a:pt x="8458" y="39241"/>
                          <a:pt x="7929" y="39241"/>
                        </a:cubicBezTo>
                        <a:cubicBezTo>
                          <a:pt x="7400" y="39241"/>
                          <a:pt x="7400" y="39241"/>
                          <a:pt x="6872" y="39241"/>
                        </a:cubicBezTo>
                        <a:cubicBezTo>
                          <a:pt x="6872" y="38672"/>
                          <a:pt x="6343" y="38672"/>
                          <a:pt x="5814" y="38672"/>
                        </a:cubicBezTo>
                        <a:cubicBezTo>
                          <a:pt x="5814" y="38672"/>
                          <a:pt x="4229" y="38104"/>
                          <a:pt x="4229" y="38104"/>
                        </a:cubicBezTo>
                        <a:cubicBezTo>
                          <a:pt x="4229" y="38104"/>
                          <a:pt x="3700" y="38672"/>
                          <a:pt x="3700" y="38672"/>
                        </a:cubicBezTo>
                        <a:cubicBezTo>
                          <a:pt x="3171" y="38672"/>
                          <a:pt x="2643" y="38672"/>
                          <a:pt x="2114" y="38104"/>
                        </a:cubicBezTo>
                        <a:cubicBezTo>
                          <a:pt x="2114"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6966"/>
                          <a:pt x="1585" y="36966"/>
                          <a:pt x="1585" y="36966"/>
                        </a:cubicBezTo>
                        <a:cubicBezTo>
                          <a:pt x="0" y="38104"/>
                          <a:pt x="0" y="38104"/>
                          <a:pt x="0" y="38104"/>
                        </a:cubicBezTo>
                        <a:cubicBezTo>
                          <a:pt x="1057" y="40379"/>
                          <a:pt x="1057" y="40379"/>
                          <a:pt x="1057" y="40379"/>
                        </a:cubicBezTo>
                        <a:cubicBezTo>
                          <a:pt x="528" y="40947"/>
                          <a:pt x="528" y="40947"/>
                          <a:pt x="528" y="40947"/>
                        </a:cubicBezTo>
                        <a:cubicBezTo>
                          <a:pt x="528" y="40947"/>
                          <a:pt x="1057" y="41516"/>
                          <a:pt x="1057" y="41516"/>
                        </a:cubicBezTo>
                        <a:cubicBezTo>
                          <a:pt x="1057" y="42085"/>
                          <a:pt x="1585" y="42085"/>
                          <a:pt x="1585" y="42654"/>
                        </a:cubicBezTo>
                        <a:cubicBezTo>
                          <a:pt x="1585" y="43222"/>
                          <a:pt x="1585" y="43791"/>
                          <a:pt x="1585" y="43791"/>
                        </a:cubicBezTo>
                        <a:cubicBezTo>
                          <a:pt x="2114" y="43791"/>
                          <a:pt x="2114" y="43791"/>
                          <a:pt x="2114" y="43791"/>
                        </a:cubicBezTo>
                        <a:cubicBezTo>
                          <a:pt x="2643" y="44928"/>
                          <a:pt x="2643" y="44928"/>
                          <a:pt x="2643" y="44928"/>
                        </a:cubicBezTo>
                        <a:cubicBezTo>
                          <a:pt x="2643" y="45497"/>
                          <a:pt x="2643" y="45497"/>
                          <a:pt x="2643" y="45497"/>
                        </a:cubicBezTo>
                        <a:cubicBezTo>
                          <a:pt x="2643" y="46635"/>
                          <a:pt x="2643" y="46635"/>
                          <a:pt x="2643" y="46635"/>
                        </a:cubicBezTo>
                        <a:cubicBezTo>
                          <a:pt x="2643" y="46635"/>
                          <a:pt x="3171" y="47203"/>
                          <a:pt x="3171" y="47772"/>
                        </a:cubicBezTo>
                        <a:cubicBezTo>
                          <a:pt x="3171" y="47772"/>
                          <a:pt x="3171" y="48341"/>
                          <a:pt x="3171" y="48909"/>
                        </a:cubicBezTo>
                        <a:cubicBezTo>
                          <a:pt x="3171" y="48909"/>
                          <a:pt x="4229" y="50047"/>
                          <a:pt x="4229" y="50047"/>
                        </a:cubicBezTo>
                        <a:cubicBezTo>
                          <a:pt x="4229" y="51184"/>
                          <a:pt x="4229" y="51184"/>
                          <a:pt x="4229" y="51184"/>
                        </a:cubicBezTo>
                        <a:cubicBezTo>
                          <a:pt x="4229" y="51184"/>
                          <a:pt x="4757" y="51753"/>
                          <a:pt x="5286" y="52322"/>
                        </a:cubicBezTo>
                        <a:cubicBezTo>
                          <a:pt x="5286" y="52322"/>
                          <a:pt x="5814" y="52890"/>
                          <a:pt x="5814" y="52890"/>
                        </a:cubicBezTo>
                        <a:cubicBezTo>
                          <a:pt x="6343" y="54028"/>
                          <a:pt x="6343" y="54028"/>
                          <a:pt x="6343" y="54028"/>
                        </a:cubicBezTo>
                        <a:cubicBezTo>
                          <a:pt x="6872" y="55165"/>
                          <a:pt x="6872" y="55165"/>
                          <a:pt x="6872" y="55165"/>
                        </a:cubicBezTo>
                        <a:cubicBezTo>
                          <a:pt x="7400" y="55734"/>
                          <a:pt x="7400" y="55734"/>
                          <a:pt x="7400" y="55734"/>
                        </a:cubicBezTo>
                        <a:cubicBezTo>
                          <a:pt x="7929" y="56872"/>
                          <a:pt x="7929" y="56872"/>
                          <a:pt x="7929" y="56872"/>
                        </a:cubicBezTo>
                        <a:cubicBezTo>
                          <a:pt x="8458" y="57440"/>
                          <a:pt x="8458" y="57440"/>
                          <a:pt x="8458" y="57440"/>
                        </a:cubicBezTo>
                        <a:cubicBezTo>
                          <a:pt x="8986" y="58009"/>
                          <a:pt x="8986" y="58009"/>
                          <a:pt x="8986" y="58009"/>
                        </a:cubicBezTo>
                        <a:cubicBezTo>
                          <a:pt x="8986" y="58009"/>
                          <a:pt x="8986" y="58578"/>
                          <a:pt x="9515" y="58578"/>
                        </a:cubicBezTo>
                        <a:cubicBezTo>
                          <a:pt x="10044" y="58578"/>
                          <a:pt x="10572" y="58578"/>
                          <a:pt x="10572" y="58578"/>
                        </a:cubicBezTo>
                        <a:cubicBezTo>
                          <a:pt x="11101" y="58578"/>
                          <a:pt x="11101" y="59146"/>
                          <a:pt x="11629" y="57440"/>
                        </a:cubicBezTo>
                        <a:cubicBezTo>
                          <a:pt x="11629" y="56303"/>
                          <a:pt x="11629" y="55734"/>
                          <a:pt x="11629" y="55734"/>
                        </a:cubicBezTo>
                        <a:cubicBezTo>
                          <a:pt x="11629" y="55734"/>
                          <a:pt x="12158" y="55734"/>
                          <a:pt x="12158" y="55165"/>
                        </a:cubicBezTo>
                        <a:cubicBezTo>
                          <a:pt x="12687" y="55165"/>
                          <a:pt x="13215" y="55165"/>
                          <a:pt x="13215" y="54597"/>
                        </a:cubicBezTo>
                        <a:cubicBezTo>
                          <a:pt x="13215" y="53459"/>
                          <a:pt x="12158" y="52890"/>
                          <a:pt x="12158" y="52890"/>
                        </a:cubicBezTo>
                        <a:cubicBezTo>
                          <a:pt x="12158" y="52890"/>
                          <a:pt x="13215" y="52322"/>
                          <a:pt x="13744" y="52890"/>
                        </a:cubicBezTo>
                        <a:cubicBezTo>
                          <a:pt x="13744" y="53459"/>
                          <a:pt x="13744" y="54028"/>
                          <a:pt x="14273" y="53459"/>
                        </a:cubicBezTo>
                        <a:cubicBezTo>
                          <a:pt x="14801" y="52322"/>
                          <a:pt x="14801" y="52322"/>
                          <a:pt x="14801" y="52322"/>
                        </a:cubicBezTo>
                        <a:cubicBezTo>
                          <a:pt x="14273" y="51753"/>
                          <a:pt x="14273" y="51184"/>
                          <a:pt x="14273" y="50616"/>
                        </a:cubicBezTo>
                        <a:cubicBezTo>
                          <a:pt x="14273" y="50616"/>
                          <a:pt x="14801" y="50047"/>
                          <a:pt x="14801" y="49478"/>
                        </a:cubicBezTo>
                        <a:cubicBezTo>
                          <a:pt x="15330" y="48909"/>
                          <a:pt x="15330" y="48341"/>
                          <a:pt x="15330" y="47772"/>
                        </a:cubicBezTo>
                        <a:cubicBezTo>
                          <a:pt x="15330" y="46635"/>
                          <a:pt x="15330" y="47203"/>
                          <a:pt x="15859" y="46066"/>
                        </a:cubicBezTo>
                        <a:cubicBezTo>
                          <a:pt x="15859" y="45497"/>
                          <a:pt x="15859" y="46066"/>
                          <a:pt x="15859" y="43791"/>
                        </a:cubicBezTo>
                        <a:cubicBezTo>
                          <a:pt x="16387" y="42085"/>
                          <a:pt x="16387" y="41516"/>
                          <a:pt x="16916" y="41516"/>
                        </a:cubicBezTo>
                        <a:cubicBezTo>
                          <a:pt x="16916" y="41516"/>
                          <a:pt x="21145" y="43222"/>
                          <a:pt x="21145" y="43222"/>
                        </a:cubicBezTo>
                        <a:cubicBezTo>
                          <a:pt x="21145" y="43222"/>
                          <a:pt x="21674" y="44360"/>
                          <a:pt x="21674" y="44360"/>
                        </a:cubicBezTo>
                        <a:cubicBezTo>
                          <a:pt x="21674" y="44928"/>
                          <a:pt x="21674" y="45497"/>
                          <a:pt x="21674" y="45497"/>
                        </a:cubicBezTo>
                        <a:cubicBezTo>
                          <a:pt x="21674" y="46066"/>
                          <a:pt x="21145" y="47203"/>
                          <a:pt x="21145" y="47203"/>
                        </a:cubicBezTo>
                        <a:cubicBezTo>
                          <a:pt x="21145" y="47772"/>
                          <a:pt x="21145" y="47772"/>
                          <a:pt x="21145" y="47772"/>
                        </a:cubicBezTo>
                        <a:cubicBezTo>
                          <a:pt x="21145" y="47772"/>
                          <a:pt x="20088" y="47772"/>
                          <a:pt x="20088" y="48909"/>
                        </a:cubicBezTo>
                        <a:cubicBezTo>
                          <a:pt x="19559" y="49478"/>
                          <a:pt x="19559" y="49478"/>
                          <a:pt x="20088" y="50047"/>
                        </a:cubicBezTo>
                        <a:cubicBezTo>
                          <a:pt x="20616" y="50616"/>
                          <a:pt x="21145" y="51184"/>
                          <a:pt x="21145" y="51184"/>
                        </a:cubicBezTo>
                        <a:cubicBezTo>
                          <a:pt x="21674" y="51184"/>
                          <a:pt x="22202" y="50616"/>
                          <a:pt x="22731" y="50616"/>
                        </a:cubicBezTo>
                        <a:cubicBezTo>
                          <a:pt x="22731" y="50616"/>
                          <a:pt x="23259" y="50616"/>
                          <a:pt x="23259" y="50616"/>
                        </a:cubicBezTo>
                        <a:cubicBezTo>
                          <a:pt x="23259" y="51184"/>
                          <a:pt x="23259" y="51753"/>
                          <a:pt x="23788" y="52322"/>
                        </a:cubicBezTo>
                        <a:cubicBezTo>
                          <a:pt x="24317" y="52322"/>
                          <a:pt x="24845" y="52890"/>
                          <a:pt x="24845" y="52890"/>
                        </a:cubicBezTo>
                        <a:cubicBezTo>
                          <a:pt x="25374" y="52890"/>
                          <a:pt x="25903" y="52890"/>
                          <a:pt x="25903" y="52890"/>
                        </a:cubicBezTo>
                        <a:cubicBezTo>
                          <a:pt x="25903" y="52890"/>
                          <a:pt x="26431" y="52322"/>
                          <a:pt x="26960" y="52322"/>
                        </a:cubicBezTo>
                        <a:cubicBezTo>
                          <a:pt x="26960" y="52322"/>
                          <a:pt x="28546" y="54028"/>
                          <a:pt x="27488" y="51753"/>
                        </a:cubicBezTo>
                        <a:cubicBezTo>
                          <a:pt x="25903" y="50047"/>
                          <a:pt x="25903" y="50047"/>
                          <a:pt x="25903" y="49478"/>
                        </a:cubicBezTo>
                        <a:cubicBezTo>
                          <a:pt x="25374" y="49478"/>
                          <a:pt x="24845" y="48909"/>
                          <a:pt x="24845" y="48909"/>
                        </a:cubicBezTo>
                        <a:cubicBezTo>
                          <a:pt x="24317" y="48909"/>
                          <a:pt x="24317" y="48909"/>
                          <a:pt x="24317" y="48909"/>
                        </a:cubicBezTo>
                        <a:cubicBezTo>
                          <a:pt x="24317" y="48909"/>
                          <a:pt x="24317" y="48341"/>
                          <a:pt x="24317" y="47772"/>
                        </a:cubicBezTo>
                        <a:cubicBezTo>
                          <a:pt x="24845" y="47203"/>
                          <a:pt x="24845" y="47203"/>
                          <a:pt x="25374" y="47203"/>
                        </a:cubicBezTo>
                        <a:cubicBezTo>
                          <a:pt x="25903" y="47203"/>
                          <a:pt x="25903" y="46635"/>
                          <a:pt x="26960" y="47772"/>
                        </a:cubicBezTo>
                        <a:cubicBezTo>
                          <a:pt x="27488" y="48341"/>
                          <a:pt x="27488" y="48341"/>
                          <a:pt x="27488" y="48909"/>
                        </a:cubicBezTo>
                        <a:cubicBezTo>
                          <a:pt x="28017" y="50047"/>
                          <a:pt x="28546" y="50616"/>
                          <a:pt x="29074" y="51184"/>
                        </a:cubicBezTo>
                        <a:cubicBezTo>
                          <a:pt x="29074" y="51184"/>
                          <a:pt x="29603" y="51184"/>
                          <a:pt x="29603" y="52322"/>
                        </a:cubicBezTo>
                        <a:cubicBezTo>
                          <a:pt x="29603" y="53459"/>
                          <a:pt x="29603" y="54597"/>
                          <a:pt x="29603" y="55165"/>
                        </a:cubicBezTo>
                        <a:cubicBezTo>
                          <a:pt x="29603" y="55165"/>
                          <a:pt x="29603" y="57440"/>
                          <a:pt x="29603" y="57440"/>
                        </a:cubicBezTo>
                        <a:cubicBezTo>
                          <a:pt x="29603" y="57440"/>
                          <a:pt x="29603" y="58578"/>
                          <a:pt x="29603" y="59146"/>
                        </a:cubicBezTo>
                        <a:cubicBezTo>
                          <a:pt x="29603" y="59715"/>
                          <a:pt x="32246" y="63696"/>
                          <a:pt x="32246" y="63696"/>
                        </a:cubicBezTo>
                        <a:cubicBezTo>
                          <a:pt x="32246" y="63696"/>
                          <a:pt x="33303" y="65402"/>
                          <a:pt x="33832" y="65402"/>
                        </a:cubicBezTo>
                        <a:cubicBezTo>
                          <a:pt x="33832" y="65402"/>
                          <a:pt x="34361" y="67109"/>
                          <a:pt x="34889" y="67677"/>
                        </a:cubicBezTo>
                        <a:cubicBezTo>
                          <a:pt x="35947" y="67677"/>
                          <a:pt x="38061" y="68815"/>
                          <a:pt x="38061" y="68815"/>
                        </a:cubicBezTo>
                        <a:cubicBezTo>
                          <a:pt x="41762" y="71090"/>
                          <a:pt x="41762" y="71090"/>
                          <a:pt x="41762" y="71090"/>
                        </a:cubicBezTo>
                        <a:cubicBezTo>
                          <a:pt x="41762" y="71090"/>
                          <a:pt x="42819" y="72796"/>
                          <a:pt x="43348" y="72796"/>
                        </a:cubicBezTo>
                        <a:cubicBezTo>
                          <a:pt x="43348" y="72796"/>
                          <a:pt x="45991" y="72796"/>
                          <a:pt x="43876" y="72796"/>
                        </a:cubicBezTo>
                        <a:cubicBezTo>
                          <a:pt x="42290" y="72796"/>
                          <a:pt x="40176" y="71658"/>
                          <a:pt x="40176" y="71658"/>
                        </a:cubicBezTo>
                        <a:cubicBezTo>
                          <a:pt x="40176" y="71658"/>
                          <a:pt x="39647" y="70521"/>
                          <a:pt x="39647" y="70521"/>
                        </a:cubicBezTo>
                        <a:cubicBezTo>
                          <a:pt x="39118" y="70521"/>
                          <a:pt x="37004" y="69952"/>
                          <a:pt x="36475" y="69383"/>
                        </a:cubicBezTo>
                        <a:cubicBezTo>
                          <a:pt x="36475" y="69383"/>
                          <a:pt x="35947" y="68815"/>
                          <a:pt x="35418" y="68246"/>
                        </a:cubicBezTo>
                        <a:cubicBezTo>
                          <a:pt x="34889" y="67109"/>
                          <a:pt x="33832" y="66540"/>
                          <a:pt x="33832" y="66540"/>
                        </a:cubicBezTo>
                        <a:cubicBezTo>
                          <a:pt x="33832" y="66540"/>
                          <a:pt x="33303" y="65971"/>
                          <a:pt x="32775" y="64834"/>
                        </a:cubicBezTo>
                        <a:cubicBezTo>
                          <a:pt x="32246" y="64265"/>
                          <a:pt x="32246" y="64265"/>
                          <a:pt x="32246" y="63696"/>
                        </a:cubicBezTo>
                        <a:cubicBezTo>
                          <a:pt x="31718" y="63696"/>
                          <a:pt x="32246" y="63696"/>
                          <a:pt x="31189" y="63127"/>
                        </a:cubicBezTo>
                        <a:cubicBezTo>
                          <a:pt x="30132" y="62559"/>
                          <a:pt x="29603" y="61990"/>
                          <a:pt x="29603" y="61990"/>
                        </a:cubicBezTo>
                        <a:cubicBezTo>
                          <a:pt x="29074" y="61990"/>
                          <a:pt x="28017" y="61421"/>
                          <a:pt x="28017" y="61421"/>
                        </a:cubicBezTo>
                        <a:cubicBezTo>
                          <a:pt x="28017" y="61421"/>
                          <a:pt x="26960" y="60284"/>
                          <a:pt x="26960" y="60284"/>
                        </a:cubicBezTo>
                        <a:cubicBezTo>
                          <a:pt x="26960" y="60284"/>
                          <a:pt x="26431" y="61421"/>
                          <a:pt x="27488" y="61990"/>
                        </a:cubicBezTo>
                        <a:cubicBezTo>
                          <a:pt x="28017" y="61990"/>
                          <a:pt x="29074" y="63127"/>
                          <a:pt x="29074" y="63127"/>
                        </a:cubicBezTo>
                        <a:cubicBezTo>
                          <a:pt x="29074" y="63127"/>
                          <a:pt x="30132" y="63696"/>
                          <a:pt x="30132" y="63696"/>
                        </a:cubicBezTo>
                        <a:cubicBezTo>
                          <a:pt x="30132" y="63696"/>
                          <a:pt x="30132" y="64834"/>
                          <a:pt x="30132" y="64834"/>
                        </a:cubicBezTo>
                        <a:cubicBezTo>
                          <a:pt x="30132" y="64834"/>
                          <a:pt x="28546" y="64265"/>
                          <a:pt x="30132" y="64834"/>
                        </a:cubicBezTo>
                        <a:cubicBezTo>
                          <a:pt x="31189" y="65402"/>
                          <a:pt x="32246" y="65402"/>
                          <a:pt x="32246" y="65402"/>
                        </a:cubicBezTo>
                        <a:cubicBezTo>
                          <a:pt x="32246" y="65402"/>
                          <a:pt x="31189" y="65971"/>
                          <a:pt x="30660" y="65971"/>
                        </a:cubicBezTo>
                        <a:cubicBezTo>
                          <a:pt x="30660" y="66540"/>
                          <a:pt x="31718" y="68246"/>
                          <a:pt x="31718" y="67677"/>
                        </a:cubicBezTo>
                        <a:cubicBezTo>
                          <a:pt x="32246" y="67677"/>
                          <a:pt x="32775" y="68246"/>
                          <a:pt x="33303" y="68246"/>
                        </a:cubicBezTo>
                        <a:cubicBezTo>
                          <a:pt x="33303" y="68246"/>
                          <a:pt x="34361" y="68246"/>
                          <a:pt x="34361" y="68815"/>
                        </a:cubicBezTo>
                        <a:cubicBezTo>
                          <a:pt x="34889" y="68815"/>
                          <a:pt x="34889" y="68815"/>
                          <a:pt x="34889" y="69383"/>
                        </a:cubicBezTo>
                        <a:cubicBezTo>
                          <a:pt x="34361" y="69383"/>
                          <a:pt x="34889" y="70521"/>
                          <a:pt x="34889" y="70521"/>
                        </a:cubicBezTo>
                        <a:cubicBezTo>
                          <a:pt x="35947" y="71090"/>
                          <a:pt x="35947" y="71090"/>
                          <a:pt x="35947" y="71090"/>
                        </a:cubicBezTo>
                        <a:cubicBezTo>
                          <a:pt x="35947" y="71090"/>
                          <a:pt x="34361" y="71090"/>
                          <a:pt x="34361" y="70521"/>
                        </a:cubicBezTo>
                        <a:cubicBezTo>
                          <a:pt x="33832" y="70521"/>
                          <a:pt x="33832" y="69952"/>
                          <a:pt x="33303" y="70521"/>
                        </a:cubicBezTo>
                        <a:cubicBezTo>
                          <a:pt x="32775" y="71090"/>
                          <a:pt x="32775" y="71090"/>
                          <a:pt x="32775" y="71658"/>
                        </a:cubicBezTo>
                        <a:cubicBezTo>
                          <a:pt x="33303" y="72227"/>
                          <a:pt x="33832" y="72796"/>
                          <a:pt x="34361" y="72227"/>
                        </a:cubicBezTo>
                        <a:cubicBezTo>
                          <a:pt x="34361" y="72227"/>
                          <a:pt x="34361" y="72227"/>
                          <a:pt x="34889" y="71658"/>
                        </a:cubicBezTo>
                        <a:cubicBezTo>
                          <a:pt x="34889" y="71658"/>
                          <a:pt x="34889" y="71658"/>
                          <a:pt x="35418" y="71658"/>
                        </a:cubicBezTo>
                        <a:cubicBezTo>
                          <a:pt x="35418" y="71658"/>
                          <a:pt x="35947" y="71658"/>
                          <a:pt x="35947" y="71658"/>
                        </a:cubicBezTo>
                        <a:cubicBezTo>
                          <a:pt x="36475" y="71090"/>
                          <a:pt x="36475" y="71090"/>
                          <a:pt x="36475" y="71090"/>
                        </a:cubicBezTo>
                        <a:cubicBezTo>
                          <a:pt x="36475" y="71090"/>
                          <a:pt x="36475" y="71090"/>
                          <a:pt x="36475" y="71658"/>
                        </a:cubicBezTo>
                        <a:cubicBezTo>
                          <a:pt x="36475" y="71658"/>
                          <a:pt x="37004" y="71658"/>
                          <a:pt x="36475" y="72227"/>
                        </a:cubicBezTo>
                        <a:cubicBezTo>
                          <a:pt x="36475" y="72796"/>
                          <a:pt x="35947" y="72796"/>
                          <a:pt x="35947" y="72796"/>
                        </a:cubicBezTo>
                        <a:cubicBezTo>
                          <a:pt x="35947" y="73364"/>
                          <a:pt x="35418" y="72796"/>
                          <a:pt x="35947" y="73933"/>
                        </a:cubicBezTo>
                        <a:cubicBezTo>
                          <a:pt x="35947" y="74502"/>
                          <a:pt x="35947" y="75071"/>
                          <a:pt x="35947" y="75071"/>
                        </a:cubicBezTo>
                        <a:cubicBezTo>
                          <a:pt x="35947" y="75071"/>
                          <a:pt x="36475" y="75071"/>
                          <a:pt x="36475" y="75071"/>
                        </a:cubicBezTo>
                        <a:cubicBezTo>
                          <a:pt x="37004" y="75639"/>
                          <a:pt x="37004" y="76208"/>
                          <a:pt x="37004" y="76777"/>
                        </a:cubicBezTo>
                        <a:cubicBezTo>
                          <a:pt x="37533" y="76777"/>
                          <a:pt x="38590" y="78483"/>
                          <a:pt x="38590" y="78483"/>
                        </a:cubicBezTo>
                        <a:cubicBezTo>
                          <a:pt x="38590" y="78483"/>
                          <a:pt x="40176" y="79620"/>
                          <a:pt x="40176" y="79620"/>
                        </a:cubicBezTo>
                        <a:cubicBezTo>
                          <a:pt x="40176" y="79620"/>
                          <a:pt x="40704" y="80189"/>
                          <a:pt x="40704" y="80189"/>
                        </a:cubicBezTo>
                        <a:cubicBezTo>
                          <a:pt x="40704" y="80189"/>
                          <a:pt x="40704" y="80758"/>
                          <a:pt x="40176" y="80189"/>
                        </a:cubicBezTo>
                        <a:cubicBezTo>
                          <a:pt x="39647" y="79620"/>
                          <a:pt x="38590" y="79052"/>
                          <a:pt x="38590" y="79052"/>
                        </a:cubicBezTo>
                        <a:cubicBezTo>
                          <a:pt x="38590" y="80189"/>
                          <a:pt x="38590" y="80189"/>
                          <a:pt x="38590" y="80189"/>
                        </a:cubicBezTo>
                        <a:cubicBezTo>
                          <a:pt x="38590" y="80189"/>
                          <a:pt x="39118" y="80758"/>
                          <a:pt x="39647" y="80758"/>
                        </a:cubicBezTo>
                        <a:cubicBezTo>
                          <a:pt x="39647" y="81327"/>
                          <a:pt x="39647" y="81327"/>
                          <a:pt x="40176" y="81895"/>
                        </a:cubicBezTo>
                        <a:cubicBezTo>
                          <a:pt x="40704" y="81895"/>
                          <a:pt x="41233" y="81895"/>
                          <a:pt x="41762" y="81895"/>
                        </a:cubicBezTo>
                        <a:cubicBezTo>
                          <a:pt x="41762" y="82464"/>
                          <a:pt x="41762" y="81327"/>
                          <a:pt x="41762" y="81327"/>
                        </a:cubicBezTo>
                        <a:cubicBezTo>
                          <a:pt x="41762" y="81327"/>
                          <a:pt x="42290" y="81327"/>
                          <a:pt x="42290" y="81327"/>
                        </a:cubicBezTo>
                        <a:cubicBezTo>
                          <a:pt x="42290" y="81895"/>
                          <a:pt x="42819" y="82464"/>
                          <a:pt x="42290" y="83033"/>
                        </a:cubicBezTo>
                        <a:cubicBezTo>
                          <a:pt x="42290" y="83033"/>
                          <a:pt x="42290" y="83601"/>
                          <a:pt x="41762" y="83033"/>
                        </a:cubicBezTo>
                        <a:cubicBezTo>
                          <a:pt x="41233" y="83033"/>
                          <a:pt x="40704" y="82464"/>
                          <a:pt x="40176" y="82464"/>
                        </a:cubicBezTo>
                        <a:cubicBezTo>
                          <a:pt x="40176" y="82464"/>
                          <a:pt x="39647" y="81895"/>
                          <a:pt x="39118" y="82464"/>
                        </a:cubicBezTo>
                        <a:cubicBezTo>
                          <a:pt x="39118" y="82464"/>
                          <a:pt x="38061" y="81895"/>
                          <a:pt x="38061" y="82464"/>
                        </a:cubicBezTo>
                        <a:cubicBezTo>
                          <a:pt x="38061" y="83033"/>
                          <a:pt x="38061" y="83601"/>
                          <a:pt x="38061" y="83601"/>
                        </a:cubicBezTo>
                        <a:cubicBezTo>
                          <a:pt x="38061" y="83601"/>
                          <a:pt x="37533" y="81327"/>
                          <a:pt x="37004" y="81327"/>
                        </a:cubicBezTo>
                        <a:cubicBezTo>
                          <a:pt x="36475" y="81327"/>
                          <a:pt x="35418" y="80758"/>
                          <a:pt x="35418" y="80758"/>
                        </a:cubicBezTo>
                        <a:cubicBezTo>
                          <a:pt x="34889" y="79620"/>
                          <a:pt x="34889" y="79620"/>
                          <a:pt x="34889" y="79620"/>
                        </a:cubicBezTo>
                        <a:cubicBezTo>
                          <a:pt x="34889" y="79620"/>
                          <a:pt x="35418" y="79620"/>
                          <a:pt x="35418" y="79620"/>
                        </a:cubicBezTo>
                        <a:cubicBezTo>
                          <a:pt x="35947" y="80189"/>
                          <a:pt x="35418" y="80189"/>
                          <a:pt x="35947" y="80189"/>
                        </a:cubicBezTo>
                        <a:cubicBezTo>
                          <a:pt x="36475" y="80189"/>
                          <a:pt x="35418" y="79052"/>
                          <a:pt x="36475" y="79052"/>
                        </a:cubicBezTo>
                        <a:cubicBezTo>
                          <a:pt x="37533" y="79052"/>
                          <a:pt x="37533" y="79052"/>
                          <a:pt x="37533" y="79052"/>
                        </a:cubicBezTo>
                        <a:cubicBezTo>
                          <a:pt x="37533" y="78483"/>
                          <a:pt x="38590" y="78483"/>
                          <a:pt x="37533" y="77914"/>
                        </a:cubicBezTo>
                        <a:cubicBezTo>
                          <a:pt x="36475" y="77345"/>
                          <a:pt x="36475" y="77345"/>
                          <a:pt x="36475" y="77345"/>
                        </a:cubicBezTo>
                        <a:cubicBezTo>
                          <a:pt x="35947" y="77345"/>
                          <a:pt x="35947" y="77345"/>
                          <a:pt x="35947" y="76777"/>
                        </a:cubicBezTo>
                        <a:cubicBezTo>
                          <a:pt x="35418" y="76208"/>
                          <a:pt x="35418" y="75639"/>
                          <a:pt x="34889" y="75639"/>
                        </a:cubicBezTo>
                        <a:cubicBezTo>
                          <a:pt x="34889" y="75639"/>
                          <a:pt x="33303" y="75639"/>
                          <a:pt x="33303" y="75639"/>
                        </a:cubicBezTo>
                        <a:cubicBezTo>
                          <a:pt x="33303" y="75639"/>
                          <a:pt x="32775" y="75071"/>
                          <a:pt x="32246" y="75071"/>
                        </a:cubicBezTo>
                        <a:cubicBezTo>
                          <a:pt x="31718" y="75071"/>
                          <a:pt x="30660" y="73933"/>
                          <a:pt x="30660" y="73933"/>
                        </a:cubicBezTo>
                        <a:cubicBezTo>
                          <a:pt x="30132" y="73364"/>
                          <a:pt x="28546" y="72796"/>
                          <a:pt x="28546" y="72796"/>
                        </a:cubicBezTo>
                        <a:cubicBezTo>
                          <a:pt x="28546" y="72796"/>
                          <a:pt x="28017" y="72227"/>
                          <a:pt x="27488" y="72227"/>
                        </a:cubicBezTo>
                        <a:cubicBezTo>
                          <a:pt x="26960" y="72227"/>
                          <a:pt x="26960" y="72227"/>
                          <a:pt x="26431" y="72227"/>
                        </a:cubicBezTo>
                        <a:cubicBezTo>
                          <a:pt x="25903" y="71658"/>
                          <a:pt x="25374" y="71090"/>
                          <a:pt x="25374" y="71090"/>
                        </a:cubicBezTo>
                        <a:cubicBezTo>
                          <a:pt x="24845" y="70521"/>
                          <a:pt x="24317" y="70521"/>
                          <a:pt x="24317" y="70521"/>
                        </a:cubicBezTo>
                        <a:cubicBezTo>
                          <a:pt x="24845" y="71090"/>
                          <a:pt x="24317" y="71090"/>
                          <a:pt x="25374" y="71658"/>
                        </a:cubicBezTo>
                        <a:cubicBezTo>
                          <a:pt x="25903" y="72227"/>
                          <a:pt x="26431" y="72227"/>
                          <a:pt x="26431" y="72227"/>
                        </a:cubicBezTo>
                        <a:cubicBezTo>
                          <a:pt x="26431" y="72227"/>
                          <a:pt x="26960" y="72796"/>
                          <a:pt x="26960" y="72796"/>
                        </a:cubicBezTo>
                        <a:cubicBezTo>
                          <a:pt x="26960" y="73364"/>
                          <a:pt x="27488" y="72796"/>
                          <a:pt x="28017" y="72796"/>
                        </a:cubicBezTo>
                        <a:cubicBezTo>
                          <a:pt x="28017" y="73364"/>
                          <a:pt x="28546" y="73364"/>
                          <a:pt x="28546" y="73933"/>
                        </a:cubicBezTo>
                        <a:cubicBezTo>
                          <a:pt x="28546" y="73933"/>
                          <a:pt x="30132" y="73933"/>
                          <a:pt x="30132" y="74502"/>
                        </a:cubicBezTo>
                        <a:cubicBezTo>
                          <a:pt x="30132" y="75071"/>
                          <a:pt x="30660" y="75639"/>
                          <a:pt x="30132" y="75639"/>
                        </a:cubicBezTo>
                        <a:cubicBezTo>
                          <a:pt x="30132" y="75639"/>
                          <a:pt x="29603" y="76208"/>
                          <a:pt x="29603" y="76208"/>
                        </a:cubicBezTo>
                        <a:cubicBezTo>
                          <a:pt x="30132" y="76208"/>
                          <a:pt x="30660" y="76777"/>
                          <a:pt x="31189" y="76777"/>
                        </a:cubicBezTo>
                        <a:cubicBezTo>
                          <a:pt x="31718" y="76777"/>
                          <a:pt x="31189" y="76777"/>
                          <a:pt x="32246" y="77345"/>
                        </a:cubicBezTo>
                        <a:cubicBezTo>
                          <a:pt x="33303" y="77345"/>
                          <a:pt x="33303" y="78483"/>
                          <a:pt x="33303" y="78483"/>
                        </a:cubicBezTo>
                        <a:cubicBezTo>
                          <a:pt x="33303" y="79052"/>
                          <a:pt x="34361" y="79620"/>
                          <a:pt x="34361" y="79620"/>
                        </a:cubicBezTo>
                        <a:cubicBezTo>
                          <a:pt x="34361" y="79620"/>
                          <a:pt x="33832" y="79620"/>
                          <a:pt x="34361" y="80189"/>
                        </a:cubicBezTo>
                        <a:cubicBezTo>
                          <a:pt x="34361" y="80189"/>
                          <a:pt x="33832" y="80189"/>
                          <a:pt x="34361" y="80758"/>
                        </a:cubicBezTo>
                        <a:cubicBezTo>
                          <a:pt x="34889" y="80758"/>
                          <a:pt x="35418" y="80758"/>
                          <a:pt x="35418" y="80758"/>
                        </a:cubicBezTo>
                        <a:cubicBezTo>
                          <a:pt x="35418" y="81327"/>
                          <a:pt x="35418" y="81327"/>
                          <a:pt x="35418" y="81895"/>
                        </a:cubicBezTo>
                        <a:cubicBezTo>
                          <a:pt x="35418" y="81895"/>
                          <a:pt x="34361" y="83033"/>
                          <a:pt x="35947" y="83033"/>
                        </a:cubicBezTo>
                        <a:cubicBezTo>
                          <a:pt x="37004" y="83033"/>
                          <a:pt x="37004" y="83033"/>
                          <a:pt x="37004" y="83033"/>
                        </a:cubicBezTo>
                        <a:cubicBezTo>
                          <a:pt x="37533" y="83601"/>
                          <a:pt x="37533" y="83601"/>
                          <a:pt x="37533" y="83601"/>
                        </a:cubicBezTo>
                        <a:cubicBezTo>
                          <a:pt x="37533" y="83601"/>
                          <a:pt x="37004" y="84170"/>
                          <a:pt x="37533" y="84739"/>
                        </a:cubicBezTo>
                        <a:cubicBezTo>
                          <a:pt x="37533" y="85308"/>
                          <a:pt x="39647" y="85308"/>
                          <a:pt x="39647" y="85308"/>
                        </a:cubicBezTo>
                        <a:cubicBezTo>
                          <a:pt x="39647" y="84739"/>
                          <a:pt x="39647" y="84739"/>
                          <a:pt x="39647" y="84739"/>
                        </a:cubicBezTo>
                        <a:cubicBezTo>
                          <a:pt x="39647" y="84739"/>
                          <a:pt x="40704" y="85308"/>
                          <a:pt x="40176" y="85308"/>
                        </a:cubicBezTo>
                        <a:cubicBezTo>
                          <a:pt x="40176" y="85876"/>
                          <a:pt x="39647" y="85876"/>
                          <a:pt x="39647" y="85876"/>
                        </a:cubicBezTo>
                        <a:cubicBezTo>
                          <a:pt x="39647" y="85876"/>
                          <a:pt x="39647" y="87014"/>
                          <a:pt x="40176" y="87014"/>
                        </a:cubicBezTo>
                        <a:cubicBezTo>
                          <a:pt x="40704" y="87014"/>
                          <a:pt x="41233" y="87582"/>
                          <a:pt x="41233" y="87582"/>
                        </a:cubicBezTo>
                        <a:cubicBezTo>
                          <a:pt x="41233" y="87582"/>
                          <a:pt x="41762" y="87582"/>
                          <a:pt x="41762" y="88151"/>
                        </a:cubicBezTo>
                        <a:cubicBezTo>
                          <a:pt x="42290" y="88151"/>
                          <a:pt x="42290" y="88720"/>
                          <a:pt x="42290" y="88720"/>
                        </a:cubicBezTo>
                        <a:cubicBezTo>
                          <a:pt x="42819" y="88720"/>
                          <a:pt x="43348" y="88720"/>
                          <a:pt x="43348" y="89289"/>
                        </a:cubicBezTo>
                        <a:cubicBezTo>
                          <a:pt x="43876" y="89289"/>
                          <a:pt x="44405" y="89857"/>
                          <a:pt x="44405" y="89289"/>
                        </a:cubicBezTo>
                        <a:cubicBezTo>
                          <a:pt x="44405" y="88720"/>
                          <a:pt x="44933" y="88720"/>
                          <a:pt x="44405" y="88151"/>
                        </a:cubicBezTo>
                        <a:cubicBezTo>
                          <a:pt x="43876" y="87582"/>
                          <a:pt x="43348" y="87582"/>
                          <a:pt x="42819" y="87582"/>
                        </a:cubicBezTo>
                        <a:cubicBezTo>
                          <a:pt x="42819" y="87582"/>
                          <a:pt x="42290" y="87582"/>
                          <a:pt x="42290" y="87014"/>
                        </a:cubicBezTo>
                        <a:cubicBezTo>
                          <a:pt x="41762" y="87014"/>
                          <a:pt x="41762" y="87014"/>
                          <a:pt x="41762" y="86445"/>
                        </a:cubicBezTo>
                        <a:cubicBezTo>
                          <a:pt x="41762" y="85876"/>
                          <a:pt x="41233" y="85308"/>
                          <a:pt x="41233" y="85308"/>
                        </a:cubicBezTo>
                        <a:cubicBezTo>
                          <a:pt x="41233" y="85308"/>
                          <a:pt x="41233" y="84170"/>
                          <a:pt x="41233" y="84170"/>
                        </a:cubicBezTo>
                        <a:cubicBezTo>
                          <a:pt x="40704" y="84170"/>
                          <a:pt x="40704" y="84170"/>
                          <a:pt x="40176" y="84170"/>
                        </a:cubicBezTo>
                        <a:cubicBezTo>
                          <a:pt x="40176" y="84170"/>
                          <a:pt x="39647" y="83601"/>
                          <a:pt x="39647" y="83601"/>
                        </a:cubicBezTo>
                        <a:cubicBezTo>
                          <a:pt x="39118" y="83601"/>
                          <a:pt x="38590" y="83601"/>
                          <a:pt x="38590" y="83601"/>
                        </a:cubicBezTo>
                        <a:cubicBezTo>
                          <a:pt x="38590" y="83033"/>
                          <a:pt x="39118" y="83033"/>
                          <a:pt x="39118" y="83033"/>
                        </a:cubicBezTo>
                        <a:cubicBezTo>
                          <a:pt x="39118" y="83033"/>
                          <a:pt x="39647" y="83033"/>
                          <a:pt x="40176" y="83033"/>
                        </a:cubicBezTo>
                        <a:cubicBezTo>
                          <a:pt x="40704" y="83601"/>
                          <a:pt x="40704" y="83033"/>
                          <a:pt x="41233" y="83601"/>
                        </a:cubicBezTo>
                        <a:cubicBezTo>
                          <a:pt x="41762" y="83601"/>
                          <a:pt x="41233" y="84170"/>
                          <a:pt x="41762" y="84170"/>
                        </a:cubicBezTo>
                        <a:cubicBezTo>
                          <a:pt x="42819" y="84170"/>
                          <a:pt x="42819" y="83601"/>
                          <a:pt x="42819" y="83601"/>
                        </a:cubicBezTo>
                        <a:cubicBezTo>
                          <a:pt x="43876" y="83033"/>
                          <a:pt x="43876" y="83033"/>
                          <a:pt x="43876" y="83033"/>
                        </a:cubicBezTo>
                        <a:cubicBezTo>
                          <a:pt x="43876" y="83033"/>
                          <a:pt x="43876" y="83033"/>
                          <a:pt x="44405" y="83601"/>
                        </a:cubicBezTo>
                        <a:cubicBezTo>
                          <a:pt x="44933" y="83601"/>
                          <a:pt x="43876" y="84170"/>
                          <a:pt x="44933" y="84170"/>
                        </a:cubicBezTo>
                        <a:cubicBezTo>
                          <a:pt x="45991" y="84170"/>
                          <a:pt x="46519" y="84170"/>
                          <a:pt x="46519" y="84170"/>
                        </a:cubicBezTo>
                        <a:cubicBezTo>
                          <a:pt x="46519" y="84739"/>
                          <a:pt x="46519" y="85308"/>
                          <a:pt x="46519" y="85308"/>
                        </a:cubicBezTo>
                        <a:cubicBezTo>
                          <a:pt x="46519" y="85308"/>
                          <a:pt x="46519" y="85876"/>
                          <a:pt x="46519" y="85876"/>
                        </a:cubicBezTo>
                        <a:cubicBezTo>
                          <a:pt x="47048" y="85876"/>
                          <a:pt x="48105" y="85876"/>
                          <a:pt x="48105" y="85876"/>
                        </a:cubicBezTo>
                        <a:cubicBezTo>
                          <a:pt x="48105" y="85876"/>
                          <a:pt x="48634" y="85876"/>
                          <a:pt x="48634" y="86445"/>
                        </a:cubicBezTo>
                        <a:cubicBezTo>
                          <a:pt x="49162" y="87014"/>
                          <a:pt x="47577" y="87582"/>
                          <a:pt x="47577" y="87582"/>
                        </a:cubicBezTo>
                        <a:cubicBezTo>
                          <a:pt x="47577" y="87582"/>
                          <a:pt x="47048" y="87014"/>
                          <a:pt x="47048" y="87582"/>
                        </a:cubicBezTo>
                        <a:cubicBezTo>
                          <a:pt x="47048" y="88151"/>
                          <a:pt x="46519" y="88151"/>
                          <a:pt x="47048" y="88720"/>
                        </a:cubicBezTo>
                        <a:cubicBezTo>
                          <a:pt x="47577" y="88720"/>
                          <a:pt x="47048" y="88720"/>
                          <a:pt x="47048" y="88720"/>
                        </a:cubicBezTo>
                        <a:cubicBezTo>
                          <a:pt x="46519" y="88720"/>
                          <a:pt x="45991" y="88151"/>
                          <a:pt x="46519" y="89289"/>
                        </a:cubicBezTo>
                        <a:cubicBezTo>
                          <a:pt x="46519" y="89857"/>
                          <a:pt x="47048" y="90426"/>
                          <a:pt x="47048" y="90426"/>
                        </a:cubicBezTo>
                        <a:cubicBezTo>
                          <a:pt x="47577" y="90426"/>
                          <a:pt x="48634" y="90426"/>
                          <a:pt x="48634" y="90426"/>
                        </a:cubicBezTo>
                        <a:cubicBezTo>
                          <a:pt x="49162" y="90426"/>
                          <a:pt x="49691" y="90426"/>
                          <a:pt x="49162" y="90426"/>
                        </a:cubicBezTo>
                        <a:cubicBezTo>
                          <a:pt x="48634" y="89857"/>
                          <a:pt x="48105" y="89857"/>
                          <a:pt x="48105" y="89857"/>
                        </a:cubicBezTo>
                        <a:cubicBezTo>
                          <a:pt x="48105" y="89857"/>
                          <a:pt x="48105" y="89857"/>
                          <a:pt x="48105" y="89289"/>
                        </a:cubicBezTo>
                        <a:cubicBezTo>
                          <a:pt x="48105" y="89289"/>
                          <a:pt x="48634" y="89289"/>
                          <a:pt x="48634" y="89289"/>
                        </a:cubicBezTo>
                        <a:cubicBezTo>
                          <a:pt x="48634" y="88720"/>
                          <a:pt x="49162" y="88151"/>
                          <a:pt x="49162" y="88151"/>
                        </a:cubicBezTo>
                        <a:cubicBezTo>
                          <a:pt x="49162" y="88151"/>
                          <a:pt x="49691" y="87014"/>
                          <a:pt x="50220" y="87582"/>
                        </a:cubicBezTo>
                        <a:cubicBezTo>
                          <a:pt x="50220" y="88151"/>
                          <a:pt x="50220" y="88151"/>
                          <a:pt x="50748" y="88151"/>
                        </a:cubicBezTo>
                        <a:cubicBezTo>
                          <a:pt x="50748" y="88151"/>
                          <a:pt x="52334" y="86445"/>
                          <a:pt x="52334" y="86445"/>
                        </a:cubicBezTo>
                        <a:cubicBezTo>
                          <a:pt x="52334" y="86445"/>
                          <a:pt x="52863" y="86445"/>
                          <a:pt x="52334" y="87014"/>
                        </a:cubicBezTo>
                        <a:cubicBezTo>
                          <a:pt x="52334" y="87582"/>
                          <a:pt x="51806" y="88151"/>
                          <a:pt x="52334" y="88720"/>
                        </a:cubicBezTo>
                        <a:cubicBezTo>
                          <a:pt x="52334" y="89289"/>
                          <a:pt x="52334" y="89289"/>
                          <a:pt x="52334" y="89289"/>
                        </a:cubicBezTo>
                        <a:cubicBezTo>
                          <a:pt x="52863" y="89857"/>
                          <a:pt x="52334" y="89857"/>
                          <a:pt x="52863" y="90426"/>
                        </a:cubicBezTo>
                        <a:cubicBezTo>
                          <a:pt x="52863" y="90995"/>
                          <a:pt x="52863" y="90426"/>
                          <a:pt x="52863" y="90995"/>
                        </a:cubicBezTo>
                        <a:cubicBezTo>
                          <a:pt x="53392" y="91563"/>
                          <a:pt x="53920" y="92701"/>
                          <a:pt x="53920" y="92701"/>
                        </a:cubicBezTo>
                        <a:cubicBezTo>
                          <a:pt x="53920" y="92701"/>
                          <a:pt x="53392" y="93270"/>
                          <a:pt x="53920" y="93270"/>
                        </a:cubicBezTo>
                        <a:cubicBezTo>
                          <a:pt x="54449" y="93838"/>
                          <a:pt x="55506" y="93838"/>
                          <a:pt x="55506" y="93838"/>
                        </a:cubicBezTo>
                        <a:cubicBezTo>
                          <a:pt x="55506" y="93838"/>
                          <a:pt x="55506" y="93838"/>
                          <a:pt x="55506" y="93838"/>
                        </a:cubicBezTo>
                        <a:cubicBezTo>
                          <a:pt x="55506" y="93838"/>
                          <a:pt x="56035" y="94407"/>
                          <a:pt x="56563" y="93838"/>
                        </a:cubicBezTo>
                        <a:cubicBezTo>
                          <a:pt x="56563" y="93270"/>
                          <a:pt x="57092" y="93270"/>
                          <a:pt x="57092" y="93270"/>
                        </a:cubicBezTo>
                        <a:cubicBezTo>
                          <a:pt x="57621" y="93270"/>
                          <a:pt x="57092" y="93270"/>
                          <a:pt x="58149" y="93270"/>
                        </a:cubicBezTo>
                        <a:cubicBezTo>
                          <a:pt x="59207" y="93270"/>
                          <a:pt x="59207" y="93838"/>
                          <a:pt x="59735" y="93270"/>
                        </a:cubicBezTo>
                        <a:cubicBezTo>
                          <a:pt x="60264" y="92701"/>
                          <a:pt x="59735" y="92701"/>
                          <a:pt x="60792" y="92701"/>
                        </a:cubicBezTo>
                        <a:cubicBezTo>
                          <a:pt x="61850" y="92701"/>
                          <a:pt x="62907" y="92132"/>
                          <a:pt x="62907" y="92132"/>
                        </a:cubicBezTo>
                        <a:cubicBezTo>
                          <a:pt x="62907" y="92132"/>
                          <a:pt x="64493" y="92132"/>
                          <a:pt x="64493" y="92132"/>
                        </a:cubicBezTo>
                        <a:cubicBezTo>
                          <a:pt x="65550" y="92701"/>
                          <a:pt x="65550" y="92701"/>
                          <a:pt x="65550" y="92701"/>
                        </a:cubicBezTo>
                        <a:cubicBezTo>
                          <a:pt x="65550" y="92701"/>
                          <a:pt x="66079" y="93270"/>
                          <a:pt x="66607" y="93270"/>
                        </a:cubicBezTo>
                        <a:cubicBezTo>
                          <a:pt x="66607" y="93270"/>
                          <a:pt x="67136" y="93270"/>
                          <a:pt x="67665" y="93270"/>
                        </a:cubicBezTo>
                        <a:cubicBezTo>
                          <a:pt x="67665" y="93270"/>
                          <a:pt x="69779" y="93838"/>
                          <a:pt x="69779" y="93838"/>
                        </a:cubicBezTo>
                        <a:cubicBezTo>
                          <a:pt x="71894" y="94407"/>
                          <a:pt x="71894" y="94407"/>
                          <a:pt x="71894" y="94407"/>
                        </a:cubicBezTo>
                        <a:cubicBezTo>
                          <a:pt x="72951" y="94976"/>
                          <a:pt x="72951" y="94976"/>
                          <a:pt x="72951" y="94976"/>
                        </a:cubicBezTo>
                        <a:cubicBezTo>
                          <a:pt x="75066" y="96682"/>
                          <a:pt x="75066" y="96682"/>
                          <a:pt x="75066" y="96682"/>
                        </a:cubicBezTo>
                        <a:cubicBezTo>
                          <a:pt x="77180" y="98957"/>
                          <a:pt x="77180" y="98957"/>
                          <a:pt x="77180" y="98957"/>
                        </a:cubicBezTo>
                        <a:cubicBezTo>
                          <a:pt x="79823" y="100094"/>
                          <a:pt x="79823" y="100094"/>
                          <a:pt x="79823" y="100094"/>
                        </a:cubicBezTo>
                        <a:cubicBezTo>
                          <a:pt x="81409" y="101232"/>
                          <a:pt x="81409" y="101232"/>
                          <a:pt x="81409" y="101232"/>
                        </a:cubicBezTo>
                        <a:cubicBezTo>
                          <a:pt x="82466" y="102369"/>
                          <a:pt x="82466" y="102369"/>
                          <a:pt x="82466" y="102369"/>
                        </a:cubicBezTo>
                        <a:cubicBezTo>
                          <a:pt x="82466" y="102369"/>
                          <a:pt x="84052" y="103507"/>
                          <a:pt x="84052" y="103507"/>
                        </a:cubicBezTo>
                        <a:cubicBezTo>
                          <a:pt x="84581" y="103507"/>
                          <a:pt x="86167" y="104644"/>
                          <a:pt x="86167" y="104644"/>
                        </a:cubicBezTo>
                        <a:cubicBezTo>
                          <a:pt x="87753" y="105781"/>
                          <a:pt x="87753" y="105781"/>
                          <a:pt x="87753" y="105781"/>
                        </a:cubicBezTo>
                        <a:cubicBezTo>
                          <a:pt x="87753" y="105781"/>
                          <a:pt x="88281" y="106919"/>
                          <a:pt x="88281" y="106919"/>
                        </a:cubicBezTo>
                        <a:cubicBezTo>
                          <a:pt x="88281" y="107488"/>
                          <a:pt x="87753" y="106919"/>
                          <a:pt x="87224" y="106919"/>
                        </a:cubicBezTo>
                        <a:cubicBezTo>
                          <a:pt x="86696" y="107488"/>
                          <a:pt x="84581" y="106350"/>
                          <a:pt x="84581" y="106350"/>
                        </a:cubicBezTo>
                        <a:cubicBezTo>
                          <a:pt x="83524" y="105213"/>
                          <a:pt x="83524" y="105213"/>
                          <a:pt x="83524" y="105213"/>
                        </a:cubicBezTo>
                        <a:cubicBezTo>
                          <a:pt x="81938" y="105213"/>
                          <a:pt x="81938" y="105213"/>
                          <a:pt x="81938" y="105213"/>
                        </a:cubicBezTo>
                        <a:cubicBezTo>
                          <a:pt x="80881" y="104644"/>
                          <a:pt x="80881" y="104644"/>
                          <a:pt x="80881" y="104644"/>
                        </a:cubicBezTo>
                        <a:cubicBezTo>
                          <a:pt x="78766" y="105213"/>
                          <a:pt x="78766" y="105213"/>
                          <a:pt x="78766" y="105213"/>
                        </a:cubicBezTo>
                        <a:cubicBezTo>
                          <a:pt x="77180" y="104644"/>
                          <a:pt x="77180" y="104644"/>
                          <a:pt x="77180" y="104644"/>
                        </a:cubicBezTo>
                        <a:cubicBezTo>
                          <a:pt x="77180" y="104644"/>
                          <a:pt x="76651" y="104644"/>
                          <a:pt x="77180" y="105213"/>
                        </a:cubicBezTo>
                        <a:cubicBezTo>
                          <a:pt x="77180" y="105213"/>
                          <a:pt x="77180" y="105781"/>
                          <a:pt x="77180" y="105781"/>
                        </a:cubicBezTo>
                        <a:cubicBezTo>
                          <a:pt x="75594" y="106919"/>
                          <a:pt x="75594" y="106919"/>
                          <a:pt x="75594" y="106919"/>
                        </a:cubicBezTo>
                        <a:cubicBezTo>
                          <a:pt x="73480" y="107488"/>
                          <a:pt x="73480" y="107488"/>
                          <a:pt x="73480" y="107488"/>
                        </a:cubicBezTo>
                        <a:cubicBezTo>
                          <a:pt x="71365" y="107488"/>
                          <a:pt x="71365" y="107488"/>
                          <a:pt x="71365" y="107488"/>
                        </a:cubicBezTo>
                        <a:cubicBezTo>
                          <a:pt x="69779" y="107488"/>
                          <a:pt x="69779" y="107488"/>
                          <a:pt x="69779" y="107488"/>
                        </a:cubicBezTo>
                        <a:cubicBezTo>
                          <a:pt x="69779" y="108625"/>
                          <a:pt x="69779" y="108625"/>
                          <a:pt x="69779" y="108625"/>
                        </a:cubicBezTo>
                        <a:cubicBezTo>
                          <a:pt x="69779" y="108625"/>
                          <a:pt x="67665" y="108625"/>
                          <a:pt x="69779" y="109194"/>
                        </a:cubicBezTo>
                        <a:cubicBezTo>
                          <a:pt x="71894" y="109194"/>
                          <a:pt x="72951" y="109194"/>
                          <a:pt x="72951" y="108625"/>
                        </a:cubicBezTo>
                        <a:cubicBezTo>
                          <a:pt x="73480" y="108625"/>
                          <a:pt x="73480" y="108056"/>
                          <a:pt x="74008" y="108056"/>
                        </a:cubicBezTo>
                        <a:cubicBezTo>
                          <a:pt x="74537" y="108056"/>
                          <a:pt x="75594" y="108056"/>
                          <a:pt x="76123" y="108056"/>
                        </a:cubicBezTo>
                        <a:cubicBezTo>
                          <a:pt x="76123" y="108056"/>
                          <a:pt x="76651" y="108056"/>
                          <a:pt x="77709" y="107488"/>
                        </a:cubicBezTo>
                        <a:cubicBezTo>
                          <a:pt x="78237" y="107488"/>
                          <a:pt x="78237" y="106919"/>
                          <a:pt x="79295" y="107488"/>
                        </a:cubicBezTo>
                        <a:cubicBezTo>
                          <a:pt x="80352" y="108056"/>
                          <a:pt x="79823" y="106350"/>
                          <a:pt x="79823" y="106350"/>
                        </a:cubicBezTo>
                        <a:cubicBezTo>
                          <a:pt x="79823" y="106350"/>
                          <a:pt x="79823" y="105781"/>
                          <a:pt x="80352" y="105781"/>
                        </a:cubicBezTo>
                        <a:cubicBezTo>
                          <a:pt x="81409" y="106350"/>
                          <a:pt x="81409" y="106350"/>
                          <a:pt x="81409" y="106350"/>
                        </a:cubicBezTo>
                        <a:cubicBezTo>
                          <a:pt x="81938" y="106350"/>
                          <a:pt x="82995" y="106919"/>
                          <a:pt x="82995" y="106919"/>
                        </a:cubicBezTo>
                        <a:cubicBezTo>
                          <a:pt x="83524" y="106919"/>
                          <a:pt x="85638" y="107488"/>
                          <a:pt x="85638" y="107488"/>
                        </a:cubicBezTo>
                        <a:cubicBezTo>
                          <a:pt x="85638" y="107488"/>
                          <a:pt x="86167" y="109194"/>
                          <a:pt x="86167" y="109194"/>
                        </a:cubicBezTo>
                        <a:cubicBezTo>
                          <a:pt x="86696" y="109194"/>
                          <a:pt x="88281" y="109194"/>
                          <a:pt x="88810" y="109194"/>
                        </a:cubicBezTo>
                        <a:cubicBezTo>
                          <a:pt x="89339" y="109194"/>
                          <a:pt x="90396" y="109194"/>
                          <a:pt x="90925" y="109763"/>
                        </a:cubicBezTo>
                        <a:cubicBezTo>
                          <a:pt x="91453" y="110331"/>
                          <a:pt x="91982" y="110331"/>
                          <a:pt x="91982" y="110331"/>
                        </a:cubicBezTo>
                        <a:cubicBezTo>
                          <a:pt x="91982" y="110331"/>
                          <a:pt x="92511" y="110900"/>
                          <a:pt x="93039" y="111469"/>
                        </a:cubicBezTo>
                        <a:cubicBezTo>
                          <a:pt x="93039" y="111469"/>
                          <a:pt x="94625" y="112606"/>
                          <a:pt x="94625" y="112606"/>
                        </a:cubicBezTo>
                        <a:cubicBezTo>
                          <a:pt x="94625" y="112606"/>
                          <a:pt x="97268" y="113744"/>
                          <a:pt x="97268" y="113744"/>
                        </a:cubicBezTo>
                        <a:cubicBezTo>
                          <a:pt x="97797" y="113175"/>
                          <a:pt x="97797" y="113175"/>
                          <a:pt x="97797" y="113175"/>
                        </a:cubicBezTo>
                        <a:cubicBezTo>
                          <a:pt x="97797" y="112606"/>
                          <a:pt x="97797" y="112037"/>
                          <a:pt x="97797" y="112037"/>
                        </a:cubicBezTo>
                        <a:cubicBezTo>
                          <a:pt x="97268" y="111469"/>
                          <a:pt x="95154" y="110900"/>
                          <a:pt x="95154" y="110900"/>
                        </a:cubicBezTo>
                        <a:cubicBezTo>
                          <a:pt x="95154" y="110900"/>
                          <a:pt x="94096" y="110331"/>
                          <a:pt x="94096" y="110331"/>
                        </a:cubicBezTo>
                        <a:cubicBezTo>
                          <a:pt x="93568" y="107488"/>
                          <a:pt x="94096" y="109763"/>
                          <a:pt x="92511" y="109194"/>
                        </a:cubicBezTo>
                        <a:cubicBezTo>
                          <a:pt x="92511" y="109194"/>
                          <a:pt x="92511" y="109194"/>
                          <a:pt x="92511" y="109194"/>
                        </a:cubicBezTo>
                        <a:cubicBezTo>
                          <a:pt x="92511" y="109194"/>
                          <a:pt x="92511" y="109194"/>
                          <a:pt x="92511" y="109194"/>
                        </a:cubicBezTo>
                        <a:cubicBezTo>
                          <a:pt x="91453" y="109763"/>
                          <a:pt x="91453" y="109194"/>
                          <a:pt x="91453" y="109194"/>
                        </a:cubicBezTo>
                        <a:cubicBezTo>
                          <a:pt x="91453" y="108625"/>
                          <a:pt x="91453" y="108625"/>
                          <a:pt x="91453" y="108625"/>
                        </a:cubicBezTo>
                        <a:cubicBezTo>
                          <a:pt x="90925" y="108056"/>
                          <a:pt x="90925" y="108056"/>
                          <a:pt x="90925" y="108056"/>
                        </a:cubicBezTo>
                        <a:cubicBezTo>
                          <a:pt x="90925" y="108056"/>
                          <a:pt x="90396" y="106919"/>
                          <a:pt x="90925" y="106350"/>
                        </a:cubicBezTo>
                        <a:cubicBezTo>
                          <a:pt x="91453" y="106350"/>
                          <a:pt x="90396" y="109194"/>
                          <a:pt x="92511" y="105781"/>
                        </a:cubicBezTo>
                        <a:cubicBezTo>
                          <a:pt x="92511" y="105781"/>
                          <a:pt x="92511" y="105213"/>
                          <a:pt x="92511" y="105213"/>
                        </a:cubicBezTo>
                        <a:cubicBezTo>
                          <a:pt x="91982" y="105213"/>
                          <a:pt x="91982" y="105213"/>
                          <a:pt x="91982" y="105213"/>
                        </a:cubicBezTo>
                        <a:cubicBezTo>
                          <a:pt x="90396" y="105213"/>
                          <a:pt x="90396" y="105213"/>
                          <a:pt x="90396" y="105213"/>
                        </a:cubicBezTo>
                        <a:cubicBezTo>
                          <a:pt x="90396" y="105213"/>
                          <a:pt x="90396" y="105781"/>
                          <a:pt x="89867" y="106350"/>
                        </a:cubicBezTo>
                        <a:cubicBezTo>
                          <a:pt x="89339" y="106919"/>
                          <a:pt x="89339" y="106350"/>
                          <a:pt x="89339" y="106350"/>
                        </a:cubicBezTo>
                        <a:cubicBezTo>
                          <a:pt x="89339" y="105781"/>
                          <a:pt x="89339" y="105781"/>
                          <a:pt x="89339" y="105781"/>
                        </a:cubicBezTo>
                        <a:cubicBezTo>
                          <a:pt x="89867" y="105213"/>
                          <a:pt x="89867" y="105213"/>
                          <a:pt x="89867" y="105213"/>
                        </a:cubicBezTo>
                        <a:cubicBezTo>
                          <a:pt x="89867" y="105213"/>
                          <a:pt x="89867" y="103507"/>
                          <a:pt x="89867" y="102938"/>
                        </a:cubicBezTo>
                        <a:cubicBezTo>
                          <a:pt x="89867" y="102938"/>
                          <a:pt x="89867" y="102938"/>
                          <a:pt x="89867" y="102938"/>
                        </a:cubicBezTo>
                        <a:cubicBezTo>
                          <a:pt x="88281" y="101800"/>
                          <a:pt x="88281" y="101800"/>
                          <a:pt x="88281" y="101800"/>
                        </a:cubicBezTo>
                        <a:cubicBezTo>
                          <a:pt x="87224" y="100663"/>
                          <a:pt x="87224" y="100663"/>
                          <a:pt x="87224" y="100663"/>
                        </a:cubicBezTo>
                        <a:cubicBezTo>
                          <a:pt x="85638" y="99526"/>
                          <a:pt x="85638" y="99526"/>
                          <a:pt x="85638" y="99526"/>
                        </a:cubicBezTo>
                        <a:cubicBezTo>
                          <a:pt x="83524" y="97251"/>
                          <a:pt x="83524" y="97251"/>
                          <a:pt x="83524" y="97251"/>
                        </a:cubicBezTo>
                        <a:cubicBezTo>
                          <a:pt x="82466" y="96682"/>
                          <a:pt x="82466" y="96682"/>
                          <a:pt x="82466" y="96682"/>
                        </a:cubicBezTo>
                        <a:cubicBezTo>
                          <a:pt x="81409" y="95545"/>
                          <a:pt x="81409" y="95545"/>
                          <a:pt x="81409" y="95545"/>
                        </a:cubicBezTo>
                        <a:cubicBezTo>
                          <a:pt x="81409" y="94407"/>
                          <a:pt x="81409" y="94407"/>
                          <a:pt x="81409" y="94407"/>
                        </a:cubicBezTo>
                        <a:cubicBezTo>
                          <a:pt x="80881" y="92132"/>
                          <a:pt x="80881" y="92132"/>
                          <a:pt x="80881" y="92132"/>
                        </a:cubicBezTo>
                        <a:cubicBezTo>
                          <a:pt x="80881" y="92132"/>
                          <a:pt x="80881" y="92132"/>
                          <a:pt x="80881" y="92132"/>
                        </a:cubicBezTo>
                        <a:cubicBezTo>
                          <a:pt x="80881" y="92132"/>
                          <a:pt x="78766" y="91563"/>
                          <a:pt x="77709" y="90995"/>
                        </a:cubicBezTo>
                        <a:cubicBezTo>
                          <a:pt x="76651" y="90426"/>
                          <a:pt x="76651" y="90426"/>
                          <a:pt x="76651" y="90426"/>
                        </a:cubicBezTo>
                        <a:cubicBezTo>
                          <a:pt x="75594" y="88720"/>
                          <a:pt x="75594" y="88720"/>
                          <a:pt x="75594" y="88720"/>
                        </a:cubicBezTo>
                        <a:cubicBezTo>
                          <a:pt x="75066" y="88151"/>
                          <a:pt x="75066" y="88151"/>
                          <a:pt x="75066" y="88151"/>
                        </a:cubicBezTo>
                        <a:cubicBezTo>
                          <a:pt x="73480" y="86445"/>
                          <a:pt x="73480" y="86445"/>
                          <a:pt x="73480" y="86445"/>
                        </a:cubicBezTo>
                        <a:cubicBezTo>
                          <a:pt x="72951" y="86445"/>
                          <a:pt x="72951" y="86445"/>
                          <a:pt x="72951" y="86445"/>
                        </a:cubicBezTo>
                        <a:cubicBezTo>
                          <a:pt x="70308" y="85308"/>
                          <a:pt x="70308" y="85308"/>
                          <a:pt x="70308" y="85308"/>
                        </a:cubicBezTo>
                        <a:cubicBezTo>
                          <a:pt x="69779" y="84170"/>
                          <a:pt x="69779" y="84170"/>
                          <a:pt x="69779" y="84170"/>
                        </a:cubicBezTo>
                        <a:cubicBezTo>
                          <a:pt x="68722" y="83601"/>
                          <a:pt x="68722" y="83601"/>
                          <a:pt x="68722" y="83601"/>
                        </a:cubicBezTo>
                        <a:cubicBezTo>
                          <a:pt x="68193" y="82464"/>
                          <a:pt x="68193" y="82464"/>
                          <a:pt x="68193" y="82464"/>
                        </a:cubicBezTo>
                        <a:cubicBezTo>
                          <a:pt x="66607" y="81895"/>
                          <a:pt x="66607" y="81895"/>
                          <a:pt x="66607" y="81895"/>
                        </a:cubicBezTo>
                        <a:cubicBezTo>
                          <a:pt x="66079" y="80758"/>
                          <a:pt x="66079" y="80758"/>
                          <a:pt x="66079" y="80758"/>
                        </a:cubicBezTo>
                        <a:cubicBezTo>
                          <a:pt x="65550" y="80189"/>
                          <a:pt x="65550" y="80189"/>
                          <a:pt x="65550" y="80189"/>
                        </a:cubicBezTo>
                        <a:cubicBezTo>
                          <a:pt x="63964" y="77914"/>
                          <a:pt x="63964" y="77914"/>
                          <a:pt x="63964" y="77914"/>
                        </a:cubicBezTo>
                        <a:cubicBezTo>
                          <a:pt x="62378" y="76777"/>
                          <a:pt x="62378" y="76777"/>
                          <a:pt x="62378" y="76777"/>
                        </a:cubicBezTo>
                        <a:cubicBezTo>
                          <a:pt x="61850" y="76208"/>
                          <a:pt x="61850" y="76208"/>
                          <a:pt x="61850" y="76208"/>
                        </a:cubicBezTo>
                        <a:cubicBezTo>
                          <a:pt x="61321" y="75639"/>
                          <a:pt x="61321" y="75639"/>
                          <a:pt x="61321" y="75639"/>
                        </a:cubicBezTo>
                        <a:cubicBezTo>
                          <a:pt x="60264" y="73933"/>
                          <a:pt x="60264" y="73933"/>
                          <a:pt x="60264" y="73933"/>
                        </a:cubicBezTo>
                        <a:cubicBezTo>
                          <a:pt x="58678" y="72227"/>
                          <a:pt x="58678" y="72227"/>
                          <a:pt x="58678" y="72227"/>
                        </a:cubicBezTo>
                        <a:cubicBezTo>
                          <a:pt x="57621" y="71090"/>
                          <a:pt x="57621" y="71090"/>
                          <a:pt x="57621" y="71090"/>
                        </a:cubicBezTo>
                        <a:cubicBezTo>
                          <a:pt x="56563" y="69383"/>
                          <a:pt x="56563" y="69383"/>
                          <a:pt x="56563" y="69383"/>
                        </a:cubicBezTo>
                        <a:cubicBezTo>
                          <a:pt x="57621" y="68246"/>
                          <a:pt x="57621" y="68246"/>
                          <a:pt x="57621" y="68246"/>
                        </a:cubicBezTo>
                        <a:cubicBezTo>
                          <a:pt x="57092" y="67677"/>
                          <a:pt x="56563" y="67677"/>
                          <a:pt x="56563" y="67109"/>
                        </a:cubicBezTo>
                        <a:cubicBezTo>
                          <a:pt x="56035" y="67109"/>
                          <a:pt x="54977" y="66540"/>
                          <a:pt x="55506" y="65971"/>
                        </a:cubicBezTo>
                        <a:cubicBezTo>
                          <a:pt x="55506" y="65402"/>
                          <a:pt x="54977" y="64834"/>
                          <a:pt x="54977" y="63696"/>
                        </a:cubicBezTo>
                        <a:cubicBezTo>
                          <a:pt x="54977" y="63127"/>
                          <a:pt x="54977" y="62559"/>
                          <a:pt x="54449" y="62559"/>
                        </a:cubicBezTo>
                        <a:cubicBezTo>
                          <a:pt x="53920" y="61990"/>
                          <a:pt x="53920" y="61990"/>
                          <a:pt x="53920" y="61990"/>
                        </a:cubicBezTo>
                        <a:cubicBezTo>
                          <a:pt x="53392" y="61990"/>
                          <a:pt x="52863" y="61990"/>
                          <a:pt x="52863" y="61990"/>
                        </a:cubicBezTo>
                        <a:cubicBezTo>
                          <a:pt x="52334" y="61990"/>
                          <a:pt x="52334" y="61990"/>
                          <a:pt x="52334" y="61990"/>
                        </a:cubicBezTo>
                        <a:cubicBezTo>
                          <a:pt x="52334" y="61990"/>
                          <a:pt x="52863" y="60853"/>
                          <a:pt x="52863" y="59715"/>
                        </a:cubicBezTo>
                        <a:cubicBezTo>
                          <a:pt x="50748" y="59146"/>
                          <a:pt x="50748" y="59146"/>
                          <a:pt x="50748" y="59146"/>
                        </a:cubicBezTo>
                        <a:cubicBezTo>
                          <a:pt x="50748" y="59146"/>
                          <a:pt x="50748" y="57440"/>
                          <a:pt x="49691" y="56872"/>
                        </a:cubicBezTo>
                        <a:cubicBezTo>
                          <a:pt x="48634" y="56872"/>
                          <a:pt x="48634" y="56872"/>
                          <a:pt x="48634" y="56872"/>
                        </a:cubicBezTo>
                        <a:cubicBezTo>
                          <a:pt x="48105" y="57440"/>
                          <a:pt x="48105" y="58009"/>
                          <a:pt x="48105" y="58009"/>
                        </a:cubicBezTo>
                        <a:cubicBezTo>
                          <a:pt x="45991" y="55734"/>
                          <a:pt x="45991" y="55734"/>
                          <a:pt x="45991" y="55734"/>
                        </a:cubicBezTo>
                        <a:cubicBezTo>
                          <a:pt x="45991" y="55734"/>
                          <a:pt x="45991" y="55165"/>
                          <a:pt x="46519" y="54028"/>
                        </a:cubicBezTo>
                        <a:cubicBezTo>
                          <a:pt x="47577" y="52890"/>
                          <a:pt x="46519" y="52322"/>
                          <a:pt x="46519" y="52322"/>
                        </a:cubicBezTo>
                        <a:cubicBezTo>
                          <a:pt x="45991" y="50616"/>
                          <a:pt x="45991" y="50616"/>
                          <a:pt x="45991" y="50616"/>
                        </a:cubicBezTo>
                        <a:cubicBezTo>
                          <a:pt x="46519" y="49478"/>
                          <a:pt x="46519" y="49478"/>
                          <a:pt x="46519" y="49478"/>
                        </a:cubicBezTo>
                        <a:cubicBezTo>
                          <a:pt x="45991" y="48909"/>
                          <a:pt x="45991" y="48909"/>
                          <a:pt x="45991" y="48909"/>
                        </a:cubicBezTo>
                        <a:cubicBezTo>
                          <a:pt x="45462" y="48341"/>
                          <a:pt x="45462" y="48341"/>
                          <a:pt x="45462" y="48341"/>
                        </a:cubicBezTo>
                        <a:cubicBezTo>
                          <a:pt x="45462" y="48341"/>
                          <a:pt x="45462" y="48341"/>
                          <a:pt x="45462" y="48341"/>
                        </a:cubicBezTo>
                        <a:cubicBezTo>
                          <a:pt x="45462" y="48341"/>
                          <a:pt x="45462" y="48341"/>
                          <a:pt x="45462" y="48341"/>
                        </a:cubicBezTo>
                        <a:cubicBezTo>
                          <a:pt x="46519" y="46066"/>
                          <a:pt x="46519" y="46066"/>
                          <a:pt x="46519" y="46066"/>
                        </a:cubicBezTo>
                        <a:cubicBezTo>
                          <a:pt x="46519" y="46066"/>
                          <a:pt x="45991" y="43791"/>
                          <a:pt x="46519" y="43222"/>
                        </a:cubicBezTo>
                        <a:cubicBezTo>
                          <a:pt x="46519" y="43222"/>
                          <a:pt x="46519" y="43222"/>
                          <a:pt x="46519" y="43222"/>
                        </a:cubicBezTo>
                        <a:cubicBezTo>
                          <a:pt x="46519" y="42654"/>
                          <a:pt x="46519" y="42654"/>
                          <a:pt x="47048" y="42654"/>
                        </a:cubicBezTo>
                        <a:cubicBezTo>
                          <a:pt x="47048" y="42085"/>
                          <a:pt x="49691" y="41516"/>
                          <a:pt x="49691" y="41516"/>
                        </a:cubicBezTo>
                        <a:cubicBezTo>
                          <a:pt x="50748" y="40947"/>
                          <a:pt x="50748" y="40947"/>
                          <a:pt x="50748" y="40947"/>
                        </a:cubicBezTo>
                        <a:cubicBezTo>
                          <a:pt x="52863" y="43791"/>
                          <a:pt x="52863" y="43791"/>
                          <a:pt x="52863" y="43791"/>
                        </a:cubicBezTo>
                        <a:cubicBezTo>
                          <a:pt x="54977" y="46066"/>
                          <a:pt x="54977" y="46066"/>
                          <a:pt x="54977" y="46066"/>
                        </a:cubicBezTo>
                        <a:cubicBezTo>
                          <a:pt x="56563" y="47203"/>
                          <a:pt x="56563" y="47203"/>
                          <a:pt x="56563" y="47203"/>
                        </a:cubicBezTo>
                        <a:cubicBezTo>
                          <a:pt x="56563" y="47203"/>
                          <a:pt x="57092" y="46635"/>
                          <a:pt x="57621" y="46635"/>
                        </a:cubicBezTo>
                        <a:cubicBezTo>
                          <a:pt x="57621" y="46066"/>
                          <a:pt x="57621" y="44928"/>
                          <a:pt x="57621" y="44928"/>
                        </a:cubicBezTo>
                        <a:cubicBezTo>
                          <a:pt x="58678" y="43791"/>
                          <a:pt x="58678" y="43791"/>
                          <a:pt x="58678" y="43791"/>
                        </a:cubicBezTo>
                        <a:cubicBezTo>
                          <a:pt x="59207" y="42654"/>
                          <a:pt x="59207" y="42654"/>
                          <a:pt x="59207" y="42654"/>
                        </a:cubicBezTo>
                        <a:cubicBezTo>
                          <a:pt x="59207" y="41516"/>
                          <a:pt x="59207" y="41516"/>
                          <a:pt x="59207" y="41516"/>
                        </a:cubicBezTo>
                        <a:cubicBezTo>
                          <a:pt x="60264" y="40947"/>
                          <a:pt x="60264" y="40947"/>
                          <a:pt x="60264" y="40947"/>
                        </a:cubicBezTo>
                        <a:cubicBezTo>
                          <a:pt x="61850" y="40379"/>
                          <a:pt x="61850" y="40379"/>
                          <a:pt x="61850" y="40379"/>
                        </a:cubicBezTo>
                        <a:cubicBezTo>
                          <a:pt x="63964" y="39810"/>
                          <a:pt x="63964" y="39810"/>
                          <a:pt x="63964" y="39810"/>
                        </a:cubicBezTo>
                        <a:cubicBezTo>
                          <a:pt x="63964" y="39810"/>
                          <a:pt x="65550" y="40379"/>
                          <a:pt x="66079" y="40379"/>
                        </a:cubicBezTo>
                        <a:cubicBezTo>
                          <a:pt x="66079" y="40379"/>
                          <a:pt x="66607" y="40379"/>
                          <a:pt x="66607" y="40379"/>
                        </a:cubicBezTo>
                        <a:cubicBezTo>
                          <a:pt x="67665" y="38672"/>
                          <a:pt x="67665" y="38672"/>
                          <a:pt x="67665" y="38672"/>
                        </a:cubicBezTo>
                        <a:cubicBezTo>
                          <a:pt x="67665" y="38672"/>
                          <a:pt x="67665" y="38672"/>
                          <a:pt x="67665" y="38672"/>
                        </a:cubicBezTo>
                        <a:cubicBezTo>
                          <a:pt x="68193" y="37535"/>
                          <a:pt x="68193" y="37535"/>
                          <a:pt x="68193" y="37535"/>
                        </a:cubicBezTo>
                        <a:cubicBezTo>
                          <a:pt x="70837" y="38672"/>
                          <a:pt x="70837" y="38672"/>
                          <a:pt x="70837" y="38672"/>
                        </a:cubicBezTo>
                        <a:cubicBezTo>
                          <a:pt x="71894" y="39810"/>
                          <a:pt x="71894" y="39810"/>
                          <a:pt x="71894" y="39810"/>
                        </a:cubicBezTo>
                        <a:cubicBezTo>
                          <a:pt x="74537" y="40379"/>
                          <a:pt x="74537" y="40379"/>
                          <a:pt x="74537" y="40379"/>
                        </a:cubicBezTo>
                        <a:cubicBezTo>
                          <a:pt x="74537" y="40379"/>
                          <a:pt x="74537" y="40379"/>
                          <a:pt x="74537" y="40379"/>
                        </a:cubicBezTo>
                        <a:cubicBezTo>
                          <a:pt x="75594" y="40379"/>
                          <a:pt x="75594" y="40379"/>
                          <a:pt x="75594" y="40379"/>
                        </a:cubicBezTo>
                        <a:cubicBezTo>
                          <a:pt x="75594" y="39810"/>
                          <a:pt x="75594" y="39810"/>
                          <a:pt x="75594" y="39810"/>
                        </a:cubicBezTo>
                        <a:cubicBezTo>
                          <a:pt x="77709" y="39810"/>
                          <a:pt x="77709" y="39810"/>
                          <a:pt x="77709" y="39810"/>
                        </a:cubicBezTo>
                        <a:cubicBezTo>
                          <a:pt x="80352" y="40379"/>
                          <a:pt x="80352" y="40379"/>
                          <a:pt x="80352" y="40379"/>
                        </a:cubicBezTo>
                        <a:cubicBezTo>
                          <a:pt x="81938" y="40379"/>
                          <a:pt x="81938" y="40379"/>
                          <a:pt x="81938" y="40379"/>
                        </a:cubicBezTo>
                        <a:cubicBezTo>
                          <a:pt x="84581" y="40379"/>
                          <a:pt x="84581" y="40379"/>
                          <a:pt x="84581" y="40379"/>
                        </a:cubicBezTo>
                        <a:cubicBezTo>
                          <a:pt x="86167" y="40947"/>
                          <a:pt x="86167" y="40947"/>
                          <a:pt x="86167" y="40947"/>
                        </a:cubicBezTo>
                        <a:cubicBezTo>
                          <a:pt x="87224" y="41516"/>
                          <a:pt x="87224" y="41516"/>
                          <a:pt x="87224" y="41516"/>
                        </a:cubicBezTo>
                        <a:cubicBezTo>
                          <a:pt x="87224" y="41516"/>
                          <a:pt x="87224" y="41516"/>
                          <a:pt x="87753" y="40947"/>
                        </a:cubicBezTo>
                        <a:cubicBezTo>
                          <a:pt x="87753" y="40947"/>
                          <a:pt x="89339" y="40947"/>
                          <a:pt x="89339" y="40947"/>
                        </a:cubicBezTo>
                        <a:cubicBezTo>
                          <a:pt x="89867" y="39241"/>
                          <a:pt x="89867" y="39241"/>
                          <a:pt x="89867" y="39241"/>
                        </a:cubicBezTo>
                        <a:cubicBezTo>
                          <a:pt x="90396" y="40379"/>
                          <a:pt x="90396" y="40379"/>
                          <a:pt x="90396" y="40379"/>
                        </a:cubicBezTo>
                        <a:cubicBezTo>
                          <a:pt x="90925" y="40379"/>
                          <a:pt x="91982" y="40379"/>
                          <a:pt x="91982" y="40379"/>
                        </a:cubicBezTo>
                        <a:cubicBezTo>
                          <a:pt x="92511" y="38672"/>
                          <a:pt x="92511" y="38672"/>
                          <a:pt x="92511" y="38672"/>
                        </a:cubicBezTo>
                        <a:cubicBezTo>
                          <a:pt x="93039" y="39241"/>
                          <a:pt x="93039" y="39241"/>
                          <a:pt x="93039" y="39241"/>
                        </a:cubicBezTo>
                        <a:cubicBezTo>
                          <a:pt x="93568" y="39241"/>
                          <a:pt x="93568" y="39241"/>
                          <a:pt x="94096" y="39241"/>
                        </a:cubicBezTo>
                        <a:cubicBezTo>
                          <a:pt x="94625" y="39241"/>
                          <a:pt x="95154" y="38672"/>
                          <a:pt x="95154" y="38672"/>
                        </a:cubicBezTo>
                        <a:cubicBezTo>
                          <a:pt x="95154" y="38672"/>
                          <a:pt x="95682" y="39241"/>
                          <a:pt x="95682" y="39241"/>
                        </a:cubicBezTo>
                        <a:cubicBezTo>
                          <a:pt x="95682" y="39241"/>
                          <a:pt x="96211" y="38672"/>
                          <a:pt x="96740" y="38672"/>
                        </a:cubicBezTo>
                        <a:cubicBezTo>
                          <a:pt x="97797" y="38672"/>
                          <a:pt x="98325" y="38104"/>
                          <a:pt x="98325" y="38104"/>
                        </a:cubicBezTo>
                        <a:cubicBezTo>
                          <a:pt x="98325" y="38104"/>
                          <a:pt x="98854" y="39241"/>
                          <a:pt x="99911" y="39810"/>
                        </a:cubicBezTo>
                        <a:cubicBezTo>
                          <a:pt x="99911" y="39810"/>
                          <a:pt x="99911" y="39810"/>
                          <a:pt x="99911" y="39810"/>
                        </a:cubicBezTo>
                        <a:cubicBezTo>
                          <a:pt x="100969" y="39810"/>
                          <a:pt x="100969" y="39810"/>
                          <a:pt x="100969" y="39810"/>
                        </a:cubicBezTo>
                        <a:cubicBezTo>
                          <a:pt x="100969" y="39810"/>
                          <a:pt x="100969" y="39810"/>
                          <a:pt x="100969" y="39810"/>
                        </a:cubicBezTo>
                        <a:cubicBezTo>
                          <a:pt x="100969" y="39810"/>
                          <a:pt x="101497" y="39241"/>
                          <a:pt x="102026" y="39241"/>
                        </a:cubicBezTo>
                        <a:cubicBezTo>
                          <a:pt x="103083" y="39241"/>
                          <a:pt x="103612" y="39241"/>
                          <a:pt x="104140" y="39241"/>
                        </a:cubicBezTo>
                        <a:cubicBezTo>
                          <a:pt x="105198" y="39241"/>
                          <a:pt x="105726" y="40379"/>
                          <a:pt x="105726" y="40379"/>
                        </a:cubicBezTo>
                        <a:cubicBezTo>
                          <a:pt x="107312" y="42085"/>
                          <a:pt x="107312" y="42085"/>
                          <a:pt x="107312" y="42085"/>
                        </a:cubicBezTo>
                        <a:cubicBezTo>
                          <a:pt x="107312" y="42085"/>
                          <a:pt x="107841" y="43222"/>
                          <a:pt x="107841" y="43791"/>
                        </a:cubicBezTo>
                        <a:cubicBezTo>
                          <a:pt x="108370" y="44360"/>
                          <a:pt x="108370" y="44928"/>
                          <a:pt x="108370" y="44928"/>
                        </a:cubicBezTo>
                        <a:cubicBezTo>
                          <a:pt x="108370" y="44928"/>
                          <a:pt x="112599" y="46635"/>
                          <a:pt x="113127" y="46635"/>
                        </a:cubicBezTo>
                        <a:cubicBezTo>
                          <a:pt x="113127" y="46635"/>
                          <a:pt x="113656" y="46635"/>
                          <a:pt x="113656" y="46635"/>
                        </a:cubicBezTo>
                        <a:close/>
                        <a:moveTo>
                          <a:pt x="92511" y="108625"/>
                        </a:moveTo>
                        <a:cubicBezTo>
                          <a:pt x="92511" y="108625"/>
                          <a:pt x="92511" y="108625"/>
                          <a:pt x="92511" y="108625"/>
                        </a:cubicBezTo>
                        <a:cubicBezTo>
                          <a:pt x="93039" y="108625"/>
                          <a:pt x="93039" y="108056"/>
                          <a:pt x="93039" y="108056"/>
                        </a:cubicBezTo>
                        <a:cubicBezTo>
                          <a:pt x="94625" y="108056"/>
                          <a:pt x="94625" y="108056"/>
                          <a:pt x="94625" y="108056"/>
                        </a:cubicBezTo>
                        <a:cubicBezTo>
                          <a:pt x="94625" y="108056"/>
                          <a:pt x="94625" y="108056"/>
                          <a:pt x="94625" y="108056"/>
                        </a:cubicBezTo>
                        <a:cubicBezTo>
                          <a:pt x="96211" y="108625"/>
                          <a:pt x="96211" y="108625"/>
                          <a:pt x="96211" y="108625"/>
                        </a:cubicBezTo>
                        <a:cubicBezTo>
                          <a:pt x="97268" y="109763"/>
                          <a:pt x="97268" y="109763"/>
                          <a:pt x="97268" y="109763"/>
                        </a:cubicBezTo>
                        <a:cubicBezTo>
                          <a:pt x="97797" y="110900"/>
                          <a:pt x="97797" y="110900"/>
                          <a:pt x="97797" y="110900"/>
                        </a:cubicBezTo>
                        <a:cubicBezTo>
                          <a:pt x="98854" y="112037"/>
                          <a:pt x="98854" y="112037"/>
                          <a:pt x="98854" y="112037"/>
                        </a:cubicBezTo>
                        <a:cubicBezTo>
                          <a:pt x="101497" y="113744"/>
                          <a:pt x="101497" y="113744"/>
                          <a:pt x="101497" y="113744"/>
                        </a:cubicBezTo>
                        <a:cubicBezTo>
                          <a:pt x="104669" y="115450"/>
                          <a:pt x="104669" y="115450"/>
                          <a:pt x="104669" y="115450"/>
                        </a:cubicBezTo>
                        <a:cubicBezTo>
                          <a:pt x="104669" y="115450"/>
                          <a:pt x="106784" y="116587"/>
                          <a:pt x="107312" y="116587"/>
                        </a:cubicBezTo>
                        <a:cubicBezTo>
                          <a:pt x="107312" y="116587"/>
                          <a:pt x="107312" y="117156"/>
                          <a:pt x="107841" y="117156"/>
                        </a:cubicBezTo>
                        <a:cubicBezTo>
                          <a:pt x="107841" y="117725"/>
                          <a:pt x="108898" y="119431"/>
                          <a:pt x="108898" y="119431"/>
                        </a:cubicBezTo>
                        <a:cubicBezTo>
                          <a:pt x="109427" y="120000"/>
                          <a:pt x="107841" y="118862"/>
                          <a:pt x="107841" y="118862"/>
                        </a:cubicBezTo>
                        <a:cubicBezTo>
                          <a:pt x="107841" y="118862"/>
                          <a:pt x="107312" y="117725"/>
                          <a:pt x="106784" y="117156"/>
                        </a:cubicBezTo>
                        <a:cubicBezTo>
                          <a:pt x="105726" y="117156"/>
                          <a:pt x="104669" y="117156"/>
                          <a:pt x="104140" y="116587"/>
                        </a:cubicBezTo>
                        <a:cubicBezTo>
                          <a:pt x="103612" y="116018"/>
                          <a:pt x="103612" y="115450"/>
                          <a:pt x="103612" y="115450"/>
                        </a:cubicBezTo>
                        <a:cubicBezTo>
                          <a:pt x="103083" y="115450"/>
                          <a:pt x="103083" y="114312"/>
                          <a:pt x="101497" y="114312"/>
                        </a:cubicBezTo>
                        <a:cubicBezTo>
                          <a:pt x="99911" y="113744"/>
                          <a:pt x="99911" y="114312"/>
                          <a:pt x="99383" y="113175"/>
                        </a:cubicBezTo>
                        <a:cubicBezTo>
                          <a:pt x="98854" y="111469"/>
                          <a:pt x="98854" y="112606"/>
                          <a:pt x="98325" y="111469"/>
                        </a:cubicBezTo>
                        <a:cubicBezTo>
                          <a:pt x="97268" y="110900"/>
                          <a:pt x="97797" y="111469"/>
                          <a:pt x="95682" y="110900"/>
                        </a:cubicBezTo>
                        <a:cubicBezTo>
                          <a:pt x="94096" y="109763"/>
                          <a:pt x="95154" y="110331"/>
                          <a:pt x="95154" y="109763"/>
                        </a:cubicBezTo>
                        <a:cubicBezTo>
                          <a:pt x="94625" y="108625"/>
                          <a:pt x="95154" y="109194"/>
                          <a:pt x="94096" y="109194"/>
                        </a:cubicBezTo>
                        <a:cubicBezTo>
                          <a:pt x="93568" y="108625"/>
                          <a:pt x="94096" y="108625"/>
                          <a:pt x="93568" y="108625"/>
                        </a:cubicBezTo>
                        <a:cubicBezTo>
                          <a:pt x="93568" y="108625"/>
                          <a:pt x="93039" y="109194"/>
                          <a:pt x="92511" y="109194"/>
                        </a:cubicBezTo>
                        <a:cubicBezTo>
                          <a:pt x="92511" y="108625"/>
                          <a:pt x="92511" y="108625"/>
                          <a:pt x="92511" y="108625"/>
                        </a:cubicBezTo>
                        <a:close/>
                        <a:moveTo>
                          <a:pt x="89339" y="112606"/>
                        </a:moveTo>
                        <a:cubicBezTo>
                          <a:pt x="89339" y="112606"/>
                          <a:pt x="89339" y="112606"/>
                          <a:pt x="89339" y="112606"/>
                        </a:cubicBezTo>
                        <a:cubicBezTo>
                          <a:pt x="89339" y="112606"/>
                          <a:pt x="88281" y="112606"/>
                          <a:pt x="87753" y="112606"/>
                        </a:cubicBezTo>
                        <a:cubicBezTo>
                          <a:pt x="87753" y="112606"/>
                          <a:pt x="87224" y="112037"/>
                          <a:pt x="86696" y="112037"/>
                        </a:cubicBezTo>
                        <a:cubicBezTo>
                          <a:pt x="86167" y="112037"/>
                          <a:pt x="85110" y="112037"/>
                          <a:pt x="85110" y="112037"/>
                        </a:cubicBezTo>
                        <a:cubicBezTo>
                          <a:pt x="84581" y="112037"/>
                          <a:pt x="84052" y="111469"/>
                          <a:pt x="84052" y="111469"/>
                        </a:cubicBezTo>
                        <a:cubicBezTo>
                          <a:pt x="84052" y="111469"/>
                          <a:pt x="84052" y="110900"/>
                          <a:pt x="84052" y="110900"/>
                        </a:cubicBezTo>
                        <a:cubicBezTo>
                          <a:pt x="84052" y="110900"/>
                          <a:pt x="85110" y="110331"/>
                          <a:pt x="85110" y="110331"/>
                        </a:cubicBezTo>
                        <a:cubicBezTo>
                          <a:pt x="85110" y="110900"/>
                          <a:pt x="88281" y="111469"/>
                          <a:pt x="88281" y="111469"/>
                        </a:cubicBezTo>
                        <a:cubicBezTo>
                          <a:pt x="90396" y="111469"/>
                          <a:pt x="90396" y="111469"/>
                          <a:pt x="90396" y="111469"/>
                        </a:cubicBezTo>
                        <a:cubicBezTo>
                          <a:pt x="90396" y="111469"/>
                          <a:pt x="90925" y="111469"/>
                          <a:pt x="90925" y="111469"/>
                        </a:cubicBezTo>
                        <a:cubicBezTo>
                          <a:pt x="90925" y="111469"/>
                          <a:pt x="91453" y="111469"/>
                          <a:pt x="91982" y="112037"/>
                        </a:cubicBezTo>
                        <a:cubicBezTo>
                          <a:pt x="92511" y="112037"/>
                          <a:pt x="92511" y="112037"/>
                          <a:pt x="92511" y="112606"/>
                        </a:cubicBezTo>
                        <a:cubicBezTo>
                          <a:pt x="92511" y="112606"/>
                          <a:pt x="93039" y="113175"/>
                          <a:pt x="92511" y="113175"/>
                        </a:cubicBezTo>
                        <a:cubicBezTo>
                          <a:pt x="92511" y="113175"/>
                          <a:pt x="91982" y="113175"/>
                          <a:pt x="91982" y="113175"/>
                        </a:cubicBezTo>
                        <a:cubicBezTo>
                          <a:pt x="91982" y="113175"/>
                          <a:pt x="90925" y="112606"/>
                          <a:pt x="90925" y="112606"/>
                        </a:cubicBezTo>
                        <a:cubicBezTo>
                          <a:pt x="89867" y="112606"/>
                          <a:pt x="89867" y="112606"/>
                          <a:pt x="89867" y="112606"/>
                        </a:cubicBezTo>
                        <a:cubicBezTo>
                          <a:pt x="89339" y="112606"/>
                          <a:pt x="89339" y="112606"/>
                          <a:pt x="89339" y="112606"/>
                        </a:cubicBezTo>
                        <a:close/>
                        <a:moveTo>
                          <a:pt x="72951" y="113175"/>
                        </a:moveTo>
                        <a:cubicBezTo>
                          <a:pt x="72951" y="113175"/>
                          <a:pt x="72951" y="113175"/>
                          <a:pt x="72951" y="113175"/>
                        </a:cubicBezTo>
                        <a:cubicBezTo>
                          <a:pt x="72951" y="113175"/>
                          <a:pt x="75066" y="112606"/>
                          <a:pt x="75066" y="112606"/>
                        </a:cubicBezTo>
                        <a:cubicBezTo>
                          <a:pt x="76123" y="113175"/>
                          <a:pt x="76123" y="113175"/>
                          <a:pt x="76123" y="113175"/>
                        </a:cubicBezTo>
                        <a:cubicBezTo>
                          <a:pt x="76123" y="113175"/>
                          <a:pt x="76123" y="113744"/>
                          <a:pt x="75594" y="113744"/>
                        </a:cubicBezTo>
                        <a:cubicBezTo>
                          <a:pt x="75594" y="113744"/>
                          <a:pt x="74537" y="114881"/>
                          <a:pt x="74537" y="114881"/>
                        </a:cubicBezTo>
                        <a:cubicBezTo>
                          <a:pt x="72951" y="113744"/>
                          <a:pt x="72951" y="113744"/>
                          <a:pt x="72951" y="113744"/>
                        </a:cubicBezTo>
                        <a:cubicBezTo>
                          <a:pt x="72951" y="113175"/>
                          <a:pt x="72951" y="113175"/>
                          <a:pt x="72951" y="113175"/>
                        </a:cubicBezTo>
                        <a:close/>
                        <a:moveTo>
                          <a:pt x="56563" y="110331"/>
                        </a:moveTo>
                        <a:cubicBezTo>
                          <a:pt x="56563" y="110331"/>
                          <a:pt x="56563" y="110331"/>
                          <a:pt x="56563" y="110331"/>
                        </a:cubicBezTo>
                        <a:cubicBezTo>
                          <a:pt x="57092" y="110331"/>
                          <a:pt x="57621" y="109763"/>
                          <a:pt x="57621" y="110331"/>
                        </a:cubicBezTo>
                        <a:cubicBezTo>
                          <a:pt x="57621" y="110900"/>
                          <a:pt x="57092" y="111469"/>
                          <a:pt x="57092" y="111469"/>
                        </a:cubicBezTo>
                        <a:cubicBezTo>
                          <a:pt x="57092" y="111469"/>
                          <a:pt x="56563" y="111469"/>
                          <a:pt x="56563" y="111469"/>
                        </a:cubicBezTo>
                        <a:cubicBezTo>
                          <a:pt x="56563" y="110900"/>
                          <a:pt x="56563" y="110331"/>
                          <a:pt x="56563" y="110331"/>
                        </a:cubicBezTo>
                        <a:close/>
                        <a:moveTo>
                          <a:pt x="59735" y="107488"/>
                        </a:moveTo>
                        <a:cubicBezTo>
                          <a:pt x="59735" y="107488"/>
                          <a:pt x="59735" y="107488"/>
                          <a:pt x="59735" y="107488"/>
                        </a:cubicBezTo>
                        <a:cubicBezTo>
                          <a:pt x="59735" y="107488"/>
                          <a:pt x="60792" y="106919"/>
                          <a:pt x="60792" y="106919"/>
                        </a:cubicBezTo>
                        <a:cubicBezTo>
                          <a:pt x="61321" y="107488"/>
                          <a:pt x="61850" y="107488"/>
                          <a:pt x="61321" y="108056"/>
                        </a:cubicBezTo>
                        <a:cubicBezTo>
                          <a:pt x="61321" y="108056"/>
                          <a:pt x="61321" y="108056"/>
                          <a:pt x="60792" y="108625"/>
                        </a:cubicBezTo>
                        <a:cubicBezTo>
                          <a:pt x="60264" y="109194"/>
                          <a:pt x="59207" y="109763"/>
                          <a:pt x="59207" y="109763"/>
                        </a:cubicBezTo>
                        <a:cubicBezTo>
                          <a:pt x="59207" y="109763"/>
                          <a:pt x="59207" y="109763"/>
                          <a:pt x="58678" y="109763"/>
                        </a:cubicBezTo>
                        <a:cubicBezTo>
                          <a:pt x="57621" y="109194"/>
                          <a:pt x="57092" y="108625"/>
                          <a:pt x="57092" y="108625"/>
                        </a:cubicBezTo>
                        <a:cubicBezTo>
                          <a:pt x="57092" y="108625"/>
                          <a:pt x="56563" y="108056"/>
                          <a:pt x="57621" y="108056"/>
                        </a:cubicBezTo>
                        <a:cubicBezTo>
                          <a:pt x="58149" y="107488"/>
                          <a:pt x="58678" y="107488"/>
                          <a:pt x="58678" y="107488"/>
                        </a:cubicBezTo>
                        <a:cubicBezTo>
                          <a:pt x="59207" y="107488"/>
                          <a:pt x="59735" y="107488"/>
                          <a:pt x="59735" y="107488"/>
                        </a:cubicBezTo>
                        <a:close/>
                        <a:moveTo>
                          <a:pt x="65550" y="101232"/>
                        </a:moveTo>
                        <a:cubicBezTo>
                          <a:pt x="65550" y="101232"/>
                          <a:pt x="65550" y="101232"/>
                          <a:pt x="65550" y="101232"/>
                        </a:cubicBezTo>
                        <a:cubicBezTo>
                          <a:pt x="65550" y="101232"/>
                          <a:pt x="66607" y="100663"/>
                          <a:pt x="66607" y="100663"/>
                        </a:cubicBezTo>
                        <a:cubicBezTo>
                          <a:pt x="66607" y="100663"/>
                          <a:pt x="66607" y="100663"/>
                          <a:pt x="67136" y="100663"/>
                        </a:cubicBezTo>
                        <a:cubicBezTo>
                          <a:pt x="67136" y="100663"/>
                          <a:pt x="67136" y="100663"/>
                          <a:pt x="67665" y="100663"/>
                        </a:cubicBezTo>
                        <a:cubicBezTo>
                          <a:pt x="67665" y="100663"/>
                          <a:pt x="68193" y="100094"/>
                          <a:pt x="68722" y="100663"/>
                        </a:cubicBezTo>
                        <a:cubicBezTo>
                          <a:pt x="69251" y="100663"/>
                          <a:pt x="69251" y="101232"/>
                          <a:pt x="69779" y="101232"/>
                        </a:cubicBezTo>
                        <a:cubicBezTo>
                          <a:pt x="69779" y="101232"/>
                          <a:pt x="70308" y="101232"/>
                          <a:pt x="70308" y="101232"/>
                        </a:cubicBezTo>
                        <a:cubicBezTo>
                          <a:pt x="70837" y="101232"/>
                          <a:pt x="70837" y="101232"/>
                          <a:pt x="71894" y="101232"/>
                        </a:cubicBezTo>
                        <a:cubicBezTo>
                          <a:pt x="72951" y="101232"/>
                          <a:pt x="74537" y="101232"/>
                          <a:pt x="74537" y="101232"/>
                        </a:cubicBezTo>
                        <a:cubicBezTo>
                          <a:pt x="74537" y="101800"/>
                          <a:pt x="75066" y="101232"/>
                          <a:pt x="75594" y="101232"/>
                        </a:cubicBezTo>
                        <a:cubicBezTo>
                          <a:pt x="76651" y="101800"/>
                          <a:pt x="76651" y="101800"/>
                          <a:pt x="76651" y="101800"/>
                        </a:cubicBezTo>
                        <a:cubicBezTo>
                          <a:pt x="77180" y="101800"/>
                          <a:pt x="76651" y="102369"/>
                          <a:pt x="77709" y="101800"/>
                        </a:cubicBezTo>
                        <a:cubicBezTo>
                          <a:pt x="78237" y="101800"/>
                          <a:pt x="78237" y="101800"/>
                          <a:pt x="78237" y="101800"/>
                        </a:cubicBezTo>
                        <a:cubicBezTo>
                          <a:pt x="78237" y="101800"/>
                          <a:pt x="78237" y="101800"/>
                          <a:pt x="78766" y="101232"/>
                        </a:cubicBezTo>
                        <a:cubicBezTo>
                          <a:pt x="79295" y="101232"/>
                          <a:pt x="79823" y="100663"/>
                          <a:pt x="79823" y="100663"/>
                        </a:cubicBezTo>
                        <a:cubicBezTo>
                          <a:pt x="80352" y="100663"/>
                          <a:pt x="80352" y="100663"/>
                          <a:pt x="80352" y="100663"/>
                        </a:cubicBezTo>
                        <a:cubicBezTo>
                          <a:pt x="80352" y="102369"/>
                          <a:pt x="80352" y="102369"/>
                          <a:pt x="80352" y="102369"/>
                        </a:cubicBezTo>
                        <a:cubicBezTo>
                          <a:pt x="80352" y="102369"/>
                          <a:pt x="80352" y="102369"/>
                          <a:pt x="80352" y="102938"/>
                        </a:cubicBezTo>
                        <a:cubicBezTo>
                          <a:pt x="80352" y="102938"/>
                          <a:pt x="79823" y="103507"/>
                          <a:pt x="79295" y="103507"/>
                        </a:cubicBezTo>
                        <a:cubicBezTo>
                          <a:pt x="79295" y="103507"/>
                          <a:pt x="78766" y="102938"/>
                          <a:pt x="78766" y="102938"/>
                        </a:cubicBezTo>
                        <a:cubicBezTo>
                          <a:pt x="78766" y="102369"/>
                          <a:pt x="78237" y="102369"/>
                          <a:pt x="78237" y="102369"/>
                        </a:cubicBezTo>
                        <a:cubicBezTo>
                          <a:pt x="77709" y="102369"/>
                          <a:pt x="77180" y="102938"/>
                          <a:pt x="76651" y="102938"/>
                        </a:cubicBezTo>
                        <a:cubicBezTo>
                          <a:pt x="76651" y="102938"/>
                          <a:pt x="76123" y="102369"/>
                          <a:pt x="76123" y="102369"/>
                        </a:cubicBezTo>
                        <a:cubicBezTo>
                          <a:pt x="76123" y="102369"/>
                          <a:pt x="75066" y="102369"/>
                          <a:pt x="74537" y="102369"/>
                        </a:cubicBezTo>
                        <a:cubicBezTo>
                          <a:pt x="74537" y="102369"/>
                          <a:pt x="74008" y="102369"/>
                          <a:pt x="73480" y="102369"/>
                        </a:cubicBezTo>
                        <a:cubicBezTo>
                          <a:pt x="72951" y="102369"/>
                          <a:pt x="72422" y="102369"/>
                          <a:pt x="71894" y="102369"/>
                        </a:cubicBezTo>
                        <a:cubicBezTo>
                          <a:pt x="71365" y="102938"/>
                          <a:pt x="70308" y="102369"/>
                          <a:pt x="70308" y="102938"/>
                        </a:cubicBezTo>
                        <a:cubicBezTo>
                          <a:pt x="70308" y="102938"/>
                          <a:pt x="70308" y="103507"/>
                          <a:pt x="70308" y="103507"/>
                        </a:cubicBezTo>
                        <a:cubicBezTo>
                          <a:pt x="70308" y="103507"/>
                          <a:pt x="70837" y="104075"/>
                          <a:pt x="70308" y="104075"/>
                        </a:cubicBezTo>
                        <a:cubicBezTo>
                          <a:pt x="69251" y="104075"/>
                          <a:pt x="69251" y="104075"/>
                          <a:pt x="69251" y="103507"/>
                        </a:cubicBezTo>
                        <a:cubicBezTo>
                          <a:pt x="68722" y="102938"/>
                          <a:pt x="69779" y="102369"/>
                          <a:pt x="68193" y="102938"/>
                        </a:cubicBezTo>
                        <a:cubicBezTo>
                          <a:pt x="67136" y="102938"/>
                          <a:pt x="67136" y="102369"/>
                          <a:pt x="66607" y="102369"/>
                        </a:cubicBezTo>
                        <a:cubicBezTo>
                          <a:pt x="66607" y="102938"/>
                          <a:pt x="65550" y="101800"/>
                          <a:pt x="65022" y="102369"/>
                        </a:cubicBezTo>
                        <a:cubicBezTo>
                          <a:pt x="65022" y="102369"/>
                          <a:pt x="64493" y="102938"/>
                          <a:pt x="64493" y="102938"/>
                        </a:cubicBezTo>
                        <a:cubicBezTo>
                          <a:pt x="64493" y="102938"/>
                          <a:pt x="62907" y="102938"/>
                          <a:pt x="62907" y="102938"/>
                        </a:cubicBezTo>
                        <a:cubicBezTo>
                          <a:pt x="62907" y="102938"/>
                          <a:pt x="63436" y="101232"/>
                          <a:pt x="63436" y="101232"/>
                        </a:cubicBezTo>
                        <a:cubicBezTo>
                          <a:pt x="63436" y="101232"/>
                          <a:pt x="63436" y="101232"/>
                          <a:pt x="63964" y="101232"/>
                        </a:cubicBezTo>
                        <a:cubicBezTo>
                          <a:pt x="64493" y="101232"/>
                          <a:pt x="65022" y="101232"/>
                          <a:pt x="65022" y="101232"/>
                        </a:cubicBezTo>
                        <a:cubicBezTo>
                          <a:pt x="65550" y="101232"/>
                          <a:pt x="65550" y="101232"/>
                          <a:pt x="65550" y="101232"/>
                        </a:cubicBezTo>
                        <a:close/>
                        <a:moveTo>
                          <a:pt x="63436" y="97819"/>
                        </a:moveTo>
                        <a:cubicBezTo>
                          <a:pt x="63436" y="97819"/>
                          <a:pt x="63436" y="97819"/>
                          <a:pt x="63436" y="97819"/>
                        </a:cubicBezTo>
                        <a:cubicBezTo>
                          <a:pt x="63436" y="97819"/>
                          <a:pt x="61321" y="96682"/>
                          <a:pt x="61321" y="96682"/>
                        </a:cubicBezTo>
                        <a:cubicBezTo>
                          <a:pt x="60792" y="96682"/>
                          <a:pt x="60264" y="96682"/>
                          <a:pt x="59735" y="96682"/>
                        </a:cubicBezTo>
                        <a:cubicBezTo>
                          <a:pt x="59735" y="96682"/>
                          <a:pt x="58678" y="96113"/>
                          <a:pt x="59207" y="95545"/>
                        </a:cubicBezTo>
                        <a:cubicBezTo>
                          <a:pt x="59207" y="95545"/>
                          <a:pt x="59735" y="94976"/>
                          <a:pt x="60264" y="95545"/>
                        </a:cubicBezTo>
                        <a:cubicBezTo>
                          <a:pt x="60792" y="96113"/>
                          <a:pt x="61321" y="96113"/>
                          <a:pt x="61321" y="96682"/>
                        </a:cubicBezTo>
                        <a:cubicBezTo>
                          <a:pt x="61850" y="96682"/>
                          <a:pt x="62907" y="97251"/>
                          <a:pt x="62907" y="97251"/>
                        </a:cubicBezTo>
                        <a:cubicBezTo>
                          <a:pt x="63436" y="97251"/>
                          <a:pt x="63436" y="97819"/>
                          <a:pt x="63436" y="97251"/>
                        </a:cubicBezTo>
                        <a:cubicBezTo>
                          <a:pt x="63964" y="97251"/>
                          <a:pt x="63964" y="96113"/>
                          <a:pt x="63964" y="96113"/>
                        </a:cubicBezTo>
                        <a:cubicBezTo>
                          <a:pt x="63964" y="95545"/>
                          <a:pt x="63436" y="95545"/>
                          <a:pt x="63436" y="95545"/>
                        </a:cubicBezTo>
                        <a:cubicBezTo>
                          <a:pt x="63964" y="95545"/>
                          <a:pt x="65022" y="94976"/>
                          <a:pt x="65022" y="94976"/>
                        </a:cubicBezTo>
                        <a:cubicBezTo>
                          <a:pt x="65550" y="95545"/>
                          <a:pt x="66079" y="95545"/>
                          <a:pt x="66607" y="95545"/>
                        </a:cubicBezTo>
                        <a:cubicBezTo>
                          <a:pt x="66607" y="95545"/>
                          <a:pt x="66079" y="95545"/>
                          <a:pt x="68193" y="95545"/>
                        </a:cubicBezTo>
                        <a:cubicBezTo>
                          <a:pt x="69779" y="95545"/>
                          <a:pt x="69251" y="95545"/>
                          <a:pt x="70308" y="95545"/>
                        </a:cubicBezTo>
                        <a:cubicBezTo>
                          <a:pt x="70837" y="95545"/>
                          <a:pt x="71894" y="95545"/>
                          <a:pt x="71894" y="95545"/>
                        </a:cubicBezTo>
                        <a:cubicBezTo>
                          <a:pt x="71894" y="96113"/>
                          <a:pt x="72951" y="96682"/>
                          <a:pt x="72951" y="96682"/>
                        </a:cubicBezTo>
                        <a:cubicBezTo>
                          <a:pt x="72951" y="97251"/>
                          <a:pt x="73480" y="97251"/>
                          <a:pt x="72951" y="97819"/>
                        </a:cubicBezTo>
                        <a:cubicBezTo>
                          <a:pt x="71894" y="98388"/>
                          <a:pt x="71894" y="98388"/>
                          <a:pt x="70837" y="98388"/>
                        </a:cubicBezTo>
                        <a:cubicBezTo>
                          <a:pt x="70308" y="98388"/>
                          <a:pt x="70837" y="98388"/>
                          <a:pt x="69779" y="98957"/>
                        </a:cubicBezTo>
                        <a:cubicBezTo>
                          <a:pt x="68193" y="98957"/>
                          <a:pt x="67136" y="98957"/>
                          <a:pt x="67136" y="98957"/>
                        </a:cubicBezTo>
                        <a:cubicBezTo>
                          <a:pt x="67136" y="98957"/>
                          <a:pt x="67665" y="98957"/>
                          <a:pt x="66079" y="98957"/>
                        </a:cubicBezTo>
                        <a:cubicBezTo>
                          <a:pt x="65022" y="98388"/>
                          <a:pt x="64493" y="98957"/>
                          <a:pt x="63964" y="98388"/>
                        </a:cubicBezTo>
                        <a:cubicBezTo>
                          <a:pt x="63964" y="98388"/>
                          <a:pt x="63436" y="97819"/>
                          <a:pt x="63436" y="97819"/>
                        </a:cubicBezTo>
                        <a:close/>
                        <a:moveTo>
                          <a:pt x="26431" y="53459"/>
                        </a:moveTo>
                        <a:cubicBezTo>
                          <a:pt x="26431" y="53459"/>
                          <a:pt x="26431" y="53459"/>
                          <a:pt x="26431" y="53459"/>
                        </a:cubicBezTo>
                        <a:cubicBezTo>
                          <a:pt x="26431" y="53459"/>
                          <a:pt x="26431" y="52890"/>
                          <a:pt x="26431" y="52890"/>
                        </a:cubicBezTo>
                        <a:cubicBezTo>
                          <a:pt x="26431" y="52890"/>
                          <a:pt x="26431" y="52890"/>
                          <a:pt x="26431" y="52890"/>
                        </a:cubicBezTo>
                        <a:cubicBezTo>
                          <a:pt x="26431" y="52890"/>
                          <a:pt x="26960" y="52890"/>
                          <a:pt x="26960" y="52890"/>
                        </a:cubicBezTo>
                        <a:cubicBezTo>
                          <a:pt x="26960" y="53459"/>
                          <a:pt x="26960" y="53459"/>
                          <a:pt x="27488" y="53459"/>
                        </a:cubicBezTo>
                        <a:cubicBezTo>
                          <a:pt x="27488" y="53459"/>
                          <a:pt x="27488" y="53459"/>
                          <a:pt x="28017" y="53459"/>
                        </a:cubicBezTo>
                        <a:cubicBezTo>
                          <a:pt x="28017" y="54028"/>
                          <a:pt x="28017" y="54028"/>
                          <a:pt x="28017" y="54028"/>
                        </a:cubicBezTo>
                        <a:cubicBezTo>
                          <a:pt x="28017" y="54028"/>
                          <a:pt x="28017" y="55165"/>
                          <a:pt x="27488" y="54597"/>
                        </a:cubicBezTo>
                        <a:cubicBezTo>
                          <a:pt x="26960" y="54597"/>
                          <a:pt x="26431" y="54597"/>
                          <a:pt x="26431" y="54028"/>
                        </a:cubicBezTo>
                        <a:cubicBezTo>
                          <a:pt x="26431" y="54028"/>
                          <a:pt x="26431" y="53459"/>
                          <a:pt x="26431" y="53459"/>
                        </a:cubicBezTo>
                        <a:close/>
                        <a:moveTo>
                          <a:pt x="26960" y="58578"/>
                        </a:moveTo>
                        <a:cubicBezTo>
                          <a:pt x="26960" y="58578"/>
                          <a:pt x="26960" y="58578"/>
                          <a:pt x="26960" y="58578"/>
                        </a:cubicBezTo>
                        <a:cubicBezTo>
                          <a:pt x="26960" y="58578"/>
                          <a:pt x="26431" y="58578"/>
                          <a:pt x="26431" y="58578"/>
                        </a:cubicBezTo>
                        <a:cubicBezTo>
                          <a:pt x="26431" y="58578"/>
                          <a:pt x="25374" y="58009"/>
                          <a:pt x="24845" y="58009"/>
                        </a:cubicBezTo>
                        <a:cubicBezTo>
                          <a:pt x="24845" y="57440"/>
                          <a:pt x="24845" y="57440"/>
                          <a:pt x="25374" y="57440"/>
                        </a:cubicBezTo>
                        <a:cubicBezTo>
                          <a:pt x="25374" y="56872"/>
                          <a:pt x="25374" y="56303"/>
                          <a:pt x="25374" y="56303"/>
                        </a:cubicBezTo>
                        <a:cubicBezTo>
                          <a:pt x="25374" y="56303"/>
                          <a:pt x="25903" y="55734"/>
                          <a:pt x="25903" y="55734"/>
                        </a:cubicBezTo>
                        <a:cubicBezTo>
                          <a:pt x="26431" y="55734"/>
                          <a:pt x="26431" y="55734"/>
                          <a:pt x="26431" y="55734"/>
                        </a:cubicBezTo>
                        <a:cubicBezTo>
                          <a:pt x="26431" y="55734"/>
                          <a:pt x="26431" y="55165"/>
                          <a:pt x="26431" y="55165"/>
                        </a:cubicBezTo>
                        <a:cubicBezTo>
                          <a:pt x="26431" y="54597"/>
                          <a:pt x="26960" y="54597"/>
                          <a:pt x="26960" y="54597"/>
                        </a:cubicBezTo>
                        <a:cubicBezTo>
                          <a:pt x="26960" y="54597"/>
                          <a:pt x="28017" y="55734"/>
                          <a:pt x="28017" y="56303"/>
                        </a:cubicBezTo>
                        <a:cubicBezTo>
                          <a:pt x="28017" y="56303"/>
                          <a:pt x="26431" y="56303"/>
                          <a:pt x="26431" y="56303"/>
                        </a:cubicBezTo>
                        <a:cubicBezTo>
                          <a:pt x="26431" y="56303"/>
                          <a:pt x="26431" y="56303"/>
                          <a:pt x="26960" y="57440"/>
                        </a:cubicBezTo>
                        <a:cubicBezTo>
                          <a:pt x="27488" y="58009"/>
                          <a:pt x="27488" y="57440"/>
                          <a:pt x="27488" y="57440"/>
                        </a:cubicBezTo>
                        <a:cubicBezTo>
                          <a:pt x="27488" y="58009"/>
                          <a:pt x="27488" y="58009"/>
                          <a:pt x="28546" y="58009"/>
                        </a:cubicBezTo>
                        <a:cubicBezTo>
                          <a:pt x="29074" y="58578"/>
                          <a:pt x="28546" y="58578"/>
                          <a:pt x="29074" y="59146"/>
                        </a:cubicBezTo>
                        <a:cubicBezTo>
                          <a:pt x="29074" y="59146"/>
                          <a:pt x="28546" y="59715"/>
                          <a:pt x="28546" y="59715"/>
                        </a:cubicBezTo>
                        <a:cubicBezTo>
                          <a:pt x="28017" y="60284"/>
                          <a:pt x="28017" y="59715"/>
                          <a:pt x="28017" y="59715"/>
                        </a:cubicBezTo>
                        <a:cubicBezTo>
                          <a:pt x="28017" y="59715"/>
                          <a:pt x="27488" y="58578"/>
                          <a:pt x="26960" y="58578"/>
                        </a:cubicBezTo>
                        <a:close/>
                        <a:moveTo>
                          <a:pt x="29074" y="66540"/>
                        </a:moveTo>
                        <a:cubicBezTo>
                          <a:pt x="29074" y="66540"/>
                          <a:pt x="29074" y="66540"/>
                          <a:pt x="29074" y="66540"/>
                        </a:cubicBezTo>
                        <a:cubicBezTo>
                          <a:pt x="29074" y="66540"/>
                          <a:pt x="29603" y="65971"/>
                          <a:pt x="29603" y="66540"/>
                        </a:cubicBezTo>
                        <a:cubicBezTo>
                          <a:pt x="30132" y="66540"/>
                          <a:pt x="30132" y="67109"/>
                          <a:pt x="30132" y="67109"/>
                        </a:cubicBezTo>
                        <a:cubicBezTo>
                          <a:pt x="30660" y="67677"/>
                          <a:pt x="31189" y="67677"/>
                          <a:pt x="31718" y="67677"/>
                        </a:cubicBezTo>
                        <a:cubicBezTo>
                          <a:pt x="31718" y="68246"/>
                          <a:pt x="31718" y="68815"/>
                          <a:pt x="31718" y="68815"/>
                        </a:cubicBezTo>
                        <a:cubicBezTo>
                          <a:pt x="31718" y="68815"/>
                          <a:pt x="31189" y="69383"/>
                          <a:pt x="31189" y="68815"/>
                        </a:cubicBezTo>
                        <a:cubicBezTo>
                          <a:pt x="30660" y="68246"/>
                          <a:pt x="30660" y="68246"/>
                          <a:pt x="30660" y="68246"/>
                        </a:cubicBezTo>
                        <a:cubicBezTo>
                          <a:pt x="30660" y="68246"/>
                          <a:pt x="30132" y="67677"/>
                          <a:pt x="30132" y="67677"/>
                        </a:cubicBezTo>
                        <a:cubicBezTo>
                          <a:pt x="30132" y="67677"/>
                          <a:pt x="29074" y="66540"/>
                          <a:pt x="29074" y="66540"/>
                        </a:cubicBezTo>
                        <a:close/>
                        <a:moveTo>
                          <a:pt x="28017" y="68815"/>
                        </a:moveTo>
                        <a:cubicBezTo>
                          <a:pt x="28017" y="68815"/>
                          <a:pt x="28017" y="68815"/>
                          <a:pt x="28017" y="68815"/>
                        </a:cubicBezTo>
                        <a:cubicBezTo>
                          <a:pt x="28017" y="68815"/>
                          <a:pt x="28017" y="68246"/>
                          <a:pt x="28017" y="68246"/>
                        </a:cubicBezTo>
                        <a:cubicBezTo>
                          <a:pt x="28017" y="68246"/>
                          <a:pt x="28546" y="68246"/>
                          <a:pt x="28546" y="68815"/>
                        </a:cubicBezTo>
                        <a:cubicBezTo>
                          <a:pt x="28546" y="68815"/>
                          <a:pt x="29074" y="69383"/>
                          <a:pt x="29074" y="69383"/>
                        </a:cubicBezTo>
                        <a:cubicBezTo>
                          <a:pt x="29074" y="69952"/>
                          <a:pt x="28546" y="69952"/>
                          <a:pt x="28546" y="69952"/>
                        </a:cubicBezTo>
                        <a:cubicBezTo>
                          <a:pt x="28546" y="70521"/>
                          <a:pt x="29074" y="70521"/>
                          <a:pt x="28546" y="70521"/>
                        </a:cubicBezTo>
                        <a:cubicBezTo>
                          <a:pt x="28017" y="70521"/>
                          <a:pt x="28017" y="70521"/>
                          <a:pt x="28017" y="70521"/>
                        </a:cubicBezTo>
                        <a:cubicBezTo>
                          <a:pt x="28017" y="70521"/>
                          <a:pt x="28017" y="69952"/>
                          <a:pt x="28017" y="69952"/>
                        </a:cubicBezTo>
                        <a:cubicBezTo>
                          <a:pt x="28017" y="69383"/>
                          <a:pt x="28017" y="68815"/>
                          <a:pt x="28017" y="68815"/>
                        </a:cubicBezTo>
                        <a:close/>
                        <a:moveTo>
                          <a:pt x="25903" y="68815"/>
                        </a:moveTo>
                        <a:cubicBezTo>
                          <a:pt x="25903" y="68815"/>
                          <a:pt x="25903" y="68815"/>
                          <a:pt x="25903" y="68815"/>
                        </a:cubicBezTo>
                        <a:cubicBezTo>
                          <a:pt x="25903" y="68815"/>
                          <a:pt x="26431" y="68815"/>
                          <a:pt x="26431" y="69383"/>
                        </a:cubicBezTo>
                        <a:cubicBezTo>
                          <a:pt x="26431" y="69383"/>
                          <a:pt x="26960" y="69383"/>
                          <a:pt x="26960" y="69952"/>
                        </a:cubicBezTo>
                        <a:cubicBezTo>
                          <a:pt x="26960" y="69952"/>
                          <a:pt x="26960" y="69952"/>
                          <a:pt x="26960" y="70521"/>
                        </a:cubicBezTo>
                        <a:cubicBezTo>
                          <a:pt x="26960" y="71090"/>
                          <a:pt x="27488" y="71090"/>
                          <a:pt x="26960" y="71090"/>
                        </a:cubicBezTo>
                        <a:cubicBezTo>
                          <a:pt x="26431" y="70521"/>
                          <a:pt x="26431" y="70521"/>
                          <a:pt x="26431" y="70521"/>
                        </a:cubicBezTo>
                        <a:cubicBezTo>
                          <a:pt x="25903" y="69952"/>
                          <a:pt x="25903" y="69952"/>
                          <a:pt x="25903" y="69952"/>
                        </a:cubicBezTo>
                        <a:cubicBezTo>
                          <a:pt x="25903" y="69383"/>
                          <a:pt x="25903" y="69383"/>
                          <a:pt x="25903" y="69383"/>
                        </a:cubicBezTo>
                        <a:cubicBezTo>
                          <a:pt x="25903" y="68815"/>
                          <a:pt x="25903" y="68815"/>
                          <a:pt x="25903" y="68815"/>
                        </a:cubicBezTo>
                        <a:close/>
                        <a:moveTo>
                          <a:pt x="17973" y="65971"/>
                        </a:moveTo>
                        <a:cubicBezTo>
                          <a:pt x="17973" y="65971"/>
                          <a:pt x="17973" y="65971"/>
                          <a:pt x="17973" y="65971"/>
                        </a:cubicBezTo>
                        <a:cubicBezTo>
                          <a:pt x="17973" y="65971"/>
                          <a:pt x="18502" y="65971"/>
                          <a:pt x="18502" y="65971"/>
                        </a:cubicBezTo>
                        <a:cubicBezTo>
                          <a:pt x="19030" y="66540"/>
                          <a:pt x="18502" y="66540"/>
                          <a:pt x="19030" y="67109"/>
                        </a:cubicBezTo>
                        <a:cubicBezTo>
                          <a:pt x="19030" y="67109"/>
                          <a:pt x="18502" y="67677"/>
                          <a:pt x="18502" y="67677"/>
                        </a:cubicBezTo>
                        <a:cubicBezTo>
                          <a:pt x="17973" y="67109"/>
                          <a:pt x="17973" y="67109"/>
                          <a:pt x="17973" y="67109"/>
                        </a:cubicBezTo>
                        <a:cubicBezTo>
                          <a:pt x="17973" y="65971"/>
                          <a:pt x="17973" y="65971"/>
                          <a:pt x="17973" y="65971"/>
                        </a:cubicBezTo>
                        <a:close/>
                        <a:moveTo>
                          <a:pt x="17973" y="63696"/>
                        </a:moveTo>
                        <a:cubicBezTo>
                          <a:pt x="17973" y="63696"/>
                          <a:pt x="17973" y="63696"/>
                          <a:pt x="17973" y="63696"/>
                        </a:cubicBezTo>
                        <a:cubicBezTo>
                          <a:pt x="17973" y="63696"/>
                          <a:pt x="16916" y="63696"/>
                          <a:pt x="16916" y="63696"/>
                        </a:cubicBezTo>
                        <a:cubicBezTo>
                          <a:pt x="16916" y="63696"/>
                          <a:pt x="16387" y="63696"/>
                          <a:pt x="16387" y="63127"/>
                        </a:cubicBezTo>
                        <a:cubicBezTo>
                          <a:pt x="16387" y="63127"/>
                          <a:pt x="16387" y="62559"/>
                          <a:pt x="16916" y="62559"/>
                        </a:cubicBezTo>
                        <a:cubicBezTo>
                          <a:pt x="16916" y="62559"/>
                          <a:pt x="16916" y="61990"/>
                          <a:pt x="16916" y="61421"/>
                        </a:cubicBezTo>
                        <a:cubicBezTo>
                          <a:pt x="16916" y="61421"/>
                          <a:pt x="17444" y="61421"/>
                          <a:pt x="17444" y="61421"/>
                        </a:cubicBezTo>
                        <a:cubicBezTo>
                          <a:pt x="17444" y="61421"/>
                          <a:pt x="17973" y="61990"/>
                          <a:pt x="17973" y="61990"/>
                        </a:cubicBezTo>
                        <a:cubicBezTo>
                          <a:pt x="17973" y="61990"/>
                          <a:pt x="17973" y="63127"/>
                          <a:pt x="17973" y="63696"/>
                        </a:cubicBezTo>
                        <a:close/>
                        <a:moveTo>
                          <a:pt x="17973" y="50616"/>
                        </a:moveTo>
                        <a:cubicBezTo>
                          <a:pt x="17973" y="50616"/>
                          <a:pt x="17973" y="50616"/>
                          <a:pt x="17973" y="50616"/>
                        </a:cubicBezTo>
                        <a:cubicBezTo>
                          <a:pt x="17973" y="50616"/>
                          <a:pt x="19030" y="50616"/>
                          <a:pt x="19030" y="50616"/>
                        </a:cubicBezTo>
                        <a:cubicBezTo>
                          <a:pt x="19030" y="50616"/>
                          <a:pt x="19030" y="51184"/>
                          <a:pt x="19030" y="51753"/>
                        </a:cubicBezTo>
                        <a:cubicBezTo>
                          <a:pt x="19559" y="51753"/>
                          <a:pt x="19559" y="52322"/>
                          <a:pt x="19559" y="52322"/>
                        </a:cubicBezTo>
                        <a:cubicBezTo>
                          <a:pt x="20088" y="52322"/>
                          <a:pt x="20088" y="52322"/>
                          <a:pt x="20088" y="52322"/>
                        </a:cubicBezTo>
                        <a:cubicBezTo>
                          <a:pt x="20088" y="52322"/>
                          <a:pt x="20616" y="51753"/>
                          <a:pt x="20616" y="52322"/>
                        </a:cubicBezTo>
                        <a:cubicBezTo>
                          <a:pt x="21145" y="52322"/>
                          <a:pt x="21674" y="51753"/>
                          <a:pt x="21674" y="51753"/>
                        </a:cubicBezTo>
                        <a:cubicBezTo>
                          <a:pt x="21674" y="51753"/>
                          <a:pt x="22202" y="52322"/>
                          <a:pt x="22202" y="52322"/>
                        </a:cubicBezTo>
                        <a:cubicBezTo>
                          <a:pt x="22202" y="52890"/>
                          <a:pt x="21674" y="53459"/>
                          <a:pt x="21674" y="53459"/>
                        </a:cubicBezTo>
                        <a:cubicBezTo>
                          <a:pt x="21145" y="53459"/>
                          <a:pt x="20616" y="52890"/>
                          <a:pt x="20616" y="52890"/>
                        </a:cubicBezTo>
                        <a:cubicBezTo>
                          <a:pt x="20616" y="52890"/>
                          <a:pt x="20088" y="52322"/>
                          <a:pt x="20088" y="52890"/>
                        </a:cubicBezTo>
                        <a:cubicBezTo>
                          <a:pt x="20088" y="52890"/>
                          <a:pt x="20088" y="53459"/>
                          <a:pt x="20088" y="54028"/>
                        </a:cubicBezTo>
                        <a:cubicBezTo>
                          <a:pt x="20616" y="54028"/>
                          <a:pt x="20616" y="54028"/>
                          <a:pt x="20616" y="54597"/>
                        </a:cubicBezTo>
                        <a:cubicBezTo>
                          <a:pt x="20088" y="54597"/>
                          <a:pt x="20088" y="55165"/>
                          <a:pt x="20088" y="55165"/>
                        </a:cubicBezTo>
                        <a:cubicBezTo>
                          <a:pt x="20088" y="55734"/>
                          <a:pt x="20616" y="56303"/>
                          <a:pt x="20616" y="56303"/>
                        </a:cubicBezTo>
                        <a:cubicBezTo>
                          <a:pt x="20616" y="56303"/>
                          <a:pt x="20616" y="56303"/>
                          <a:pt x="20616" y="56872"/>
                        </a:cubicBezTo>
                        <a:cubicBezTo>
                          <a:pt x="20616" y="56872"/>
                          <a:pt x="21145" y="57440"/>
                          <a:pt x="21145" y="57440"/>
                        </a:cubicBezTo>
                        <a:cubicBezTo>
                          <a:pt x="21145" y="58009"/>
                          <a:pt x="21145" y="58578"/>
                          <a:pt x="21145" y="58578"/>
                        </a:cubicBezTo>
                        <a:cubicBezTo>
                          <a:pt x="21674" y="59146"/>
                          <a:pt x="21674" y="59146"/>
                          <a:pt x="21674" y="59146"/>
                        </a:cubicBezTo>
                        <a:cubicBezTo>
                          <a:pt x="21145" y="60284"/>
                          <a:pt x="21145" y="60284"/>
                          <a:pt x="21145" y="60284"/>
                        </a:cubicBezTo>
                        <a:cubicBezTo>
                          <a:pt x="21145" y="60284"/>
                          <a:pt x="21674" y="60853"/>
                          <a:pt x="21674" y="60853"/>
                        </a:cubicBezTo>
                        <a:cubicBezTo>
                          <a:pt x="21674" y="61421"/>
                          <a:pt x="22731" y="61990"/>
                          <a:pt x="22731" y="62559"/>
                        </a:cubicBezTo>
                        <a:cubicBezTo>
                          <a:pt x="22731" y="62559"/>
                          <a:pt x="22731" y="63696"/>
                          <a:pt x="22202" y="63696"/>
                        </a:cubicBezTo>
                        <a:cubicBezTo>
                          <a:pt x="22202" y="63696"/>
                          <a:pt x="21674" y="64265"/>
                          <a:pt x="21674" y="63696"/>
                        </a:cubicBezTo>
                        <a:cubicBezTo>
                          <a:pt x="21145" y="63127"/>
                          <a:pt x="20616" y="61990"/>
                          <a:pt x="20616" y="61990"/>
                        </a:cubicBezTo>
                        <a:cubicBezTo>
                          <a:pt x="20616" y="61990"/>
                          <a:pt x="20616" y="61990"/>
                          <a:pt x="20616" y="61990"/>
                        </a:cubicBezTo>
                        <a:cubicBezTo>
                          <a:pt x="20616" y="62559"/>
                          <a:pt x="20088" y="63127"/>
                          <a:pt x="20088" y="63127"/>
                        </a:cubicBezTo>
                        <a:cubicBezTo>
                          <a:pt x="20088" y="63696"/>
                          <a:pt x="21145" y="64265"/>
                          <a:pt x="21145" y="64265"/>
                        </a:cubicBezTo>
                        <a:cubicBezTo>
                          <a:pt x="21145" y="64265"/>
                          <a:pt x="20616" y="63127"/>
                          <a:pt x="21145" y="64265"/>
                        </a:cubicBezTo>
                        <a:cubicBezTo>
                          <a:pt x="21674" y="65402"/>
                          <a:pt x="22202" y="65971"/>
                          <a:pt x="22202" y="65971"/>
                        </a:cubicBezTo>
                        <a:cubicBezTo>
                          <a:pt x="22202" y="65971"/>
                          <a:pt x="22731" y="66540"/>
                          <a:pt x="23259" y="66540"/>
                        </a:cubicBezTo>
                        <a:cubicBezTo>
                          <a:pt x="23259" y="67109"/>
                          <a:pt x="23259" y="67109"/>
                          <a:pt x="23788" y="67677"/>
                        </a:cubicBezTo>
                        <a:cubicBezTo>
                          <a:pt x="23788" y="67677"/>
                          <a:pt x="24317" y="68246"/>
                          <a:pt x="23788" y="68246"/>
                        </a:cubicBezTo>
                        <a:cubicBezTo>
                          <a:pt x="23259" y="68815"/>
                          <a:pt x="23788" y="68815"/>
                          <a:pt x="23259" y="68815"/>
                        </a:cubicBezTo>
                        <a:cubicBezTo>
                          <a:pt x="23259" y="68246"/>
                          <a:pt x="22731" y="68246"/>
                          <a:pt x="22731" y="67677"/>
                        </a:cubicBezTo>
                        <a:cubicBezTo>
                          <a:pt x="22731" y="67109"/>
                          <a:pt x="22202" y="66540"/>
                          <a:pt x="22202" y="65971"/>
                        </a:cubicBezTo>
                        <a:cubicBezTo>
                          <a:pt x="21674" y="65971"/>
                          <a:pt x="21145" y="65402"/>
                          <a:pt x="21145" y="65402"/>
                        </a:cubicBezTo>
                        <a:cubicBezTo>
                          <a:pt x="20616" y="65402"/>
                          <a:pt x="20616" y="64834"/>
                          <a:pt x="20616" y="64834"/>
                        </a:cubicBezTo>
                        <a:cubicBezTo>
                          <a:pt x="20616" y="64834"/>
                          <a:pt x="20088" y="64834"/>
                          <a:pt x="20088" y="64834"/>
                        </a:cubicBezTo>
                        <a:cubicBezTo>
                          <a:pt x="20088" y="64834"/>
                          <a:pt x="19030" y="64834"/>
                          <a:pt x="19030" y="64834"/>
                        </a:cubicBezTo>
                        <a:cubicBezTo>
                          <a:pt x="19030" y="64265"/>
                          <a:pt x="19030" y="64265"/>
                          <a:pt x="19559" y="63696"/>
                        </a:cubicBezTo>
                        <a:cubicBezTo>
                          <a:pt x="19559" y="63696"/>
                          <a:pt x="20088" y="63696"/>
                          <a:pt x="20088" y="63696"/>
                        </a:cubicBezTo>
                        <a:cubicBezTo>
                          <a:pt x="20088" y="63696"/>
                          <a:pt x="19559" y="63127"/>
                          <a:pt x="19559" y="63127"/>
                        </a:cubicBezTo>
                        <a:cubicBezTo>
                          <a:pt x="19559" y="63127"/>
                          <a:pt x="19559" y="62559"/>
                          <a:pt x="19559" y="62559"/>
                        </a:cubicBezTo>
                        <a:cubicBezTo>
                          <a:pt x="19030" y="62559"/>
                          <a:pt x="19030" y="63127"/>
                          <a:pt x="19030" y="62559"/>
                        </a:cubicBezTo>
                        <a:cubicBezTo>
                          <a:pt x="19030" y="61990"/>
                          <a:pt x="19030" y="61990"/>
                          <a:pt x="19030" y="61421"/>
                        </a:cubicBezTo>
                        <a:cubicBezTo>
                          <a:pt x="19030" y="61421"/>
                          <a:pt x="19030" y="60284"/>
                          <a:pt x="19030" y="60284"/>
                        </a:cubicBezTo>
                        <a:cubicBezTo>
                          <a:pt x="19559" y="60853"/>
                          <a:pt x="19559" y="60853"/>
                          <a:pt x="19559" y="60853"/>
                        </a:cubicBezTo>
                        <a:cubicBezTo>
                          <a:pt x="20088" y="59715"/>
                          <a:pt x="20088" y="59715"/>
                          <a:pt x="20088" y="59715"/>
                        </a:cubicBezTo>
                        <a:cubicBezTo>
                          <a:pt x="20088" y="59715"/>
                          <a:pt x="20088" y="59715"/>
                          <a:pt x="19559" y="59715"/>
                        </a:cubicBezTo>
                        <a:cubicBezTo>
                          <a:pt x="19030" y="59715"/>
                          <a:pt x="19030" y="58578"/>
                          <a:pt x="19030" y="58578"/>
                        </a:cubicBezTo>
                        <a:cubicBezTo>
                          <a:pt x="19030" y="58578"/>
                          <a:pt x="19030" y="58009"/>
                          <a:pt x="19030" y="58009"/>
                        </a:cubicBezTo>
                        <a:cubicBezTo>
                          <a:pt x="19030" y="58009"/>
                          <a:pt x="18502" y="58009"/>
                          <a:pt x="18502" y="57440"/>
                        </a:cubicBezTo>
                        <a:cubicBezTo>
                          <a:pt x="17973" y="56872"/>
                          <a:pt x="17973" y="56303"/>
                          <a:pt x="17973" y="56303"/>
                        </a:cubicBezTo>
                        <a:cubicBezTo>
                          <a:pt x="17973" y="56303"/>
                          <a:pt x="18502" y="56303"/>
                          <a:pt x="17973" y="55734"/>
                        </a:cubicBezTo>
                        <a:cubicBezTo>
                          <a:pt x="17973" y="55165"/>
                          <a:pt x="17973" y="55165"/>
                          <a:pt x="17444" y="55165"/>
                        </a:cubicBezTo>
                        <a:cubicBezTo>
                          <a:pt x="17444" y="54597"/>
                          <a:pt x="17444" y="54028"/>
                          <a:pt x="17973" y="54028"/>
                        </a:cubicBezTo>
                        <a:cubicBezTo>
                          <a:pt x="17973" y="54028"/>
                          <a:pt x="17973" y="54028"/>
                          <a:pt x="18502" y="54028"/>
                        </a:cubicBezTo>
                        <a:cubicBezTo>
                          <a:pt x="18502" y="54597"/>
                          <a:pt x="19030" y="54597"/>
                          <a:pt x="19030" y="54597"/>
                        </a:cubicBezTo>
                        <a:cubicBezTo>
                          <a:pt x="19030" y="54028"/>
                          <a:pt x="19559" y="53459"/>
                          <a:pt x="19030" y="53459"/>
                        </a:cubicBezTo>
                        <a:cubicBezTo>
                          <a:pt x="19030" y="52890"/>
                          <a:pt x="18502" y="52322"/>
                          <a:pt x="18502" y="52322"/>
                        </a:cubicBezTo>
                        <a:cubicBezTo>
                          <a:pt x="17973" y="51753"/>
                          <a:pt x="17973" y="51753"/>
                          <a:pt x="17973" y="51753"/>
                        </a:cubicBezTo>
                        <a:cubicBezTo>
                          <a:pt x="17973" y="51753"/>
                          <a:pt x="17973" y="51753"/>
                          <a:pt x="17973" y="51184"/>
                        </a:cubicBezTo>
                        <a:cubicBezTo>
                          <a:pt x="17973" y="51184"/>
                          <a:pt x="17973" y="50616"/>
                          <a:pt x="17973" y="50616"/>
                        </a:cubicBezTo>
                        <a:close/>
                        <a:moveTo>
                          <a:pt x="17444" y="50616"/>
                        </a:moveTo>
                        <a:cubicBezTo>
                          <a:pt x="17444" y="50616"/>
                          <a:pt x="17444" y="50616"/>
                          <a:pt x="17444" y="50616"/>
                        </a:cubicBezTo>
                        <a:cubicBezTo>
                          <a:pt x="17444" y="50616"/>
                          <a:pt x="16916" y="50047"/>
                          <a:pt x="16916" y="49478"/>
                        </a:cubicBezTo>
                        <a:cubicBezTo>
                          <a:pt x="16916" y="49478"/>
                          <a:pt x="16916" y="49478"/>
                          <a:pt x="16916" y="48909"/>
                        </a:cubicBezTo>
                        <a:cubicBezTo>
                          <a:pt x="16916" y="48341"/>
                          <a:pt x="16387" y="48341"/>
                          <a:pt x="16387" y="47772"/>
                        </a:cubicBezTo>
                        <a:cubicBezTo>
                          <a:pt x="16916" y="47772"/>
                          <a:pt x="16916" y="47203"/>
                          <a:pt x="16916" y="47203"/>
                        </a:cubicBezTo>
                        <a:cubicBezTo>
                          <a:pt x="17444" y="46635"/>
                          <a:pt x="17973" y="46635"/>
                          <a:pt x="17973" y="47203"/>
                        </a:cubicBezTo>
                        <a:cubicBezTo>
                          <a:pt x="17973" y="47203"/>
                          <a:pt x="17973" y="47772"/>
                          <a:pt x="17973" y="48341"/>
                        </a:cubicBezTo>
                        <a:cubicBezTo>
                          <a:pt x="17973" y="48341"/>
                          <a:pt x="17973" y="48909"/>
                          <a:pt x="17973" y="48909"/>
                        </a:cubicBezTo>
                        <a:cubicBezTo>
                          <a:pt x="17973" y="49478"/>
                          <a:pt x="18502" y="49478"/>
                          <a:pt x="18502" y="49478"/>
                        </a:cubicBezTo>
                        <a:cubicBezTo>
                          <a:pt x="18502" y="50047"/>
                          <a:pt x="18502" y="50616"/>
                          <a:pt x="18502" y="50616"/>
                        </a:cubicBezTo>
                        <a:lnTo>
                          <a:pt x="17444" y="50616"/>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7" name="Shape 2023"/>
                  <p:cNvSpPr/>
                  <p:nvPr/>
                </p:nvSpPr>
                <p:spPr>
                  <a:xfrm>
                    <a:off x="5794467" y="3262800"/>
                    <a:ext cx="424380" cy="437886"/>
                  </a:xfrm>
                  <a:custGeom>
                    <a:avLst/>
                    <a:gdLst/>
                    <a:ahLst/>
                    <a:cxnLst/>
                    <a:rect l="0" t="0" r="0" b="0"/>
                    <a:pathLst>
                      <a:path w="120000" h="120000" extrusionOk="0">
                        <a:moveTo>
                          <a:pt x="7096" y="8484"/>
                        </a:moveTo>
                        <a:cubicBezTo>
                          <a:pt x="7096" y="8484"/>
                          <a:pt x="7096" y="8484"/>
                          <a:pt x="7096" y="8484"/>
                        </a:cubicBezTo>
                        <a:cubicBezTo>
                          <a:pt x="7096" y="8484"/>
                          <a:pt x="7096" y="8484"/>
                          <a:pt x="7096" y="8484"/>
                        </a:cubicBezTo>
                        <a:cubicBezTo>
                          <a:pt x="7741" y="8484"/>
                          <a:pt x="7741" y="8484"/>
                          <a:pt x="8387" y="8484"/>
                        </a:cubicBezTo>
                        <a:cubicBezTo>
                          <a:pt x="9677" y="8484"/>
                          <a:pt x="10322" y="8484"/>
                          <a:pt x="10322" y="8484"/>
                        </a:cubicBezTo>
                        <a:cubicBezTo>
                          <a:pt x="10967" y="6666"/>
                          <a:pt x="10967" y="6666"/>
                          <a:pt x="10967" y="6666"/>
                        </a:cubicBezTo>
                        <a:cubicBezTo>
                          <a:pt x="12258" y="6060"/>
                          <a:pt x="12258" y="6060"/>
                          <a:pt x="12258" y="6060"/>
                        </a:cubicBezTo>
                        <a:cubicBezTo>
                          <a:pt x="12258" y="6060"/>
                          <a:pt x="14193" y="3636"/>
                          <a:pt x="14838" y="3636"/>
                        </a:cubicBezTo>
                        <a:cubicBezTo>
                          <a:pt x="16129" y="3636"/>
                          <a:pt x="14838" y="2424"/>
                          <a:pt x="14838" y="2424"/>
                        </a:cubicBezTo>
                        <a:cubicBezTo>
                          <a:pt x="14838" y="2424"/>
                          <a:pt x="18064" y="1212"/>
                          <a:pt x="19354" y="1212"/>
                        </a:cubicBezTo>
                        <a:cubicBezTo>
                          <a:pt x="19354" y="1212"/>
                          <a:pt x="19354" y="1212"/>
                          <a:pt x="20000" y="1212"/>
                        </a:cubicBezTo>
                        <a:cubicBezTo>
                          <a:pt x="20645" y="1212"/>
                          <a:pt x="20645" y="1818"/>
                          <a:pt x="20645" y="1818"/>
                        </a:cubicBezTo>
                        <a:cubicBezTo>
                          <a:pt x="23225" y="606"/>
                          <a:pt x="23225" y="606"/>
                          <a:pt x="23225" y="606"/>
                        </a:cubicBezTo>
                        <a:cubicBezTo>
                          <a:pt x="23225" y="606"/>
                          <a:pt x="27096" y="0"/>
                          <a:pt x="27741" y="0"/>
                        </a:cubicBezTo>
                        <a:cubicBezTo>
                          <a:pt x="28387" y="0"/>
                          <a:pt x="29677" y="606"/>
                          <a:pt x="29677" y="606"/>
                        </a:cubicBezTo>
                        <a:cubicBezTo>
                          <a:pt x="30967" y="606"/>
                          <a:pt x="30967" y="606"/>
                          <a:pt x="30967" y="606"/>
                        </a:cubicBezTo>
                        <a:cubicBezTo>
                          <a:pt x="30967" y="606"/>
                          <a:pt x="31612" y="1212"/>
                          <a:pt x="32258" y="1212"/>
                        </a:cubicBezTo>
                        <a:cubicBezTo>
                          <a:pt x="33548" y="1818"/>
                          <a:pt x="34193" y="3636"/>
                          <a:pt x="34838" y="3636"/>
                        </a:cubicBezTo>
                        <a:cubicBezTo>
                          <a:pt x="36129" y="4242"/>
                          <a:pt x="37419" y="4242"/>
                          <a:pt x="38064" y="4242"/>
                        </a:cubicBezTo>
                        <a:cubicBezTo>
                          <a:pt x="38709" y="4848"/>
                          <a:pt x="40000" y="5454"/>
                          <a:pt x="40000" y="5454"/>
                        </a:cubicBezTo>
                        <a:cubicBezTo>
                          <a:pt x="40000" y="5454"/>
                          <a:pt x="43225" y="8484"/>
                          <a:pt x="43870" y="8484"/>
                        </a:cubicBezTo>
                        <a:cubicBezTo>
                          <a:pt x="44516" y="8484"/>
                          <a:pt x="44516" y="8484"/>
                          <a:pt x="45161" y="9696"/>
                        </a:cubicBezTo>
                        <a:cubicBezTo>
                          <a:pt x="45806" y="10303"/>
                          <a:pt x="47741" y="9696"/>
                          <a:pt x="47741" y="9696"/>
                        </a:cubicBezTo>
                        <a:cubicBezTo>
                          <a:pt x="47741" y="9696"/>
                          <a:pt x="48387" y="11515"/>
                          <a:pt x="47741" y="12121"/>
                        </a:cubicBezTo>
                        <a:cubicBezTo>
                          <a:pt x="47741" y="12727"/>
                          <a:pt x="47741" y="14545"/>
                          <a:pt x="47741" y="14545"/>
                        </a:cubicBezTo>
                        <a:cubicBezTo>
                          <a:pt x="47741" y="14545"/>
                          <a:pt x="47741" y="15151"/>
                          <a:pt x="47741" y="15757"/>
                        </a:cubicBezTo>
                        <a:cubicBezTo>
                          <a:pt x="48387" y="16969"/>
                          <a:pt x="49032" y="16969"/>
                          <a:pt x="49032" y="18181"/>
                        </a:cubicBezTo>
                        <a:cubicBezTo>
                          <a:pt x="49677" y="18787"/>
                          <a:pt x="49032" y="18787"/>
                          <a:pt x="49677" y="19393"/>
                        </a:cubicBezTo>
                        <a:cubicBezTo>
                          <a:pt x="50322" y="20000"/>
                          <a:pt x="50967" y="21212"/>
                          <a:pt x="51612" y="21212"/>
                        </a:cubicBezTo>
                        <a:cubicBezTo>
                          <a:pt x="52258" y="21212"/>
                          <a:pt x="52903" y="21212"/>
                          <a:pt x="54838" y="21818"/>
                        </a:cubicBezTo>
                        <a:cubicBezTo>
                          <a:pt x="56774" y="23030"/>
                          <a:pt x="57419" y="23030"/>
                          <a:pt x="58064" y="23636"/>
                        </a:cubicBezTo>
                        <a:cubicBezTo>
                          <a:pt x="59354" y="24242"/>
                          <a:pt x="58709" y="23636"/>
                          <a:pt x="60645" y="24242"/>
                        </a:cubicBezTo>
                        <a:cubicBezTo>
                          <a:pt x="63225" y="24848"/>
                          <a:pt x="62580" y="24242"/>
                          <a:pt x="63225" y="24848"/>
                        </a:cubicBezTo>
                        <a:cubicBezTo>
                          <a:pt x="63870" y="24848"/>
                          <a:pt x="63225" y="24242"/>
                          <a:pt x="64516" y="24848"/>
                        </a:cubicBezTo>
                        <a:cubicBezTo>
                          <a:pt x="66451" y="24848"/>
                          <a:pt x="67741" y="25454"/>
                          <a:pt x="67741" y="25454"/>
                        </a:cubicBezTo>
                        <a:cubicBezTo>
                          <a:pt x="67741" y="26666"/>
                          <a:pt x="67741" y="26666"/>
                          <a:pt x="67741" y="26666"/>
                        </a:cubicBezTo>
                        <a:cubicBezTo>
                          <a:pt x="66451" y="29090"/>
                          <a:pt x="66451" y="29090"/>
                          <a:pt x="66451" y="29090"/>
                        </a:cubicBezTo>
                        <a:cubicBezTo>
                          <a:pt x="66451" y="30909"/>
                          <a:pt x="66451" y="30909"/>
                          <a:pt x="66451" y="30909"/>
                        </a:cubicBezTo>
                        <a:cubicBezTo>
                          <a:pt x="66451" y="30909"/>
                          <a:pt x="65161" y="30909"/>
                          <a:pt x="66451" y="31515"/>
                        </a:cubicBezTo>
                        <a:cubicBezTo>
                          <a:pt x="67741" y="32121"/>
                          <a:pt x="70322" y="32727"/>
                          <a:pt x="70322" y="32727"/>
                        </a:cubicBezTo>
                        <a:cubicBezTo>
                          <a:pt x="72258" y="33939"/>
                          <a:pt x="72258" y="33939"/>
                          <a:pt x="72258" y="33939"/>
                        </a:cubicBezTo>
                        <a:cubicBezTo>
                          <a:pt x="72258" y="33939"/>
                          <a:pt x="70967" y="35757"/>
                          <a:pt x="70322" y="36363"/>
                        </a:cubicBezTo>
                        <a:cubicBezTo>
                          <a:pt x="69677" y="36363"/>
                          <a:pt x="67741" y="36363"/>
                          <a:pt x="67741" y="36363"/>
                        </a:cubicBezTo>
                        <a:cubicBezTo>
                          <a:pt x="67741" y="36363"/>
                          <a:pt x="67096" y="38181"/>
                          <a:pt x="68387" y="38181"/>
                        </a:cubicBezTo>
                        <a:cubicBezTo>
                          <a:pt x="69032" y="38787"/>
                          <a:pt x="70322" y="38787"/>
                          <a:pt x="70967" y="38787"/>
                        </a:cubicBezTo>
                        <a:cubicBezTo>
                          <a:pt x="71612" y="38787"/>
                          <a:pt x="72903" y="39393"/>
                          <a:pt x="72903" y="39393"/>
                        </a:cubicBezTo>
                        <a:cubicBezTo>
                          <a:pt x="72903" y="39393"/>
                          <a:pt x="73548" y="39393"/>
                          <a:pt x="74193" y="40000"/>
                        </a:cubicBezTo>
                        <a:cubicBezTo>
                          <a:pt x="74193" y="41212"/>
                          <a:pt x="74838" y="41818"/>
                          <a:pt x="75483" y="41818"/>
                        </a:cubicBezTo>
                        <a:cubicBezTo>
                          <a:pt x="76129" y="41818"/>
                          <a:pt x="77419" y="41818"/>
                          <a:pt x="78064" y="41818"/>
                        </a:cubicBezTo>
                        <a:cubicBezTo>
                          <a:pt x="78709" y="41818"/>
                          <a:pt x="78709" y="41212"/>
                          <a:pt x="79354" y="41212"/>
                        </a:cubicBezTo>
                        <a:cubicBezTo>
                          <a:pt x="80000" y="41818"/>
                          <a:pt x="83870" y="41212"/>
                          <a:pt x="83870" y="41212"/>
                        </a:cubicBezTo>
                        <a:cubicBezTo>
                          <a:pt x="83870" y="41212"/>
                          <a:pt x="83870" y="41212"/>
                          <a:pt x="84516" y="42424"/>
                        </a:cubicBezTo>
                        <a:cubicBezTo>
                          <a:pt x="85806" y="44242"/>
                          <a:pt x="87741" y="44848"/>
                          <a:pt x="87741" y="44848"/>
                        </a:cubicBezTo>
                        <a:cubicBezTo>
                          <a:pt x="87741" y="44848"/>
                          <a:pt x="88387" y="45454"/>
                          <a:pt x="88387" y="44848"/>
                        </a:cubicBezTo>
                        <a:cubicBezTo>
                          <a:pt x="88387" y="44242"/>
                          <a:pt x="89032" y="43636"/>
                          <a:pt x="89032" y="43636"/>
                        </a:cubicBezTo>
                        <a:cubicBezTo>
                          <a:pt x="89032" y="43636"/>
                          <a:pt x="90322" y="41818"/>
                          <a:pt x="90322" y="41212"/>
                        </a:cubicBezTo>
                        <a:cubicBezTo>
                          <a:pt x="90967" y="40606"/>
                          <a:pt x="91612" y="38787"/>
                          <a:pt x="92258" y="38787"/>
                        </a:cubicBezTo>
                        <a:cubicBezTo>
                          <a:pt x="92903" y="38181"/>
                          <a:pt x="94838" y="36969"/>
                          <a:pt x="94838" y="36969"/>
                        </a:cubicBezTo>
                        <a:cubicBezTo>
                          <a:pt x="94838" y="36969"/>
                          <a:pt x="94838" y="36363"/>
                          <a:pt x="96129" y="36969"/>
                        </a:cubicBezTo>
                        <a:cubicBezTo>
                          <a:pt x="96774" y="38181"/>
                          <a:pt x="98709" y="39393"/>
                          <a:pt x="98709" y="39393"/>
                        </a:cubicBezTo>
                        <a:cubicBezTo>
                          <a:pt x="101935" y="39393"/>
                          <a:pt x="101935" y="39393"/>
                          <a:pt x="101935" y="39393"/>
                        </a:cubicBezTo>
                        <a:cubicBezTo>
                          <a:pt x="101935" y="39393"/>
                          <a:pt x="103870" y="40000"/>
                          <a:pt x="103870" y="40606"/>
                        </a:cubicBezTo>
                        <a:cubicBezTo>
                          <a:pt x="103870" y="41212"/>
                          <a:pt x="103225" y="41212"/>
                          <a:pt x="101935" y="41818"/>
                        </a:cubicBezTo>
                        <a:cubicBezTo>
                          <a:pt x="101290" y="41818"/>
                          <a:pt x="99354" y="40000"/>
                          <a:pt x="99354" y="40606"/>
                        </a:cubicBezTo>
                        <a:cubicBezTo>
                          <a:pt x="98709" y="41212"/>
                          <a:pt x="98709" y="42424"/>
                          <a:pt x="98709" y="42424"/>
                        </a:cubicBezTo>
                        <a:cubicBezTo>
                          <a:pt x="96129" y="43636"/>
                          <a:pt x="96129" y="43636"/>
                          <a:pt x="96129" y="43636"/>
                        </a:cubicBezTo>
                        <a:cubicBezTo>
                          <a:pt x="96774" y="44848"/>
                          <a:pt x="96774" y="44848"/>
                          <a:pt x="96774" y="44848"/>
                        </a:cubicBezTo>
                        <a:cubicBezTo>
                          <a:pt x="96774" y="44848"/>
                          <a:pt x="100000" y="46060"/>
                          <a:pt x="100000" y="46666"/>
                        </a:cubicBezTo>
                        <a:cubicBezTo>
                          <a:pt x="100000" y="47272"/>
                          <a:pt x="100000" y="48484"/>
                          <a:pt x="100000" y="48484"/>
                        </a:cubicBezTo>
                        <a:cubicBezTo>
                          <a:pt x="101935" y="49090"/>
                          <a:pt x="101935" y="49090"/>
                          <a:pt x="101935" y="49090"/>
                        </a:cubicBezTo>
                        <a:cubicBezTo>
                          <a:pt x="103225" y="48484"/>
                          <a:pt x="103225" y="48484"/>
                          <a:pt x="103225" y="48484"/>
                        </a:cubicBezTo>
                        <a:cubicBezTo>
                          <a:pt x="103225" y="50909"/>
                          <a:pt x="103225" y="50909"/>
                          <a:pt x="103225" y="50909"/>
                        </a:cubicBezTo>
                        <a:cubicBezTo>
                          <a:pt x="103225" y="53333"/>
                          <a:pt x="103225" y="53333"/>
                          <a:pt x="103225" y="53333"/>
                        </a:cubicBezTo>
                        <a:cubicBezTo>
                          <a:pt x="103225" y="55151"/>
                          <a:pt x="103225" y="55151"/>
                          <a:pt x="103225" y="55151"/>
                        </a:cubicBezTo>
                        <a:cubicBezTo>
                          <a:pt x="103225" y="55151"/>
                          <a:pt x="103870" y="56969"/>
                          <a:pt x="103225" y="56969"/>
                        </a:cubicBezTo>
                        <a:cubicBezTo>
                          <a:pt x="102580" y="56969"/>
                          <a:pt x="100645" y="58181"/>
                          <a:pt x="100645" y="58181"/>
                        </a:cubicBezTo>
                        <a:cubicBezTo>
                          <a:pt x="99354" y="59999"/>
                          <a:pt x="99354" y="59999"/>
                          <a:pt x="99354" y="59999"/>
                        </a:cubicBezTo>
                        <a:cubicBezTo>
                          <a:pt x="99354" y="59999"/>
                          <a:pt x="99354" y="62424"/>
                          <a:pt x="99354" y="63030"/>
                        </a:cubicBezTo>
                        <a:cubicBezTo>
                          <a:pt x="100000" y="64242"/>
                          <a:pt x="99354" y="66060"/>
                          <a:pt x="99354" y="66060"/>
                        </a:cubicBezTo>
                        <a:cubicBezTo>
                          <a:pt x="99354" y="66060"/>
                          <a:pt x="99354" y="67272"/>
                          <a:pt x="100000" y="67878"/>
                        </a:cubicBezTo>
                        <a:cubicBezTo>
                          <a:pt x="100645" y="68484"/>
                          <a:pt x="101290" y="69696"/>
                          <a:pt x="101290" y="69696"/>
                        </a:cubicBezTo>
                        <a:cubicBezTo>
                          <a:pt x="101290" y="69696"/>
                          <a:pt x="101935" y="70303"/>
                          <a:pt x="102580" y="71515"/>
                        </a:cubicBezTo>
                        <a:cubicBezTo>
                          <a:pt x="103225" y="72727"/>
                          <a:pt x="105806" y="75757"/>
                          <a:pt x="105806" y="75757"/>
                        </a:cubicBezTo>
                        <a:cubicBezTo>
                          <a:pt x="105806" y="75757"/>
                          <a:pt x="107741" y="76363"/>
                          <a:pt x="108387" y="76363"/>
                        </a:cubicBezTo>
                        <a:cubicBezTo>
                          <a:pt x="108387" y="76363"/>
                          <a:pt x="110967" y="77575"/>
                          <a:pt x="110967" y="77575"/>
                        </a:cubicBezTo>
                        <a:cubicBezTo>
                          <a:pt x="110967" y="77575"/>
                          <a:pt x="112258" y="77575"/>
                          <a:pt x="112258" y="78181"/>
                        </a:cubicBezTo>
                        <a:cubicBezTo>
                          <a:pt x="112258" y="78181"/>
                          <a:pt x="114838" y="81818"/>
                          <a:pt x="114838" y="81818"/>
                        </a:cubicBezTo>
                        <a:cubicBezTo>
                          <a:pt x="117419" y="82424"/>
                          <a:pt x="117419" y="82424"/>
                          <a:pt x="117419" y="82424"/>
                        </a:cubicBezTo>
                        <a:cubicBezTo>
                          <a:pt x="120000" y="82424"/>
                          <a:pt x="120000" y="82424"/>
                          <a:pt x="120000" y="82424"/>
                        </a:cubicBezTo>
                        <a:cubicBezTo>
                          <a:pt x="120000" y="82424"/>
                          <a:pt x="119354" y="85454"/>
                          <a:pt x="118709" y="86060"/>
                        </a:cubicBezTo>
                        <a:cubicBezTo>
                          <a:pt x="118064" y="86666"/>
                          <a:pt x="116129" y="89090"/>
                          <a:pt x="116129" y="89090"/>
                        </a:cubicBezTo>
                        <a:cubicBezTo>
                          <a:pt x="116129" y="89090"/>
                          <a:pt x="114838" y="90303"/>
                          <a:pt x="114838" y="91515"/>
                        </a:cubicBezTo>
                        <a:cubicBezTo>
                          <a:pt x="115483" y="92121"/>
                          <a:pt x="115483" y="93939"/>
                          <a:pt x="115483" y="93939"/>
                        </a:cubicBezTo>
                        <a:cubicBezTo>
                          <a:pt x="115483" y="93939"/>
                          <a:pt x="114193" y="95151"/>
                          <a:pt x="113548" y="95151"/>
                        </a:cubicBezTo>
                        <a:cubicBezTo>
                          <a:pt x="112903" y="95151"/>
                          <a:pt x="111612" y="95151"/>
                          <a:pt x="110967" y="95757"/>
                        </a:cubicBezTo>
                        <a:cubicBezTo>
                          <a:pt x="110322" y="95757"/>
                          <a:pt x="109677" y="96363"/>
                          <a:pt x="109677" y="96363"/>
                        </a:cubicBezTo>
                        <a:cubicBezTo>
                          <a:pt x="109032" y="96969"/>
                          <a:pt x="107741" y="98181"/>
                          <a:pt x="107741" y="98181"/>
                        </a:cubicBezTo>
                        <a:cubicBezTo>
                          <a:pt x="109032" y="99999"/>
                          <a:pt x="109032" y="99999"/>
                          <a:pt x="109032" y="99999"/>
                        </a:cubicBezTo>
                        <a:cubicBezTo>
                          <a:pt x="109677" y="103030"/>
                          <a:pt x="109677" y="103030"/>
                          <a:pt x="109677" y="103030"/>
                        </a:cubicBezTo>
                        <a:cubicBezTo>
                          <a:pt x="109677" y="106060"/>
                          <a:pt x="109677" y="106060"/>
                          <a:pt x="109677" y="106060"/>
                        </a:cubicBezTo>
                        <a:cubicBezTo>
                          <a:pt x="109677" y="106060"/>
                          <a:pt x="111612" y="106666"/>
                          <a:pt x="111612" y="107272"/>
                        </a:cubicBezTo>
                        <a:cubicBezTo>
                          <a:pt x="112258" y="107272"/>
                          <a:pt x="112903" y="109090"/>
                          <a:pt x="112903" y="109090"/>
                        </a:cubicBezTo>
                        <a:cubicBezTo>
                          <a:pt x="112258" y="110303"/>
                          <a:pt x="112258" y="110303"/>
                          <a:pt x="112258" y="110303"/>
                        </a:cubicBezTo>
                        <a:cubicBezTo>
                          <a:pt x="111612" y="112121"/>
                          <a:pt x="111612" y="112121"/>
                          <a:pt x="111612" y="112121"/>
                        </a:cubicBezTo>
                        <a:cubicBezTo>
                          <a:pt x="111612" y="112121"/>
                          <a:pt x="110967" y="113333"/>
                          <a:pt x="110322" y="113939"/>
                        </a:cubicBezTo>
                        <a:cubicBezTo>
                          <a:pt x="109032" y="113939"/>
                          <a:pt x="107096" y="113939"/>
                          <a:pt x="107096" y="113939"/>
                        </a:cubicBezTo>
                        <a:cubicBezTo>
                          <a:pt x="107096" y="113939"/>
                          <a:pt x="107096" y="113333"/>
                          <a:pt x="105806" y="113939"/>
                        </a:cubicBezTo>
                        <a:cubicBezTo>
                          <a:pt x="104516" y="113939"/>
                          <a:pt x="103225" y="115151"/>
                          <a:pt x="103225" y="115151"/>
                        </a:cubicBezTo>
                        <a:cubicBezTo>
                          <a:pt x="103225" y="115151"/>
                          <a:pt x="103225" y="115151"/>
                          <a:pt x="102580" y="115757"/>
                        </a:cubicBezTo>
                        <a:cubicBezTo>
                          <a:pt x="101290" y="115757"/>
                          <a:pt x="100645" y="115757"/>
                          <a:pt x="100000" y="115757"/>
                        </a:cubicBezTo>
                        <a:cubicBezTo>
                          <a:pt x="99354" y="115757"/>
                          <a:pt x="98064" y="115151"/>
                          <a:pt x="98064" y="115151"/>
                        </a:cubicBezTo>
                        <a:cubicBezTo>
                          <a:pt x="96774" y="116969"/>
                          <a:pt x="96774" y="116969"/>
                          <a:pt x="96774" y="116969"/>
                        </a:cubicBezTo>
                        <a:cubicBezTo>
                          <a:pt x="96774" y="116969"/>
                          <a:pt x="95483" y="117575"/>
                          <a:pt x="94838" y="117575"/>
                        </a:cubicBezTo>
                        <a:cubicBezTo>
                          <a:pt x="94838" y="117575"/>
                          <a:pt x="92903" y="119999"/>
                          <a:pt x="92903" y="119999"/>
                        </a:cubicBezTo>
                        <a:cubicBezTo>
                          <a:pt x="92903" y="119999"/>
                          <a:pt x="92903" y="119999"/>
                          <a:pt x="92258" y="119999"/>
                        </a:cubicBezTo>
                        <a:cubicBezTo>
                          <a:pt x="90967" y="119999"/>
                          <a:pt x="89677" y="119393"/>
                          <a:pt x="89677" y="119393"/>
                        </a:cubicBezTo>
                        <a:cubicBezTo>
                          <a:pt x="87741" y="117575"/>
                          <a:pt x="87741" y="117575"/>
                          <a:pt x="87741" y="117575"/>
                        </a:cubicBezTo>
                        <a:cubicBezTo>
                          <a:pt x="87741" y="117575"/>
                          <a:pt x="88387" y="117575"/>
                          <a:pt x="89677" y="116363"/>
                        </a:cubicBezTo>
                        <a:cubicBezTo>
                          <a:pt x="90322" y="115757"/>
                          <a:pt x="90322" y="115757"/>
                          <a:pt x="90322" y="115151"/>
                        </a:cubicBezTo>
                        <a:cubicBezTo>
                          <a:pt x="89677" y="113939"/>
                          <a:pt x="89032" y="112727"/>
                          <a:pt x="89677" y="112727"/>
                        </a:cubicBezTo>
                        <a:cubicBezTo>
                          <a:pt x="90322" y="112121"/>
                          <a:pt x="90967" y="112727"/>
                          <a:pt x="91612" y="111515"/>
                        </a:cubicBezTo>
                        <a:cubicBezTo>
                          <a:pt x="91612" y="110909"/>
                          <a:pt x="91612" y="110303"/>
                          <a:pt x="91612" y="109090"/>
                        </a:cubicBezTo>
                        <a:cubicBezTo>
                          <a:pt x="91612" y="108484"/>
                          <a:pt x="91612" y="107272"/>
                          <a:pt x="92258" y="107272"/>
                        </a:cubicBezTo>
                        <a:cubicBezTo>
                          <a:pt x="92903" y="106666"/>
                          <a:pt x="92903" y="106060"/>
                          <a:pt x="92903" y="106060"/>
                        </a:cubicBezTo>
                        <a:cubicBezTo>
                          <a:pt x="89677" y="105454"/>
                          <a:pt x="89677" y="105454"/>
                          <a:pt x="89677" y="105454"/>
                        </a:cubicBezTo>
                        <a:cubicBezTo>
                          <a:pt x="87741" y="106060"/>
                          <a:pt x="87741" y="106060"/>
                          <a:pt x="87741" y="106060"/>
                        </a:cubicBezTo>
                        <a:cubicBezTo>
                          <a:pt x="87741" y="106060"/>
                          <a:pt x="87741" y="104848"/>
                          <a:pt x="86451" y="104848"/>
                        </a:cubicBezTo>
                        <a:cubicBezTo>
                          <a:pt x="85161" y="104242"/>
                          <a:pt x="82580" y="104242"/>
                          <a:pt x="82580" y="104242"/>
                        </a:cubicBezTo>
                        <a:cubicBezTo>
                          <a:pt x="81935" y="101818"/>
                          <a:pt x="81935" y="101818"/>
                          <a:pt x="81935" y="101818"/>
                        </a:cubicBezTo>
                        <a:cubicBezTo>
                          <a:pt x="76774" y="100606"/>
                          <a:pt x="76774" y="100606"/>
                          <a:pt x="76774" y="100606"/>
                        </a:cubicBezTo>
                        <a:cubicBezTo>
                          <a:pt x="76774" y="100606"/>
                          <a:pt x="76129" y="98181"/>
                          <a:pt x="75483" y="97575"/>
                        </a:cubicBezTo>
                        <a:cubicBezTo>
                          <a:pt x="74838" y="96969"/>
                          <a:pt x="74838" y="96969"/>
                          <a:pt x="74838" y="96969"/>
                        </a:cubicBezTo>
                        <a:cubicBezTo>
                          <a:pt x="71612" y="94545"/>
                          <a:pt x="71612" y="94545"/>
                          <a:pt x="71612" y="94545"/>
                        </a:cubicBezTo>
                        <a:cubicBezTo>
                          <a:pt x="69677" y="94545"/>
                          <a:pt x="69677" y="94545"/>
                          <a:pt x="69677" y="94545"/>
                        </a:cubicBezTo>
                        <a:cubicBezTo>
                          <a:pt x="69677" y="94545"/>
                          <a:pt x="69032" y="94545"/>
                          <a:pt x="67741" y="93939"/>
                        </a:cubicBezTo>
                        <a:cubicBezTo>
                          <a:pt x="65806" y="93333"/>
                          <a:pt x="65161" y="91515"/>
                          <a:pt x="65161" y="91515"/>
                        </a:cubicBezTo>
                        <a:cubicBezTo>
                          <a:pt x="65161" y="91515"/>
                          <a:pt x="65161" y="90303"/>
                          <a:pt x="63870" y="90909"/>
                        </a:cubicBezTo>
                        <a:cubicBezTo>
                          <a:pt x="62580" y="92121"/>
                          <a:pt x="61290" y="92121"/>
                          <a:pt x="60645" y="92727"/>
                        </a:cubicBezTo>
                        <a:cubicBezTo>
                          <a:pt x="60645" y="92727"/>
                          <a:pt x="60000" y="92727"/>
                          <a:pt x="59354" y="93333"/>
                        </a:cubicBezTo>
                        <a:cubicBezTo>
                          <a:pt x="59354" y="93939"/>
                          <a:pt x="58709" y="93939"/>
                          <a:pt x="60000" y="95151"/>
                        </a:cubicBezTo>
                        <a:cubicBezTo>
                          <a:pt x="60645" y="95757"/>
                          <a:pt x="61290" y="96363"/>
                          <a:pt x="61290" y="96363"/>
                        </a:cubicBezTo>
                        <a:cubicBezTo>
                          <a:pt x="60645" y="99393"/>
                          <a:pt x="60645" y="99393"/>
                          <a:pt x="60645" y="99393"/>
                        </a:cubicBezTo>
                        <a:cubicBezTo>
                          <a:pt x="56774" y="103030"/>
                          <a:pt x="56774" y="103030"/>
                          <a:pt x="56774" y="103030"/>
                        </a:cubicBezTo>
                        <a:cubicBezTo>
                          <a:pt x="57419" y="104848"/>
                          <a:pt x="57419" y="104848"/>
                          <a:pt x="57419" y="104848"/>
                        </a:cubicBezTo>
                        <a:cubicBezTo>
                          <a:pt x="57419" y="104848"/>
                          <a:pt x="58709" y="104848"/>
                          <a:pt x="56774" y="105454"/>
                        </a:cubicBezTo>
                        <a:cubicBezTo>
                          <a:pt x="55483" y="106060"/>
                          <a:pt x="55483" y="106666"/>
                          <a:pt x="54838" y="106666"/>
                        </a:cubicBezTo>
                        <a:cubicBezTo>
                          <a:pt x="54838" y="106060"/>
                          <a:pt x="54193" y="105454"/>
                          <a:pt x="52903" y="104848"/>
                        </a:cubicBezTo>
                        <a:cubicBezTo>
                          <a:pt x="52258" y="104242"/>
                          <a:pt x="52258" y="104242"/>
                          <a:pt x="52258" y="104242"/>
                        </a:cubicBezTo>
                        <a:cubicBezTo>
                          <a:pt x="52258" y="104242"/>
                          <a:pt x="52258" y="104242"/>
                          <a:pt x="51612" y="103636"/>
                        </a:cubicBezTo>
                        <a:cubicBezTo>
                          <a:pt x="51612" y="103636"/>
                          <a:pt x="51612" y="103636"/>
                          <a:pt x="51612" y="103636"/>
                        </a:cubicBezTo>
                        <a:cubicBezTo>
                          <a:pt x="51612" y="103636"/>
                          <a:pt x="51612" y="103030"/>
                          <a:pt x="50322" y="103030"/>
                        </a:cubicBezTo>
                        <a:cubicBezTo>
                          <a:pt x="49677" y="103030"/>
                          <a:pt x="48387" y="101818"/>
                          <a:pt x="48387" y="101818"/>
                        </a:cubicBezTo>
                        <a:cubicBezTo>
                          <a:pt x="46451" y="101818"/>
                          <a:pt x="46451" y="101818"/>
                          <a:pt x="46451" y="101818"/>
                        </a:cubicBezTo>
                        <a:cubicBezTo>
                          <a:pt x="46451" y="101818"/>
                          <a:pt x="44516" y="99999"/>
                          <a:pt x="44516" y="99999"/>
                        </a:cubicBezTo>
                        <a:cubicBezTo>
                          <a:pt x="43870" y="99999"/>
                          <a:pt x="41935" y="99393"/>
                          <a:pt x="41935" y="99393"/>
                        </a:cubicBezTo>
                        <a:cubicBezTo>
                          <a:pt x="41935" y="98181"/>
                          <a:pt x="41935" y="98181"/>
                          <a:pt x="41935" y="98181"/>
                        </a:cubicBezTo>
                        <a:cubicBezTo>
                          <a:pt x="41935" y="98181"/>
                          <a:pt x="41290" y="98181"/>
                          <a:pt x="41290" y="98181"/>
                        </a:cubicBezTo>
                        <a:cubicBezTo>
                          <a:pt x="40645" y="98181"/>
                          <a:pt x="40000" y="98787"/>
                          <a:pt x="40000" y="98787"/>
                        </a:cubicBezTo>
                        <a:cubicBezTo>
                          <a:pt x="38064" y="99393"/>
                          <a:pt x="38064" y="99393"/>
                          <a:pt x="38064" y="99393"/>
                        </a:cubicBezTo>
                        <a:cubicBezTo>
                          <a:pt x="38064" y="99393"/>
                          <a:pt x="36774" y="99393"/>
                          <a:pt x="36774" y="99393"/>
                        </a:cubicBezTo>
                        <a:cubicBezTo>
                          <a:pt x="36129" y="98787"/>
                          <a:pt x="35483" y="97575"/>
                          <a:pt x="35483" y="97575"/>
                        </a:cubicBezTo>
                        <a:cubicBezTo>
                          <a:pt x="35483" y="97575"/>
                          <a:pt x="35483" y="97575"/>
                          <a:pt x="34838" y="97575"/>
                        </a:cubicBezTo>
                        <a:cubicBezTo>
                          <a:pt x="34193" y="98181"/>
                          <a:pt x="35483" y="98787"/>
                          <a:pt x="34193" y="98181"/>
                        </a:cubicBezTo>
                        <a:cubicBezTo>
                          <a:pt x="32258" y="97575"/>
                          <a:pt x="32258" y="97575"/>
                          <a:pt x="32258" y="97575"/>
                        </a:cubicBezTo>
                        <a:cubicBezTo>
                          <a:pt x="30967" y="96363"/>
                          <a:pt x="30967" y="96363"/>
                          <a:pt x="30967" y="96363"/>
                        </a:cubicBezTo>
                        <a:cubicBezTo>
                          <a:pt x="30322" y="96363"/>
                          <a:pt x="30322" y="96363"/>
                          <a:pt x="30322" y="96363"/>
                        </a:cubicBezTo>
                        <a:cubicBezTo>
                          <a:pt x="29677" y="96363"/>
                          <a:pt x="29677" y="96363"/>
                          <a:pt x="29677" y="96363"/>
                        </a:cubicBezTo>
                        <a:cubicBezTo>
                          <a:pt x="29677" y="96363"/>
                          <a:pt x="29032" y="95151"/>
                          <a:pt x="29032" y="95151"/>
                        </a:cubicBezTo>
                        <a:cubicBezTo>
                          <a:pt x="29032" y="95151"/>
                          <a:pt x="29032" y="93939"/>
                          <a:pt x="29032" y="93939"/>
                        </a:cubicBezTo>
                        <a:cubicBezTo>
                          <a:pt x="28387" y="93939"/>
                          <a:pt x="26451" y="93333"/>
                          <a:pt x="26451" y="93333"/>
                        </a:cubicBezTo>
                        <a:cubicBezTo>
                          <a:pt x="25806" y="92121"/>
                          <a:pt x="25806" y="92121"/>
                          <a:pt x="25806" y="92121"/>
                        </a:cubicBezTo>
                        <a:cubicBezTo>
                          <a:pt x="25806" y="92121"/>
                          <a:pt x="25806" y="92121"/>
                          <a:pt x="25806" y="92121"/>
                        </a:cubicBezTo>
                        <a:cubicBezTo>
                          <a:pt x="25161" y="92121"/>
                          <a:pt x="23870" y="91515"/>
                          <a:pt x="23870" y="91515"/>
                        </a:cubicBezTo>
                        <a:cubicBezTo>
                          <a:pt x="23225" y="90909"/>
                          <a:pt x="23225" y="90909"/>
                          <a:pt x="23225" y="90909"/>
                        </a:cubicBezTo>
                        <a:cubicBezTo>
                          <a:pt x="21290" y="90909"/>
                          <a:pt x="21290" y="90909"/>
                          <a:pt x="21290" y="90909"/>
                        </a:cubicBezTo>
                        <a:cubicBezTo>
                          <a:pt x="20645" y="89696"/>
                          <a:pt x="20645" y="89696"/>
                          <a:pt x="20645" y="89696"/>
                        </a:cubicBezTo>
                        <a:cubicBezTo>
                          <a:pt x="20645" y="89696"/>
                          <a:pt x="20000" y="89090"/>
                          <a:pt x="20000" y="89090"/>
                        </a:cubicBezTo>
                        <a:cubicBezTo>
                          <a:pt x="20645" y="89090"/>
                          <a:pt x="20645" y="87878"/>
                          <a:pt x="20645" y="87878"/>
                        </a:cubicBezTo>
                        <a:cubicBezTo>
                          <a:pt x="20000" y="87878"/>
                          <a:pt x="20000" y="87878"/>
                          <a:pt x="20000" y="87878"/>
                        </a:cubicBezTo>
                        <a:cubicBezTo>
                          <a:pt x="20645" y="87272"/>
                          <a:pt x="21935" y="87272"/>
                          <a:pt x="21935" y="87272"/>
                        </a:cubicBezTo>
                        <a:cubicBezTo>
                          <a:pt x="23225" y="85454"/>
                          <a:pt x="23225" y="85454"/>
                          <a:pt x="23225" y="85454"/>
                        </a:cubicBezTo>
                        <a:cubicBezTo>
                          <a:pt x="23225" y="85454"/>
                          <a:pt x="23225" y="85454"/>
                          <a:pt x="23870" y="85454"/>
                        </a:cubicBezTo>
                        <a:cubicBezTo>
                          <a:pt x="25161" y="86060"/>
                          <a:pt x="25806" y="86060"/>
                          <a:pt x="26451" y="86060"/>
                        </a:cubicBezTo>
                        <a:cubicBezTo>
                          <a:pt x="27096" y="86060"/>
                          <a:pt x="27741" y="87272"/>
                          <a:pt x="27741" y="84848"/>
                        </a:cubicBezTo>
                        <a:cubicBezTo>
                          <a:pt x="27741" y="83030"/>
                          <a:pt x="27741" y="82424"/>
                          <a:pt x="27741" y="82424"/>
                        </a:cubicBezTo>
                        <a:cubicBezTo>
                          <a:pt x="24516" y="80000"/>
                          <a:pt x="24516" y="80000"/>
                          <a:pt x="24516" y="80000"/>
                        </a:cubicBezTo>
                        <a:cubicBezTo>
                          <a:pt x="24516" y="80000"/>
                          <a:pt x="24516" y="79393"/>
                          <a:pt x="23870" y="78181"/>
                        </a:cubicBezTo>
                        <a:cubicBezTo>
                          <a:pt x="23225" y="77575"/>
                          <a:pt x="22580" y="76969"/>
                          <a:pt x="22580" y="76969"/>
                        </a:cubicBezTo>
                        <a:cubicBezTo>
                          <a:pt x="21935" y="76969"/>
                          <a:pt x="20645" y="75757"/>
                          <a:pt x="20645" y="75757"/>
                        </a:cubicBezTo>
                        <a:cubicBezTo>
                          <a:pt x="20000" y="75151"/>
                          <a:pt x="19354" y="74545"/>
                          <a:pt x="19354" y="74545"/>
                        </a:cubicBezTo>
                        <a:cubicBezTo>
                          <a:pt x="19354" y="74545"/>
                          <a:pt x="19354" y="73333"/>
                          <a:pt x="19354" y="72727"/>
                        </a:cubicBezTo>
                        <a:cubicBezTo>
                          <a:pt x="20000" y="72727"/>
                          <a:pt x="20000" y="72727"/>
                          <a:pt x="20645" y="72727"/>
                        </a:cubicBezTo>
                        <a:cubicBezTo>
                          <a:pt x="21290" y="73333"/>
                          <a:pt x="21935" y="73333"/>
                          <a:pt x="22580" y="73333"/>
                        </a:cubicBezTo>
                        <a:cubicBezTo>
                          <a:pt x="23225" y="73333"/>
                          <a:pt x="23870" y="73333"/>
                          <a:pt x="24516" y="73333"/>
                        </a:cubicBezTo>
                        <a:cubicBezTo>
                          <a:pt x="24516" y="73333"/>
                          <a:pt x="26451" y="72727"/>
                          <a:pt x="26451" y="72727"/>
                        </a:cubicBezTo>
                        <a:cubicBezTo>
                          <a:pt x="27096" y="72727"/>
                          <a:pt x="27096" y="71515"/>
                          <a:pt x="27741" y="71515"/>
                        </a:cubicBezTo>
                        <a:cubicBezTo>
                          <a:pt x="27741" y="71515"/>
                          <a:pt x="28387" y="70909"/>
                          <a:pt x="27741" y="70303"/>
                        </a:cubicBezTo>
                        <a:cubicBezTo>
                          <a:pt x="27741" y="70303"/>
                          <a:pt x="26451" y="69696"/>
                          <a:pt x="26451" y="69696"/>
                        </a:cubicBezTo>
                        <a:cubicBezTo>
                          <a:pt x="25806" y="69696"/>
                          <a:pt x="25161" y="69090"/>
                          <a:pt x="25161" y="68484"/>
                        </a:cubicBezTo>
                        <a:cubicBezTo>
                          <a:pt x="24516" y="68484"/>
                          <a:pt x="23870" y="67878"/>
                          <a:pt x="23870" y="67272"/>
                        </a:cubicBezTo>
                        <a:cubicBezTo>
                          <a:pt x="23225" y="67272"/>
                          <a:pt x="23225" y="67878"/>
                          <a:pt x="22580" y="67878"/>
                        </a:cubicBezTo>
                        <a:cubicBezTo>
                          <a:pt x="21935" y="67272"/>
                          <a:pt x="21290" y="66666"/>
                          <a:pt x="20645" y="66060"/>
                        </a:cubicBezTo>
                        <a:cubicBezTo>
                          <a:pt x="20645" y="65454"/>
                          <a:pt x="20645" y="65454"/>
                          <a:pt x="20000" y="64848"/>
                        </a:cubicBezTo>
                        <a:cubicBezTo>
                          <a:pt x="19354" y="64848"/>
                          <a:pt x="18709" y="64242"/>
                          <a:pt x="18064" y="64242"/>
                        </a:cubicBezTo>
                        <a:cubicBezTo>
                          <a:pt x="17419" y="64242"/>
                          <a:pt x="17419" y="64848"/>
                          <a:pt x="16129" y="64242"/>
                        </a:cubicBezTo>
                        <a:cubicBezTo>
                          <a:pt x="14838" y="64242"/>
                          <a:pt x="13548" y="63636"/>
                          <a:pt x="13548" y="63030"/>
                        </a:cubicBezTo>
                        <a:cubicBezTo>
                          <a:pt x="14193" y="62424"/>
                          <a:pt x="13548" y="62424"/>
                          <a:pt x="14193" y="61818"/>
                        </a:cubicBezTo>
                        <a:cubicBezTo>
                          <a:pt x="14193" y="61212"/>
                          <a:pt x="14193" y="59999"/>
                          <a:pt x="14193" y="59393"/>
                        </a:cubicBezTo>
                        <a:cubicBezTo>
                          <a:pt x="14193" y="58787"/>
                          <a:pt x="13548" y="59393"/>
                          <a:pt x="13548" y="57575"/>
                        </a:cubicBezTo>
                        <a:cubicBezTo>
                          <a:pt x="12903" y="55757"/>
                          <a:pt x="14193" y="56363"/>
                          <a:pt x="14193" y="56363"/>
                        </a:cubicBezTo>
                        <a:cubicBezTo>
                          <a:pt x="14193" y="56363"/>
                          <a:pt x="14838" y="55151"/>
                          <a:pt x="14838" y="54545"/>
                        </a:cubicBezTo>
                        <a:cubicBezTo>
                          <a:pt x="14838" y="54545"/>
                          <a:pt x="15483" y="52727"/>
                          <a:pt x="15483" y="52727"/>
                        </a:cubicBezTo>
                        <a:cubicBezTo>
                          <a:pt x="17419" y="50303"/>
                          <a:pt x="17419" y="50303"/>
                          <a:pt x="17419" y="50303"/>
                        </a:cubicBezTo>
                        <a:cubicBezTo>
                          <a:pt x="17419" y="48484"/>
                          <a:pt x="17419" y="48484"/>
                          <a:pt x="17419" y="48484"/>
                        </a:cubicBezTo>
                        <a:cubicBezTo>
                          <a:pt x="17419" y="46060"/>
                          <a:pt x="17419" y="46060"/>
                          <a:pt x="17419" y="46060"/>
                        </a:cubicBezTo>
                        <a:cubicBezTo>
                          <a:pt x="17419" y="44242"/>
                          <a:pt x="17419" y="44242"/>
                          <a:pt x="17419" y="44242"/>
                        </a:cubicBezTo>
                        <a:cubicBezTo>
                          <a:pt x="15483" y="43636"/>
                          <a:pt x="15483" y="43636"/>
                          <a:pt x="15483" y="43636"/>
                        </a:cubicBezTo>
                        <a:cubicBezTo>
                          <a:pt x="11612" y="43030"/>
                          <a:pt x="11612" y="43030"/>
                          <a:pt x="11612" y="43030"/>
                        </a:cubicBezTo>
                        <a:cubicBezTo>
                          <a:pt x="11612" y="43030"/>
                          <a:pt x="11612" y="44242"/>
                          <a:pt x="10967" y="44242"/>
                        </a:cubicBezTo>
                        <a:cubicBezTo>
                          <a:pt x="10967" y="44242"/>
                          <a:pt x="10322" y="44848"/>
                          <a:pt x="9677" y="44848"/>
                        </a:cubicBezTo>
                        <a:cubicBezTo>
                          <a:pt x="9032" y="44242"/>
                          <a:pt x="9032" y="44242"/>
                          <a:pt x="9032" y="44242"/>
                        </a:cubicBezTo>
                        <a:cubicBezTo>
                          <a:pt x="10322" y="43030"/>
                          <a:pt x="10322" y="43030"/>
                          <a:pt x="10322" y="43030"/>
                        </a:cubicBezTo>
                        <a:cubicBezTo>
                          <a:pt x="10322" y="40606"/>
                          <a:pt x="10322" y="40606"/>
                          <a:pt x="10322" y="40606"/>
                        </a:cubicBezTo>
                        <a:cubicBezTo>
                          <a:pt x="10322" y="40606"/>
                          <a:pt x="9677" y="39393"/>
                          <a:pt x="9032" y="38181"/>
                        </a:cubicBezTo>
                        <a:cubicBezTo>
                          <a:pt x="8387" y="37575"/>
                          <a:pt x="7741" y="36969"/>
                          <a:pt x="7741" y="36969"/>
                        </a:cubicBezTo>
                        <a:cubicBezTo>
                          <a:pt x="9677" y="35757"/>
                          <a:pt x="9677" y="35757"/>
                          <a:pt x="9677" y="35757"/>
                        </a:cubicBezTo>
                        <a:cubicBezTo>
                          <a:pt x="10322" y="35151"/>
                          <a:pt x="10322" y="35151"/>
                          <a:pt x="10322" y="35151"/>
                        </a:cubicBezTo>
                        <a:cubicBezTo>
                          <a:pt x="10322" y="34545"/>
                          <a:pt x="10322" y="34545"/>
                          <a:pt x="10322" y="34545"/>
                        </a:cubicBezTo>
                        <a:cubicBezTo>
                          <a:pt x="10322" y="34545"/>
                          <a:pt x="11612" y="35757"/>
                          <a:pt x="12903" y="35757"/>
                        </a:cubicBezTo>
                        <a:cubicBezTo>
                          <a:pt x="13548" y="35757"/>
                          <a:pt x="12903" y="35757"/>
                          <a:pt x="14193" y="35151"/>
                        </a:cubicBezTo>
                        <a:cubicBezTo>
                          <a:pt x="15483" y="35151"/>
                          <a:pt x="17419" y="33333"/>
                          <a:pt x="17419" y="33333"/>
                        </a:cubicBezTo>
                        <a:cubicBezTo>
                          <a:pt x="17419" y="33333"/>
                          <a:pt x="16129" y="32121"/>
                          <a:pt x="15483" y="32121"/>
                        </a:cubicBezTo>
                        <a:cubicBezTo>
                          <a:pt x="14838" y="32727"/>
                          <a:pt x="15483" y="32727"/>
                          <a:pt x="13548" y="32727"/>
                        </a:cubicBezTo>
                        <a:cubicBezTo>
                          <a:pt x="11612" y="32121"/>
                          <a:pt x="10967" y="31515"/>
                          <a:pt x="10967" y="31515"/>
                        </a:cubicBezTo>
                        <a:cubicBezTo>
                          <a:pt x="10967" y="31515"/>
                          <a:pt x="10322" y="31515"/>
                          <a:pt x="9677" y="31515"/>
                        </a:cubicBezTo>
                        <a:cubicBezTo>
                          <a:pt x="9032" y="31515"/>
                          <a:pt x="9032" y="31515"/>
                          <a:pt x="8387" y="30909"/>
                        </a:cubicBezTo>
                        <a:cubicBezTo>
                          <a:pt x="7096" y="29696"/>
                          <a:pt x="5806" y="28484"/>
                          <a:pt x="5806" y="28484"/>
                        </a:cubicBezTo>
                        <a:cubicBezTo>
                          <a:pt x="5806" y="28484"/>
                          <a:pt x="4516" y="29090"/>
                          <a:pt x="4516" y="28484"/>
                        </a:cubicBezTo>
                        <a:cubicBezTo>
                          <a:pt x="4516" y="27878"/>
                          <a:pt x="5161" y="27272"/>
                          <a:pt x="5161" y="27272"/>
                        </a:cubicBezTo>
                        <a:cubicBezTo>
                          <a:pt x="4516" y="26060"/>
                          <a:pt x="4516" y="26060"/>
                          <a:pt x="4516" y="26060"/>
                        </a:cubicBezTo>
                        <a:cubicBezTo>
                          <a:pt x="4516" y="26060"/>
                          <a:pt x="5806" y="26060"/>
                          <a:pt x="6451" y="25454"/>
                        </a:cubicBezTo>
                        <a:cubicBezTo>
                          <a:pt x="7096" y="25454"/>
                          <a:pt x="7096" y="23636"/>
                          <a:pt x="6451" y="23636"/>
                        </a:cubicBezTo>
                        <a:cubicBezTo>
                          <a:pt x="5806" y="23636"/>
                          <a:pt x="5161" y="23030"/>
                          <a:pt x="4516" y="23636"/>
                        </a:cubicBezTo>
                        <a:cubicBezTo>
                          <a:pt x="3870" y="23636"/>
                          <a:pt x="3225" y="24242"/>
                          <a:pt x="3225" y="24242"/>
                        </a:cubicBezTo>
                        <a:cubicBezTo>
                          <a:pt x="2580" y="24242"/>
                          <a:pt x="1290" y="23636"/>
                          <a:pt x="1290" y="23030"/>
                        </a:cubicBezTo>
                        <a:cubicBezTo>
                          <a:pt x="1290" y="22424"/>
                          <a:pt x="645" y="22424"/>
                          <a:pt x="1935" y="21818"/>
                        </a:cubicBezTo>
                        <a:cubicBezTo>
                          <a:pt x="2580" y="21818"/>
                          <a:pt x="3225" y="20606"/>
                          <a:pt x="3225" y="20606"/>
                        </a:cubicBezTo>
                        <a:cubicBezTo>
                          <a:pt x="1935" y="18787"/>
                          <a:pt x="1935" y="18787"/>
                          <a:pt x="1935" y="18787"/>
                        </a:cubicBezTo>
                        <a:cubicBezTo>
                          <a:pt x="2580" y="15151"/>
                          <a:pt x="2580" y="15151"/>
                          <a:pt x="2580" y="15151"/>
                        </a:cubicBezTo>
                        <a:cubicBezTo>
                          <a:pt x="0" y="14545"/>
                          <a:pt x="0" y="14545"/>
                          <a:pt x="0" y="14545"/>
                        </a:cubicBezTo>
                        <a:cubicBezTo>
                          <a:pt x="0" y="13333"/>
                          <a:pt x="0" y="13333"/>
                          <a:pt x="0" y="13333"/>
                        </a:cubicBezTo>
                        <a:cubicBezTo>
                          <a:pt x="2580" y="12121"/>
                          <a:pt x="2580" y="12121"/>
                          <a:pt x="2580" y="12121"/>
                        </a:cubicBezTo>
                        <a:cubicBezTo>
                          <a:pt x="5161" y="8484"/>
                          <a:pt x="5161" y="8484"/>
                          <a:pt x="5161" y="8484"/>
                        </a:cubicBezTo>
                        <a:cubicBezTo>
                          <a:pt x="5806" y="9090"/>
                          <a:pt x="5806" y="9090"/>
                          <a:pt x="5806" y="9090"/>
                        </a:cubicBezTo>
                        <a:cubicBezTo>
                          <a:pt x="5806" y="9090"/>
                          <a:pt x="6451" y="9090"/>
                          <a:pt x="7096" y="848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8" name="Shape 2024"/>
                  <p:cNvSpPr/>
                  <p:nvPr/>
                </p:nvSpPr>
                <p:spPr>
                  <a:xfrm>
                    <a:off x="4681844" y="3129624"/>
                    <a:ext cx="394695" cy="240785"/>
                  </a:xfrm>
                  <a:custGeom>
                    <a:avLst/>
                    <a:gdLst/>
                    <a:ahLst/>
                    <a:cxnLst/>
                    <a:rect l="0" t="0" r="0" b="0"/>
                    <a:pathLst>
                      <a:path w="120000" h="120000" extrusionOk="0">
                        <a:moveTo>
                          <a:pt x="21502" y="82568"/>
                        </a:moveTo>
                        <a:cubicBezTo>
                          <a:pt x="22890" y="83669"/>
                          <a:pt x="22890" y="83669"/>
                          <a:pt x="22890" y="83669"/>
                        </a:cubicBezTo>
                        <a:cubicBezTo>
                          <a:pt x="22890" y="85871"/>
                          <a:pt x="22890" y="85871"/>
                          <a:pt x="22890" y="85871"/>
                        </a:cubicBezTo>
                        <a:cubicBezTo>
                          <a:pt x="22890" y="85871"/>
                          <a:pt x="22890" y="84770"/>
                          <a:pt x="22196" y="86972"/>
                        </a:cubicBezTo>
                        <a:cubicBezTo>
                          <a:pt x="21502" y="88073"/>
                          <a:pt x="21502" y="88073"/>
                          <a:pt x="21502" y="88073"/>
                        </a:cubicBezTo>
                        <a:cubicBezTo>
                          <a:pt x="22196" y="88073"/>
                          <a:pt x="22890" y="89174"/>
                          <a:pt x="22890" y="89174"/>
                        </a:cubicBezTo>
                        <a:cubicBezTo>
                          <a:pt x="22890" y="89174"/>
                          <a:pt x="23583" y="89174"/>
                          <a:pt x="22890" y="90275"/>
                        </a:cubicBezTo>
                        <a:cubicBezTo>
                          <a:pt x="22890" y="92477"/>
                          <a:pt x="22890" y="93577"/>
                          <a:pt x="22890" y="93577"/>
                        </a:cubicBezTo>
                        <a:cubicBezTo>
                          <a:pt x="22890" y="93577"/>
                          <a:pt x="22890" y="94678"/>
                          <a:pt x="22890" y="95779"/>
                        </a:cubicBezTo>
                        <a:cubicBezTo>
                          <a:pt x="22196" y="95779"/>
                          <a:pt x="21502" y="99082"/>
                          <a:pt x="21502" y="99082"/>
                        </a:cubicBezTo>
                        <a:cubicBezTo>
                          <a:pt x="21502" y="99082"/>
                          <a:pt x="21502" y="99082"/>
                          <a:pt x="21502" y="100183"/>
                        </a:cubicBezTo>
                        <a:cubicBezTo>
                          <a:pt x="22196" y="100183"/>
                          <a:pt x="24277" y="100183"/>
                          <a:pt x="24277" y="100183"/>
                        </a:cubicBezTo>
                        <a:cubicBezTo>
                          <a:pt x="24277" y="100183"/>
                          <a:pt x="24277" y="102385"/>
                          <a:pt x="24277" y="103486"/>
                        </a:cubicBezTo>
                        <a:cubicBezTo>
                          <a:pt x="23583" y="103486"/>
                          <a:pt x="22890" y="105688"/>
                          <a:pt x="23583" y="105688"/>
                        </a:cubicBezTo>
                        <a:cubicBezTo>
                          <a:pt x="24277" y="105688"/>
                          <a:pt x="24971" y="106788"/>
                          <a:pt x="24971" y="106788"/>
                        </a:cubicBezTo>
                        <a:cubicBezTo>
                          <a:pt x="24971" y="106788"/>
                          <a:pt x="25664" y="107889"/>
                          <a:pt x="25664" y="107889"/>
                        </a:cubicBezTo>
                        <a:cubicBezTo>
                          <a:pt x="26358" y="107889"/>
                          <a:pt x="27052" y="108990"/>
                          <a:pt x="27052" y="108990"/>
                        </a:cubicBezTo>
                        <a:cubicBezTo>
                          <a:pt x="27052" y="108990"/>
                          <a:pt x="28439" y="111192"/>
                          <a:pt x="28439" y="111192"/>
                        </a:cubicBezTo>
                        <a:cubicBezTo>
                          <a:pt x="28439" y="112293"/>
                          <a:pt x="27745" y="113394"/>
                          <a:pt x="27745" y="113394"/>
                        </a:cubicBezTo>
                        <a:cubicBezTo>
                          <a:pt x="27745" y="113394"/>
                          <a:pt x="29132" y="115596"/>
                          <a:pt x="29132" y="115596"/>
                        </a:cubicBezTo>
                        <a:cubicBezTo>
                          <a:pt x="29132" y="115596"/>
                          <a:pt x="29132" y="116697"/>
                          <a:pt x="29826" y="116697"/>
                        </a:cubicBezTo>
                        <a:cubicBezTo>
                          <a:pt x="30520" y="116697"/>
                          <a:pt x="31213" y="115596"/>
                          <a:pt x="31213" y="115596"/>
                        </a:cubicBezTo>
                        <a:cubicBezTo>
                          <a:pt x="31213" y="115596"/>
                          <a:pt x="32601" y="114495"/>
                          <a:pt x="32601" y="114495"/>
                        </a:cubicBezTo>
                        <a:cubicBezTo>
                          <a:pt x="32601" y="114495"/>
                          <a:pt x="33294" y="113394"/>
                          <a:pt x="33988" y="113394"/>
                        </a:cubicBezTo>
                        <a:cubicBezTo>
                          <a:pt x="34682" y="113394"/>
                          <a:pt x="35375" y="114495"/>
                          <a:pt x="36069" y="114495"/>
                        </a:cubicBezTo>
                        <a:cubicBezTo>
                          <a:pt x="36763" y="114495"/>
                          <a:pt x="38843" y="114495"/>
                          <a:pt x="38843" y="114495"/>
                        </a:cubicBezTo>
                        <a:cubicBezTo>
                          <a:pt x="38843" y="112293"/>
                          <a:pt x="38843" y="112293"/>
                          <a:pt x="38843" y="112293"/>
                        </a:cubicBezTo>
                        <a:cubicBezTo>
                          <a:pt x="38843" y="112293"/>
                          <a:pt x="38843" y="111192"/>
                          <a:pt x="39537" y="111192"/>
                        </a:cubicBezTo>
                        <a:cubicBezTo>
                          <a:pt x="40231" y="111192"/>
                          <a:pt x="40924" y="111192"/>
                          <a:pt x="40924" y="111192"/>
                        </a:cubicBezTo>
                        <a:cubicBezTo>
                          <a:pt x="40924" y="111192"/>
                          <a:pt x="40231" y="110091"/>
                          <a:pt x="40924" y="110091"/>
                        </a:cubicBezTo>
                        <a:cubicBezTo>
                          <a:pt x="40924" y="110091"/>
                          <a:pt x="42312" y="110091"/>
                          <a:pt x="43005" y="111192"/>
                        </a:cubicBezTo>
                        <a:cubicBezTo>
                          <a:pt x="43005" y="111192"/>
                          <a:pt x="44393" y="110091"/>
                          <a:pt x="44393" y="111192"/>
                        </a:cubicBezTo>
                        <a:cubicBezTo>
                          <a:pt x="44393" y="111192"/>
                          <a:pt x="45086" y="112293"/>
                          <a:pt x="45086" y="112293"/>
                        </a:cubicBezTo>
                        <a:cubicBezTo>
                          <a:pt x="45086" y="112293"/>
                          <a:pt x="45780" y="114495"/>
                          <a:pt x="45780" y="113394"/>
                        </a:cubicBezTo>
                        <a:cubicBezTo>
                          <a:pt x="46473" y="113394"/>
                          <a:pt x="46473" y="113394"/>
                          <a:pt x="47167" y="113394"/>
                        </a:cubicBezTo>
                        <a:cubicBezTo>
                          <a:pt x="47167" y="114495"/>
                          <a:pt x="48554" y="114495"/>
                          <a:pt x="49248" y="114495"/>
                        </a:cubicBezTo>
                        <a:cubicBezTo>
                          <a:pt x="49248" y="113394"/>
                          <a:pt x="49248" y="113394"/>
                          <a:pt x="49248" y="113394"/>
                        </a:cubicBezTo>
                        <a:cubicBezTo>
                          <a:pt x="49248" y="112293"/>
                          <a:pt x="48554" y="111192"/>
                          <a:pt x="49942" y="111192"/>
                        </a:cubicBezTo>
                        <a:cubicBezTo>
                          <a:pt x="50635" y="111192"/>
                          <a:pt x="50635" y="110091"/>
                          <a:pt x="51329" y="110091"/>
                        </a:cubicBezTo>
                        <a:cubicBezTo>
                          <a:pt x="52023" y="110091"/>
                          <a:pt x="52716" y="110091"/>
                          <a:pt x="52716" y="110091"/>
                        </a:cubicBezTo>
                        <a:cubicBezTo>
                          <a:pt x="52716" y="110091"/>
                          <a:pt x="52716" y="110091"/>
                          <a:pt x="53410" y="108990"/>
                        </a:cubicBezTo>
                        <a:cubicBezTo>
                          <a:pt x="54104" y="107889"/>
                          <a:pt x="54104" y="106788"/>
                          <a:pt x="54104" y="106788"/>
                        </a:cubicBezTo>
                        <a:cubicBezTo>
                          <a:pt x="54104" y="105688"/>
                          <a:pt x="54104" y="104587"/>
                          <a:pt x="54104" y="104587"/>
                        </a:cubicBezTo>
                        <a:cubicBezTo>
                          <a:pt x="54797" y="103486"/>
                          <a:pt x="54797" y="103486"/>
                          <a:pt x="54797" y="103486"/>
                        </a:cubicBezTo>
                        <a:cubicBezTo>
                          <a:pt x="55491" y="102385"/>
                          <a:pt x="55491" y="102385"/>
                          <a:pt x="55491" y="102385"/>
                        </a:cubicBezTo>
                        <a:cubicBezTo>
                          <a:pt x="55491" y="102385"/>
                          <a:pt x="55491" y="102385"/>
                          <a:pt x="56184" y="100183"/>
                        </a:cubicBezTo>
                        <a:cubicBezTo>
                          <a:pt x="56184" y="99082"/>
                          <a:pt x="56184" y="99082"/>
                          <a:pt x="56184" y="99082"/>
                        </a:cubicBezTo>
                        <a:cubicBezTo>
                          <a:pt x="56878" y="96880"/>
                          <a:pt x="56878" y="96880"/>
                          <a:pt x="56878" y="96880"/>
                        </a:cubicBezTo>
                        <a:cubicBezTo>
                          <a:pt x="56184" y="93577"/>
                          <a:pt x="56184" y="93577"/>
                          <a:pt x="56184" y="93577"/>
                        </a:cubicBezTo>
                        <a:cubicBezTo>
                          <a:pt x="55491" y="92477"/>
                          <a:pt x="55491" y="92477"/>
                          <a:pt x="55491" y="92477"/>
                        </a:cubicBezTo>
                        <a:cubicBezTo>
                          <a:pt x="56184" y="91376"/>
                          <a:pt x="56184" y="91376"/>
                          <a:pt x="56184" y="91376"/>
                        </a:cubicBezTo>
                        <a:cubicBezTo>
                          <a:pt x="56184" y="91376"/>
                          <a:pt x="56878" y="90275"/>
                          <a:pt x="57572" y="90275"/>
                        </a:cubicBezTo>
                        <a:cubicBezTo>
                          <a:pt x="58265" y="90275"/>
                          <a:pt x="58265" y="90275"/>
                          <a:pt x="58265" y="89174"/>
                        </a:cubicBezTo>
                        <a:cubicBezTo>
                          <a:pt x="58959" y="89174"/>
                          <a:pt x="60346" y="86972"/>
                          <a:pt x="60346" y="86972"/>
                        </a:cubicBezTo>
                        <a:cubicBezTo>
                          <a:pt x="60346" y="86972"/>
                          <a:pt x="60346" y="86972"/>
                          <a:pt x="61040" y="86972"/>
                        </a:cubicBezTo>
                        <a:cubicBezTo>
                          <a:pt x="61040" y="85871"/>
                          <a:pt x="61040" y="84770"/>
                          <a:pt x="61040" y="84770"/>
                        </a:cubicBezTo>
                        <a:cubicBezTo>
                          <a:pt x="61040" y="84770"/>
                          <a:pt x="61040" y="83669"/>
                          <a:pt x="61734" y="83669"/>
                        </a:cubicBezTo>
                        <a:cubicBezTo>
                          <a:pt x="62427" y="82568"/>
                          <a:pt x="65202" y="81467"/>
                          <a:pt x="65202" y="81467"/>
                        </a:cubicBezTo>
                        <a:cubicBezTo>
                          <a:pt x="65202" y="81467"/>
                          <a:pt x="64508" y="83669"/>
                          <a:pt x="64508" y="84770"/>
                        </a:cubicBezTo>
                        <a:cubicBezTo>
                          <a:pt x="64508" y="85871"/>
                          <a:pt x="65202" y="88073"/>
                          <a:pt x="65202" y="88073"/>
                        </a:cubicBezTo>
                        <a:cubicBezTo>
                          <a:pt x="65202" y="88073"/>
                          <a:pt x="64508" y="90275"/>
                          <a:pt x="64508" y="90275"/>
                        </a:cubicBezTo>
                        <a:cubicBezTo>
                          <a:pt x="64508" y="91376"/>
                          <a:pt x="64508" y="92477"/>
                          <a:pt x="64508" y="92477"/>
                        </a:cubicBezTo>
                        <a:cubicBezTo>
                          <a:pt x="65202" y="93577"/>
                          <a:pt x="65202" y="93577"/>
                          <a:pt x="65202" y="93577"/>
                        </a:cubicBezTo>
                        <a:cubicBezTo>
                          <a:pt x="65202" y="93577"/>
                          <a:pt x="65202" y="94678"/>
                          <a:pt x="65202" y="94678"/>
                        </a:cubicBezTo>
                        <a:cubicBezTo>
                          <a:pt x="65895" y="94678"/>
                          <a:pt x="66589" y="96880"/>
                          <a:pt x="66589" y="96880"/>
                        </a:cubicBezTo>
                        <a:cubicBezTo>
                          <a:pt x="67283" y="96880"/>
                          <a:pt x="67283" y="96880"/>
                          <a:pt x="67283" y="96880"/>
                        </a:cubicBezTo>
                        <a:cubicBezTo>
                          <a:pt x="67283" y="96880"/>
                          <a:pt x="67976" y="97981"/>
                          <a:pt x="67976" y="99082"/>
                        </a:cubicBezTo>
                        <a:cubicBezTo>
                          <a:pt x="67976" y="99082"/>
                          <a:pt x="68670" y="100183"/>
                          <a:pt x="69364" y="101284"/>
                        </a:cubicBezTo>
                        <a:cubicBezTo>
                          <a:pt x="69364" y="101284"/>
                          <a:pt x="70057" y="101284"/>
                          <a:pt x="70057" y="101284"/>
                        </a:cubicBezTo>
                        <a:cubicBezTo>
                          <a:pt x="70751" y="101284"/>
                          <a:pt x="71445" y="101284"/>
                          <a:pt x="71445" y="101284"/>
                        </a:cubicBezTo>
                        <a:cubicBezTo>
                          <a:pt x="71445" y="102385"/>
                          <a:pt x="72832" y="102385"/>
                          <a:pt x="73526" y="102385"/>
                        </a:cubicBezTo>
                        <a:cubicBezTo>
                          <a:pt x="73526" y="103486"/>
                          <a:pt x="74913" y="102385"/>
                          <a:pt x="74913" y="102385"/>
                        </a:cubicBezTo>
                        <a:cubicBezTo>
                          <a:pt x="75606" y="103486"/>
                          <a:pt x="75606" y="103486"/>
                          <a:pt x="75606" y="103486"/>
                        </a:cubicBezTo>
                        <a:cubicBezTo>
                          <a:pt x="76300" y="103486"/>
                          <a:pt x="76300" y="103486"/>
                          <a:pt x="76300" y="103486"/>
                        </a:cubicBezTo>
                        <a:cubicBezTo>
                          <a:pt x="76300" y="103486"/>
                          <a:pt x="76994" y="103486"/>
                          <a:pt x="76994" y="104587"/>
                        </a:cubicBezTo>
                        <a:cubicBezTo>
                          <a:pt x="76300" y="105688"/>
                          <a:pt x="76300" y="105688"/>
                          <a:pt x="76300" y="105688"/>
                        </a:cubicBezTo>
                        <a:cubicBezTo>
                          <a:pt x="76300" y="105688"/>
                          <a:pt x="76300" y="105688"/>
                          <a:pt x="76300" y="105688"/>
                        </a:cubicBezTo>
                        <a:cubicBezTo>
                          <a:pt x="75606" y="106788"/>
                          <a:pt x="74913" y="108990"/>
                          <a:pt x="74913" y="108990"/>
                        </a:cubicBezTo>
                        <a:cubicBezTo>
                          <a:pt x="76994" y="111192"/>
                          <a:pt x="76994" y="111192"/>
                          <a:pt x="76994" y="111192"/>
                        </a:cubicBezTo>
                        <a:cubicBezTo>
                          <a:pt x="76994" y="111192"/>
                          <a:pt x="77687" y="111192"/>
                          <a:pt x="77687" y="112293"/>
                        </a:cubicBezTo>
                        <a:cubicBezTo>
                          <a:pt x="78381" y="113394"/>
                          <a:pt x="78381" y="114495"/>
                          <a:pt x="78381" y="114495"/>
                        </a:cubicBezTo>
                        <a:cubicBezTo>
                          <a:pt x="78381" y="114495"/>
                          <a:pt x="78381" y="114495"/>
                          <a:pt x="78381" y="114495"/>
                        </a:cubicBezTo>
                        <a:cubicBezTo>
                          <a:pt x="78381" y="115596"/>
                          <a:pt x="78381" y="117798"/>
                          <a:pt x="78381" y="117798"/>
                        </a:cubicBezTo>
                        <a:cubicBezTo>
                          <a:pt x="78381" y="117798"/>
                          <a:pt x="76994" y="118899"/>
                          <a:pt x="78381" y="118899"/>
                        </a:cubicBezTo>
                        <a:cubicBezTo>
                          <a:pt x="79768" y="118899"/>
                          <a:pt x="79768" y="118899"/>
                          <a:pt x="79768" y="118899"/>
                        </a:cubicBezTo>
                        <a:cubicBezTo>
                          <a:pt x="80462" y="118899"/>
                          <a:pt x="81156" y="120000"/>
                          <a:pt x="81156" y="120000"/>
                        </a:cubicBezTo>
                        <a:cubicBezTo>
                          <a:pt x="81849" y="118899"/>
                          <a:pt x="81849" y="118899"/>
                          <a:pt x="81849" y="118899"/>
                        </a:cubicBezTo>
                        <a:cubicBezTo>
                          <a:pt x="81849" y="118899"/>
                          <a:pt x="81156" y="116697"/>
                          <a:pt x="82543" y="115596"/>
                        </a:cubicBezTo>
                        <a:cubicBezTo>
                          <a:pt x="83236" y="114495"/>
                          <a:pt x="83236" y="114495"/>
                          <a:pt x="83236" y="114495"/>
                        </a:cubicBezTo>
                        <a:cubicBezTo>
                          <a:pt x="83236" y="114495"/>
                          <a:pt x="81156" y="113394"/>
                          <a:pt x="81156" y="112293"/>
                        </a:cubicBezTo>
                        <a:cubicBezTo>
                          <a:pt x="81156" y="112293"/>
                          <a:pt x="80462" y="112293"/>
                          <a:pt x="81156" y="111192"/>
                        </a:cubicBezTo>
                        <a:cubicBezTo>
                          <a:pt x="81156" y="110091"/>
                          <a:pt x="80462" y="110091"/>
                          <a:pt x="81156" y="108990"/>
                        </a:cubicBezTo>
                        <a:cubicBezTo>
                          <a:pt x="81156" y="108990"/>
                          <a:pt x="81849" y="108990"/>
                          <a:pt x="81849" y="107889"/>
                        </a:cubicBezTo>
                        <a:cubicBezTo>
                          <a:pt x="81849" y="107889"/>
                          <a:pt x="81156" y="105688"/>
                          <a:pt x="81156" y="105688"/>
                        </a:cubicBezTo>
                        <a:cubicBezTo>
                          <a:pt x="82543" y="104587"/>
                          <a:pt x="82543" y="104587"/>
                          <a:pt x="82543" y="104587"/>
                        </a:cubicBezTo>
                        <a:cubicBezTo>
                          <a:pt x="82543" y="104587"/>
                          <a:pt x="82543" y="103486"/>
                          <a:pt x="82543" y="103486"/>
                        </a:cubicBezTo>
                        <a:cubicBezTo>
                          <a:pt x="82543" y="102385"/>
                          <a:pt x="82543" y="100183"/>
                          <a:pt x="82543" y="100183"/>
                        </a:cubicBezTo>
                        <a:cubicBezTo>
                          <a:pt x="83236" y="100183"/>
                          <a:pt x="83930" y="97981"/>
                          <a:pt x="83930" y="97981"/>
                        </a:cubicBezTo>
                        <a:cubicBezTo>
                          <a:pt x="83930" y="97981"/>
                          <a:pt x="85317" y="97981"/>
                          <a:pt x="85317" y="97981"/>
                        </a:cubicBezTo>
                        <a:cubicBezTo>
                          <a:pt x="85317" y="96880"/>
                          <a:pt x="86011" y="95779"/>
                          <a:pt x="86011" y="95779"/>
                        </a:cubicBezTo>
                        <a:cubicBezTo>
                          <a:pt x="86011" y="95779"/>
                          <a:pt x="86011" y="95779"/>
                          <a:pt x="86705" y="94678"/>
                        </a:cubicBezTo>
                        <a:cubicBezTo>
                          <a:pt x="86705" y="93577"/>
                          <a:pt x="86705" y="92477"/>
                          <a:pt x="86705" y="92477"/>
                        </a:cubicBezTo>
                        <a:cubicBezTo>
                          <a:pt x="86705" y="91376"/>
                          <a:pt x="87398" y="90275"/>
                          <a:pt x="87398" y="90275"/>
                        </a:cubicBezTo>
                        <a:cubicBezTo>
                          <a:pt x="87398" y="89174"/>
                          <a:pt x="87398" y="89174"/>
                          <a:pt x="87398" y="89174"/>
                        </a:cubicBezTo>
                        <a:cubicBezTo>
                          <a:pt x="87398" y="89174"/>
                          <a:pt x="87398" y="88073"/>
                          <a:pt x="87398" y="88073"/>
                        </a:cubicBezTo>
                        <a:cubicBezTo>
                          <a:pt x="87398" y="86972"/>
                          <a:pt x="87398" y="85871"/>
                          <a:pt x="87398" y="85871"/>
                        </a:cubicBezTo>
                        <a:cubicBezTo>
                          <a:pt x="87398" y="83669"/>
                          <a:pt x="87398" y="83669"/>
                          <a:pt x="87398" y="83669"/>
                        </a:cubicBezTo>
                        <a:cubicBezTo>
                          <a:pt x="86705" y="81467"/>
                          <a:pt x="86705" y="81467"/>
                          <a:pt x="86705" y="81467"/>
                        </a:cubicBezTo>
                        <a:cubicBezTo>
                          <a:pt x="86705" y="80366"/>
                          <a:pt x="86705" y="80366"/>
                          <a:pt x="86705" y="80366"/>
                        </a:cubicBezTo>
                        <a:cubicBezTo>
                          <a:pt x="88092" y="78165"/>
                          <a:pt x="88092" y="78165"/>
                          <a:pt x="88092" y="78165"/>
                        </a:cubicBezTo>
                        <a:cubicBezTo>
                          <a:pt x="88092" y="78165"/>
                          <a:pt x="88786" y="77064"/>
                          <a:pt x="88786" y="78165"/>
                        </a:cubicBezTo>
                        <a:cubicBezTo>
                          <a:pt x="89479" y="78165"/>
                          <a:pt x="90173" y="79266"/>
                          <a:pt x="90173" y="79266"/>
                        </a:cubicBezTo>
                        <a:cubicBezTo>
                          <a:pt x="90867" y="79266"/>
                          <a:pt x="90867" y="79266"/>
                          <a:pt x="90867" y="79266"/>
                        </a:cubicBezTo>
                        <a:cubicBezTo>
                          <a:pt x="92254" y="78165"/>
                          <a:pt x="92254" y="78165"/>
                          <a:pt x="92254" y="78165"/>
                        </a:cubicBezTo>
                        <a:cubicBezTo>
                          <a:pt x="92254" y="78165"/>
                          <a:pt x="92947" y="78165"/>
                          <a:pt x="92947" y="79266"/>
                        </a:cubicBezTo>
                        <a:cubicBezTo>
                          <a:pt x="92254" y="79266"/>
                          <a:pt x="91560" y="80366"/>
                          <a:pt x="92254" y="81467"/>
                        </a:cubicBezTo>
                        <a:cubicBezTo>
                          <a:pt x="92254" y="81467"/>
                          <a:pt x="92947" y="82568"/>
                          <a:pt x="92947" y="83669"/>
                        </a:cubicBezTo>
                        <a:cubicBezTo>
                          <a:pt x="92947" y="84770"/>
                          <a:pt x="92947" y="84770"/>
                          <a:pt x="92947" y="86972"/>
                        </a:cubicBezTo>
                        <a:cubicBezTo>
                          <a:pt x="92947" y="88073"/>
                          <a:pt x="94335" y="88073"/>
                          <a:pt x="94335" y="89174"/>
                        </a:cubicBezTo>
                        <a:cubicBezTo>
                          <a:pt x="95028" y="89174"/>
                          <a:pt x="93641" y="90275"/>
                          <a:pt x="95722" y="90275"/>
                        </a:cubicBezTo>
                        <a:cubicBezTo>
                          <a:pt x="97109" y="90275"/>
                          <a:pt x="98497" y="91376"/>
                          <a:pt x="98497" y="90275"/>
                        </a:cubicBezTo>
                        <a:cubicBezTo>
                          <a:pt x="99190" y="90275"/>
                          <a:pt x="99190" y="90275"/>
                          <a:pt x="99190" y="89174"/>
                        </a:cubicBezTo>
                        <a:cubicBezTo>
                          <a:pt x="98497" y="88073"/>
                          <a:pt x="99190" y="86972"/>
                          <a:pt x="99190" y="86972"/>
                        </a:cubicBezTo>
                        <a:cubicBezTo>
                          <a:pt x="99190" y="86972"/>
                          <a:pt x="99884" y="86972"/>
                          <a:pt x="99884" y="86972"/>
                        </a:cubicBezTo>
                        <a:cubicBezTo>
                          <a:pt x="100578" y="86972"/>
                          <a:pt x="100578" y="88073"/>
                          <a:pt x="101271" y="86972"/>
                        </a:cubicBezTo>
                        <a:cubicBezTo>
                          <a:pt x="101271" y="86972"/>
                          <a:pt x="101965" y="85871"/>
                          <a:pt x="101965" y="85871"/>
                        </a:cubicBezTo>
                        <a:cubicBezTo>
                          <a:pt x="103352" y="85871"/>
                          <a:pt x="103352" y="85871"/>
                          <a:pt x="103352" y="85871"/>
                        </a:cubicBezTo>
                        <a:cubicBezTo>
                          <a:pt x="103352" y="85871"/>
                          <a:pt x="102658" y="84770"/>
                          <a:pt x="104046" y="84770"/>
                        </a:cubicBezTo>
                        <a:cubicBezTo>
                          <a:pt x="104739" y="84770"/>
                          <a:pt x="106127" y="84770"/>
                          <a:pt x="106127" y="84770"/>
                        </a:cubicBezTo>
                        <a:cubicBezTo>
                          <a:pt x="106127" y="84770"/>
                          <a:pt x="106127" y="85871"/>
                          <a:pt x="106127" y="86972"/>
                        </a:cubicBezTo>
                        <a:cubicBezTo>
                          <a:pt x="106820" y="88073"/>
                          <a:pt x="106820" y="88073"/>
                          <a:pt x="106820" y="88073"/>
                        </a:cubicBezTo>
                        <a:cubicBezTo>
                          <a:pt x="106820" y="88073"/>
                          <a:pt x="106127" y="88073"/>
                          <a:pt x="106820" y="90275"/>
                        </a:cubicBezTo>
                        <a:cubicBezTo>
                          <a:pt x="107514" y="91376"/>
                          <a:pt x="108208" y="91376"/>
                          <a:pt x="108208" y="92477"/>
                        </a:cubicBezTo>
                        <a:cubicBezTo>
                          <a:pt x="108901" y="92477"/>
                          <a:pt x="108208" y="94678"/>
                          <a:pt x="108208" y="94678"/>
                        </a:cubicBezTo>
                        <a:cubicBezTo>
                          <a:pt x="108208" y="94678"/>
                          <a:pt x="109595" y="94678"/>
                          <a:pt x="109595" y="94678"/>
                        </a:cubicBezTo>
                        <a:cubicBezTo>
                          <a:pt x="109595" y="93577"/>
                          <a:pt x="109595" y="93577"/>
                          <a:pt x="110289" y="93577"/>
                        </a:cubicBezTo>
                        <a:cubicBezTo>
                          <a:pt x="110289" y="93577"/>
                          <a:pt x="110289" y="93577"/>
                          <a:pt x="110289" y="93577"/>
                        </a:cubicBezTo>
                        <a:cubicBezTo>
                          <a:pt x="110289" y="93577"/>
                          <a:pt x="110982" y="92477"/>
                          <a:pt x="110982" y="91376"/>
                        </a:cubicBezTo>
                        <a:cubicBezTo>
                          <a:pt x="110982" y="91376"/>
                          <a:pt x="110982" y="88073"/>
                          <a:pt x="110289" y="88073"/>
                        </a:cubicBezTo>
                        <a:cubicBezTo>
                          <a:pt x="110289" y="88073"/>
                          <a:pt x="109595" y="88073"/>
                          <a:pt x="109595" y="86972"/>
                        </a:cubicBezTo>
                        <a:cubicBezTo>
                          <a:pt x="108901" y="85871"/>
                          <a:pt x="108901" y="85871"/>
                          <a:pt x="109595" y="85871"/>
                        </a:cubicBezTo>
                        <a:cubicBezTo>
                          <a:pt x="109595" y="85871"/>
                          <a:pt x="110289" y="84770"/>
                          <a:pt x="110289" y="84770"/>
                        </a:cubicBezTo>
                        <a:cubicBezTo>
                          <a:pt x="110289" y="84770"/>
                          <a:pt x="110982" y="83669"/>
                          <a:pt x="110289" y="83669"/>
                        </a:cubicBezTo>
                        <a:cubicBezTo>
                          <a:pt x="110289" y="82568"/>
                          <a:pt x="109595" y="81467"/>
                          <a:pt x="109595" y="81467"/>
                        </a:cubicBezTo>
                        <a:cubicBezTo>
                          <a:pt x="109595" y="81467"/>
                          <a:pt x="108901" y="82568"/>
                          <a:pt x="108208" y="81467"/>
                        </a:cubicBezTo>
                        <a:cubicBezTo>
                          <a:pt x="108208" y="81467"/>
                          <a:pt x="108208" y="81467"/>
                          <a:pt x="108208" y="80366"/>
                        </a:cubicBezTo>
                        <a:cubicBezTo>
                          <a:pt x="108208" y="80366"/>
                          <a:pt x="108208" y="78165"/>
                          <a:pt x="108208" y="78165"/>
                        </a:cubicBezTo>
                        <a:cubicBezTo>
                          <a:pt x="107514" y="78165"/>
                          <a:pt x="107514" y="78165"/>
                          <a:pt x="107514" y="78165"/>
                        </a:cubicBezTo>
                        <a:cubicBezTo>
                          <a:pt x="108208" y="75963"/>
                          <a:pt x="108208" y="75963"/>
                          <a:pt x="108208" y="75963"/>
                        </a:cubicBezTo>
                        <a:cubicBezTo>
                          <a:pt x="108208" y="74862"/>
                          <a:pt x="108208" y="74862"/>
                          <a:pt x="108208" y="74862"/>
                        </a:cubicBezTo>
                        <a:cubicBezTo>
                          <a:pt x="108208" y="74862"/>
                          <a:pt x="108208" y="73761"/>
                          <a:pt x="108901" y="73761"/>
                        </a:cubicBezTo>
                        <a:cubicBezTo>
                          <a:pt x="108901" y="72660"/>
                          <a:pt x="108901" y="72660"/>
                          <a:pt x="108901" y="71559"/>
                        </a:cubicBezTo>
                        <a:cubicBezTo>
                          <a:pt x="109595" y="71559"/>
                          <a:pt x="109595" y="70458"/>
                          <a:pt x="109595" y="70458"/>
                        </a:cubicBezTo>
                        <a:cubicBezTo>
                          <a:pt x="110289" y="70458"/>
                          <a:pt x="110982" y="70458"/>
                          <a:pt x="111676" y="70458"/>
                        </a:cubicBezTo>
                        <a:cubicBezTo>
                          <a:pt x="111676" y="70458"/>
                          <a:pt x="111676" y="69357"/>
                          <a:pt x="112369" y="69357"/>
                        </a:cubicBezTo>
                        <a:cubicBezTo>
                          <a:pt x="112369" y="69357"/>
                          <a:pt x="113063" y="70458"/>
                          <a:pt x="113063" y="70458"/>
                        </a:cubicBezTo>
                        <a:cubicBezTo>
                          <a:pt x="113063" y="70458"/>
                          <a:pt x="113063" y="70458"/>
                          <a:pt x="113063" y="71559"/>
                        </a:cubicBezTo>
                        <a:cubicBezTo>
                          <a:pt x="113063" y="71559"/>
                          <a:pt x="115144" y="73761"/>
                          <a:pt x="115144" y="73761"/>
                        </a:cubicBezTo>
                        <a:cubicBezTo>
                          <a:pt x="115144" y="73761"/>
                          <a:pt x="115144" y="73761"/>
                          <a:pt x="115838" y="73761"/>
                        </a:cubicBezTo>
                        <a:cubicBezTo>
                          <a:pt x="115838" y="73761"/>
                          <a:pt x="115144" y="73761"/>
                          <a:pt x="115838" y="73761"/>
                        </a:cubicBezTo>
                        <a:cubicBezTo>
                          <a:pt x="115838" y="74862"/>
                          <a:pt x="117919" y="73761"/>
                          <a:pt x="117919" y="73761"/>
                        </a:cubicBezTo>
                        <a:cubicBezTo>
                          <a:pt x="118612" y="73761"/>
                          <a:pt x="118612" y="73761"/>
                          <a:pt x="118612" y="73761"/>
                        </a:cubicBezTo>
                        <a:cubicBezTo>
                          <a:pt x="118612" y="73761"/>
                          <a:pt x="118612" y="73761"/>
                          <a:pt x="118612" y="72660"/>
                        </a:cubicBezTo>
                        <a:cubicBezTo>
                          <a:pt x="119306" y="72660"/>
                          <a:pt x="119306" y="71559"/>
                          <a:pt x="119306" y="70458"/>
                        </a:cubicBezTo>
                        <a:cubicBezTo>
                          <a:pt x="119306" y="70458"/>
                          <a:pt x="120000" y="70458"/>
                          <a:pt x="119306" y="69357"/>
                        </a:cubicBezTo>
                        <a:cubicBezTo>
                          <a:pt x="117919" y="68256"/>
                          <a:pt x="117225" y="68256"/>
                          <a:pt x="117225" y="68256"/>
                        </a:cubicBezTo>
                        <a:cubicBezTo>
                          <a:pt x="117225" y="68256"/>
                          <a:pt x="115838" y="66055"/>
                          <a:pt x="116531" y="66055"/>
                        </a:cubicBezTo>
                        <a:cubicBezTo>
                          <a:pt x="117225" y="64954"/>
                          <a:pt x="117919" y="63853"/>
                          <a:pt x="117919" y="63853"/>
                        </a:cubicBezTo>
                        <a:cubicBezTo>
                          <a:pt x="117225" y="61651"/>
                          <a:pt x="117225" y="61651"/>
                          <a:pt x="117225" y="61651"/>
                        </a:cubicBezTo>
                        <a:cubicBezTo>
                          <a:pt x="117919" y="60550"/>
                          <a:pt x="117919" y="60550"/>
                          <a:pt x="117919" y="60550"/>
                        </a:cubicBezTo>
                        <a:cubicBezTo>
                          <a:pt x="117225" y="58348"/>
                          <a:pt x="117225" y="58348"/>
                          <a:pt x="117225" y="58348"/>
                        </a:cubicBezTo>
                        <a:cubicBezTo>
                          <a:pt x="117225" y="58348"/>
                          <a:pt x="117919" y="57247"/>
                          <a:pt x="117919" y="57247"/>
                        </a:cubicBezTo>
                        <a:cubicBezTo>
                          <a:pt x="117919" y="56146"/>
                          <a:pt x="118612" y="52844"/>
                          <a:pt x="118612" y="52844"/>
                        </a:cubicBezTo>
                        <a:cubicBezTo>
                          <a:pt x="118612" y="52844"/>
                          <a:pt x="118612" y="51743"/>
                          <a:pt x="118612" y="50642"/>
                        </a:cubicBezTo>
                        <a:cubicBezTo>
                          <a:pt x="118612" y="50642"/>
                          <a:pt x="117919" y="49541"/>
                          <a:pt x="117919" y="49541"/>
                        </a:cubicBezTo>
                        <a:cubicBezTo>
                          <a:pt x="117225" y="48440"/>
                          <a:pt x="117225" y="48440"/>
                          <a:pt x="117225" y="48440"/>
                        </a:cubicBezTo>
                        <a:cubicBezTo>
                          <a:pt x="117225" y="48440"/>
                          <a:pt x="116531" y="46238"/>
                          <a:pt x="116531" y="46238"/>
                        </a:cubicBezTo>
                        <a:cubicBezTo>
                          <a:pt x="115838" y="47339"/>
                          <a:pt x="115144" y="47339"/>
                          <a:pt x="115144" y="47339"/>
                        </a:cubicBezTo>
                        <a:cubicBezTo>
                          <a:pt x="115144" y="47339"/>
                          <a:pt x="115144" y="49541"/>
                          <a:pt x="115144" y="49541"/>
                        </a:cubicBezTo>
                        <a:cubicBezTo>
                          <a:pt x="114450" y="50642"/>
                          <a:pt x="113757" y="50642"/>
                          <a:pt x="113757" y="50642"/>
                        </a:cubicBezTo>
                        <a:cubicBezTo>
                          <a:pt x="113757" y="50642"/>
                          <a:pt x="113757" y="50642"/>
                          <a:pt x="113757" y="50642"/>
                        </a:cubicBezTo>
                        <a:cubicBezTo>
                          <a:pt x="113063" y="50642"/>
                          <a:pt x="113063" y="50642"/>
                          <a:pt x="113063" y="50642"/>
                        </a:cubicBezTo>
                        <a:cubicBezTo>
                          <a:pt x="112369" y="52844"/>
                          <a:pt x="112369" y="52844"/>
                          <a:pt x="112369" y="52844"/>
                        </a:cubicBezTo>
                        <a:cubicBezTo>
                          <a:pt x="111676" y="53944"/>
                          <a:pt x="111676" y="53944"/>
                          <a:pt x="111676" y="53944"/>
                        </a:cubicBezTo>
                        <a:cubicBezTo>
                          <a:pt x="111676" y="53944"/>
                          <a:pt x="110289" y="55045"/>
                          <a:pt x="109595" y="55045"/>
                        </a:cubicBezTo>
                        <a:cubicBezTo>
                          <a:pt x="109595" y="55045"/>
                          <a:pt x="108208" y="55045"/>
                          <a:pt x="108208" y="55045"/>
                        </a:cubicBezTo>
                        <a:cubicBezTo>
                          <a:pt x="107514" y="53944"/>
                          <a:pt x="107514" y="53944"/>
                          <a:pt x="107514" y="53944"/>
                        </a:cubicBezTo>
                        <a:cubicBezTo>
                          <a:pt x="105433" y="52844"/>
                          <a:pt x="105433" y="52844"/>
                          <a:pt x="105433" y="52844"/>
                        </a:cubicBezTo>
                        <a:cubicBezTo>
                          <a:pt x="105433" y="52844"/>
                          <a:pt x="105433" y="52844"/>
                          <a:pt x="105433" y="52844"/>
                        </a:cubicBezTo>
                        <a:cubicBezTo>
                          <a:pt x="104046" y="51743"/>
                          <a:pt x="104046" y="51743"/>
                          <a:pt x="104046" y="51743"/>
                        </a:cubicBezTo>
                        <a:cubicBezTo>
                          <a:pt x="103352" y="50642"/>
                          <a:pt x="103352" y="50642"/>
                          <a:pt x="103352" y="50642"/>
                        </a:cubicBezTo>
                        <a:cubicBezTo>
                          <a:pt x="103352" y="48440"/>
                          <a:pt x="103352" y="48440"/>
                          <a:pt x="103352" y="48440"/>
                        </a:cubicBezTo>
                        <a:cubicBezTo>
                          <a:pt x="101965" y="46238"/>
                          <a:pt x="101965" y="46238"/>
                          <a:pt x="101965" y="46238"/>
                        </a:cubicBezTo>
                        <a:cubicBezTo>
                          <a:pt x="99190" y="45137"/>
                          <a:pt x="99190" y="45137"/>
                          <a:pt x="99190" y="45137"/>
                        </a:cubicBezTo>
                        <a:cubicBezTo>
                          <a:pt x="97109" y="44036"/>
                          <a:pt x="97109" y="44036"/>
                          <a:pt x="97109" y="44036"/>
                        </a:cubicBezTo>
                        <a:cubicBezTo>
                          <a:pt x="95722" y="44036"/>
                          <a:pt x="95722" y="44036"/>
                          <a:pt x="95722" y="44036"/>
                        </a:cubicBezTo>
                        <a:cubicBezTo>
                          <a:pt x="95722" y="44036"/>
                          <a:pt x="92947" y="44036"/>
                          <a:pt x="92947" y="44036"/>
                        </a:cubicBezTo>
                        <a:cubicBezTo>
                          <a:pt x="92947"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1560" y="44036"/>
                          <a:pt x="91560" y="44036"/>
                          <a:pt x="91560" y="44036"/>
                        </a:cubicBezTo>
                        <a:cubicBezTo>
                          <a:pt x="92254" y="41834"/>
                          <a:pt x="92254" y="41834"/>
                          <a:pt x="92254" y="41834"/>
                        </a:cubicBezTo>
                        <a:cubicBezTo>
                          <a:pt x="92947" y="41834"/>
                          <a:pt x="92947" y="41834"/>
                          <a:pt x="92947" y="41834"/>
                        </a:cubicBezTo>
                        <a:cubicBezTo>
                          <a:pt x="92947" y="40733"/>
                          <a:pt x="92947" y="40733"/>
                          <a:pt x="92947" y="40733"/>
                        </a:cubicBezTo>
                        <a:cubicBezTo>
                          <a:pt x="92947" y="40733"/>
                          <a:pt x="92254" y="39633"/>
                          <a:pt x="92254" y="39633"/>
                        </a:cubicBezTo>
                        <a:cubicBezTo>
                          <a:pt x="92254" y="39633"/>
                          <a:pt x="92254" y="38532"/>
                          <a:pt x="92254" y="38532"/>
                        </a:cubicBezTo>
                        <a:cubicBezTo>
                          <a:pt x="92254" y="38532"/>
                          <a:pt x="92254" y="38532"/>
                          <a:pt x="92254" y="38532"/>
                        </a:cubicBezTo>
                        <a:cubicBezTo>
                          <a:pt x="92254" y="38532"/>
                          <a:pt x="92254" y="37431"/>
                          <a:pt x="92254" y="37431"/>
                        </a:cubicBezTo>
                        <a:cubicBezTo>
                          <a:pt x="92254" y="37431"/>
                          <a:pt x="92254" y="37431"/>
                          <a:pt x="92254" y="37431"/>
                        </a:cubicBezTo>
                        <a:cubicBezTo>
                          <a:pt x="92254" y="36330"/>
                          <a:pt x="92254" y="36330"/>
                          <a:pt x="92254" y="36330"/>
                        </a:cubicBezTo>
                        <a:cubicBezTo>
                          <a:pt x="92947" y="33027"/>
                          <a:pt x="92947" y="33027"/>
                          <a:pt x="92947" y="33027"/>
                        </a:cubicBezTo>
                        <a:cubicBezTo>
                          <a:pt x="94335" y="30825"/>
                          <a:pt x="94335" y="30825"/>
                          <a:pt x="94335" y="30825"/>
                        </a:cubicBezTo>
                        <a:cubicBezTo>
                          <a:pt x="94335" y="30825"/>
                          <a:pt x="94335" y="28623"/>
                          <a:pt x="95028" y="28623"/>
                        </a:cubicBezTo>
                        <a:cubicBezTo>
                          <a:pt x="95028" y="27522"/>
                          <a:pt x="95028" y="26422"/>
                          <a:pt x="95028" y="26422"/>
                        </a:cubicBezTo>
                        <a:cubicBezTo>
                          <a:pt x="96416" y="25321"/>
                          <a:pt x="96416" y="25321"/>
                          <a:pt x="96416" y="25321"/>
                        </a:cubicBezTo>
                        <a:cubicBezTo>
                          <a:pt x="96416" y="25321"/>
                          <a:pt x="97109" y="24220"/>
                          <a:pt x="97109" y="24220"/>
                        </a:cubicBezTo>
                        <a:cubicBezTo>
                          <a:pt x="97109" y="23119"/>
                          <a:pt x="96416" y="22018"/>
                          <a:pt x="96416" y="22018"/>
                        </a:cubicBezTo>
                        <a:cubicBezTo>
                          <a:pt x="96416" y="20917"/>
                          <a:pt x="97109" y="19816"/>
                          <a:pt x="97109" y="19816"/>
                        </a:cubicBezTo>
                        <a:cubicBezTo>
                          <a:pt x="96416" y="19816"/>
                          <a:pt x="96416" y="18715"/>
                          <a:pt x="95722" y="18715"/>
                        </a:cubicBezTo>
                        <a:cubicBezTo>
                          <a:pt x="95722" y="18715"/>
                          <a:pt x="95028" y="18715"/>
                          <a:pt x="95028" y="17614"/>
                        </a:cubicBezTo>
                        <a:cubicBezTo>
                          <a:pt x="95028" y="17614"/>
                          <a:pt x="94335" y="16513"/>
                          <a:pt x="94335" y="16513"/>
                        </a:cubicBezTo>
                        <a:cubicBezTo>
                          <a:pt x="94335" y="16513"/>
                          <a:pt x="94335" y="14311"/>
                          <a:pt x="93641" y="14311"/>
                        </a:cubicBezTo>
                        <a:cubicBezTo>
                          <a:pt x="93641" y="14311"/>
                          <a:pt x="92947" y="14311"/>
                          <a:pt x="92254" y="13211"/>
                        </a:cubicBezTo>
                        <a:cubicBezTo>
                          <a:pt x="91560" y="13211"/>
                          <a:pt x="90867" y="12110"/>
                          <a:pt x="90867" y="12110"/>
                        </a:cubicBezTo>
                        <a:cubicBezTo>
                          <a:pt x="90173" y="12110"/>
                          <a:pt x="88786" y="9908"/>
                          <a:pt x="88786" y="9908"/>
                        </a:cubicBezTo>
                        <a:cubicBezTo>
                          <a:pt x="88786" y="9908"/>
                          <a:pt x="88786" y="9908"/>
                          <a:pt x="88092" y="9908"/>
                        </a:cubicBezTo>
                        <a:cubicBezTo>
                          <a:pt x="88092" y="9908"/>
                          <a:pt x="87398" y="8807"/>
                          <a:pt x="87398" y="8807"/>
                        </a:cubicBezTo>
                        <a:cubicBezTo>
                          <a:pt x="86705" y="8807"/>
                          <a:pt x="86705" y="8807"/>
                          <a:pt x="86705" y="8807"/>
                        </a:cubicBezTo>
                        <a:cubicBezTo>
                          <a:pt x="86705" y="8807"/>
                          <a:pt x="86705" y="8807"/>
                          <a:pt x="86705" y="8807"/>
                        </a:cubicBezTo>
                        <a:cubicBezTo>
                          <a:pt x="86011" y="8807"/>
                          <a:pt x="86011" y="8807"/>
                          <a:pt x="85317" y="7706"/>
                        </a:cubicBezTo>
                        <a:cubicBezTo>
                          <a:pt x="83930" y="7706"/>
                          <a:pt x="84624" y="7706"/>
                          <a:pt x="83236" y="7706"/>
                        </a:cubicBezTo>
                        <a:cubicBezTo>
                          <a:pt x="82543" y="7706"/>
                          <a:pt x="81849" y="7706"/>
                          <a:pt x="81849" y="7706"/>
                        </a:cubicBezTo>
                        <a:cubicBezTo>
                          <a:pt x="81849" y="7706"/>
                          <a:pt x="81156" y="6605"/>
                          <a:pt x="79768" y="6605"/>
                        </a:cubicBezTo>
                        <a:cubicBezTo>
                          <a:pt x="79075" y="7706"/>
                          <a:pt x="77687" y="8807"/>
                          <a:pt x="76994" y="8807"/>
                        </a:cubicBezTo>
                        <a:cubicBezTo>
                          <a:pt x="76994" y="8807"/>
                          <a:pt x="76300" y="7706"/>
                          <a:pt x="76300" y="7706"/>
                        </a:cubicBezTo>
                        <a:cubicBezTo>
                          <a:pt x="76300" y="7706"/>
                          <a:pt x="76300" y="6605"/>
                          <a:pt x="76300" y="6605"/>
                        </a:cubicBezTo>
                        <a:cubicBezTo>
                          <a:pt x="76300" y="6605"/>
                          <a:pt x="75606" y="5504"/>
                          <a:pt x="74913" y="4403"/>
                        </a:cubicBezTo>
                        <a:cubicBezTo>
                          <a:pt x="74913" y="4403"/>
                          <a:pt x="74219" y="4403"/>
                          <a:pt x="74219" y="4403"/>
                        </a:cubicBezTo>
                        <a:cubicBezTo>
                          <a:pt x="74219" y="4403"/>
                          <a:pt x="74219" y="4403"/>
                          <a:pt x="74219" y="5504"/>
                        </a:cubicBezTo>
                        <a:cubicBezTo>
                          <a:pt x="74219" y="6605"/>
                          <a:pt x="75606" y="6605"/>
                          <a:pt x="74219" y="6605"/>
                        </a:cubicBezTo>
                        <a:cubicBezTo>
                          <a:pt x="73526" y="5504"/>
                          <a:pt x="72832" y="5504"/>
                          <a:pt x="72832" y="5504"/>
                        </a:cubicBezTo>
                        <a:cubicBezTo>
                          <a:pt x="70751" y="6605"/>
                          <a:pt x="70751" y="6605"/>
                          <a:pt x="70751" y="6605"/>
                        </a:cubicBezTo>
                        <a:cubicBezTo>
                          <a:pt x="71445" y="5504"/>
                          <a:pt x="71445" y="5504"/>
                          <a:pt x="71445" y="5504"/>
                        </a:cubicBezTo>
                        <a:cubicBezTo>
                          <a:pt x="71445" y="5504"/>
                          <a:pt x="72138" y="5504"/>
                          <a:pt x="72138" y="5504"/>
                        </a:cubicBezTo>
                        <a:cubicBezTo>
                          <a:pt x="72138" y="4403"/>
                          <a:pt x="72138" y="4403"/>
                          <a:pt x="72138" y="4403"/>
                        </a:cubicBezTo>
                        <a:cubicBezTo>
                          <a:pt x="72138" y="4403"/>
                          <a:pt x="72138" y="3302"/>
                          <a:pt x="72138" y="3302"/>
                        </a:cubicBezTo>
                        <a:cubicBezTo>
                          <a:pt x="72832" y="3302"/>
                          <a:pt x="73526" y="2201"/>
                          <a:pt x="72832" y="2201"/>
                        </a:cubicBezTo>
                        <a:cubicBezTo>
                          <a:pt x="72138" y="2201"/>
                          <a:pt x="71445" y="2201"/>
                          <a:pt x="71445" y="2201"/>
                        </a:cubicBezTo>
                        <a:cubicBezTo>
                          <a:pt x="71445" y="1100"/>
                          <a:pt x="71445" y="1100"/>
                          <a:pt x="71445" y="1100"/>
                        </a:cubicBezTo>
                        <a:cubicBezTo>
                          <a:pt x="71445" y="1100"/>
                          <a:pt x="70751" y="0"/>
                          <a:pt x="70751" y="0"/>
                        </a:cubicBezTo>
                        <a:cubicBezTo>
                          <a:pt x="70751" y="1100"/>
                          <a:pt x="70751" y="2201"/>
                          <a:pt x="70751" y="2201"/>
                        </a:cubicBezTo>
                        <a:cubicBezTo>
                          <a:pt x="70057" y="2201"/>
                          <a:pt x="70057" y="2201"/>
                          <a:pt x="70057" y="1100"/>
                        </a:cubicBezTo>
                        <a:cubicBezTo>
                          <a:pt x="70057" y="0"/>
                          <a:pt x="70057" y="0"/>
                          <a:pt x="70057" y="0"/>
                        </a:cubicBezTo>
                        <a:cubicBezTo>
                          <a:pt x="69364" y="0"/>
                          <a:pt x="68670" y="0"/>
                          <a:pt x="68670" y="0"/>
                        </a:cubicBezTo>
                        <a:cubicBezTo>
                          <a:pt x="68670" y="0"/>
                          <a:pt x="69364" y="1100"/>
                          <a:pt x="67976" y="1100"/>
                        </a:cubicBezTo>
                        <a:cubicBezTo>
                          <a:pt x="67283" y="1100"/>
                          <a:pt x="66589" y="2201"/>
                          <a:pt x="65895" y="2201"/>
                        </a:cubicBezTo>
                        <a:cubicBezTo>
                          <a:pt x="65202" y="3302"/>
                          <a:pt x="65202" y="4403"/>
                          <a:pt x="65202" y="4403"/>
                        </a:cubicBezTo>
                        <a:cubicBezTo>
                          <a:pt x="65202" y="5504"/>
                          <a:pt x="63815" y="5504"/>
                          <a:pt x="63815" y="6605"/>
                        </a:cubicBezTo>
                        <a:cubicBezTo>
                          <a:pt x="64508" y="6605"/>
                          <a:pt x="63815" y="6605"/>
                          <a:pt x="65202" y="7706"/>
                        </a:cubicBezTo>
                        <a:cubicBezTo>
                          <a:pt x="65895" y="7706"/>
                          <a:pt x="65895" y="7706"/>
                          <a:pt x="66589" y="7706"/>
                        </a:cubicBezTo>
                        <a:cubicBezTo>
                          <a:pt x="67283" y="8807"/>
                          <a:pt x="67976" y="7706"/>
                          <a:pt x="67976" y="7706"/>
                        </a:cubicBezTo>
                        <a:cubicBezTo>
                          <a:pt x="67976" y="7706"/>
                          <a:pt x="67976" y="7706"/>
                          <a:pt x="68670" y="8807"/>
                        </a:cubicBezTo>
                        <a:cubicBezTo>
                          <a:pt x="68670" y="8807"/>
                          <a:pt x="69364" y="7706"/>
                          <a:pt x="69364" y="8807"/>
                        </a:cubicBezTo>
                        <a:cubicBezTo>
                          <a:pt x="69364" y="9908"/>
                          <a:pt x="70057" y="11009"/>
                          <a:pt x="69364" y="11009"/>
                        </a:cubicBezTo>
                        <a:cubicBezTo>
                          <a:pt x="68670" y="11009"/>
                          <a:pt x="67976" y="12110"/>
                          <a:pt x="67976" y="11009"/>
                        </a:cubicBezTo>
                        <a:cubicBezTo>
                          <a:pt x="67976" y="11009"/>
                          <a:pt x="67976" y="9908"/>
                          <a:pt x="67283" y="9908"/>
                        </a:cubicBezTo>
                        <a:cubicBezTo>
                          <a:pt x="67283" y="9908"/>
                          <a:pt x="66589" y="9908"/>
                          <a:pt x="66589" y="9908"/>
                        </a:cubicBezTo>
                        <a:cubicBezTo>
                          <a:pt x="65895" y="12110"/>
                          <a:pt x="65895" y="12110"/>
                          <a:pt x="65895" y="12110"/>
                        </a:cubicBezTo>
                        <a:cubicBezTo>
                          <a:pt x="65895" y="12110"/>
                          <a:pt x="65895" y="13211"/>
                          <a:pt x="65202" y="13211"/>
                        </a:cubicBezTo>
                        <a:cubicBezTo>
                          <a:pt x="64508" y="13211"/>
                          <a:pt x="65202" y="13211"/>
                          <a:pt x="63815" y="13211"/>
                        </a:cubicBezTo>
                        <a:cubicBezTo>
                          <a:pt x="62427" y="13211"/>
                          <a:pt x="62427" y="12110"/>
                          <a:pt x="61734" y="12110"/>
                        </a:cubicBezTo>
                        <a:cubicBezTo>
                          <a:pt x="61734" y="12110"/>
                          <a:pt x="61734" y="12110"/>
                          <a:pt x="61040" y="12110"/>
                        </a:cubicBezTo>
                        <a:cubicBezTo>
                          <a:pt x="61040" y="12110"/>
                          <a:pt x="59653" y="9908"/>
                          <a:pt x="58959" y="12110"/>
                        </a:cubicBezTo>
                        <a:cubicBezTo>
                          <a:pt x="58265" y="13211"/>
                          <a:pt x="57572" y="14311"/>
                          <a:pt x="57572" y="14311"/>
                        </a:cubicBezTo>
                        <a:cubicBezTo>
                          <a:pt x="55491" y="14311"/>
                          <a:pt x="55491" y="14311"/>
                          <a:pt x="55491" y="14311"/>
                        </a:cubicBezTo>
                        <a:cubicBezTo>
                          <a:pt x="55491" y="14311"/>
                          <a:pt x="54797" y="14311"/>
                          <a:pt x="54104" y="14311"/>
                        </a:cubicBezTo>
                        <a:cubicBezTo>
                          <a:pt x="53410" y="14311"/>
                          <a:pt x="52716" y="14311"/>
                          <a:pt x="52716" y="14311"/>
                        </a:cubicBezTo>
                        <a:cubicBezTo>
                          <a:pt x="52023" y="15412"/>
                          <a:pt x="51329" y="12110"/>
                          <a:pt x="51329" y="12110"/>
                        </a:cubicBezTo>
                        <a:cubicBezTo>
                          <a:pt x="51329" y="12110"/>
                          <a:pt x="52023" y="9908"/>
                          <a:pt x="49942" y="12110"/>
                        </a:cubicBezTo>
                        <a:cubicBezTo>
                          <a:pt x="47861" y="14311"/>
                          <a:pt x="47167" y="14311"/>
                          <a:pt x="47167" y="14311"/>
                        </a:cubicBezTo>
                        <a:cubicBezTo>
                          <a:pt x="46473" y="14311"/>
                          <a:pt x="45780" y="15412"/>
                          <a:pt x="45780" y="15412"/>
                        </a:cubicBezTo>
                        <a:cubicBezTo>
                          <a:pt x="45086" y="14311"/>
                          <a:pt x="45086" y="14311"/>
                          <a:pt x="45086" y="14311"/>
                        </a:cubicBezTo>
                        <a:cubicBezTo>
                          <a:pt x="45086" y="14311"/>
                          <a:pt x="45086" y="14311"/>
                          <a:pt x="45086" y="14311"/>
                        </a:cubicBezTo>
                        <a:cubicBezTo>
                          <a:pt x="45086" y="14311"/>
                          <a:pt x="45086" y="14311"/>
                          <a:pt x="45086" y="14311"/>
                        </a:cubicBezTo>
                        <a:cubicBezTo>
                          <a:pt x="45780" y="14311"/>
                          <a:pt x="45780" y="13211"/>
                          <a:pt x="45780" y="13211"/>
                        </a:cubicBezTo>
                        <a:cubicBezTo>
                          <a:pt x="45086" y="12110"/>
                          <a:pt x="45086" y="12110"/>
                          <a:pt x="45086" y="12110"/>
                        </a:cubicBezTo>
                        <a:cubicBezTo>
                          <a:pt x="43005" y="13211"/>
                          <a:pt x="43005" y="13211"/>
                          <a:pt x="43005" y="13211"/>
                        </a:cubicBezTo>
                        <a:cubicBezTo>
                          <a:pt x="43005" y="13211"/>
                          <a:pt x="43699" y="13211"/>
                          <a:pt x="43005" y="13211"/>
                        </a:cubicBezTo>
                        <a:cubicBezTo>
                          <a:pt x="43005" y="13211"/>
                          <a:pt x="41618" y="13211"/>
                          <a:pt x="41618" y="13211"/>
                        </a:cubicBezTo>
                        <a:cubicBezTo>
                          <a:pt x="41618" y="15412"/>
                          <a:pt x="41618" y="15412"/>
                          <a:pt x="41618" y="15412"/>
                        </a:cubicBezTo>
                        <a:cubicBezTo>
                          <a:pt x="41618" y="15412"/>
                          <a:pt x="40924" y="15412"/>
                          <a:pt x="40924" y="15412"/>
                        </a:cubicBezTo>
                        <a:cubicBezTo>
                          <a:pt x="40924" y="15412"/>
                          <a:pt x="40924" y="16513"/>
                          <a:pt x="40924" y="16513"/>
                        </a:cubicBezTo>
                        <a:cubicBezTo>
                          <a:pt x="40924" y="16513"/>
                          <a:pt x="40924" y="17614"/>
                          <a:pt x="40924" y="17614"/>
                        </a:cubicBezTo>
                        <a:cubicBezTo>
                          <a:pt x="40924" y="17614"/>
                          <a:pt x="40231" y="17614"/>
                          <a:pt x="40231" y="17614"/>
                        </a:cubicBezTo>
                        <a:cubicBezTo>
                          <a:pt x="40231" y="17614"/>
                          <a:pt x="39537" y="17614"/>
                          <a:pt x="39537" y="17614"/>
                        </a:cubicBezTo>
                        <a:cubicBezTo>
                          <a:pt x="39537" y="17614"/>
                          <a:pt x="38843" y="19816"/>
                          <a:pt x="38843" y="19816"/>
                        </a:cubicBezTo>
                        <a:cubicBezTo>
                          <a:pt x="38843" y="19816"/>
                          <a:pt x="38843" y="20917"/>
                          <a:pt x="38843" y="20917"/>
                        </a:cubicBezTo>
                        <a:cubicBezTo>
                          <a:pt x="38843" y="20917"/>
                          <a:pt x="38843" y="20917"/>
                          <a:pt x="38843" y="22018"/>
                        </a:cubicBezTo>
                        <a:cubicBezTo>
                          <a:pt x="38150" y="22018"/>
                          <a:pt x="37456" y="22018"/>
                          <a:pt x="37456" y="22018"/>
                        </a:cubicBezTo>
                        <a:cubicBezTo>
                          <a:pt x="37456" y="22018"/>
                          <a:pt x="36763" y="22018"/>
                          <a:pt x="36069" y="22018"/>
                        </a:cubicBezTo>
                        <a:cubicBezTo>
                          <a:pt x="36069" y="22018"/>
                          <a:pt x="35375" y="22018"/>
                          <a:pt x="35375" y="22018"/>
                        </a:cubicBezTo>
                        <a:cubicBezTo>
                          <a:pt x="34682" y="22018"/>
                          <a:pt x="34682" y="23119"/>
                          <a:pt x="34682" y="23119"/>
                        </a:cubicBezTo>
                        <a:cubicBezTo>
                          <a:pt x="34682" y="23119"/>
                          <a:pt x="33294" y="22018"/>
                          <a:pt x="33294" y="22018"/>
                        </a:cubicBezTo>
                        <a:cubicBezTo>
                          <a:pt x="32601" y="22018"/>
                          <a:pt x="32601" y="20917"/>
                          <a:pt x="32601" y="19816"/>
                        </a:cubicBezTo>
                        <a:cubicBezTo>
                          <a:pt x="32601" y="19816"/>
                          <a:pt x="31907" y="17614"/>
                          <a:pt x="31907" y="17614"/>
                        </a:cubicBezTo>
                        <a:cubicBezTo>
                          <a:pt x="31213" y="18715"/>
                          <a:pt x="31213" y="18715"/>
                          <a:pt x="31213" y="18715"/>
                        </a:cubicBezTo>
                        <a:cubicBezTo>
                          <a:pt x="29132" y="18715"/>
                          <a:pt x="29132" y="18715"/>
                          <a:pt x="29132" y="18715"/>
                        </a:cubicBezTo>
                        <a:cubicBezTo>
                          <a:pt x="27745" y="17614"/>
                          <a:pt x="27745" y="17614"/>
                          <a:pt x="27745" y="17614"/>
                        </a:cubicBezTo>
                        <a:cubicBezTo>
                          <a:pt x="27745" y="19816"/>
                          <a:pt x="27745" y="19816"/>
                          <a:pt x="27745" y="19816"/>
                        </a:cubicBezTo>
                        <a:cubicBezTo>
                          <a:pt x="27745" y="19816"/>
                          <a:pt x="28439" y="20917"/>
                          <a:pt x="28439" y="20917"/>
                        </a:cubicBezTo>
                        <a:cubicBezTo>
                          <a:pt x="28439" y="20917"/>
                          <a:pt x="27745" y="20917"/>
                          <a:pt x="27745" y="20917"/>
                        </a:cubicBezTo>
                        <a:cubicBezTo>
                          <a:pt x="27052" y="22018"/>
                          <a:pt x="27052" y="22018"/>
                          <a:pt x="27052" y="22018"/>
                        </a:cubicBezTo>
                        <a:cubicBezTo>
                          <a:pt x="26358" y="22018"/>
                          <a:pt x="26358" y="22018"/>
                          <a:pt x="26358" y="22018"/>
                        </a:cubicBezTo>
                        <a:cubicBezTo>
                          <a:pt x="26358" y="22018"/>
                          <a:pt x="25664" y="24220"/>
                          <a:pt x="25664" y="24220"/>
                        </a:cubicBezTo>
                        <a:cubicBezTo>
                          <a:pt x="25664" y="25321"/>
                          <a:pt x="24971" y="25321"/>
                          <a:pt x="24971" y="25321"/>
                        </a:cubicBezTo>
                        <a:cubicBezTo>
                          <a:pt x="24971" y="25321"/>
                          <a:pt x="24277" y="25321"/>
                          <a:pt x="24971" y="26422"/>
                        </a:cubicBezTo>
                        <a:cubicBezTo>
                          <a:pt x="25664" y="26422"/>
                          <a:pt x="26358" y="26422"/>
                          <a:pt x="26358" y="26422"/>
                        </a:cubicBezTo>
                        <a:cubicBezTo>
                          <a:pt x="27052" y="26422"/>
                          <a:pt x="27745" y="26422"/>
                          <a:pt x="27745" y="26422"/>
                        </a:cubicBezTo>
                        <a:cubicBezTo>
                          <a:pt x="27745" y="26422"/>
                          <a:pt x="29132" y="25321"/>
                          <a:pt x="29132" y="25321"/>
                        </a:cubicBezTo>
                        <a:cubicBezTo>
                          <a:pt x="29132" y="26422"/>
                          <a:pt x="29132" y="26422"/>
                          <a:pt x="29132" y="26422"/>
                        </a:cubicBezTo>
                        <a:cubicBezTo>
                          <a:pt x="29132" y="28623"/>
                          <a:pt x="29132" y="28623"/>
                          <a:pt x="29132" y="28623"/>
                        </a:cubicBezTo>
                        <a:cubicBezTo>
                          <a:pt x="28439" y="28623"/>
                          <a:pt x="28439" y="28623"/>
                          <a:pt x="28439" y="28623"/>
                        </a:cubicBezTo>
                        <a:cubicBezTo>
                          <a:pt x="28439" y="28623"/>
                          <a:pt x="28439" y="29724"/>
                          <a:pt x="28439" y="29724"/>
                        </a:cubicBezTo>
                        <a:cubicBezTo>
                          <a:pt x="27745" y="30825"/>
                          <a:pt x="27052" y="30825"/>
                          <a:pt x="27052" y="30825"/>
                        </a:cubicBezTo>
                        <a:cubicBezTo>
                          <a:pt x="26358" y="31926"/>
                          <a:pt x="26358" y="31926"/>
                          <a:pt x="26358" y="33027"/>
                        </a:cubicBezTo>
                        <a:cubicBezTo>
                          <a:pt x="26358" y="34128"/>
                          <a:pt x="25664" y="36330"/>
                          <a:pt x="25664" y="36330"/>
                        </a:cubicBezTo>
                        <a:cubicBezTo>
                          <a:pt x="24277" y="37431"/>
                          <a:pt x="24277" y="37431"/>
                          <a:pt x="24277" y="37431"/>
                        </a:cubicBezTo>
                        <a:cubicBezTo>
                          <a:pt x="22890" y="39633"/>
                          <a:pt x="22890" y="39633"/>
                          <a:pt x="22890" y="39633"/>
                        </a:cubicBezTo>
                        <a:cubicBezTo>
                          <a:pt x="22196" y="39633"/>
                          <a:pt x="22196" y="39633"/>
                          <a:pt x="22196" y="39633"/>
                        </a:cubicBezTo>
                        <a:cubicBezTo>
                          <a:pt x="21502" y="40733"/>
                          <a:pt x="21502" y="40733"/>
                          <a:pt x="21502" y="40733"/>
                        </a:cubicBezTo>
                        <a:cubicBezTo>
                          <a:pt x="21502" y="41834"/>
                          <a:pt x="21502" y="41834"/>
                          <a:pt x="21502" y="41834"/>
                        </a:cubicBezTo>
                        <a:cubicBezTo>
                          <a:pt x="20115" y="42935"/>
                          <a:pt x="20115" y="42935"/>
                          <a:pt x="20115" y="42935"/>
                        </a:cubicBezTo>
                        <a:cubicBezTo>
                          <a:pt x="20115" y="45137"/>
                          <a:pt x="20115" y="45137"/>
                          <a:pt x="20115" y="45137"/>
                        </a:cubicBezTo>
                        <a:cubicBezTo>
                          <a:pt x="19421" y="46238"/>
                          <a:pt x="19421" y="46238"/>
                          <a:pt x="19421" y="46238"/>
                        </a:cubicBezTo>
                        <a:cubicBezTo>
                          <a:pt x="18728" y="46238"/>
                          <a:pt x="18728" y="46238"/>
                          <a:pt x="18728" y="46238"/>
                        </a:cubicBezTo>
                        <a:cubicBezTo>
                          <a:pt x="18034" y="48440"/>
                          <a:pt x="18034" y="48440"/>
                          <a:pt x="18034" y="48440"/>
                        </a:cubicBezTo>
                        <a:cubicBezTo>
                          <a:pt x="18034" y="48440"/>
                          <a:pt x="17341" y="49541"/>
                          <a:pt x="17341" y="49541"/>
                        </a:cubicBezTo>
                        <a:cubicBezTo>
                          <a:pt x="16647" y="49541"/>
                          <a:pt x="15953" y="50642"/>
                          <a:pt x="15953" y="50642"/>
                        </a:cubicBezTo>
                        <a:cubicBezTo>
                          <a:pt x="14566" y="50642"/>
                          <a:pt x="14566" y="50642"/>
                          <a:pt x="14566" y="50642"/>
                        </a:cubicBezTo>
                        <a:cubicBezTo>
                          <a:pt x="14566" y="50642"/>
                          <a:pt x="13872" y="50642"/>
                          <a:pt x="13179" y="51743"/>
                        </a:cubicBezTo>
                        <a:cubicBezTo>
                          <a:pt x="13179" y="52844"/>
                          <a:pt x="13179" y="52844"/>
                          <a:pt x="13179" y="52844"/>
                        </a:cubicBezTo>
                        <a:cubicBezTo>
                          <a:pt x="13179" y="53944"/>
                          <a:pt x="13872" y="55045"/>
                          <a:pt x="13872" y="55045"/>
                        </a:cubicBezTo>
                        <a:cubicBezTo>
                          <a:pt x="13872" y="57247"/>
                          <a:pt x="13872" y="57247"/>
                          <a:pt x="13872" y="57247"/>
                        </a:cubicBezTo>
                        <a:cubicBezTo>
                          <a:pt x="13872" y="57247"/>
                          <a:pt x="13179" y="57247"/>
                          <a:pt x="13179" y="58348"/>
                        </a:cubicBezTo>
                        <a:cubicBezTo>
                          <a:pt x="13179" y="58348"/>
                          <a:pt x="13179" y="59449"/>
                          <a:pt x="13179" y="59449"/>
                        </a:cubicBezTo>
                        <a:cubicBezTo>
                          <a:pt x="13179" y="59449"/>
                          <a:pt x="13179" y="60550"/>
                          <a:pt x="13179" y="60550"/>
                        </a:cubicBezTo>
                        <a:cubicBezTo>
                          <a:pt x="13179" y="60550"/>
                          <a:pt x="13179" y="61651"/>
                          <a:pt x="13179" y="61651"/>
                        </a:cubicBezTo>
                        <a:cubicBezTo>
                          <a:pt x="13179" y="61651"/>
                          <a:pt x="13179" y="62752"/>
                          <a:pt x="12485" y="63853"/>
                        </a:cubicBezTo>
                        <a:cubicBezTo>
                          <a:pt x="12485" y="63853"/>
                          <a:pt x="11791" y="64954"/>
                          <a:pt x="11791" y="64954"/>
                        </a:cubicBezTo>
                        <a:cubicBezTo>
                          <a:pt x="11791" y="64954"/>
                          <a:pt x="10404" y="64954"/>
                          <a:pt x="10404" y="64954"/>
                        </a:cubicBezTo>
                        <a:cubicBezTo>
                          <a:pt x="10404" y="66055"/>
                          <a:pt x="9017" y="66055"/>
                          <a:pt x="9017" y="66055"/>
                        </a:cubicBezTo>
                        <a:cubicBezTo>
                          <a:pt x="7630" y="68256"/>
                          <a:pt x="7630" y="68256"/>
                          <a:pt x="7630" y="68256"/>
                        </a:cubicBezTo>
                        <a:cubicBezTo>
                          <a:pt x="4855" y="72660"/>
                          <a:pt x="4855" y="72660"/>
                          <a:pt x="4855" y="72660"/>
                        </a:cubicBezTo>
                        <a:cubicBezTo>
                          <a:pt x="4855" y="72660"/>
                          <a:pt x="4855" y="73761"/>
                          <a:pt x="4855" y="73761"/>
                        </a:cubicBezTo>
                        <a:cubicBezTo>
                          <a:pt x="4855" y="73761"/>
                          <a:pt x="4855" y="75963"/>
                          <a:pt x="4855" y="75963"/>
                        </a:cubicBezTo>
                        <a:cubicBezTo>
                          <a:pt x="4855" y="77064"/>
                          <a:pt x="4161" y="78165"/>
                          <a:pt x="4161" y="78165"/>
                        </a:cubicBezTo>
                        <a:cubicBezTo>
                          <a:pt x="3468" y="79266"/>
                          <a:pt x="3468" y="79266"/>
                          <a:pt x="3468" y="79266"/>
                        </a:cubicBezTo>
                        <a:cubicBezTo>
                          <a:pt x="3468" y="81467"/>
                          <a:pt x="3468" y="81467"/>
                          <a:pt x="3468" y="81467"/>
                        </a:cubicBezTo>
                        <a:cubicBezTo>
                          <a:pt x="3468" y="82568"/>
                          <a:pt x="3468" y="82568"/>
                          <a:pt x="3468" y="82568"/>
                        </a:cubicBezTo>
                        <a:cubicBezTo>
                          <a:pt x="4161" y="83669"/>
                          <a:pt x="4161" y="83669"/>
                          <a:pt x="4161" y="83669"/>
                        </a:cubicBezTo>
                        <a:cubicBezTo>
                          <a:pt x="4855" y="84770"/>
                          <a:pt x="4855" y="84770"/>
                          <a:pt x="4855" y="84770"/>
                        </a:cubicBezTo>
                        <a:cubicBezTo>
                          <a:pt x="4855" y="88073"/>
                          <a:pt x="4855" y="88073"/>
                          <a:pt x="4855" y="88073"/>
                        </a:cubicBezTo>
                        <a:cubicBezTo>
                          <a:pt x="4161" y="90275"/>
                          <a:pt x="4161" y="90275"/>
                          <a:pt x="4161" y="90275"/>
                        </a:cubicBezTo>
                        <a:cubicBezTo>
                          <a:pt x="4161" y="92477"/>
                          <a:pt x="4161" y="92477"/>
                          <a:pt x="4161" y="92477"/>
                        </a:cubicBezTo>
                        <a:cubicBezTo>
                          <a:pt x="2774" y="92477"/>
                          <a:pt x="2774" y="92477"/>
                          <a:pt x="2774" y="92477"/>
                        </a:cubicBezTo>
                        <a:cubicBezTo>
                          <a:pt x="2774" y="92477"/>
                          <a:pt x="2080" y="93577"/>
                          <a:pt x="1387" y="93577"/>
                        </a:cubicBezTo>
                        <a:cubicBezTo>
                          <a:pt x="1387" y="93577"/>
                          <a:pt x="693" y="94678"/>
                          <a:pt x="693" y="94678"/>
                        </a:cubicBezTo>
                        <a:cubicBezTo>
                          <a:pt x="0" y="95779"/>
                          <a:pt x="0" y="95779"/>
                          <a:pt x="0" y="95779"/>
                        </a:cubicBezTo>
                        <a:cubicBezTo>
                          <a:pt x="693" y="96880"/>
                          <a:pt x="693" y="96880"/>
                          <a:pt x="693" y="96880"/>
                        </a:cubicBezTo>
                        <a:cubicBezTo>
                          <a:pt x="693" y="99082"/>
                          <a:pt x="693" y="99082"/>
                          <a:pt x="693" y="99082"/>
                        </a:cubicBezTo>
                        <a:cubicBezTo>
                          <a:pt x="1387" y="99082"/>
                          <a:pt x="1387" y="99082"/>
                          <a:pt x="1387" y="99082"/>
                        </a:cubicBezTo>
                        <a:cubicBezTo>
                          <a:pt x="2774" y="97981"/>
                          <a:pt x="2774" y="97981"/>
                          <a:pt x="2774" y="97981"/>
                        </a:cubicBezTo>
                        <a:cubicBezTo>
                          <a:pt x="4161" y="99082"/>
                          <a:pt x="4161" y="99082"/>
                          <a:pt x="4161" y="99082"/>
                        </a:cubicBezTo>
                        <a:cubicBezTo>
                          <a:pt x="6242" y="97981"/>
                          <a:pt x="6242" y="97981"/>
                          <a:pt x="6242" y="97981"/>
                        </a:cubicBezTo>
                        <a:cubicBezTo>
                          <a:pt x="6242" y="97981"/>
                          <a:pt x="6242" y="96880"/>
                          <a:pt x="6936" y="95779"/>
                        </a:cubicBezTo>
                        <a:cubicBezTo>
                          <a:pt x="7630" y="94678"/>
                          <a:pt x="8323" y="94678"/>
                          <a:pt x="8323" y="94678"/>
                        </a:cubicBezTo>
                        <a:cubicBezTo>
                          <a:pt x="9017" y="92477"/>
                          <a:pt x="9017" y="92477"/>
                          <a:pt x="9017" y="92477"/>
                        </a:cubicBezTo>
                        <a:cubicBezTo>
                          <a:pt x="8323" y="92477"/>
                          <a:pt x="8323" y="92477"/>
                          <a:pt x="8323" y="92477"/>
                        </a:cubicBezTo>
                        <a:cubicBezTo>
                          <a:pt x="8323" y="90275"/>
                          <a:pt x="8323" y="90275"/>
                          <a:pt x="8323" y="90275"/>
                        </a:cubicBezTo>
                        <a:cubicBezTo>
                          <a:pt x="6936" y="89174"/>
                          <a:pt x="6936" y="89174"/>
                          <a:pt x="6936" y="89174"/>
                        </a:cubicBezTo>
                        <a:cubicBezTo>
                          <a:pt x="6936" y="89174"/>
                          <a:pt x="6936" y="88073"/>
                          <a:pt x="6936" y="88073"/>
                        </a:cubicBezTo>
                        <a:cubicBezTo>
                          <a:pt x="7630" y="86972"/>
                          <a:pt x="8323" y="84770"/>
                          <a:pt x="8323" y="84770"/>
                        </a:cubicBezTo>
                        <a:cubicBezTo>
                          <a:pt x="10404" y="83669"/>
                          <a:pt x="10404" y="83669"/>
                          <a:pt x="10404" y="83669"/>
                        </a:cubicBezTo>
                        <a:cubicBezTo>
                          <a:pt x="12485" y="82568"/>
                          <a:pt x="12485" y="82568"/>
                          <a:pt x="12485" y="82568"/>
                        </a:cubicBezTo>
                        <a:cubicBezTo>
                          <a:pt x="13179" y="81467"/>
                          <a:pt x="13179" y="81467"/>
                          <a:pt x="13179" y="81467"/>
                        </a:cubicBezTo>
                        <a:cubicBezTo>
                          <a:pt x="14566" y="80366"/>
                          <a:pt x="14566" y="80366"/>
                          <a:pt x="14566" y="80366"/>
                        </a:cubicBezTo>
                        <a:cubicBezTo>
                          <a:pt x="14566" y="80366"/>
                          <a:pt x="16647" y="80366"/>
                          <a:pt x="16647" y="80366"/>
                        </a:cubicBezTo>
                        <a:cubicBezTo>
                          <a:pt x="16647" y="80366"/>
                          <a:pt x="19421" y="80366"/>
                          <a:pt x="19421" y="80366"/>
                        </a:cubicBezTo>
                        <a:lnTo>
                          <a:pt x="21502" y="82568"/>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49" name="Shape 2025"/>
                  <p:cNvSpPr/>
                  <p:nvPr/>
                </p:nvSpPr>
                <p:spPr>
                  <a:xfrm>
                    <a:off x="5753789" y="1798916"/>
                    <a:ext cx="494744" cy="296185"/>
                  </a:xfrm>
                  <a:custGeom>
                    <a:avLst/>
                    <a:gdLst/>
                    <a:ahLst/>
                    <a:cxnLst/>
                    <a:rect l="0" t="0" r="0" b="0"/>
                    <a:pathLst>
                      <a:path w="120000" h="120000" extrusionOk="0">
                        <a:moveTo>
                          <a:pt x="10506" y="40298"/>
                        </a:moveTo>
                        <a:cubicBezTo>
                          <a:pt x="13271" y="35820"/>
                          <a:pt x="13271" y="35820"/>
                          <a:pt x="13271" y="35820"/>
                        </a:cubicBezTo>
                        <a:cubicBezTo>
                          <a:pt x="13271" y="35820"/>
                          <a:pt x="16589" y="31343"/>
                          <a:pt x="17142" y="31343"/>
                        </a:cubicBezTo>
                        <a:cubicBezTo>
                          <a:pt x="18248" y="30447"/>
                          <a:pt x="19907" y="28656"/>
                          <a:pt x="19907" y="29552"/>
                        </a:cubicBezTo>
                        <a:cubicBezTo>
                          <a:pt x="19907" y="30447"/>
                          <a:pt x="20460" y="36716"/>
                          <a:pt x="20460" y="36716"/>
                        </a:cubicBezTo>
                        <a:cubicBezTo>
                          <a:pt x="23225" y="38507"/>
                          <a:pt x="23225" y="38507"/>
                          <a:pt x="23225" y="38507"/>
                        </a:cubicBezTo>
                        <a:cubicBezTo>
                          <a:pt x="25437" y="41194"/>
                          <a:pt x="25437" y="41194"/>
                          <a:pt x="25437" y="41194"/>
                        </a:cubicBezTo>
                        <a:cubicBezTo>
                          <a:pt x="29861" y="44776"/>
                          <a:pt x="29861" y="44776"/>
                          <a:pt x="29861" y="44776"/>
                        </a:cubicBezTo>
                        <a:cubicBezTo>
                          <a:pt x="30414" y="47462"/>
                          <a:pt x="30414" y="47462"/>
                          <a:pt x="30414" y="47462"/>
                        </a:cubicBezTo>
                        <a:cubicBezTo>
                          <a:pt x="30414" y="47462"/>
                          <a:pt x="29861" y="49253"/>
                          <a:pt x="30967" y="51940"/>
                        </a:cubicBezTo>
                        <a:cubicBezTo>
                          <a:pt x="32626" y="54626"/>
                          <a:pt x="33179" y="54626"/>
                          <a:pt x="33732" y="57313"/>
                        </a:cubicBezTo>
                        <a:cubicBezTo>
                          <a:pt x="34285" y="59104"/>
                          <a:pt x="36497" y="60895"/>
                          <a:pt x="36497" y="60895"/>
                        </a:cubicBezTo>
                        <a:cubicBezTo>
                          <a:pt x="39262" y="61791"/>
                          <a:pt x="39262" y="61791"/>
                          <a:pt x="39262" y="61791"/>
                        </a:cubicBezTo>
                        <a:cubicBezTo>
                          <a:pt x="39262" y="61791"/>
                          <a:pt x="42027" y="63582"/>
                          <a:pt x="42580" y="62686"/>
                        </a:cubicBezTo>
                        <a:cubicBezTo>
                          <a:pt x="43133" y="61791"/>
                          <a:pt x="45898" y="58208"/>
                          <a:pt x="45898" y="57313"/>
                        </a:cubicBezTo>
                        <a:cubicBezTo>
                          <a:pt x="46451" y="56417"/>
                          <a:pt x="48110" y="52835"/>
                          <a:pt x="48663" y="51940"/>
                        </a:cubicBezTo>
                        <a:cubicBezTo>
                          <a:pt x="49216" y="51044"/>
                          <a:pt x="50875" y="44776"/>
                          <a:pt x="50875" y="43880"/>
                        </a:cubicBezTo>
                        <a:cubicBezTo>
                          <a:pt x="50875" y="42089"/>
                          <a:pt x="48663" y="34925"/>
                          <a:pt x="48110" y="33134"/>
                        </a:cubicBezTo>
                        <a:cubicBezTo>
                          <a:pt x="48110" y="31343"/>
                          <a:pt x="47557" y="25970"/>
                          <a:pt x="47557" y="25970"/>
                        </a:cubicBezTo>
                        <a:cubicBezTo>
                          <a:pt x="45345" y="18805"/>
                          <a:pt x="45345" y="18805"/>
                          <a:pt x="45345" y="18805"/>
                        </a:cubicBezTo>
                        <a:cubicBezTo>
                          <a:pt x="45345" y="18805"/>
                          <a:pt x="45345" y="14328"/>
                          <a:pt x="45898" y="14328"/>
                        </a:cubicBezTo>
                        <a:cubicBezTo>
                          <a:pt x="46451" y="13432"/>
                          <a:pt x="49216" y="9850"/>
                          <a:pt x="49216" y="9850"/>
                        </a:cubicBezTo>
                        <a:cubicBezTo>
                          <a:pt x="51981" y="5373"/>
                          <a:pt x="51981" y="5373"/>
                          <a:pt x="51981" y="5373"/>
                        </a:cubicBezTo>
                        <a:cubicBezTo>
                          <a:pt x="54746" y="2686"/>
                          <a:pt x="54746" y="2686"/>
                          <a:pt x="54746" y="2686"/>
                        </a:cubicBezTo>
                        <a:cubicBezTo>
                          <a:pt x="56958" y="0"/>
                          <a:pt x="56958" y="0"/>
                          <a:pt x="56958" y="0"/>
                        </a:cubicBezTo>
                        <a:cubicBezTo>
                          <a:pt x="59723" y="1791"/>
                          <a:pt x="59723" y="1791"/>
                          <a:pt x="59723" y="1791"/>
                        </a:cubicBezTo>
                        <a:cubicBezTo>
                          <a:pt x="61935" y="1791"/>
                          <a:pt x="61935" y="1791"/>
                          <a:pt x="61935" y="1791"/>
                        </a:cubicBezTo>
                        <a:cubicBezTo>
                          <a:pt x="64147" y="3582"/>
                          <a:pt x="64147" y="3582"/>
                          <a:pt x="64147" y="3582"/>
                        </a:cubicBezTo>
                        <a:cubicBezTo>
                          <a:pt x="66912" y="3582"/>
                          <a:pt x="66912" y="3582"/>
                          <a:pt x="66912" y="3582"/>
                        </a:cubicBezTo>
                        <a:cubicBezTo>
                          <a:pt x="69124" y="4477"/>
                          <a:pt x="69124" y="4477"/>
                          <a:pt x="69124" y="4477"/>
                        </a:cubicBezTo>
                        <a:cubicBezTo>
                          <a:pt x="71889" y="6268"/>
                          <a:pt x="71889" y="6268"/>
                          <a:pt x="71889" y="6268"/>
                        </a:cubicBezTo>
                        <a:cubicBezTo>
                          <a:pt x="76866" y="11641"/>
                          <a:pt x="76866" y="11641"/>
                          <a:pt x="76866" y="11641"/>
                        </a:cubicBezTo>
                        <a:cubicBezTo>
                          <a:pt x="78525" y="15223"/>
                          <a:pt x="78525" y="15223"/>
                          <a:pt x="78525" y="15223"/>
                        </a:cubicBezTo>
                        <a:cubicBezTo>
                          <a:pt x="80184" y="16119"/>
                          <a:pt x="80184" y="16119"/>
                          <a:pt x="80184" y="16119"/>
                        </a:cubicBezTo>
                        <a:cubicBezTo>
                          <a:pt x="80184" y="16119"/>
                          <a:pt x="81290" y="17910"/>
                          <a:pt x="82396" y="17014"/>
                        </a:cubicBezTo>
                        <a:cubicBezTo>
                          <a:pt x="82949" y="17014"/>
                          <a:pt x="83502" y="16119"/>
                          <a:pt x="84055" y="15223"/>
                        </a:cubicBezTo>
                        <a:cubicBezTo>
                          <a:pt x="85161" y="14328"/>
                          <a:pt x="85714" y="12537"/>
                          <a:pt x="85714" y="12537"/>
                        </a:cubicBezTo>
                        <a:cubicBezTo>
                          <a:pt x="86820" y="12537"/>
                          <a:pt x="86820" y="12537"/>
                          <a:pt x="86820" y="12537"/>
                        </a:cubicBezTo>
                        <a:cubicBezTo>
                          <a:pt x="87926" y="9850"/>
                          <a:pt x="87926" y="9850"/>
                          <a:pt x="87926" y="9850"/>
                        </a:cubicBezTo>
                        <a:cubicBezTo>
                          <a:pt x="92350" y="11641"/>
                          <a:pt x="92350" y="11641"/>
                          <a:pt x="92350" y="11641"/>
                        </a:cubicBezTo>
                        <a:cubicBezTo>
                          <a:pt x="94562" y="11641"/>
                          <a:pt x="94562" y="11641"/>
                          <a:pt x="94562" y="11641"/>
                        </a:cubicBezTo>
                        <a:cubicBezTo>
                          <a:pt x="97880" y="9850"/>
                          <a:pt x="97880" y="9850"/>
                          <a:pt x="97880" y="9850"/>
                        </a:cubicBezTo>
                        <a:cubicBezTo>
                          <a:pt x="99539" y="12537"/>
                          <a:pt x="99539" y="12537"/>
                          <a:pt x="99539" y="12537"/>
                        </a:cubicBezTo>
                        <a:cubicBezTo>
                          <a:pt x="99539" y="15223"/>
                          <a:pt x="99539" y="15223"/>
                          <a:pt x="99539" y="15223"/>
                        </a:cubicBezTo>
                        <a:cubicBezTo>
                          <a:pt x="101751" y="16119"/>
                          <a:pt x="101751" y="16119"/>
                          <a:pt x="101751" y="16119"/>
                        </a:cubicBezTo>
                        <a:cubicBezTo>
                          <a:pt x="101751" y="16119"/>
                          <a:pt x="103410" y="17910"/>
                          <a:pt x="103963" y="17910"/>
                        </a:cubicBezTo>
                        <a:cubicBezTo>
                          <a:pt x="104516" y="17910"/>
                          <a:pt x="105622" y="18805"/>
                          <a:pt x="105622" y="18805"/>
                        </a:cubicBezTo>
                        <a:cubicBezTo>
                          <a:pt x="106175" y="27761"/>
                          <a:pt x="106175" y="27761"/>
                          <a:pt x="106175" y="27761"/>
                        </a:cubicBezTo>
                        <a:cubicBezTo>
                          <a:pt x="105069" y="30447"/>
                          <a:pt x="105069" y="30447"/>
                          <a:pt x="105069" y="30447"/>
                        </a:cubicBezTo>
                        <a:cubicBezTo>
                          <a:pt x="106175" y="37611"/>
                          <a:pt x="106175" y="37611"/>
                          <a:pt x="106175" y="37611"/>
                        </a:cubicBezTo>
                        <a:cubicBezTo>
                          <a:pt x="106175" y="41194"/>
                          <a:pt x="106175" y="41194"/>
                          <a:pt x="106175" y="41194"/>
                        </a:cubicBezTo>
                        <a:cubicBezTo>
                          <a:pt x="108387" y="38507"/>
                          <a:pt x="108387" y="38507"/>
                          <a:pt x="108387" y="38507"/>
                        </a:cubicBezTo>
                        <a:cubicBezTo>
                          <a:pt x="110599" y="41194"/>
                          <a:pt x="110599" y="41194"/>
                          <a:pt x="110599" y="41194"/>
                        </a:cubicBezTo>
                        <a:cubicBezTo>
                          <a:pt x="109493" y="43880"/>
                          <a:pt x="109493" y="43880"/>
                          <a:pt x="109493" y="43880"/>
                        </a:cubicBezTo>
                        <a:cubicBezTo>
                          <a:pt x="112258" y="47462"/>
                          <a:pt x="112258" y="47462"/>
                          <a:pt x="112258" y="47462"/>
                        </a:cubicBezTo>
                        <a:cubicBezTo>
                          <a:pt x="114470" y="49253"/>
                          <a:pt x="114470" y="49253"/>
                          <a:pt x="114470" y="49253"/>
                        </a:cubicBezTo>
                        <a:cubicBezTo>
                          <a:pt x="113917" y="51940"/>
                          <a:pt x="113917" y="51940"/>
                          <a:pt x="113917" y="51940"/>
                        </a:cubicBezTo>
                        <a:cubicBezTo>
                          <a:pt x="113917" y="51940"/>
                          <a:pt x="114470" y="52835"/>
                          <a:pt x="115023" y="52835"/>
                        </a:cubicBezTo>
                        <a:cubicBezTo>
                          <a:pt x="115576" y="53731"/>
                          <a:pt x="116682" y="54626"/>
                          <a:pt x="116682" y="54626"/>
                        </a:cubicBezTo>
                        <a:cubicBezTo>
                          <a:pt x="116682" y="54626"/>
                          <a:pt x="117235" y="57313"/>
                          <a:pt x="117235" y="59104"/>
                        </a:cubicBezTo>
                        <a:cubicBezTo>
                          <a:pt x="117788" y="60000"/>
                          <a:pt x="120000" y="62686"/>
                          <a:pt x="120000" y="62686"/>
                        </a:cubicBezTo>
                        <a:cubicBezTo>
                          <a:pt x="119447" y="67164"/>
                          <a:pt x="119447" y="67164"/>
                          <a:pt x="119447" y="67164"/>
                        </a:cubicBezTo>
                        <a:cubicBezTo>
                          <a:pt x="119447" y="67164"/>
                          <a:pt x="119447" y="68955"/>
                          <a:pt x="119447" y="69850"/>
                        </a:cubicBezTo>
                        <a:cubicBezTo>
                          <a:pt x="119447" y="70746"/>
                          <a:pt x="119447" y="71641"/>
                          <a:pt x="119447" y="72537"/>
                        </a:cubicBezTo>
                        <a:cubicBezTo>
                          <a:pt x="119447" y="71641"/>
                          <a:pt x="119447" y="71641"/>
                          <a:pt x="119447" y="71641"/>
                        </a:cubicBezTo>
                        <a:cubicBezTo>
                          <a:pt x="116682" y="74328"/>
                          <a:pt x="116682" y="74328"/>
                          <a:pt x="116682" y="74328"/>
                        </a:cubicBezTo>
                        <a:cubicBezTo>
                          <a:pt x="116129" y="80597"/>
                          <a:pt x="116129" y="80597"/>
                          <a:pt x="116129" y="80597"/>
                        </a:cubicBezTo>
                        <a:cubicBezTo>
                          <a:pt x="113364" y="85074"/>
                          <a:pt x="113364" y="85074"/>
                          <a:pt x="113364" y="85074"/>
                        </a:cubicBezTo>
                        <a:cubicBezTo>
                          <a:pt x="114470" y="89552"/>
                          <a:pt x="114470" y="89552"/>
                          <a:pt x="114470" y="89552"/>
                        </a:cubicBezTo>
                        <a:cubicBezTo>
                          <a:pt x="113364" y="92238"/>
                          <a:pt x="113364" y="92238"/>
                          <a:pt x="113364" y="92238"/>
                        </a:cubicBezTo>
                        <a:cubicBezTo>
                          <a:pt x="108940" y="92238"/>
                          <a:pt x="108940" y="92238"/>
                          <a:pt x="108940" y="92238"/>
                        </a:cubicBezTo>
                        <a:cubicBezTo>
                          <a:pt x="108940" y="92238"/>
                          <a:pt x="108387" y="92238"/>
                          <a:pt x="106175" y="92238"/>
                        </a:cubicBezTo>
                        <a:cubicBezTo>
                          <a:pt x="103963" y="92238"/>
                          <a:pt x="104516" y="92238"/>
                          <a:pt x="104516" y="92238"/>
                        </a:cubicBezTo>
                        <a:cubicBezTo>
                          <a:pt x="102857" y="94925"/>
                          <a:pt x="102857" y="94925"/>
                          <a:pt x="102857" y="94925"/>
                        </a:cubicBezTo>
                        <a:cubicBezTo>
                          <a:pt x="102304" y="100298"/>
                          <a:pt x="102304" y="100298"/>
                          <a:pt x="102304" y="100298"/>
                        </a:cubicBezTo>
                        <a:cubicBezTo>
                          <a:pt x="102304" y="100298"/>
                          <a:pt x="101198" y="100298"/>
                          <a:pt x="98986" y="101194"/>
                        </a:cubicBezTo>
                        <a:cubicBezTo>
                          <a:pt x="97880" y="102089"/>
                          <a:pt x="97880" y="102985"/>
                          <a:pt x="97880" y="102985"/>
                        </a:cubicBezTo>
                        <a:cubicBezTo>
                          <a:pt x="97880" y="102985"/>
                          <a:pt x="97880" y="102985"/>
                          <a:pt x="97880" y="102985"/>
                        </a:cubicBezTo>
                        <a:cubicBezTo>
                          <a:pt x="96221" y="102985"/>
                          <a:pt x="96221" y="102985"/>
                          <a:pt x="96221" y="102985"/>
                        </a:cubicBezTo>
                        <a:cubicBezTo>
                          <a:pt x="93456" y="102089"/>
                          <a:pt x="93456" y="102089"/>
                          <a:pt x="93456" y="102089"/>
                        </a:cubicBezTo>
                        <a:cubicBezTo>
                          <a:pt x="91244" y="102089"/>
                          <a:pt x="91244" y="102089"/>
                          <a:pt x="91244" y="102089"/>
                        </a:cubicBezTo>
                        <a:cubicBezTo>
                          <a:pt x="90138" y="98507"/>
                          <a:pt x="90138" y="98507"/>
                          <a:pt x="90138" y="98507"/>
                        </a:cubicBezTo>
                        <a:cubicBezTo>
                          <a:pt x="88479" y="97611"/>
                          <a:pt x="88479" y="97611"/>
                          <a:pt x="88479" y="97611"/>
                        </a:cubicBezTo>
                        <a:cubicBezTo>
                          <a:pt x="86820" y="94029"/>
                          <a:pt x="86820" y="94029"/>
                          <a:pt x="86820" y="94029"/>
                        </a:cubicBezTo>
                        <a:cubicBezTo>
                          <a:pt x="84608" y="93134"/>
                          <a:pt x="84608" y="93134"/>
                          <a:pt x="84608" y="93134"/>
                        </a:cubicBezTo>
                        <a:cubicBezTo>
                          <a:pt x="83502" y="90447"/>
                          <a:pt x="83502" y="90447"/>
                          <a:pt x="83502" y="90447"/>
                        </a:cubicBezTo>
                        <a:cubicBezTo>
                          <a:pt x="80737" y="90447"/>
                          <a:pt x="80737" y="90447"/>
                          <a:pt x="80737" y="90447"/>
                        </a:cubicBezTo>
                        <a:cubicBezTo>
                          <a:pt x="79078" y="88656"/>
                          <a:pt x="79078" y="88656"/>
                          <a:pt x="79078" y="88656"/>
                        </a:cubicBezTo>
                        <a:cubicBezTo>
                          <a:pt x="78525" y="86865"/>
                          <a:pt x="78525" y="86865"/>
                          <a:pt x="78525" y="86865"/>
                        </a:cubicBezTo>
                        <a:cubicBezTo>
                          <a:pt x="76866" y="86865"/>
                          <a:pt x="76866" y="86865"/>
                          <a:pt x="76866" y="86865"/>
                        </a:cubicBezTo>
                        <a:cubicBezTo>
                          <a:pt x="74654" y="87761"/>
                          <a:pt x="74654" y="87761"/>
                          <a:pt x="74654" y="87761"/>
                        </a:cubicBezTo>
                        <a:cubicBezTo>
                          <a:pt x="70783" y="89552"/>
                          <a:pt x="70783" y="89552"/>
                          <a:pt x="70783" y="89552"/>
                        </a:cubicBezTo>
                        <a:cubicBezTo>
                          <a:pt x="68571" y="86865"/>
                          <a:pt x="68571" y="86865"/>
                          <a:pt x="68571" y="86865"/>
                        </a:cubicBezTo>
                        <a:cubicBezTo>
                          <a:pt x="68018" y="85970"/>
                          <a:pt x="68018" y="85970"/>
                          <a:pt x="68018" y="85970"/>
                        </a:cubicBezTo>
                        <a:cubicBezTo>
                          <a:pt x="65806" y="83283"/>
                          <a:pt x="65806" y="83283"/>
                          <a:pt x="65806" y="83283"/>
                        </a:cubicBezTo>
                        <a:cubicBezTo>
                          <a:pt x="64700" y="77910"/>
                          <a:pt x="64700" y="77910"/>
                          <a:pt x="64700" y="77910"/>
                        </a:cubicBezTo>
                        <a:cubicBezTo>
                          <a:pt x="64700" y="77910"/>
                          <a:pt x="62488" y="80597"/>
                          <a:pt x="61935" y="80597"/>
                        </a:cubicBezTo>
                        <a:cubicBezTo>
                          <a:pt x="61935" y="80597"/>
                          <a:pt x="60276" y="85074"/>
                          <a:pt x="60276" y="85074"/>
                        </a:cubicBezTo>
                        <a:cubicBezTo>
                          <a:pt x="59723" y="88656"/>
                          <a:pt x="59723" y="88656"/>
                          <a:pt x="59723" y="88656"/>
                        </a:cubicBezTo>
                        <a:cubicBezTo>
                          <a:pt x="56405" y="86865"/>
                          <a:pt x="56405" y="86865"/>
                          <a:pt x="56405" y="86865"/>
                        </a:cubicBezTo>
                        <a:cubicBezTo>
                          <a:pt x="56405" y="86865"/>
                          <a:pt x="54746" y="90447"/>
                          <a:pt x="54746" y="91343"/>
                        </a:cubicBezTo>
                        <a:cubicBezTo>
                          <a:pt x="54193" y="91343"/>
                          <a:pt x="51981" y="89552"/>
                          <a:pt x="51981" y="89552"/>
                        </a:cubicBezTo>
                        <a:cubicBezTo>
                          <a:pt x="48663" y="89552"/>
                          <a:pt x="48663" y="89552"/>
                          <a:pt x="48663" y="89552"/>
                        </a:cubicBezTo>
                        <a:cubicBezTo>
                          <a:pt x="48663" y="89552"/>
                          <a:pt x="45345" y="89552"/>
                          <a:pt x="44792" y="88656"/>
                        </a:cubicBezTo>
                        <a:cubicBezTo>
                          <a:pt x="44239" y="88656"/>
                          <a:pt x="44239" y="89552"/>
                          <a:pt x="44239" y="89552"/>
                        </a:cubicBezTo>
                        <a:cubicBezTo>
                          <a:pt x="41474" y="90447"/>
                          <a:pt x="41474" y="90447"/>
                          <a:pt x="41474" y="90447"/>
                        </a:cubicBezTo>
                        <a:cubicBezTo>
                          <a:pt x="38156" y="91343"/>
                          <a:pt x="38156" y="91343"/>
                          <a:pt x="38156" y="91343"/>
                        </a:cubicBezTo>
                        <a:cubicBezTo>
                          <a:pt x="38156" y="91343"/>
                          <a:pt x="37603" y="94925"/>
                          <a:pt x="37050" y="95820"/>
                        </a:cubicBezTo>
                        <a:cubicBezTo>
                          <a:pt x="36497" y="95820"/>
                          <a:pt x="34838" y="93134"/>
                          <a:pt x="34285" y="92238"/>
                        </a:cubicBezTo>
                        <a:cubicBezTo>
                          <a:pt x="34285" y="91343"/>
                          <a:pt x="32626" y="90447"/>
                          <a:pt x="32626" y="90447"/>
                        </a:cubicBezTo>
                        <a:cubicBezTo>
                          <a:pt x="30414" y="93134"/>
                          <a:pt x="30414" y="93134"/>
                          <a:pt x="30414" y="93134"/>
                        </a:cubicBezTo>
                        <a:cubicBezTo>
                          <a:pt x="30414" y="93134"/>
                          <a:pt x="26543" y="94029"/>
                          <a:pt x="25990" y="94029"/>
                        </a:cubicBezTo>
                        <a:cubicBezTo>
                          <a:pt x="25437" y="94029"/>
                          <a:pt x="22672" y="95820"/>
                          <a:pt x="22672" y="95820"/>
                        </a:cubicBezTo>
                        <a:cubicBezTo>
                          <a:pt x="18801" y="94925"/>
                          <a:pt x="18801" y="94925"/>
                          <a:pt x="18801" y="94925"/>
                        </a:cubicBezTo>
                        <a:cubicBezTo>
                          <a:pt x="17142" y="97611"/>
                          <a:pt x="17142" y="97611"/>
                          <a:pt x="17142" y="97611"/>
                        </a:cubicBezTo>
                        <a:cubicBezTo>
                          <a:pt x="13824" y="101194"/>
                          <a:pt x="13824" y="101194"/>
                          <a:pt x="13824" y="101194"/>
                        </a:cubicBezTo>
                        <a:cubicBezTo>
                          <a:pt x="11612" y="101194"/>
                          <a:pt x="11612" y="101194"/>
                          <a:pt x="11612" y="101194"/>
                        </a:cubicBezTo>
                        <a:cubicBezTo>
                          <a:pt x="10506" y="105671"/>
                          <a:pt x="10506" y="105671"/>
                          <a:pt x="10506" y="105671"/>
                        </a:cubicBezTo>
                        <a:cubicBezTo>
                          <a:pt x="8294" y="107462"/>
                          <a:pt x="8294" y="107462"/>
                          <a:pt x="8294" y="107462"/>
                        </a:cubicBezTo>
                        <a:cubicBezTo>
                          <a:pt x="7741" y="109253"/>
                          <a:pt x="7741" y="109253"/>
                          <a:pt x="7741" y="109253"/>
                        </a:cubicBezTo>
                        <a:cubicBezTo>
                          <a:pt x="7188" y="114626"/>
                          <a:pt x="7188" y="114626"/>
                          <a:pt x="7188" y="114626"/>
                        </a:cubicBezTo>
                        <a:cubicBezTo>
                          <a:pt x="7188" y="114626"/>
                          <a:pt x="5529" y="115522"/>
                          <a:pt x="4423" y="115522"/>
                        </a:cubicBezTo>
                        <a:cubicBezTo>
                          <a:pt x="3870" y="116417"/>
                          <a:pt x="4976" y="117313"/>
                          <a:pt x="4976" y="117313"/>
                        </a:cubicBezTo>
                        <a:cubicBezTo>
                          <a:pt x="4423" y="120000"/>
                          <a:pt x="4423" y="120000"/>
                          <a:pt x="4423" y="120000"/>
                        </a:cubicBezTo>
                        <a:cubicBezTo>
                          <a:pt x="4423" y="120000"/>
                          <a:pt x="3870" y="119104"/>
                          <a:pt x="3870" y="119104"/>
                        </a:cubicBezTo>
                        <a:cubicBezTo>
                          <a:pt x="3870" y="119104"/>
                          <a:pt x="3317" y="116417"/>
                          <a:pt x="2764" y="114626"/>
                        </a:cubicBezTo>
                        <a:cubicBezTo>
                          <a:pt x="1658" y="112835"/>
                          <a:pt x="552" y="104776"/>
                          <a:pt x="552" y="104776"/>
                        </a:cubicBezTo>
                        <a:cubicBezTo>
                          <a:pt x="1658" y="101194"/>
                          <a:pt x="1658" y="101194"/>
                          <a:pt x="1658" y="101194"/>
                        </a:cubicBezTo>
                        <a:cubicBezTo>
                          <a:pt x="1658" y="101194"/>
                          <a:pt x="1658" y="97611"/>
                          <a:pt x="1658" y="96716"/>
                        </a:cubicBezTo>
                        <a:cubicBezTo>
                          <a:pt x="1105" y="94925"/>
                          <a:pt x="552" y="86865"/>
                          <a:pt x="552" y="86865"/>
                        </a:cubicBezTo>
                        <a:cubicBezTo>
                          <a:pt x="552" y="86865"/>
                          <a:pt x="0" y="83283"/>
                          <a:pt x="0" y="82388"/>
                        </a:cubicBezTo>
                        <a:cubicBezTo>
                          <a:pt x="0" y="81492"/>
                          <a:pt x="3870" y="74328"/>
                          <a:pt x="3870" y="74328"/>
                        </a:cubicBezTo>
                        <a:cubicBezTo>
                          <a:pt x="3870" y="73432"/>
                          <a:pt x="4423" y="66268"/>
                          <a:pt x="4423" y="66268"/>
                        </a:cubicBezTo>
                        <a:cubicBezTo>
                          <a:pt x="3317" y="60895"/>
                          <a:pt x="3317" y="60895"/>
                          <a:pt x="3317" y="60895"/>
                        </a:cubicBezTo>
                        <a:cubicBezTo>
                          <a:pt x="4423" y="53731"/>
                          <a:pt x="4423" y="53731"/>
                          <a:pt x="4423" y="53731"/>
                        </a:cubicBezTo>
                        <a:cubicBezTo>
                          <a:pt x="5529" y="45671"/>
                          <a:pt x="5529" y="45671"/>
                          <a:pt x="5529" y="45671"/>
                        </a:cubicBezTo>
                        <a:cubicBezTo>
                          <a:pt x="5529" y="45671"/>
                          <a:pt x="6082" y="42089"/>
                          <a:pt x="6635" y="42089"/>
                        </a:cubicBezTo>
                        <a:cubicBezTo>
                          <a:pt x="7188" y="41194"/>
                          <a:pt x="10506" y="40298"/>
                          <a:pt x="10506" y="4029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0" name="Shape 2026"/>
                  <p:cNvSpPr/>
                  <p:nvPr/>
                </p:nvSpPr>
                <p:spPr>
                  <a:xfrm>
                    <a:off x="5535001" y="3399175"/>
                    <a:ext cx="359513" cy="307905"/>
                  </a:xfrm>
                  <a:custGeom>
                    <a:avLst/>
                    <a:gdLst/>
                    <a:ahLst/>
                    <a:cxnLst/>
                    <a:rect l="0" t="0" r="0" b="0"/>
                    <a:pathLst>
                      <a:path w="120000" h="120000" extrusionOk="0">
                        <a:moveTo>
                          <a:pt x="110126" y="71654"/>
                        </a:moveTo>
                        <a:cubicBezTo>
                          <a:pt x="110886" y="71654"/>
                          <a:pt x="110886" y="71654"/>
                          <a:pt x="110886" y="71654"/>
                        </a:cubicBezTo>
                        <a:cubicBezTo>
                          <a:pt x="110886" y="71654"/>
                          <a:pt x="110886" y="71654"/>
                          <a:pt x="110886" y="71654"/>
                        </a:cubicBezTo>
                        <a:cubicBezTo>
                          <a:pt x="110126" y="71654"/>
                          <a:pt x="110126" y="71654"/>
                          <a:pt x="110126" y="71654"/>
                        </a:cubicBezTo>
                        <a:close/>
                        <a:moveTo>
                          <a:pt x="100253" y="7769"/>
                        </a:moveTo>
                        <a:cubicBezTo>
                          <a:pt x="100253" y="7769"/>
                          <a:pt x="100253" y="7769"/>
                          <a:pt x="100253" y="7769"/>
                        </a:cubicBezTo>
                        <a:cubicBezTo>
                          <a:pt x="104810" y="8633"/>
                          <a:pt x="104810" y="8633"/>
                          <a:pt x="104810" y="8633"/>
                        </a:cubicBezTo>
                        <a:cubicBezTo>
                          <a:pt x="107088" y="9496"/>
                          <a:pt x="107088" y="9496"/>
                          <a:pt x="107088" y="9496"/>
                        </a:cubicBezTo>
                        <a:cubicBezTo>
                          <a:pt x="107088" y="12086"/>
                          <a:pt x="107088" y="12086"/>
                          <a:pt x="107088" y="12086"/>
                        </a:cubicBezTo>
                        <a:cubicBezTo>
                          <a:pt x="107088" y="15539"/>
                          <a:pt x="107088" y="15539"/>
                          <a:pt x="107088" y="15539"/>
                        </a:cubicBezTo>
                        <a:cubicBezTo>
                          <a:pt x="107088" y="18129"/>
                          <a:pt x="107088" y="18129"/>
                          <a:pt x="107088" y="18129"/>
                        </a:cubicBezTo>
                        <a:cubicBezTo>
                          <a:pt x="104810" y="21582"/>
                          <a:pt x="104810" y="21582"/>
                          <a:pt x="104810" y="21582"/>
                        </a:cubicBezTo>
                        <a:cubicBezTo>
                          <a:pt x="104810" y="21582"/>
                          <a:pt x="104050" y="24172"/>
                          <a:pt x="104050" y="24172"/>
                        </a:cubicBezTo>
                        <a:cubicBezTo>
                          <a:pt x="104050" y="25035"/>
                          <a:pt x="103291" y="26762"/>
                          <a:pt x="103291" y="26762"/>
                        </a:cubicBezTo>
                        <a:cubicBezTo>
                          <a:pt x="103291" y="26762"/>
                          <a:pt x="101772" y="25899"/>
                          <a:pt x="102531" y="28489"/>
                        </a:cubicBezTo>
                        <a:cubicBezTo>
                          <a:pt x="102531" y="31079"/>
                          <a:pt x="103291" y="30215"/>
                          <a:pt x="103291" y="31079"/>
                        </a:cubicBezTo>
                        <a:cubicBezTo>
                          <a:pt x="103291" y="31942"/>
                          <a:pt x="103291" y="33669"/>
                          <a:pt x="103291" y="34532"/>
                        </a:cubicBezTo>
                        <a:cubicBezTo>
                          <a:pt x="102531" y="35395"/>
                          <a:pt x="103291" y="35395"/>
                          <a:pt x="102531" y="36258"/>
                        </a:cubicBezTo>
                        <a:cubicBezTo>
                          <a:pt x="102531" y="37122"/>
                          <a:pt x="104050" y="37985"/>
                          <a:pt x="105569" y="37985"/>
                        </a:cubicBezTo>
                        <a:cubicBezTo>
                          <a:pt x="107088" y="38848"/>
                          <a:pt x="107088" y="37985"/>
                          <a:pt x="107848" y="37985"/>
                        </a:cubicBezTo>
                        <a:cubicBezTo>
                          <a:pt x="108607" y="37985"/>
                          <a:pt x="109367" y="38848"/>
                          <a:pt x="110126" y="38848"/>
                        </a:cubicBezTo>
                        <a:cubicBezTo>
                          <a:pt x="110886" y="39712"/>
                          <a:pt x="110886" y="39712"/>
                          <a:pt x="110886" y="40575"/>
                        </a:cubicBezTo>
                        <a:cubicBezTo>
                          <a:pt x="111645" y="41438"/>
                          <a:pt x="112405" y="42302"/>
                          <a:pt x="113164" y="43165"/>
                        </a:cubicBezTo>
                        <a:cubicBezTo>
                          <a:pt x="113924" y="43165"/>
                          <a:pt x="113924" y="42302"/>
                          <a:pt x="114683" y="42302"/>
                        </a:cubicBezTo>
                        <a:cubicBezTo>
                          <a:pt x="114683" y="43165"/>
                          <a:pt x="115443" y="44028"/>
                          <a:pt x="116202" y="44028"/>
                        </a:cubicBezTo>
                        <a:cubicBezTo>
                          <a:pt x="116202" y="44892"/>
                          <a:pt x="116962" y="45755"/>
                          <a:pt x="117721" y="45755"/>
                        </a:cubicBezTo>
                        <a:cubicBezTo>
                          <a:pt x="117721" y="45755"/>
                          <a:pt x="119240" y="46618"/>
                          <a:pt x="119240" y="46618"/>
                        </a:cubicBezTo>
                        <a:cubicBezTo>
                          <a:pt x="120000" y="47482"/>
                          <a:pt x="119240" y="48345"/>
                          <a:pt x="119240" y="48345"/>
                        </a:cubicBezTo>
                        <a:cubicBezTo>
                          <a:pt x="118481" y="48345"/>
                          <a:pt x="118481" y="50071"/>
                          <a:pt x="117721" y="50071"/>
                        </a:cubicBezTo>
                        <a:cubicBezTo>
                          <a:pt x="117721" y="50071"/>
                          <a:pt x="115443" y="50935"/>
                          <a:pt x="115443" y="50935"/>
                        </a:cubicBezTo>
                        <a:cubicBezTo>
                          <a:pt x="114683" y="50935"/>
                          <a:pt x="113924" y="50935"/>
                          <a:pt x="113164" y="50935"/>
                        </a:cubicBezTo>
                        <a:cubicBezTo>
                          <a:pt x="112405" y="50935"/>
                          <a:pt x="111645" y="50935"/>
                          <a:pt x="110886" y="50071"/>
                        </a:cubicBezTo>
                        <a:cubicBezTo>
                          <a:pt x="110126" y="50071"/>
                          <a:pt x="110126" y="50071"/>
                          <a:pt x="109367" y="50071"/>
                        </a:cubicBezTo>
                        <a:cubicBezTo>
                          <a:pt x="109367" y="50935"/>
                          <a:pt x="109367" y="52661"/>
                          <a:pt x="109367" y="52661"/>
                        </a:cubicBezTo>
                        <a:cubicBezTo>
                          <a:pt x="109367" y="52661"/>
                          <a:pt x="110126" y="53525"/>
                          <a:pt x="110886" y="54388"/>
                        </a:cubicBezTo>
                        <a:cubicBezTo>
                          <a:pt x="110886" y="54388"/>
                          <a:pt x="112405" y="56115"/>
                          <a:pt x="113164" y="56115"/>
                        </a:cubicBezTo>
                        <a:cubicBezTo>
                          <a:pt x="113164" y="56115"/>
                          <a:pt x="113924" y="56978"/>
                          <a:pt x="114683" y="57841"/>
                        </a:cubicBezTo>
                        <a:cubicBezTo>
                          <a:pt x="115443" y="59568"/>
                          <a:pt x="115443" y="60431"/>
                          <a:pt x="115443" y="60431"/>
                        </a:cubicBezTo>
                        <a:cubicBezTo>
                          <a:pt x="119240" y="63884"/>
                          <a:pt x="119240" y="63884"/>
                          <a:pt x="119240" y="63884"/>
                        </a:cubicBezTo>
                        <a:cubicBezTo>
                          <a:pt x="119240" y="63884"/>
                          <a:pt x="119240" y="64748"/>
                          <a:pt x="119240" y="67338"/>
                        </a:cubicBezTo>
                        <a:cubicBezTo>
                          <a:pt x="119240" y="70791"/>
                          <a:pt x="118481" y="69064"/>
                          <a:pt x="117721" y="69064"/>
                        </a:cubicBezTo>
                        <a:cubicBezTo>
                          <a:pt x="116962" y="69064"/>
                          <a:pt x="116202" y="69064"/>
                          <a:pt x="114683" y="68201"/>
                        </a:cubicBezTo>
                        <a:cubicBezTo>
                          <a:pt x="113924" y="68201"/>
                          <a:pt x="113924" y="68201"/>
                          <a:pt x="113924" y="68201"/>
                        </a:cubicBezTo>
                        <a:cubicBezTo>
                          <a:pt x="112405" y="70791"/>
                          <a:pt x="112405" y="70791"/>
                          <a:pt x="112405" y="70791"/>
                        </a:cubicBezTo>
                        <a:cubicBezTo>
                          <a:pt x="112405" y="70791"/>
                          <a:pt x="110886" y="70791"/>
                          <a:pt x="110126" y="71654"/>
                        </a:cubicBezTo>
                        <a:cubicBezTo>
                          <a:pt x="109367" y="71654"/>
                          <a:pt x="109367" y="71654"/>
                          <a:pt x="109367" y="71654"/>
                        </a:cubicBezTo>
                        <a:cubicBezTo>
                          <a:pt x="109367" y="71654"/>
                          <a:pt x="107848" y="72517"/>
                          <a:pt x="107848" y="72517"/>
                        </a:cubicBezTo>
                        <a:cubicBezTo>
                          <a:pt x="107848" y="72517"/>
                          <a:pt x="107088" y="73381"/>
                          <a:pt x="107088" y="73381"/>
                        </a:cubicBezTo>
                        <a:cubicBezTo>
                          <a:pt x="106329" y="73381"/>
                          <a:pt x="106329" y="73381"/>
                          <a:pt x="106329" y="73381"/>
                        </a:cubicBezTo>
                        <a:cubicBezTo>
                          <a:pt x="105569" y="72517"/>
                          <a:pt x="105569" y="72517"/>
                          <a:pt x="105569" y="72517"/>
                        </a:cubicBezTo>
                        <a:cubicBezTo>
                          <a:pt x="104810" y="71654"/>
                          <a:pt x="104810" y="71654"/>
                          <a:pt x="104810" y="71654"/>
                        </a:cubicBezTo>
                        <a:cubicBezTo>
                          <a:pt x="103291" y="73381"/>
                          <a:pt x="103291" y="73381"/>
                          <a:pt x="103291" y="73381"/>
                        </a:cubicBezTo>
                        <a:cubicBezTo>
                          <a:pt x="102531" y="74244"/>
                          <a:pt x="102531" y="74244"/>
                          <a:pt x="102531" y="74244"/>
                        </a:cubicBezTo>
                        <a:cubicBezTo>
                          <a:pt x="102531" y="74244"/>
                          <a:pt x="102531" y="75107"/>
                          <a:pt x="102531" y="75107"/>
                        </a:cubicBezTo>
                        <a:cubicBezTo>
                          <a:pt x="102531" y="75107"/>
                          <a:pt x="104050" y="75107"/>
                          <a:pt x="104050" y="75107"/>
                        </a:cubicBezTo>
                        <a:cubicBezTo>
                          <a:pt x="104050" y="76834"/>
                          <a:pt x="104050" y="76834"/>
                          <a:pt x="104050" y="76834"/>
                        </a:cubicBezTo>
                        <a:cubicBezTo>
                          <a:pt x="104050" y="76834"/>
                          <a:pt x="104050" y="76834"/>
                          <a:pt x="104810" y="76834"/>
                        </a:cubicBezTo>
                        <a:cubicBezTo>
                          <a:pt x="104810" y="76834"/>
                          <a:pt x="105569" y="77697"/>
                          <a:pt x="105569" y="77697"/>
                        </a:cubicBezTo>
                        <a:cubicBezTo>
                          <a:pt x="106329" y="78561"/>
                          <a:pt x="106329" y="78561"/>
                          <a:pt x="106329" y="78561"/>
                        </a:cubicBezTo>
                        <a:cubicBezTo>
                          <a:pt x="106329" y="80287"/>
                          <a:pt x="106329" y="80287"/>
                          <a:pt x="106329" y="80287"/>
                        </a:cubicBezTo>
                        <a:cubicBezTo>
                          <a:pt x="107848" y="81151"/>
                          <a:pt x="107848" y="81151"/>
                          <a:pt x="107848" y="81151"/>
                        </a:cubicBezTo>
                        <a:cubicBezTo>
                          <a:pt x="107848" y="82877"/>
                          <a:pt x="107848" y="82877"/>
                          <a:pt x="107848" y="82877"/>
                        </a:cubicBezTo>
                        <a:cubicBezTo>
                          <a:pt x="107088" y="83741"/>
                          <a:pt x="107088" y="83741"/>
                          <a:pt x="107088" y="83741"/>
                        </a:cubicBezTo>
                        <a:cubicBezTo>
                          <a:pt x="106329" y="84604"/>
                          <a:pt x="106329" y="84604"/>
                          <a:pt x="106329" y="84604"/>
                        </a:cubicBezTo>
                        <a:cubicBezTo>
                          <a:pt x="104810" y="84604"/>
                          <a:pt x="104810" y="84604"/>
                          <a:pt x="104810" y="84604"/>
                        </a:cubicBezTo>
                        <a:cubicBezTo>
                          <a:pt x="104810" y="83741"/>
                          <a:pt x="104810" y="83741"/>
                          <a:pt x="104810" y="83741"/>
                        </a:cubicBezTo>
                        <a:cubicBezTo>
                          <a:pt x="104050" y="82014"/>
                          <a:pt x="104050" y="82014"/>
                          <a:pt x="104050" y="82014"/>
                        </a:cubicBezTo>
                        <a:cubicBezTo>
                          <a:pt x="103291" y="81151"/>
                          <a:pt x="103291" y="81151"/>
                          <a:pt x="103291" y="81151"/>
                        </a:cubicBezTo>
                        <a:cubicBezTo>
                          <a:pt x="101012" y="82014"/>
                          <a:pt x="101012" y="82014"/>
                          <a:pt x="101012" y="82014"/>
                        </a:cubicBezTo>
                        <a:cubicBezTo>
                          <a:pt x="101012" y="83741"/>
                          <a:pt x="101012" y="83741"/>
                          <a:pt x="101012" y="83741"/>
                        </a:cubicBezTo>
                        <a:cubicBezTo>
                          <a:pt x="97215" y="87194"/>
                          <a:pt x="97215" y="87194"/>
                          <a:pt x="97215" y="87194"/>
                        </a:cubicBezTo>
                        <a:cubicBezTo>
                          <a:pt x="97974" y="88920"/>
                          <a:pt x="97974" y="88920"/>
                          <a:pt x="97974" y="88920"/>
                        </a:cubicBezTo>
                        <a:cubicBezTo>
                          <a:pt x="96455" y="90647"/>
                          <a:pt x="96455" y="90647"/>
                          <a:pt x="96455" y="90647"/>
                        </a:cubicBezTo>
                        <a:cubicBezTo>
                          <a:pt x="96455" y="93237"/>
                          <a:pt x="96455" y="93237"/>
                          <a:pt x="96455" y="93237"/>
                        </a:cubicBezTo>
                        <a:cubicBezTo>
                          <a:pt x="97215" y="95827"/>
                          <a:pt x="97215" y="95827"/>
                          <a:pt x="97215" y="95827"/>
                        </a:cubicBezTo>
                        <a:cubicBezTo>
                          <a:pt x="97215" y="97553"/>
                          <a:pt x="97215" y="97553"/>
                          <a:pt x="97215" y="97553"/>
                        </a:cubicBezTo>
                        <a:cubicBezTo>
                          <a:pt x="94177" y="98417"/>
                          <a:pt x="94177" y="98417"/>
                          <a:pt x="94177" y="98417"/>
                        </a:cubicBezTo>
                        <a:cubicBezTo>
                          <a:pt x="91898" y="99280"/>
                          <a:pt x="91898" y="99280"/>
                          <a:pt x="91898" y="99280"/>
                        </a:cubicBezTo>
                        <a:cubicBezTo>
                          <a:pt x="91898" y="101870"/>
                          <a:pt x="91898" y="101870"/>
                          <a:pt x="91898" y="101870"/>
                        </a:cubicBezTo>
                        <a:cubicBezTo>
                          <a:pt x="91898" y="102733"/>
                          <a:pt x="91898" y="102733"/>
                          <a:pt x="91898" y="102733"/>
                        </a:cubicBezTo>
                        <a:cubicBezTo>
                          <a:pt x="94177" y="106187"/>
                          <a:pt x="94177" y="106187"/>
                          <a:pt x="94177" y="106187"/>
                        </a:cubicBezTo>
                        <a:cubicBezTo>
                          <a:pt x="93417" y="107050"/>
                          <a:pt x="93417" y="107050"/>
                          <a:pt x="93417" y="107050"/>
                        </a:cubicBezTo>
                        <a:cubicBezTo>
                          <a:pt x="92658" y="107913"/>
                          <a:pt x="92658" y="107913"/>
                          <a:pt x="92658" y="107913"/>
                        </a:cubicBezTo>
                        <a:cubicBezTo>
                          <a:pt x="94936" y="111366"/>
                          <a:pt x="94936" y="111366"/>
                          <a:pt x="94936" y="111366"/>
                        </a:cubicBezTo>
                        <a:cubicBezTo>
                          <a:pt x="95696" y="112230"/>
                          <a:pt x="95696" y="112230"/>
                          <a:pt x="95696" y="112230"/>
                        </a:cubicBezTo>
                        <a:cubicBezTo>
                          <a:pt x="97215" y="112230"/>
                          <a:pt x="97215" y="112230"/>
                          <a:pt x="97215" y="112230"/>
                        </a:cubicBezTo>
                        <a:cubicBezTo>
                          <a:pt x="97215" y="113956"/>
                          <a:pt x="97215" y="113956"/>
                          <a:pt x="97215" y="113956"/>
                        </a:cubicBezTo>
                        <a:cubicBezTo>
                          <a:pt x="97215" y="114820"/>
                          <a:pt x="97215" y="114820"/>
                          <a:pt x="97215" y="114820"/>
                        </a:cubicBezTo>
                        <a:cubicBezTo>
                          <a:pt x="97215" y="116546"/>
                          <a:pt x="97215" y="116546"/>
                          <a:pt x="97215" y="116546"/>
                        </a:cubicBezTo>
                        <a:cubicBezTo>
                          <a:pt x="95696" y="118273"/>
                          <a:pt x="95696" y="118273"/>
                          <a:pt x="95696" y="118273"/>
                        </a:cubicBezTo>
                        <a:cubicBezTo>
                          <a:pt x="96455" y="120000"/>
                          <a:pt x="96455" y="120000"/>
                          <a:pt x="96455" y="120000"/>
                        </a:cubicBezTo>
                        <a:cubicBezTo>
                          <a:pt x="94936" y="119136"/>
                          <a:pt x="94936" y="119136"/>
                          <a:pt x="94936" y="119136"/>
                        </a:cubicBezTo>
                        <a:cubicBezTo>
                          <a:pt x="94177" y="120000"/>
                          <a:pt x="94177" y="120000"/>
                          <a:pt x="94177" y="120000"/>
                        </a:cubicBezTo>
                        <a:cubicBezTo>
                          <a:pt x="94177" y="120000"/>
                          <a:pt x="94177" y="120000"/>
                          <a:pt x="94177" y="120000"/>
                        </a:cubicBezTo>
                        <a:cubicBezTo>
                          <a:pt x="91898" y="119136"/>
                          <a:pt x="91898" y="119136"/>
                          <a:pt x="91898" y="119136"/>
                        </a:cubicBezTo>
                        <a:cubicBezTo>
                          <a:pt x="91898" y="119136"/>
                          <a:pt x="90379" y="120000"/>
                          <a:pt x="89620" y="120000"/>
                        </a:cubicBezTo>
                        <a:cubicBezTo>
                          <a:pt x="89620" y="120000"/>
                          <a:pt x="88860" y="120000"/>
                          <a:pt x="88860" y="120000"/>
                        </a:cubicBezTo>
                        <a:cubicBezTo>
                          <a:pt x="88860" y="120000"/>
                          <a:pt x="87341"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8273"/>
                          <a:pt x="86582" y="118273"/>
                          <a:pt x="86582" y="118273"/>
                        </a:cubicBezTo>
                        <a:cubicBezTo>
                          <a:pt x="86582" y="118273"/>
                          <a:pt x="86582" y="118273"/>
                          <a:pt x="86582" y="118273"/>
                        </a:cubicBezTo>
                        <a:cubicBezTo>
                          <a:pt x="86582" y="118273"/>
                          <a:pt x="86582" y="118273"/>
                          <a:pt x="86582" y="118273"/>
                        </a:cubicBezTo>
                        <a:cubicBezTo>
                          <a:pt x="86582" y="118273"/>
                          <a:pt x="86582" y="118273"/>
                          <a:pt x="8658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0506" y="115683"/>
                          <a:pt x="80506" y="115683"/>
                          <a:pt x="80506" y="115683"/>
                        </a:cubicBezTo>
                        <a:cubicBezTo>
                          <a:pt x="76708" y="113093"/>
                          <a:pt x="76708" y="113093"/>
                          <a:pt x="76708" y="113093"/>
                        </a:cubicBezTo>
                        <a:cubicBezTo>
                          <a:pt x="75189" y="111366"/>
                          <a:pt x="75189" y="111366"/>
                          <a:pt x="75189" y="111366"/>
                        </a:cubicBezTo>
                        <a:cubicBezTo>
                          <a:pt x="74430" y="107913"/>
                          <a:pt x="74430" y="107913"/>
                          <a:pt x="74430" y="107913"/>
                        </a:cubicBezTo>
                        <a:cubicBezTo>
                          <a:pt x="70632" y="107050"/>
                          <a:pt x="70632" y="107050"/>
                          <a:pt x="70632" y="107050"/>
                        </a:cubicBezTo>
                        <a:cubicBezTo>
                          <a:pt x="70632" y="104460"/>
                          <a:pt x="66075" y="108776"/>
                          <a:pt x="67594" y="103597"/>
                        </a:cubicBezTo>
                        <a:cubicBezTo>
                          <a:pt x="67594" y="103597"/>
                          <a:pt x="67594" y="102733"/>
                          <a:pt x="67594" y="102733"/>
                        </a:cubicBezTo>
                        <a:cubicBezTo>
                          <a:pt x="67594" y="102733"/>
                          <a:pt x="67594" y="102733"/>
                          <a:pt x="67594" y="102733"/>
                        </a:cubicBezTo>
                        <a:cubicBezTo>
                          <a:pt x="67594" y="101870"/>
                          <a:pt x="66075" y="100143"/>
                          <a:pt x="66075" y="100143"/>
                        </a:cubicBezTo>
                        <a:cubicBezTo>
                          <a:pt x="61518" y="97553"/>
                          <a:pt x="60759" y="94964"/>
                          <a:pt x="58481" y="94100"/>
                        </a:cubicBezTo>
                        <a:cubicBezTo>
                          <a:pt x="57721" y="94100"/>
                          <a:pt x="57721" y="94100"/>
                          <a:pt x="57721" y="94100"/>
                        </a:cubicBezTo>
                        <a:cubicBezTo>
                          <a:pt x="54683" y="90647"/>
                          <a:pt x="54683" y="90647"/>
                          <a:pt x="54683" y="90647"/>
                        </a:cubicBezTo>
                        <a:cubicBezTo>
                          <a:pt x="53164" y="89784"/>
                          <a:pt x="53164" y="89784"/>
                          <a:pt x="53164" y="89784"/>
                        </a:cubicBezTo>
                        <a:cubicBezTo>
                          <a:pt x="51645" y="88057"/>
                          <a:pt x="51645" y="88057"/>
                          <a:pt x="51645" y="88057"/>
                        </a:cubicBezTo>
                        <a:cubicBezTo>
                          <a:pt x="51645" y="86330"/>
                          <a:pt x="51645" y="86330"/>
                          <a:pt x="51645" y="86330"/>
                        </a:cubicBezTo>
                        <a:cubicBezTo>
                          <a:pt x="50886" y="82877"/>
                          <a:pt x="50886" y="82877"/>
                          <a:pt x="50886" y="82877"/>
                        </a:cubicBezTo>
                        <a:cubicBezTo>
                          <a:pt x="50886" y="82877"/>
                          <a:pt x="50886" y="82877"/>
                          <a:pt x="50886" y="82877"/>
                        </a:cubicBezTo>
                        <a:cubicBezTo>
                          <a:pt x="50886" y="82877"/>
                          <a:pt x="47848" y="82014"/>
                          <a:pt x="46329" y="81151"/>
                        </a:cubicBezTo>
                        <a:cubicBezTo>
                          <a:pt x="44810" y="80287"/>
                          <a:pt x="44810" y="80287"/>
                          <a:pt x="44810" y="80287"/>
                        </a:cubicBezTo>
                        <a:cubicBezTo>
                          <a:pt x="43291" y="77697"/>
                          <a:pt x="43291" y="77697"/>
                          <a:pt x="43291" y="77697"/>
                        </a:cubicBezTo>
                        <a:cubicBezTo>
                          <a:pt x="42531" y="76834"/>
                          <a:pt x="42531" y="76834"/>
                          <a:pt x="42531" y="76834"/>
                        </a:cubicBezTo>
                        <a:cubicBezTo>
                          <a:pt x="40253" y="74244"/>
                          <a:pt x="40253" y="74244"/>
                          <a:pt x="40253" y="74244"/>
                        </a:cubicBezTo>
                        <a:cubicBezTo>
                          <a:pt x="39493" y="74244"/>
                          <a:pt x="39493" y="74244"/>
                          <a:pt x="39493" y="74244"/>
                        </a:cubicBezTo>
                        <a:cubicBezTo>
                          <a:pt x="35696" y="72517"/>
                          <a:pt x="35696" y="72517"/>
                          <a:pt x="35696" y="72517"/>
                        </a:cubicBezTo>
                        <a:cubicBezTo>
                          <a:pt x="34936" y="70791"/>
                          <a:pt x="34936" y="70791"/>
                          <a:pt x="34936" y="70791"/>
                        </a:cubicBezTo>
                        <a:cubicBezTo>
                          <a:pt x="33417" y="69928"/>
                          <a:pt x="33417" y="69928"/>
                          <a:pt x="33417" y="69928"/>
                        </a:cubicBezTo>
                        <a:cubicBezTo>
                          <a:pt x="32658" y="68201"/>
                          <a:pt x="32658" y="68201"/>
                          <a:pt x="32658" y="68201"/>
                        </a:cubicBezTo>
                        <a:cubicBezTo>
                          <a:pt x="30379" y="67338"/>
                          <a:pt x="30379" y="67338"/>
                          <a:pt x="30379" y="67338"/>
                        </a:cubicBezTo>
                        <a:cubicBezTo>
                          <a:pt x="29620" y="65611"/>
                          <a:pt x="29620" y="65611"/>
                          <a:pt x="29620" y="65611"/>
                        </a:cubicBezTo>
                        <a:cubicBezTo>
                          <a:pt x="28860" y="64748"/>
                          <a:pt x="28860" y="64748"/>
                          <a:pt x="28860" y="64748"/>
                        </a:cubicBezTo>
                        <a:cubicBezTo>
                          <a:pt x="26582" y="61294"/>
                          <a:pt x="26582" y="61294"/>
                          <a:pt x="26582" y="61294"/>
                        </a:cubicBezTo>
                        <a:cubicBezTo>
                          <a:pt x="24303" y="59568"/>
                          <a:pt x="24303" y="59568"/>
                          <a:pt x="24303" y="59568"/>
                        </a:cubicBezTo>
                        <a:cubicBezTo>
                          <a:pt x="23544" y="58705"/>
                          <a:pt x="23544" y="58705"/>
                          <a:pt x="23544" y="58705"/>
                        </a:cubicBezTo>
                        <a:cubicBezTo>
                          <a:pt x="22784" y="57841"/>
                          <a:pt x="22784" y="57841"/>
                          <a:pt x="22784" y="57841"/>
                        </a:cubicBezTo>
                        <a:cubicBezTo>
                          <a:pt x="21265" y="55251"/>
                          <a:pt x="21265" y="55251"/>
                          <a:pt x="21265" y="55251"/>
                        </a:cubicBezTo>
                        <a:cubicBezTo>
                          <a:pt x="18987" y="52661"/>
                          <a:pt x="18987" y="52661"/>
                          <a:pt x="18987" y="52661"/>
                        </a:cubicBezTo>
                        <a:cubicBezTo>
                          <a:pt x="17468" y="50935"/>
                          <a:pt x="17468" y="50935"/>
                          <a:pt x="17468" y="50935"/>
                        </a:cubicBezTo>
                        <a:cubicBezTo>
                          <a:pt x="15949" y="48345"/>
                          <a:pt x="15949" y="48345"/>
                          <a:pt x="15949" y="48345"/>
                        </a:cubicBezTo>
                        <a:cubicBezTo>
                          <a:pt x="17468" y="46618"/>
                          <a:pt x="17468" y="46618"/>
                          <a:pt x="17468" y="46618"/>
                        </a:cubicBezTo>
                        <a:cubicBezTo>
                          <a:pt x="16708" y="45755"/>
                          <a:pt x="15949" y="45755"/>
                          <a:pt x="15949" y="44892"/>
                        </a:cubicBezTo>
                        <a:cubicBezTo>
                          <a:pt x="15189" y="44892"/>
                          <a:pt x="13670" y="44028"/>
                          <a:pt x="14430" y="43165"/>
                        </a:cubicBezTo>
                        <a:cubicBezTo>
                          <a:pt x="14430" y="42302"/>
                          <a:pt x="13670" y="41438"/>
                          <a:pt x="13670" y="39712"/>
                        </a:cubicBezTo>
                        <a:cubicBezTo>
                          <a:pt x="13670" y="38848"/>
                          <a:pt x="13670" y="37985"/>
                          <a:pt x="12911" y="37985"/>
                        </a:cubicBezTo>
                        <a:cubicBezTo>
                          <a:pt x="12151" y="37122"/>
                          <a:pt x="12151" y="37122"/>
                          <a:pt x="12151" y="37122"/>
                        </a:cubicBezTo>
                        <a:cubicBezTo>
                          <a:pt x="11392" y="37122"/>
                          <a:pt x="10632" y="37122"/>
                          <a:pt x="10632" y="37122"/>
                        </a:cubicBezTo>
                        <a:cubicBezTo>
                          <a:pt x="9873" y="37122"/>
                          <a:pt x="9873" y="37122"/>
                          <a:pt x="9873" y="37122"/>
                        </a:cubicBezTo>
                        <a:cubicBezTo>
                          <a:pt x="9873" y="37122"/>
                          <a:pt x="10632" y="35395"/>
                          <a:pt x="10632" y="33669"/>
                        </a:cubicBezTo>
                        <a:cubicBezTo>
                          <a:pt x="7594" y="32805"/>
                          <a:pt x="7594" y="32805"/>
                          <a:pt x="7594" y="32805"/>
                        </a:cubicBezTo>
                        <a:cubicBezTo>
                          <a:pt x="7594" y="32805"/>
                          <a:pt x="7594" y="30215"/>
                          <a:pt x="6075" y="29352"/>
                        </a:cubicBezTo>
                        <a:cubicBezTo>
                          <a:pt x="4556" y="29352"/>
                          <a:pt x="4556" y="29352"/>
                          <a:pt x="4556" y="29352"/>
                        </a:cubicBezTo>
                        <a:cubicBezTo>
                          <a:pt x="3797" y="30215"/>
                          <a:pt x="3797" y="31079"/>
                          <a:pt x="3797" y="31079"/>
                        </a:cubicBezTo>
                        <a:cubicBezTo>
                          <a:pt x="759" y="27625"/>
                          <a:pt x="759" y="27625"/>
                          <a:pt x="759" y="27625"/>
                        </a:cubicBezTo>
                        <a:cubicBezTo>
                          <a:pt x="759" y="27625"/>
                          <a:pt x="759" y="26762"/>
                          <a:pt x="1518" y="25035"/>
                        </a:cubicBezTo>
                        <a:cubicBezTo>
                          <a:pt x="3037" y="23309"/>
                          <a:pt x="1518" y="22446"/>
                          <a:pt x="1518" y="22446"/>
                        </a:cubicBezTo>
                        <a:cubicBezTo>
                          <a:pt x="759" y="19856"/>
                          <a:pt x="759" y="19856"/>
                          <a:pt x="759" y="19856"/>
                        </a:cubicBezTo>
                        <a:cubicBezTo>
                          <a:pt x="1518" y="18129"/>
                          <a:pt x="1518" y="18129"/>
                          <a:pt x="1518" y="18129"/>
                        </a:cubicBezTo>
                        <a:cubicBezTo>
                          <a:pt x="759" y="17266"/>
                          <a:pt x="759" y="17266"/>
                          <a:pt x="759" y="17266"/>
                        </a:cubicBezTo>
                        <a:cubicBezTo>
                          <a:pt x="0" y="16402"/>
                          <a:pt x="0" y="16402"/>
                          <a:pt x="0" y="16402"/>
                        </a:cubicBezTo>
                        <a:cubicBezTo>
                          <a:pt x="0" y="16402"/>
                          <a:pt x="0" y="16402"/>
                          <a:pt x="0" y="16402"/>
                        </a:cubicBezTo>
                        <a:cubicBezTo>
                          <a:pt x="0" y="16402"/>
                          <a:pt x="0" y="16402"/>
                          <a:pt x="0" y="16402"/>
                        </a:cubicBezTo>
                        <a:cubicBezTo>
                          <a:pt x="1518" y="12949"/>
                          <a:pt x="1518" y="12949"/>
                          <a:pt x="1518" y="12949"/>
                        </a:cubicBezTo>
                        <a:cubicBezTo>
                          <a:pt x="1518" y="12949"/>
                          <a:pt x="759" y="11223"/>
                          <a:pt x="759" y="9496"/>
                        </a:cubicBezTo>
                        <a:cubicBezTo>
                          <a:pt x="759" y="9496"/>
                          <a:pt x="1518" y="8633"/>
                          <a:pt x="1518" y="8633"/>
                        </a:cubicBezTo>
                        <a:cubicBezTo>
                          <a:pt x="1518" y="8633"/>
                          <a:pt x="1518" y="8633"/>
                          <a:pt x="1518" y="8633"/>
                        </a:cubicBezTo>
                        <a:cubicBezTo>
                          <a:pt x="1518" y="7769"/>
                          <a:pt x="1518" y="7769"/>
                          <a:pt x="1518" y="7769"/>
                        </a:cubicBezTo>
                        <a:cubicBezTo>
                          <a:pt x="1518" y="7769"/>
                          <a:pt x="1518" y="7769"/>
                          <a:pt x="1518" y="7769"/>
                        </a:cubicBezTo>
                        <a:cubicBezTo>
                          <a:pt x="2278" y="7769"/>
                          <a:pt x="2278" y="7769"/>
                          <a:pt x="2278" y="7769"/>
                        </a:cubicBezTo>
                        <a:cubicBezTo>
                          <a:pt x="2278" y="7769"/>
                          <a:pt x="2278" y="7769"/>
                          <a:pt x="2278" y="7769"/>
                        </a:cubicBezTo>
                        <a:cubicBezTo>
                          <a:pt x="2278" y="6906"/>
                          <a:pt x="6075" y="6043"/>
                          <a:pt x="6075" y="6043"/>
                        </a:cubicBezTo>
                        <a:cubicBezTo>
                          <a:pt x="7594" y="5179"/>
                          <a:pt x="7594" y="5179"/>
                          <a:pt x="7594" y="5179"/>
                        </a:cubicBezTo>
                        <a:cubicBezTo>
                          <a:pt x="10632" y="9496"/>
                          <a:pt x="10632" y="9496"/>
                          <a:pt x="10632" y="9496"/>
                        </a:cubicBezTo>
                        <a:cubicBezTo>
                          <a:pt x="13670" y="12949"/>
                          <a:pt x="13670" y="12949"/>
                          <a:pt x="13670" y="12949"/>
                        </a:cubicBezTo>
                        <a:cubicBezTo>
                          <a:pt x="15949" y="14676"/>
                          <a:pt x="15949" y="14676"/>
                          <a:pt x="15949" y="14676"/>
                        </a:cubicBezTo>
                        <a:cubicBezTo>
                          <a:pt x="15949" y="14676"/>
                          <a:pt x="16708" y="13812"/>
                          <a:pt x="17468" y="13812"/>
                        </a:cubicBezTo>
                        <a:cubicBezTo>
                          <a:pt x="17468" y="12949"/>
                          <a:pt x="17468" y="11223"/>
                          <a:pt x="17468" y="11223"/>
                        </a:cubicBezTo>
                        <a:cubicBezTo>
                          <a:pt x="18987" y="9496"/>
                          <a:pt x="18987" y="9496"/>
                          <a:pt x="18987" y="9496"/>
                        </a:cubicBezTo>
                        <a:cubicBezTo>
                          <a:pt x="19746" y="7769"/>
                          <a:pt x="19746" y="7769"/>
                          <a:pt x="19746" y="7769"/>
                        </a:cubicBezTo>
                        <a:cubicBezTo>
                          <a:pt x="19746" y="6043"/>
                          <a:pt x="19746" y="6043"/>
                          <a:pt x="19746" y="6043"/>
                        </a:cubicBezTo>
                        <a:cubicBezTo>
                          <a:pt x="21265" y="5179"/>
                          <a:pt x="21265" y="5179"/>
                          <a:pt x="21265" y="5179"/>
                        </a:cubicBezTo>
                        <a:cubicBezTo>
                          <a:pt x="23544" y="4316"/>
                          <a:pt x="23544" y="4316"/>
                          <a:pt x="23544" y="4316"/>
                        </a:cubicBezTo>
                        <a:cubicBezTo>
                          <a:pt x="26582" y="3453"/>
                          <a:pt x="26582" y="3453"/>
                          <a:pt x="26582" y="3453"/>
                        </a:cubicBezTo>
                        <a:cubicBezTo>
                          <a:pt x="26582" y="3453"/>
                          <a:pt x="28860" y="4316"/>
                          <a:pt x="29620" y="4316"/>
                        </a:cubicBezTo>
                        <a:cubicBezTo>
                          <a:pt x="29620" y="4316"/>
                          <a:pt x="30379" y="4316"/>
                          <a:pt x="30379" y="4316"/>
                        </a:cubicBezTo>
                        <a:cubicBezTo>
                          <a:pt x="31898" y="1726"/>
                          <a:pt x="31898" y="1726"/>
                          <a:pt x="31898" y="1726"/>
                        </a:cubicBezTo>
                        <a:cubicBezTo>
                          <a:pt x="31898" y="1726"/>
                          <a:pt x="31898" y="1726"/>
                          <a:pt x="31898" y="1726"/>
                        </a:cubicBezTo>
                        <a:cubicBezTo>
                          <a:pt x="32658" y="0"/>
                          <a:pt x="32658" y="0"/>
                          <a:pt x="32658" y="0"/>
                        </a:cubicBezTo>
                        <a:cubicBezTo>
                          <a:pt x="36455" y="1726"/>
                          <a:pt x="36455" y="1726"/>
                          <a:pt x="36455" y="1726"/>
                        </a:cubicBezTo>
                        <a:cubicBezTo>
                          <a:pt x="37974" y="3453"/>
                          <a:pt x="37974" y="3453"/>
                          <a:pt x="37974" y="3453"/>
                        </a:cubicBezTo>
                        <a:cubicBezTo>
                          <a:pt x="41772" y="4316"/>
                          <a:pt x="41772" y="4316"/>
                          <a:pt x="41772" y="4316"/>
                        </a:cubicBezTo>
                        <a:cubicBezTo>
                          <a:pt x="41772" y="4316"/>
                          <a:pt x="41772" y="4316"/>
                          <a:pt x="41772" y="4316"/>
                        </a:cubicBezTo>
                        <a:cubicBezTo>
                          <a:pt x="43291" y="4316"/>
                          <a:pt x="43291" y="4316"/>
                          <a:pt x="43291" y="4316"/>
                        </a:cubicBezTo>
                        <a:cubicBezTo>
                          <a:pt x="43291" y="3453"/>
                          <a:pt x="43291" y="3453"/>
                          <a:pt x="43291" y="3453"/>
                        </a:cubicBezTo>
                        <a:cubicBezTo>
                          <a:pt x="46329" y="3453"/>
                          <a:pt x="46329" y="3453"/>
                          <a:pt x="46329" y="3453"/>
                        </a:cubicBezTo>
                        <a:cubicBezTo>
                          <a:pt x="50126" y="4316"/>
                          <a:pt x="50126" y="4316"/>
                          <a:pt x="50126" y="4316"/>
                        </a:cubicBezTo>
                        <a:cubicBezTo>
                          <a:pt x="52405" y="4316"/>
                          <a:pt x="52405" y="4316"/>
                          <a:pt x="52405" y="4316"/>
                        </a:cubicBezTo>
                        <a:cubicBezTo>
                          <a:pt x="56202" y="4316"/>
                          <a:pt x="56202" y="4316"/>
                          <a:pt x="56202" y="4316"/>
                        </a:cubicBezTo>
                        <a:cubicBezTo>
                          <a:pt x="58481" y="5179"/>
                          <a:pt x="58481" y="5179"/>
                          <a:pt x="58481" y="5179"/>
                        </a:cubicBezTo>
                        <a:cubicBezTo>
                          <a:pt x="60000" y="6043"/>
                          <a:pt x="60000" y="6043"/>
                          <a:pt x="60000" y="6043"/>
                        </a:cubicBezTo>
                        <a:cubicBezTo>
                          <a:pt x="60000" y="6043"/>
                          <a:pt x="60000" y="6043"/>
                          <a:pt x="60759" y="5179"/>
                        </a:cubicBezTo>
                        <a:cubicBezTo>
                          <a:pt x="60759" y="5179"/>
                          <a:pt x="63037" y="5179"/>
                          <a:pt x="63037" y="5179"/>
                        </a:cubicBezTo>
                        <a:cubicBezTo>
                          <a:pt x="63797" y="2589"/>
                          <a:pt x="63797" y="2589"/>
                          <a:pt x="63797" y="2589"/>
                        </a:cubicBezTo>
                        <a:cubicBezTo>
                          <a:pt x="64556" y="4316"/>
                          <a:pt x="64556" y="4316"/>
                          <a:pt x="64556" y="4316"/>
                        </a:cubicBezTo>
                        <a:cubicBezTo>
                          <a:pt x="65316" y="4316"/>
                          <a:pt x="66835" y="4316"/>
                          <a:pt x="66835" y="4316"/>
                        </a:cubicBezTo>
                        <a:cubicBezTo>
                          <a:pt x="67594" y="1726"/>
                          <a:pt x="67594" y="1726"/>
                          <a:pt x="67594" y="1726"/>
                        </a:cubicBezTo>
                        <a:cubicBezTo>
                          <a:pt x="68354" y="2589"/>
                          <a:pt x="68354" y="2589"/>
                          <a:pt x="68354" y="2589"/>
                        </a:cubicBezTo>
                        <a:cubicBezTo>
                          <a:pt x="69113" y="2589"/>
                          <a:pt x="69113" y="2589"/>
                          <a:pt x="69873" y="2589"/>
                        </a:cubicBezTo>
                        <a:cubicBezTo>
                          <a:pt x="70632" y="2589"/>
                          <a:pt x="71392" y="1726"/>
                          <a:pt x="71392" y="1726"/>
                        </a:cubicBezTo>
                        <a:cubicBezTo>
                          <a:pt x="71392" y="1726"/>
                          <a:pt x="72151" y="2589"/>
                          <a:pt x="72151" y="2589"/>
                        </a:cubicBezTo>
                        <a:cubicBezTo>
                          <a:pt x="72151" y="2589"/>
                          <a:pt x="72911" y="1726"/>
                          <a:pt x="73670" y="1726"/>
                        </a:cubicBezTo>
                        <a:cubicBezTo>
                          <a:pt x="73670" y="1726"/>
                          <a:pt x="73670" y="1726"/>
                          <a:pt x="73670" y="1726"/>
                        </a:cubicBezTo>
                        <a:cubicBezTo>
                          <a:pt x="73670" y="1726"/>
                          <a:pt x="73670" y="1726"/>
                          <a:pt x="7367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863"/>
                          <a:pt x="75189" y="863"/>
                          <a:pt x="75189" y="863"/>
                        </a:cubicBezTo>
                        <a:cubicBezTo>
                          <a:pt x="75189" y="863"/>
                          <a:pt x="75189" y="863"/>
                          <a:pt x="75189" y="863"/>
                        </a:cubicBezTo>
                        <a:cubicBezTo>
                          <a:pt x="75189" y="863"/>
                          <a:pt x="75189" y="863"/>
                          <a:pt x="75189" y="863"/>
                        </a:cubicBezTo>
                        <a:cubicBezTo>
                          <a:pt x="75189" y="863"/>
                          <a:pt x="75189" y="863"/>
                          <a:pt x="75189" y="863"/>
                        </a:cubicBezTo>
                        <a:cubicBezTo>
                          <a:pt x="75189" y="863"/>
                          <a:pt x="75189" y="863"/>
                          <a:pt x="7518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6708" y="2589"/>
                          <a:pt x="78227" y="3453"/>
                        </a:cubicBezTo>
                        <a:cubicBezTo>
                          <a:pt x="78227" y="3453"/>
                          <a:pt x="78227" y="3453"/>
                          <a:pt x="78227" y="3453"/>
                        </a:cubicBezTo>
                        <a:cubicBezTo>
                          <a:pt x="79746" y="3453"/>
                          <a:pt x="79746" y="3453"/>
                          <a:pt x="79746" y="3453"/>
                        </a:cubicBezTo>
                        <a:cubicBezTo>
                          <a:pt x="79746" y="3453"/>
                          <a:pt x="79746" y="3453"/>
                          <a:pt x="79746" y="3453"/>
                        </a:cubicBezTo>
                        <a:cubicBezTo>
                          <a:pt x="79746" y="3453"/>
                          <a:pt x="80506" y="2589"/>
                          <a:pt x="81265" y="2589"/>
                        </a:cubicBezTo>
                        <a:cubicBezTo>
                          <a:pt x="82784" y="2589"/>
                          <a:pt x="83544" y="2589"/>
                          <a:pt x="84303" y="2589"/>
                        </a:cubicBezTo>
                        <a:cubicBezTo>
                          <a:pt x="85822" y="2589"/>
                          <a:pt x="86582" y="4316"/>
                          <a:pt x="86582" y="4316"/>
                        </a:cubicBezTo>
                        <a:cubicBezTo>
                          <a:pt x="88860" y="6906"/>
                          <a:pt x="88860" y="6906"/>
                          <a:pt x="88860" y="6906"/>
                        </a:cubicBezTo>
                        <a:cubicBezTo>
                          <a:pt x="88860" y="6906"/>
                          <a:pt x="89620" y="8633"/>
                          <a:pt x="89620" y="9496"/>
                        </a:cubicBezTo>
                        <a:cubicBezTo>
                          <a:pt x="90379" y="10359"/>
                          <a:pt x="90379" y="11223"/>
                          <a:pt x="90379" y="11223"/>
                        </a:cubicBezTo>
                        <a:cubicBezTo>
                          <a:pt x="90379" y="11223"/>
                          <a:pt x="90379" y="11223"/>
                          <a:pt x="90379" y="11223"/>
                        </a:cubicBezTo>
                        <a:cubicBezTo>
                          <a:pt x="91139" y="11223"/>
                          <a:pt x="96455" y="13812"/>
                          <a:pt x="97215" y="13812"/>
                        </a:cubicBezTo>
                        <a:cubicBezTo>
                          <a:pt x="97215" y="13812"/>
                          <a:pt x="97974" y="13812"/>
                          <a:pt x="97974" y="13812"/>
                        </a:cubicBezTo>
                        <a:cubicBezTo>
                          <a:pt x="97974" y="12086"/>
                          <a:pt x="97215" y="11223"/>
                          <a:pt x="98734" y="10359"/>
                        </a:cubicBezTo>
                        <a:cubicBezTo>
                          <a:pt x="99493" y="10359"/>
                          <a:pt x="100253" y="12086"/>
                          <a:pt x="100253" y="10359"/>
                        </a:cubicBezTo>
                        <a:cubicBezTo>
                          <a:pt x="100253" y="8633"/>
                          <a:pt x="101012" y="9496"/>
                          <a:pt x="100253" y="776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1" name="Shape 2027"/>
                  <p:cNvSpPr/>
                  <p:nvPr/>
                </p:nvSpPr>
                <p:spPr>
                  <a:xfrm>
                    <a:off x="4877542" y="1947009"/>
                    <a:ext cx="322132" cy="369699"/>
                  </a:xfrm>
                  <a:custGeom>
                    <a:avLst/>
                    <a:gdLst/>
                    <a:ahLst/>
                    <a:cxnLst/>
                    <a:rect l="0" t="0" r="0" b="0"/>
                    <a:pathLst>
                      <a:path w="120000" h="120000" extrusionOk="0">
                        <a:moveTo>
                          <a:pt x="32340" y="23712"/>
                        </a:moveTo>
                        <a:cubicBezTo>
                          <a:pt x="37446" y="21556"/>
                          <a:pt x="37446" y="21556"/>
                          <a:pt x="37446" y="21556"/>
                        </a:cubicBezTo>
                        <a:cubicBezTo>
                          <a:pt x="40000" y="17245"/>
                          <a:pt x="40000" y="17245"/>
                          <a:pt x="40000" y="17245"/>
                        </a:cubicBezTo>
                        <a:cubicBezTo>
                          <a:pt x="43404" y="12215"/>
                          <a:pt x="43404" y="12215"/>
                          <a:pt x="43404" y="12215"/>
                        </a:cubicBezTo>
                        <a:cubicBezTo>
                          <a:pt x="45106" y="10059"/>
                          <a:pt x="45106" y="10059"/>
                          <a:pt x="45106" y="10059"/>
                        </a:cubicBezTo>
                        <a:cubicBezTo>
                          <a:pt x="46808" y="6467"/>
                          <a:pt x="46808" y="6467"/>
                          <a:pt x="46808" y="6467"/>
                        </a:cubicBezTo>
                        <a:cubicBezTo>
                          <a:pt x="51914" y="5029"/>
                          <a:pt x="51914" y="5029"/>
                          <a:pt x="51914" y="5029"/>
                        </a:cubicBezTo>
                        <a:cubicBezTo>
                          <a:pt x="51914" y="5029"/>
                          <a:pt x="55319" y="4311"/>
                          <a:pt x="56170" y="4311"/>
                        </a:cubicBezTo>
                        <a:cubicBezTo>
                          <a:pt x="57021" y="3592"/>
                          <a:pt x="62127" y="0"/>
                          <a:pt x="62127" y="0"/>
                        </a:cubicBezTo>
                        <a:cubicBezTo>
                          <a:pt x="62978" y="0"/>
                          <a:pt x="62978" y="0"/>
                          <a:pt x="62978" y="0"/>
                        </a:cubicBezTo>
                        <a:cubicBezTo>
                          <a:pt x="60425" y="3592"/>
                          <a:pt x="60425" y="3592"/>
                          <a:pt x="60425" y="3592"/>
                        </a:cubicBezTo>
                        <a:cubicBezTo>
                          <a:pt x="60425" y="5748"/>
                          <a:pt x="60425" y="5748"/>
                          <a:pt x="60425" y="5748"/>
                        </a:cubicBezTo>
                        <a:cubicBezTo>
                          <a:pt x="60425" y="7185"/>
                          <a:pt x="60425" y="7185"/>
                          <a:pt x="60425" y="7185"/>
                        </a:cubicBezTo>
                        <a:cubicBezTo>
                          <a:pt x="61276" y="10059"/>
                          <a:pt x="61276" y="10059"/>
                          <a:pt x="61276" y="10059"/>
                        </a:cubicBezTo>
                        <a:cubicBezTo>
                          <a:pt x="62127" y="10778"/>
                          <a:pt x="62127" y="10778"/>
                          <a:pt x="62127" y="10778"/>
                        </a:cubicBezTo>
                        <a:cubicBezTo>
                          <a:pt x="62127" y="13652"/>
                          <a:pt x="62127" y="13652"/>
                          <a:pt x="62127" y="13652"/>
                        </a:cubicBezTo>
                        <a:cubicBezTo>
                          <a:pt x="62127" y="16526"/>
                          <a:pt x="62127" y="16526"/>
                          <a:pt x="62127" y="16526"/>
                        </a:cubicBezTo>
                        <a:cubicBezTo>
                          <a:pt x="62127" y="16526"/>
                          <a:pt x="64680" y="17964"/>
                          <a:pt x="63829" y="18682"/>
                        </a:cubicBezTo>
                        <a:cubicBezTo>
                          <a:pt x="62127" y="19401"/>
                          <a:pt x="60425" y="21556"/>
                          <a:pt x="60425" y="21556"/>
                        </a:cubicBezTo>
                        <a:cubicBezTo>
                          <a:pt x="59574" y="25868"/>
                          <a:pt x="59574" y="25868"/>
                          <a:pt x="59574" y="25868"/>
                        </a:cubicBezTo>
                        <a:cubicBezTo>
                          <a:pt x="56170" y="29461"/>
                          <a:pt x="56170" y="29461"/>
                          <a:pt x="56170" y="29461"/>
                        </a:cubicBezTo>
                        <a:cubicBezTo>
                          <a:pt x="57021" y="33772"/>
                          <a:pt x="57021" y="33772"/>
                          <a:pt x="57021" y="33772"/>
                        </a:cubicBezTo>
                        <a:cubicBezTo>
                          <a:pt x="57872" y="37365"/>
                          <a:pt x="57872" y="37365"/>
                          <a:pt x="57872" y="37365"/>
                        </a:cubicBezTo>
                        <a:cubicBezTo>
                          <a:pt x="57021" y="40239"/>
                          <a:pt x="57021" y="40239"/>
                          <a:pt x="57021" y="40239"/>
                        </a:cubicBezTo>
                        <a:cubicBezTo>
                          <a:pt x="59574" y="42395"/>
                          <a:pt x="59574" y="42395"/>
                          <a:pt x="59574" y="42395"/>
                        </a:cubicBezTo>
                        <a:cubicBezTo>
                          <a:pt x="58723" y="43832"/>
                          <a:pt x="58723" y="43832"/>
                          <a:pt x="58723" y="43832"/>
                        </a:cubicBezTo>
                        <a:cubicBezTo>
                          <a:pt x="59574" y="45988"/>
                          <a:pt x="59574" y="45988"/>
                          <a:pt x="59574" y="45988"/>
                        </a:cubicBezTo>
                        <a:cubicBezTo>
                          <a:pt x="62127" y="47425"/>
                          <a:pt x="62127" y="47425"/>
                          <a:pt x="62127" y="47425"/>
                        </a:cubicBezTo>
                        <a:cubicBezTo>
                          <a:pt x="62127" y="47425"/>
                          <a:pt x="63829" y="47425"/>
                          <a:pt x="64680" y="47425"/>
                        </a:cubicBezTo>
                        <a:cubicBezTo>
                          <a:pt x="65531" y="47425"/>
                          <a:pt x="68085" y="46706"/>
                          <a:pt x="68936" y="46706"/>
                        </a:cubicBezTo>
                        <a:cubicBezTo>
                          <a:pt x="69787" y="46706"/>
                          <a:pt x="71489" y="47425"/>
                          <a:pt x="71489" y="47425"/>
                        </a:cubicBezTo>
                        <a:cubicBezTo>
                          <a:pt x="74042" y="50299"/>
                          <a:pt x="74042" y="50299"/>
                          <a:pt x="74042" y="50299"/>
                        </a:cubicBezTo>
                        <a:cubicBezTo>
                          <a:pt x="74042" y="52455"/>
                          <a:pt x="74042" y="52455"/>
                          <a:pt x="74042" y="52455"/>
                        </a:cubicBezTo>
                        <a:cubicBezTo>
                          <a:pt x="74042" y="52455"/>
                          <a:pt x="73191" y="53892"/>
                          <a:pt x="73191" y="54610"/>
                        </a:cubicBezTo>
                        <a:cubicBezTo>
                          <a:pt x="72340" y="55329"/>
                          <a:pt x="71489" y="56766"/>
                          <a:pt x="71489" y="56766"/>
                        </a:cubicBezTo>
                        <a:cubicBezTo>
                          <a:pt x="69787" y="58203"/>
                          <a:pt x="69787" y="58203"/>
                          <a:pt x="69787" y="58203"/>
                        </a:cubicBezTo>
                        <a:cubicBezTo>
                          <a:pt x="68936" y="60359"/>
                          <a:pt x="68936" y="60359"/>
                          <a:pt x="68936" y="60359"/>
                        </a:cubicBezTo>
                        <a:cubicBezTo>
                          <a:pt x="68085" y="61796"/>
                          <a:pt x="68085" y="61796"/>
                          <a:pt x="68085" y="61796"/>
                        </a:cubicBezTo>
                        <a:cubicBezTo>
                          <a:pt x="68085" y="61796"/>
                          <a:pt x="68085" y="61796"/>
                          <a:pt x="68085" y="61796"/>
                        </a:cubicBezTo>
                        <a:cubicBezTo>
                          <a:pt x="66382" y="60359"/>
                          <a:pt x="66382" y="60359"/>
                          <a:pt x="66382" y="60359"/>
                        </a:cubicBezTo>
                        <a:cubicBezTo>
                          <a:pt x="66382" y="60359"/>
                          <a:pt x="66382" y="58203"/>
                          <a:pt x="65531" y="58922"/>
                        </a:cubicBezTo>
                        <a:cubicBezTo>
                          <a:pt x="64680" y="58922"/>
                          <a:pt x="63829" y="60359"/>
                          <a:pt x="63829" y="60359"/>
                        </a:cubicBezTo>
                        <a:cubicBezTo>
                          <a:pt x="64680" y="61796"/>
                          <a:pt x="64680" y="61796"/>
                          <a:pt x="64680" y="61796"/>
                        </a:cubicBezTo>
                        <a:cubicBezTo>
                          <a:pt x="64680" y="61796"/>
                          <a:pt x="65531" y="63952"/>
                          <a:pt x="64680" y="63952"/>
                        </a:cubicBezTo>
                        <a:cubicBezTo>
                          <a:pt x="63829" y="63952"/>
                          <a:pt x="62978" y="63952"/>
                          <a:pt x="62978" y="63952"/>
                        </a:cubicBezTo>
                        <a:cubicBezTo>
                          <a:pt x="62127" y="61077"/>
                          <a:pt x="62127" y="61077"/>
                          <a:pt x="62127" y="61077"/>
                        </a:cubicBezTo>
                        <a:cubicBezTo>
                          <a:pt x="59574" y="60359"/>
                          <a:pt x="59574" y="60359"/>
                          <a:pt x="59574" y="60359"/>
                        </a:cubicBezTo>
                        <a:cubicBezTo>
                          <a:pt x="61276" y="57485"/>
                          <a:pt x="61276" y="57485"/>
                          <a:pt x="61276" y="57485"/>
                        </a:cubicBezTo>
                        <a:cubicBezTo>
                          <a:pt x="59574" y="56766"/>
                          <a:pt x="59574" y="56766"/>
                          <a:pt x="59574" y="56766"/>
                        </a:cubicBezTo>
                        <a:cubicBezTo>
                          <a:pt x="59574" y="56766"/>
                          <a:pt x="58723" y="56766"/>
                          <a:pt x="57872" y="57485"/>
                        </a:cubicBezTo>
                        <a:cubicBezTo>
                          <a:pt x="57872" y="58203"/>
                          <a:pt x="57021" y="61077"/>
                          <a:pt x="57021" y="61077"/>
                        </a:cubicBezTo>
                        <a:cubicBezTo>
                          <a:pt x="56170" y="63952"/>
                          <a:pt x="56170" y="63952"/>
                          <a:pt x="56170" y="63952"/>
                        </a:cubicBezTo>
                        <a:cubicBezTo>
                          <a:pt x="56170" y="63952"/>
                          <a:pt x="57021" y="64670"/>
                          <a:pt x="57021" y="65389"/>
                        </a:cubicBezTo>
                        <a:cubicBezTo>
                          <a:pt x="57021" y="66107"/>
                          <a:pt x="56170" y="66826"/>
                          <a:pt x="56170" y="66826"/>
                        </a:cubicBezTo>
                        <a:cubicBezTo>
                          <a:pt x="56170" y="66826"/>
                          <a:pt x="56170" y="67544"/>
                          <a:pt x="56170" y="68263"/>
                        </a:cubicBezTo>
                        <a:cubicBezTo>
                          <a:pt x="56170" y="68263"/>
                          <a:pt x="57021" y="69700"/>
                          <a:pt x="57021" y="70419"/>
                        </a:cubicBezTo>
                        <a:cubicBezTo>
                          <a:pt x="57021" y="70419"/>
                          <a:pt x="57021" y="71137"/>
                          <a:pt x="56170" y="71137"/>
                        </a:cubicBezTo>
                        <a:cubicBezTo>
                          <a:pt x="56170" y="71856"/>
                          <a:pt x="56170" y="71856"/>
                          <a:pt x="56170" y="72574"/>
                        </a:cubicBezTo>
                        <a:cubicBezTo>
                          <a:pt x="55319" y="72574"/>
                          <a:pt x="54468" y="73293"/>
                          <a:pt x="54468" y="73293"/>
                        </a:cubicBezTo>
                        <a:cubicBezTo>
                          <a:pt x="54468" y="73293"/>
                          <a:pt x="52765" y="74011"/>
                          <a:pt x="52765" y="74011"/>
                        </a:cubicBezTo>
                        <a:cubicBezTo>
                          <a:pt x="52765" y="74011"/>
                          <a:pt x="51914" y="73293"/>
                          <a:pt x="51063" y="73293"/>
                        </a:cubicBezTo>
                        <a:cubicBezTo>
                          <a:pt x="50212" y="73293"/>
                          <a:pt x="50212" y="72574"/>
                          <a:pt x="49361" y="73293"/>
                        </a:cubicBezTo>
                        <a:cubicBezTo>
                          <a:pt x="48510" y="74011"/>
                          <a:pt x="48510" y="74011"/>
                          <a:pt x="48510" y="74011"/>
                        </a:cubicBezTo>
                        <a:cubicBezTo>
                          <a:pt x="49361" y="74730"/>
                          <a:pt x="49361" y="74730"/>
                          <a:pt x="49361" y="74730"/>
                        </a:cubicBezTo>
                        <a:cubicBezTo>
                          <a:pt x="51063" y="74730"/>
                          <a:pt x="51063" y="74730"/>
                          <a:pt x="51063" y="74730"/>
                        </a:cubicBezTo>
                        <a:cubicBezTo>
                          <a:pt x="51063" y="76167"/>
                          <a:pt x="51063" y="76167"/>
                          <a:pt x="51063" y="76167"/>
                        </a:cubicBezTo>
                        <a:cubicBezTo>
                          <a:pt x="51063" y="76167"/>
                          <a:pt x="51914" y="76167"/>
                          <a:pt x="51914" y="76886"/>
                        </a:cubicBezTo>
                        <a:cubicBezTo>
                          <a:pt x="51063" y="77604"/>
                          <a:pt x="50212" y="78323"/>
                          <a:pt x="50212" y="78323"/>
                        </a:cubicBezTo>
                        <a:cubicBezTo>
                          <a:pt x="48510" y="79760"/>
                          <a:pt x="48510" y="79760"/>
                          <a:pt x="48510" y="79760"/>
                        </a:cubicBezTo>
                        <a:cubicBezTo>
                          <a:pt x="46808" y="80479"/>
                          <a:pt x="46808" y="80479"/>
                          <a:pt x="46808" y="80479"/>
                        </a:cubicBezTo>
                        <a:cubicBezTo>
                          <a:pt x="46808" y="80479"/>
                          <a:pt x="45106" y="79760"/>
                          <a:pt x="45106" y="80479"/>
                        </a:cubicBezTo>
                        <a:cubicBezTo>
                          <a:pt x="44255" y="80479"/>
                          <a:pt x="43404" y="80479"/>
                          <a:pt x="43404" y="80479"/>
                        </a:cubicBezTo>
                        <a:cubicBezTo>
                          <a:pt x="43404" y="81197"/>
                          <a:pt x="45106" y="82634"/>
                          <a:pt x="45106" y="82634"/>
                        </a:cubicBezTo>
                        <a:cubicBezTo>
                          <a:pt x="41702" y="79760"/>
                          <a:pt x="41702" y="79760"/>
                          <a:pt x="41702" y="79760"/>
                        </a:cubicBezTo>
                        <a:cubicBezTo>
                          <a:pt x="40000" y="79760"/>
                          <a:pt x="40000" y="79760"/>
                          <a:pt x="40000" y="79760"/>
                        </a:cubicBezTo>
                        <a:cubicBezTo>
                          <a:pt x="42553" y="81197"/>
                          <a:pt x="42553" y="81197"/>
                          <a:pt x="42553" y="81197"/>
                        </a:cubicBezTo>
                        <a:cubicBezTo>
                          <a:pt x="43404" y="82634"/>
                          <a:pt x="43404" y="82634"/>
                          <a:pt x="43404" y="82634"/>
                        </a:cubicBezTo>
                        <a:cubicBezTo>
                          <a:pt x="45106" y="83353"/>
                          <a:pt x="45106" y="83353"/>
                          <a:pt x="45106" y="83353"/>
                        </a:cubicBezTo>
                        <a:cubicBezTo>
                          <a:pt x="44255" y="84071"/>
                          <a:pt x="44255" y="84071"/>
                          <a:pt x="44255" y="84071"/>
                        </a:cubicBezTo>
                        <a:cubicBezTo>
                          <a:pt x="43404" y="84790"/>
                          <a:pt x="43404" y="84790"/>
                          <a:pt x="43404" y="84790"/>
                        </a:cubicBezTo>
                        <a:cubicBezTo>
                          <a:pt x="41702" y="86227"/>
                          <a:pt x="41702" y="86227"/>
                          <a:pt x="41702" y="86227"/>
                        </a:cubicBezTo>
                        <a:cubicBezTo>
                          <a:pt x="41702" y="86227"/>
                          <a:pt x="40851" y="86946"/>
                          <a:pt x="40000" y="86946"/>
                        </a:cubicBezTo>
                        <a:cubicBezTo>
                          <a:pt x="40000" y="86946"/>
                          <a:pt x="37446" y="86946"/>
                          <a:pt x="37446" y="86946"/>
                        </a:cubicBezTo>
                        <a:cubicBezTo>
                          <a:pt x="38297" y="87664"/>
                          <a:pt x="38297" y="87664"/>
                          <a:pt x="38297" y="87664"/>
                        </a:cubicBezTo>
                        <a:cubicBezTo>
                          <a:pt x="40000" y="88383"/>
                          <a:pt x="40000" y="88383"/>
                          <a:pt x="40000" y="88383"/>
                        </a:cubicBezTo>
                        <a:cubicBezTo>
                          <a:pt x="40000" y="88383"/>
                          <a:pt x="40851" y="87664"/>
                          <a:pt x="40851" y="88383"/>
                        </a:cubicBezTo>
                        <a:cubicBezTo>
                          <a:pt x="40000" y="88383"/>
                          <a:pt x="40000" y="88383"/>
                          <a:pt x="40000" y="89101"/>
                        </a:cubicBezTo>
                        <a:cubicBezTo>
                          <a:pt x="40000" y="90538"/>
                          <a:pt x="40000" y="92694"/>
                          <a:pt x="40000" y="92694"/>
                        </a:cubicBezTo>
                        <a:cubicBezTo>
                          <a:pt x="41702" y="94850"/>
                          <a:pt x="41702" y="94850"/>
                          <a:pt x="41702" y="94850"/>
                        </a:cubicBezTo>
                        <a:cubicBezTo>
                          <a:pt x="42553" y="95568"/>
                          <a:pt x="42553" y="95568"/>
                          <a:pt x="42553" y="95568"/>
                        </a:cubicBezTo>
                        <a:cubicBezTo>
                          <a:pt x="42553" y="95568"/>
                          <a:pt x="42553" y="95568"/>
                          <a:pt x="42553" y="96287"/>
                        </a:cubicBezTo>
                        <a:cubicBezTo>
                          <a:pt x="42553" y="96287"/>
                          <a:pt x="42553" y="97005"/>
                          <a:pt x="42553" y="97005"/>
                        </a:cubicBezTo>
                        <a:cubicBezTo>
                          <a:pt x="42553" y="98443"/>
                          <a:pt x="42553" y="98443"/>
                          <a:pt x="42553" y="98443"/>
                        </a:cubicBezTo>
                        <a:cubicBezTo>
                          <a:pt x="42553" y="98443"/>
                          <a:pt x="41702" y="99161"/>
                          <a:pt x="40851" y="99161"/>
                        </a:cubicBezTo>
                        <a:cubicBezTo>
                          <a:pt x="40851" y="99161"/>
                          <a:pt x="37446" y="99880"/>
                          <a:pt x="37446" y="99880"/>
                        </a:cubicBezTo>
                        <a:cubicBezTo>
                          <a:pt x="36595" y="101317"/>
                          <a:pt x="36595" y="101317"/>
                          <a:pt x="36595" y="101317"/>
                        </a:cubicBezTo>
                        <a:cubicBezTo>
                          <a:pt x="38297" y="102035"/>
                          <a:pt x="38297" y="102035"/>
                          <a:pt x="38297" y="102035"/>
                        </a:cubicBezTo>
                        <a:cubicBezTo>
                          <a:pt x="38297" y="102035"/>
                          <a:pt x="38297" y="103473"/>
                          <a:pt x="38297" y="103473"/>
                        </a:cubicBezTo>
                        <a:cubicBezTo>
                          <a:pt x="38297" y="104191"/>
                          <a:pt x="37446" y="104910"/>
                          <a:pt x="37446" y="104910"/>
                        </a:cubicBezTo>
                        <a:cubicBezTo>
                          <a:pt x="39148" y="104910"/>
                          <a:pt x="39148" y="104910"/>
                          <a:pt x="39148" y="104910"/>
                        </a:cubicBezTo>
                        <a:cubicBezTo>
                          <a:pt x="41702" y="105628"/>
                          <a:pt x="41702" y="105628"/>
                          <a:pt x="41702" y="105628"/>
                        </a:cubicBezTo>
                        <a:cubicBezTo>
                          <a:pt x="45106" y="109221"/>
                          <a:pt x="45106" y="109221"/>
                          <a:pt x="45106" y="109221"/>
                        </a:cubicBezTo>
                        <a:cubicBezTo>
                          <a:pt x="44255" y="112095"/>
                          <a:pt x="44255" y="112095"/>
                          <a:pt x="44255" y="112095"/>
                        </a:cubicBezTo>
                        <a:cubicBezTo>
                          <a:pt x="42553" y="113532"/>
                          <a:pt x="42553" y="113532"/>
                          <a:pt x="42553" y="113532"/>
                        </a:cubicBezTo>
                        <a:cubicBezTo>
                          <a:pt x="40851" y="110658"/>
                          <a:pt x="40851" y="110658"/>
                          <a:pt x="40851" y="110658"/>
                        </a:cubicBezTo>
                        <a:cubicBezTo>
                          <a:pt x="40851" y="110658"/>
                          <a:pt x="40000" y="110658"/>
                          <a:pt x="40000" y="111377"/>
                        </a:cubicBezTo>
                        <a:cubicBezTo>
                          <a:pt x="39148" y="111377"/>
                          <a:pt x="36595" y="112814"/>
                          <a:pt x="36595" y="112814"/>
                        </a:cubicBezTo>
                        <a:cubicBezTo>
                          <a:pt x="36595" y="112814"/>
                          <a:pt x="34893" y="113532"/>
                          <a:pt x="34042" y="113532"/>
                        </a:cubicBezTo>
                        <a:cubicBezTo>
                          <a:pt x="34042" y="113532"/>
                          <a:pt x="33191" y="113532"/>
                          <a:pt x="33191" y="113532"/>
                        </a:cubicBezTo>
                        <a:cubicBezTo>
                          <a:pt x="30638" y="112814"/>
                          <a:pt x="30638" y="112814"/>
                          <a:pt x="30638" y="112814"/>
                        </a:cubicBezTo>
                        <a:cubicBezTo>
                          <a:pt x="27234" y="111377"/>
                          <a:pt x="27234" y="111377"/>
                          <a:pt x="27234" y="111377"/>
                        </a:cubicBezTo>
                        <a:cubicBezTo>
                          <a:pt x="27234" y="111377"/>
                          <a:pt x="25531" y="110658"/>
                          <a:pt x="24680" y="110658"/>
                        </a:cubicBezTo>
                        <a:cubicBezTo>
                          <a:pt x="23829" y="110658"/>
                          <a:pt x="19574" y="109221"/>
                          <a:pt x="19574" y="109221"/>
                        </a:cubicBezTo>
                        <a:cubicBezTo>
                          <a:pt x="17872" y="109940"/>
                          <a:pt x="17872" y="109940"/>
                          <a:pt x="17872" y="109940"/>
                        </a:cubicBezTo>
                        <a:cubicBezTo>
                          <a:pt x="15319" y="109940"/>
                          <a:pt x="15319" y="109940"/>
                          <a:pt x="15319" y="109940"/>
                        </a:cubicBezTo>
                        <a:cubicBezTo>
                          <a:pt x="13617" y="109221"/>
                          <a:pt x="13617" y="109221"/>
                          <a:pt x="13617" y="109221"/>
                        </a:cubicBezTo>
                        <a:cubicBezTo>
                          <a:pt x="11914" y="107065"/>
                          <a:pt x="11914" y="107065"/>
                          <a:pt x="11914" y="107065"/>
                        </a:cubicBezTo>
                        <a:cubicBezTo>
                          <a:pt x="11914" y="107065"/>
                          <a:pt x="11063" y="105628"/>
                          <a:pt x="11063" y="105628"/>
                        </a:cubicBezTo>
                        <a:cubicBezTo>
                          <a:pt x="11063" y="105628"/>
                          <a:pt x="13617" y="104191"/>
                          <a:pt x="13617" y="104191"/>
                        </a:cubicBezTo>
                        <a:cubicBezTo>
                          <a:pt x="14468" y="104191"/>
                          <a:pt x="14468" y="103473"/>
                          <a:pt x="14468" y="103473"/>
                        </a:cubicBezTo>
                        <a:cubicBezTo>
                          <a:pt x="14468" y="100598"/>
                          <a:pt x="14468" y="100598"/>
                          <a:pt x="14468" y="100598"/>
                        </a:cubicBezTo>
                        <a:cubicBezTo>
                          <a:pt x="14468" y="100598"/>
                          <a:pt x="14468" y="99161"/>
                          <a:pt x="14468" y="99161"/>
                        </a:cubicBezTo>
                        <a:cubicBezTo>
                          <a:pt x="14468" y="98443"/>
                          <a:pt x="15319" y="97724"/>
                          <a:pt x="15319" y="97724"/>
                        </a:cubicBezTo>
                        <a:cubicBezTo>
                          <a:pt x="15319" y="97724"/>
                          <a:pt x="15319" y="95568"/>
                          <a:pt x="14468" y="94850"/>
                        </a:cubicBezTo>
                        <a:cubicBezTo>
                          <a:pt x="14468" y="93413"/>
                          <a:pt x="14468" y="91976"/>
                          <a:pt x="14468" y="91976"/>
                        </a:cubicBezTo>
                        <a:cubicBezTo>
                          <a:pt x="12765" y="89820"/>
                          <a:pt x="12765" y="89820"/>
                          <a:pt x="12765" y="89820"/>
                        </a:cubicBezTo>
                        <a:cubicBezTo>
                          <a:pt x="12765" y="89820"/>
                          <a:pt x="11914" y="89820"/>
                          <a:pt x="10212" y="89101"/>
                        </a:cubicBezTo>
                        <a:cubicBezTo>
                          <a:pt x="8510" y="88383"/>
                          <a:pt x="5957" y="87664"/>
                          <a:pt x="5957" y="87664"/>
                        </a:cubicBezTo>
                        <a:cubicBezTo>
                          <a:pt x="5957" y="85508"/>
                          <a:pt x="5957" y="85508"/>
                          <a:pt x="5957" y="85508"/>
                        </a:cubicBezTo>
                        <a:cubicBezTo>
                          <a:pt x="5106" y="84790"/>
                          <a:pt x="5106" y="84790"/>
                          <a:pt x="5106" y="84790"/>
                        </a:cubicBezTo>
                        <a:cubicBezTo>
                          <a:pt x="5106" y="84790"/>
                          <a:pt x="3404" y="84790"/>
                          <a:pt x="3404" y="85508"/>
                        </a:cubicBezTo>
                        <a:cubicBezTo>
                          <a:pt x="3404" y="85508"/>
                          <a:pt x="3404" y="86227"/>
                          <a:pt x="3404" y="86227"/>
                        </a:cubicBezTo>
                        <a:cubicBezTo>
                          <a:pt x="1702" y="85508"/>
                          <a:pt x="1702" y="85508"/>
                          <a:pt x="1702" y="85508"/>
                        </a:cubicBezTo>
                        <a:cubicBezTo>
                          <a:pt x="1702" y="85508"/>
                          <a:pt x="0" y="83353"/>
                          <a:pt x="0" y="82634"/>
                        </a:cubicBezTo>
                        <a:cubicBezTo>
                          <a:pt x="851" y="82634"/>
                          <a:pt x="1702" y="81916"/>
                          <a:pt x="1702" y="81197"/>
                        </a:cubicBezTo>
                        <a:cubicBezTo>
                          <a:pt x="2553" y="80479"/>
                          <a:pt x="3404" y="79041"/>
                          <a:pt x="3404" y="78323"/>
                        </a:cubicBezTo>
                        <a:cubicBezTo>
                          <a:pt x="3404" y="78323"/>
                          <a:pt x="3404" y="75449"/>
                          <a:pt x="3404" y="75449"/>
                        </a:cubicBezTo>
                        <a:cubicBezTo>
                          <a:pt x="3404" y="75449"/>
                          <a:pt x="2553" y="74730"/>
                          <a:pt x="3404" y="74730"/>
                        </a:cubicBezTo>
                        <a:cubicBezTo>
                          <a:pt x="4255" y="74730"/>
                          <a:pt x="3404" y="74730"/>
                          <a:pt x="4255" y="74730"/>
                        </a:cubicBezTo>
                        <a:cubicBezTo>
                          <a:pt x="5106" y="74011"/>
                          <a:pt x="7659" y="72574"/>
                          <a:pt x="7659" y="72574"/>
                        </a:cubicBezTo>
                        <a:cubicBezTo>
                          <a:pt x="7659" y="71137"/>
                          <a:pt x="7659" y="71137"/>
                          <a:pt x="7659" y="71137"/>
                        </a:cubicBezTo>
                        <a:cubicBezTo>
                          <a:pt x="7659" y="71137"/>
                          <a:pt x="6808" y="69700"/>
                          <a:pt x="6808" y="68982"/>
                        </a:cubicBezTo>
                        <a:cubicBezTo>
                          <a:pt x="6808" y="68982"/>
                          <a:pt x="6808" y="68982"/>
                          <a:pt x="6808" y="68263"/>
                        </a:cubicBezTo>
                        <a:cubicBezTo>
                          <a:pt x="6808" y="66826"/>
                          <a:pt x="3404" y="63952"/>
                          <a:pt x="3404" y="63952"/>
                        </a:cubicBezTo>
                        <a:cubicBezTo>
                          <a:pt x="1702" y="63952"/>
                          <a:pt x="1702" y="63952"/>
                          <a:pt x="1702" y="63952"/>
                        </a:cubicBezTo>
                        <a:cubicBezTo>
                          <a:pt x="1702" y="63952"/>
                          <a:pt x="1702" y="63233"/>
                          <a:pt x="1702" y="62514"/>
                        </a:cubicBezTo>
                        <a:cubicBezTo>
                          <a:pt x="1702" y="62514"/>
                          <a:pt x="1702" y="60359"/>
                          <a:pt x="1702" y="60359"/>
                        </a:cubicBezTo>
                        <a:cubicBezTo>
                          <a:pt x="2553" y="57485"/>
                          <a:pt x="2553" y="57485"/>
                          <a:pt x="2553" y="57485"/>
                        </a:cubicBezTo>
                        <a:cubicBezTo>
                          <a:pt x="1702" y="52455"/>
                          <a:pt x="1702" y="52455"/>
                          <a:pt x="1702" y="52455"/>
                        </a:cubicBezTo>
                        <a:cubicBezTo>
                          <a:pt x="1702" y="48862"/>
                          <a:pt x="1702" y="48862"/>
                          <a:pt x="1702" y="48862"/>
                        </a:cubicBezTo>
                        <a:cubicBezTo>
                          <a:pt x="1702" y="48862"/>
                          <a:pt x="1702" y="45988"/>
                          <a:pt x="1702" y="45269"/>
                        </a:cubicBezTo>
                        <a:cubicBezTo>
                          <a:pt x="1702" y="45269"/>
                          <a:pt x="3404" y="42395"/>
                          <a:pt x="3404" y="42395"/>
                        </a:cubicBezTo>
                        <a:cubicBezTo>
                          <a:pt x="4255" y="40958"/>
                          <a:pt x="4255" y="40958"/>
                          <a:pt x="4255" y="40958"/>
                        </a:cubicBezTo>
                        <a:cubicBezTo>
                          <a:pt x="5106" y="43113"/>
                          <a:pt x="5106" y="43113"/>
                          <a:pt x="5106" y="43113"/>
                        </a:cubicBezTo>
                        <a:cubicBezTo>
                          <a:pt x="5106" y="43113"/>
                          <a:pt x="4255" y="43832"/>
                          <a:pt x="5106" y="44550"/>
                        </a:cubicBezTo>
                        <a:cubicBezTo>
                          <a:pt x="5957" y="44550"/>
                          <a:pt x="6808" y="44550"/>
                          <a:pt x="7659" y="44550"/>
                        </a:cubicBezTo>
                        <a:cubicBezTo>
                          <a:pt x="7659" y="44550"/>
                          <a:pt x="8510" y="45269"/>
                          <a:pt x="8510" y="45269"/>
                        </a:cubicBezTo>
                        <a:cubicBezTo>
                          <a:pt x="11063" y="46706"/>
                          <a:pt x="11063" y="46706"/>
                          <a:pt x="11063" y="46706"/>
                        </a:cubicBezTo>
                        <a:cubicBezTo>
                          <a:pt x="12765" y="48143"/>
                          <a:pt x="12765" y="48143"/>
                          <a:pt x="12765" y="48143"/>
                        </a:cubicBezTo>
                        <a:cubicBezTo>
                          <a:pt x="14468" y="48862"/>
                          <a:pt x="14468" y="48862"/>
                          <a:pt x="14468" y="48862"/>
                        </a:cubicBezTo>
                        <a:cubicBezTo>
                          <a:pt x="16170" y="48862"/>
                          <a:pt x="16170" y="48862"/>
                          <a:pt x="16170" y="48862"/>
                        </a:cubicBezTo>
                        <a:cubicBezTo>
                          <a:pt x="17021" y="48143"/>
                          <a:pt x="17021" y="48143"/>
                          <a:pt x="17021" y="48143"/>
                        </a:cubicBezTo>
                        <a:cubicBezTo>
                          <a:pt x="17021" y="48143"/>
                          <a:pt x="17021" y="47425"/>
                          <a:pt x="17021" y="47425"/>
                        </a:cubicBezTo>
                        <a:cubicBezTo>
                          <a:pt x="17021" y="47425"/>
                          <a:pt x="16170" y="45988"/>
                          <a:pt x="16170" y="45988"/>
                        </a:cubicBezTo>
                        <a:cubicBezTo>
                          <a:pt x="16170" y="45269"/>
                          <a:pt x="15319" y="44550"/>
                          <a:pt x="15319" y="44550"/>
                        </a:cubicBezTo>
                        <a:cubicBezTo>
                          <a:pt x="17872" y="43113"/>
                          <a:pt x="17872" y="43113"/>
                          <a:pt x="17872" y="43113"/>
                        </a:cubicBezTo>
                        <a:cubicBezTo>
                          <a:pt x="18723" y="41676"/>
                          <a:pt x="18723" y="41676"/>
                          <a:pt x="18723" y="41676"/>
                        </a:cubicBezTo>
                        <a:cubicBezTo>
                          <a:pt x="18723" y="41676"/>
                          <a:pt x="18723" y="40958"/>
                          <a:pt x="17872" y="40958"/>
                        </a:cubicBezTo>
                        <a:cubicBezTo>
                          <a:pt x="17021" y="40958"/>
                          <a:pt x="15319" y="40958"/>
                          <a:pt x="15319" y="40958"/>
                        </a:cubicBezTo>
                        <a:cubicBezTo>
                          <a:pt x="15319" y="40958"/>
                          <a:pt x="14468" y="40239"/>
                          <a:pt x="14468" y="40239"/>
                        </a:cubicBezTo>
                        <a:cubicBezTo>
                          <a:pt x="14468" y="40239"/>
                          <a:pt x="13617" y="38802"/>
                          <a:pt x="13617" y="38802"/>
                        </a:cubicBezTo>
                        <a:cubicBezTo>
                          <a:pt x="13617" y="38802"/>
                          <a:pt x="13617" y="37365"/>
                          <a:pt x="14468" y="37365"/>
                        </a:cubicBezTo>
                        <a:cubicBezTo>
                          <a:pt x="14468" y="36646"/>
                          <a:pt x="15319" y="34491"/>
                          <a:pt x="15319" y="34491"/>
                        </a:cubicBezTo>
                        <a:cubicBezTo>
                          <a:pt x="15319" y="34491"/>
                          <a:pt x="14468" y="33053"/>
                          <a:pt x="16170" y="33053"/>
                        </a:cubicBezTo>
                        <a:cubicBezTo>
                          <a:pt x="17872" y="33053"/>
                          <a:pt x="18723" y="33053"/>
                          <a:pt x="18723" y="33053"/>
                        </a:cubicBezTo>
                        <a:cubicBezTo>
                          <a:pt x="18723" y="33053"/>
                          <a:pt x="19574" y="31616"/>
                          <a:pt x="20425" y="31616"/>
                        </a:cubicBezTo>
                        <a:cubicBezTo>
                          <a:pt x="20425" y="31616"/>
                          <a:pt x="21276" y="30898"/>
                          <a:pt x="21276" y="31616"/>
                        </a:cubicBezTo>
                        <a:cubicBezTo>
                          <a:pt x="22127" y="31616"/>
                          <a:pt x="21276" y="33772"/>
                          <a:pt x="21276" y="33772"/>
                        </a:cubicBezTo>
                        <a:cubicBezTo>
                          <a:pt x="19574" y="35209"/>
                          <a:pt x="19574" y="35209"/>
                          <a:pt x="19574" y="35209"/>
                        </a:cubicBezTo>
                        <a:cubicBezTo>
                          <a:pt x="19574" y="35209"/>
                          <a:pt x="20425" y="35928"/>
                          <a:pt x="20425" y="36646"/>
                        </a:cubicBezTo>
                        <a:cubicBezTo>
                          <a:pt x="20425" y="37365"/>
                          <a:pt x="20425" y="38083"/>
                          <a:pt x="20425" y="38083"/>
                        </a:cubicBezTo>
                        <a:cubicBezTo>
                          <a:pt x="18723" y="40239"/>
                          <a:pt x="18723" y="40239"/>
                          <a:pt x="18723" y="40239"/>
                        </a:cubicBezTo>
                        <a:cubicBezTo>
                          <a:pt x="18723" y="40239"/>
                          <a:pt x="19574" y="40239"/>
                          <a:pt x="19574" y="40239"/>
                        </a:cubicBezTo>
                        <a:cubicBezTo>
                          <a:pt x="19574" y="40958"/>
                          <a:pt x="19574" y="41676"/>
                          <a:pt x="19574" y="41676"/>
                        </a:cubicBezTo>
                        <a:cubicBezTo>
                          <a:pt x="22127" y="40958"/>
                          <a:pt x="22127" y="40958"/>
                          <a:pt x="22127" y="40958"/>
                        </a:cubicBezTo>
                        <a:cubicBezTo>
                          <a:pt x="22127" y="40958"/>
                          <a:pt x="21276" y="40239"/>
                          <a:pt x="21276" y="40239"/>
                        </a:cubicBezTo>
                        <a:cubicBezTo>
                          <a:pt x="21276" y="40239"/>
                          <a:pt x="20425" y="39520"/>
                          <a:pt x="21276" y="38802"/>
                        </a:cubicBezTo>
                        <a:cubicBezTo>
                          <a:pt x="22127" y="38083"/>
                          <a:pt x="22127" y="37365"/>
                          <a:pt x="22978" y="37365"/>
                        </a:cubicBezTo>
                        <a:cubicBezTo>
                          <a:pt x="22978" y="36646"/>
                          <a:pt x="22978" y="36646"/>
                          <a:pt x="24680" y="36646"/>
                        </a:cubicBezTo>
                        <a:cubicBezTo>
                          <a:pt x="25531" y="36646"/>
                          <a:pt x="27234" y="38083"/>
                          <a:pt x="27234" y="38083"/>
                        </a:cubicBezTo>
                        <a:cubicBezTo>
                          <a:pt x="27234" y="38083"/>
                          <a:pt x="28085" y="38802"/>
                          <a:pt x="27234" y="38802"/>
                        </a:cubicBezTo>
                        <a:cubicBezTo>
                          <a:pt x="27234" y="39520"/>
                          <a:pt x="26382" y="40239"/>
                          <a:pt x="26382" y="40239"/>
                        </a:cubicBezTo>
                        <a:cubicBezTo>
                          <a:pt x="28085" y="42395"/>
                          <a:pt x="28085" y="42395"/>
                          <a:pt x="28085" y="42395"/>
                        </a:cubicBezTo>
                        <a:cubicBezTo>
                          <a:pt x="28085" y="42395"/>
                          <a:pt x="27234" y="42395"/>
                          <a:pt x="26382" y="43113"/>
                        </a:cubicBezTo>
                        <a:cubicBezTo>
                          <a:pt x="26382" y="43113"/>
                          <a:pt x="26382" y="43832"/>
                          <a:pt x="26382" y="43832"/>
                        </a:cubicBezTo>
                        <a:cubicBezTo>
                          <a:pt x="26382" y="44550"/>
                          <a:pt x="23829" y="45269"/>
                          <a:pt x="26382" y="45269"/>
                        </a:cubicBezTo>
                        <a:cubicBezTo>
                          <a:pt x="28085" y="45269"/>
                          <a:pt x="28085" y="45269"/>
                          <a:pt x="28085" y="44550"/>
                        </a:cubicBezTo>
                        <a:cubicBezTo>
                          <a:pt x="28085" y="44550"/>
                          <a:pt x="28085" y="43113"/>
                          <a:pt x="28085" y="43113"/>
                        </a:cubicBezTo>
                        <a:cubicBezTo>
                          <a:pt x="28085" y="43113"/>
                          <a:pt x="28936" y="43113"/>
                          <a:pt x="28936" y="43113"/>
                        </a:cubicBezTo>
                        <a:cubicBezTo>
                          <a:pt x="29787" y="43113"/>
                          <a:pt x="30638" y="43113"/>
                          <a:pt x="30638" y="43113"/>
                        </a:cubicBezTo>
                        <a:cubicBezTo>
                          <a:pt x="31489" y="43832"/>
                          <a:pt x="31489" y="43832"/>
                          <a:pt x="31489" y="43832"/>
                        </a:cubicBezTo>
                        <a:cubicBezTo>
                          <a:pt x="31489" y="43832"/>
                          <a:pt x="31489" y="44550"/>
                          <a:pt x="31489" y="45269"/>
                        </a:cubicBezTo>
                        <a:cubicBezTo>
                          <a:pt x="31489" y="45269"/>
                          <a:pt x="31489" y="45988"/>
                          <a:pt x="31489" y="45988"/>
                        </a:cubicBezTo>
                        <a:cubicBezTo>
                          <a:pt x="31489" y="45988"/>
                          <a:pt x="33191" y="47425"/>
                          <a:pt x="33191" y="46706"/>
                        </a:cubicBezTo>
                        <a:cubicBezTo>
                          <a:pt x="33191" y="45988"/>
                          <a:pt x="34042" y="46706"/>
                          <a:pt x="33191" y="45269"/>
                        </a:cubicBezTo>
                        <a:cubicBezTo>
                          <a:pt x="32340" y="44550"/>
                          <a:pt x="32340" y="43113"/>
                          <a:pt x="32340" y="43113"/>
                        </a:cubicBezTo>
                        <a:cubicBezTo>
                          <a:pt x="32340" y="43113"/>
                          <a:pt x="32340" y="43113"/>
                          <a:pt x="32340" y="42395"/>
                        </a:cubicBezTo>
                        <a:cubicBezTo>
                          <a:pt x="32340" y="42395"/>
                          <a:pt x="32340" y="41676"/>
                          <a:pt x="32340" y="41676"/>
                        </a:cubicBezTo>
                        <a:cubicBezTo>
                          <a:pt x="31489" y="40958"/>
                          <a:pt x="30638" y="40958"/>
                          <a:pt x="30638" y="40239"/>
                        </a:cubicBezTo>
                        <a:cubicBezTo>
                          <a:pt x="30638" y="40239"/>
                          <a:pt x="28085" y="38083"/>
                          <a:pt x="28085" y="38083"/>
                        </a:cubicBezTo>
                        <a:cubicBezTo>
                          <a:pt x="28085" y="38083"/>
                          <a:pt x="28085" y="37365"/>
                          <a:pt x="28085" y="36646"/>
                        </a:cubicBezTo>
                        <a:cubicBezTo>
                          <a:pt x="28085" y="35209"/>
                          <a:pt x="28085" y="34491"/>
                          <a:pt x="28085" y="33772"/>
                        </a:cubicBezTo>
                        <a:cubicBezTo>
                          <a:pt x="28085" y="33772"/>
                          <a:pt x="28936" y="32335"/>
                          <a:pt x="28936" y="32335"/>
                        </a:cubicBezTo>
                        <a:cubicBezTo>
                          <a:pt x="28936" y="32335"/>
                          <a:pt x="28936" y="30898"/>
                          <a:pt x="29787" y="30179"/>
                        </a:cubicBezTo>
                        <a:cubicBezTo>
                          <a:pt x="30638" y="30179"/>
                          <a:pt x="29787" y="29461"/>
                          <a:pt x="30638" y="29461"/>
                        </a:cubicBezTo>
                        <a:cubicBezTo>
                          <a:pt x="32340" y="28742"/>
                          <a:pt x="31489" y="28742"/>
                          <a:pt x="33191" y="28742"/>
                        </a:cubicBezTo>
                        <a:cubicBezTo>
                          <a:pt x="34042" y="28742"/>
                          <a:pt x="35744" y="29461"/>
                          <a:pt x="36595" y="29461"/>
                        </a:cubicBezTo>
                        <a:cubicBezTo>
                          <a:pt x="36595" y="29461"/>
                          <a:pt x="39148" y="30179"/>
                          <a:pt x="39148" y="30179"/>
                        </a:cubicBezTo>
                        <a:cubicBezTo>
                          <a:pt x="39148" y="30179"/>
                          <a:pt x="39148" y="29461"/>
                          <a:pt x="39148" y="29461"/>
                        </a:cubicBezTo>
                        <a:cubicBezTo>
                          <a:pt x="40000" y="29461"/>
                          <a:pt x="40000" y="28023"/>
                          <a:pt x="40000" y="28742"/>
                        </a:cubicBezTo>
                        <a:cubicBezTo>
                          <a:pt x="40851" y="28742"/>
                          <a:pt x="40851" y="29461"/>
                          <a:pt x="41702" y="28742"/>
                        </a:cubicBezTo>
                        <a:cubicBezTo>
                          <a:pt x="42553" y="28023"/>
                          <a:pt x="42553" y="27305"/>
                          <a:pt x="42553" y="27305"/>
                        </a:cubicBezTo>
                        <a:cubicBezTo>
                          <a:pt x="42553" y="27305"/>
                          <a:pt x="43404" y="27305"/>
                          <a:pt x="44255" y="26586"/>
                        </a:cubicBezTo>
                        <a:cubicBezTo>
                          <a:pt x="44255" y="26586"/>
                          <a:pt x="43404" y="25868"/>
                          <a:pt x="42553" y="25868"/>
                        </a:cubicBezTo>
                        <a:cubicBezTo>
                          <a:pt x="42553" y="25868"/>
                          <a:pt x="40851" y="25868"/>
                          <a:pt x="40000" y="26586"/>
                        </a:cubicBezTo>
                        <a:cubicBezTo>
                          <a:pt x="39148" y="26586"/>
                          <a:pt x="40000" y="26586"/>
                          <a:pt x="38297" y="26586"/>
                        </a:cubicBezTo>
                        <a:cubicBezTo>
                          <a:pt x="37446" y="27305"/>
                          <a:pt x="37446" y="27305"/>
                          <a:pt x="35744" y="27305"/>
                        </a:cubicBezTo>
                        <a:cubicBezTo>
                          <a:pt x="34042" y="27305"/>
                          <a:pt x="34042" y="27305"/>
                          <a:pt x="33191" y="28023"/>
                        </a:cubicBezTo>
                        <a:cubicBezTo>
                          <a:pt x="32340" y="28742"/>
                          <a:pt x="31489" y="28742"/>
                          <a:pt x="31489" y="28742"/>
                        </a:cubicBezTo>
                        <a:cubicBezTo>
                          <a:pt x="30638" y="28742"/>
                          <a:pt x="30638" y="28742"/>
                          <a:pt x="30638" y="28742"/>
                        </a:cubicBezTo>
                        <a:cubicBezTo>
                          <a:pt x="30638" y="28742"/>
                          <a:pt x="29787" y="28742"/>
                          <a:pt x="28936" y="28742"/>
                        </a:cubicBezTo>
                        <a:cubicBezTo>
                          <a:pt x="28936" y="28742"/>
                          <a:pt x="28085" y="28023"/>
                          <a:pt x="28085" y="28023"/>
                        </a:cubicBezTo>
                        <a:cubicBezTo>
                          <a:pt x="28085" y="28023"/>
                          <a:pt x="28085" y="28023"/>
                          <a:pt x="27234" y="28023"/>
                        </a:cubicBezTo>
                        <a:cubicBezTo>
                          <a:pt x="26382" y="28023"/>
                          <a:pt x="25531" y="28742"/>
                          <a:pt x="25531" y="28742"/>
                        </a:cubicBezTo>
                        <a:cubicBezTo>
                          <a:pt x="23829" y="28742"/>
                          <a:pt x="23829" y="28742"/>
                          <a:pt x="23829" y="28742"/>
                        </a:cubicBezTo>
                        <a:cubicBezTo>
                          <a:pt x="23829" y="28742"/>
                          <a:pt x="22978" y="28742"/>
                          <a:pt x="22127" y="28742"/>
                        </a:cubicBezTo>
                        <a:cubicBezTo>
                          <a:pt x="22127" y="29461"/>
                          <a:pt x="20425" y="29461"/>
                          <a:pt x="20425" y="29461"/>
                        </a:cubicBezTo>
                        <a:cubicBezTo>
                          <a:pt x="20425" y="29461"/>
                          <a:pt x="20425" y="29461"/>
                          <a:pt x="19574" y="29461"/>
                        </a:cubicBezTo>
                        <a:cubicBezTo>
                          <a:pt x="19574" y="30179"/>
                          <a:pt x="20425" y="30179"/>
                          <a:pt x="19574" y="30898"/>
                        </a:cubicBezTo>
                        <a:cubicBezTo>
                          <a:pt x="18723" y="30898"/>
                          <a:pt x="17021" y="30898"/>
                          <a:pt x="17021" y="30898"/>
                        </a:cubicBezTo>
                        <a:cubicBezTo>
                          <a:pt x="16170" y="31616"/>
                          <a:pt x="16170" y="31616"/>
                          <a:pt x="16170" y="31616"/>
                        </a:cubicBezTo>
                        <a:cubicBezTo>
                          <a:pt x="15319" y="33053"/>
                          <a:pt x="15319" y="33053"/>
                          <a:pt x="15319" y="33053"/>
                        </a:cubicBezTo>
                        <a:cubicBezTo>
                          <a:pt x="14468" y="33053"/>
                          <a:pt x="14468" y="33053"/>
                          <a:pt x="14468" y="33053"/>
                        </a:cubicBezTo>
                        <a:cubicBezTo>
                          <a:pt x="13617" y="35209"/>
                          <a:pt x="13617" y="35209"/>
                          <a:pt x="13617" y="35209"/>
                        </a:cubicBezTo>
                        <a:cubicBezTo>
                          <a:pt x="13617" y="35928"/>
                          <a:pt x="13617" y="35928"/>
                          <a:pt x="13617" y="35928"/>
                        </a:cubicBezTo>
                        <a:cubicBezTo>
                          <a:pt x="11914" y="37365"/>
                          <a:pt x="11914" y="37365"/>
                          <a:pt x="11914" y="37365"/>
                        </a:cubicBezTo>
                        <a:cubicBezTo>
                          <a:pt x="11063" y="38083"/>
                          <a:pt x="11063" y="38083"/>
                          <a:pt x="11063" y="38083"/>
                        </a:cubicBezTo>
                        <a:cubicBezTo>
                          <a:pt x="11063" y="38083"/>
                          <a:pt x="11063" y="38083"/>
                          <a:pt x="11914" y="38802"/>
                        </a:cubicBezTo>
                        <a:cubicBezTo>
                          <a:pt x="11914" y="38802"/>
                          <a:pt x="11914" y="39520"/>
                          <a:pt x="11914" y="39520"/>
                        </a:cubicBezTo>
                        <a:cubicBezTo>
                          <a:pt x="11063" y="40239"/>
                          <a:pt x="11063" y="40239"/>
                          <a:pt x="11063" y="40239"/>
                        </a:cubicBezTo>
                        <a:cubicBezTo>
                          <a:pt x="11914" y="41676"/>
                          <a:pt x="11914" y="41676"/>
                          <a:pt x="11914" y="41676"/>
                        </a:cubicBezTo>
                        <a:cubicBezTo>
                          <a:pt x="13617" y="40958"/>
                          <a:pt x="13617" y="40958"/>
                          <a:pt x="13617" y="40958"/>
                        </a:cubicBezTo>
                        <a:cubicBezTo>
                          <a:pt x="14468" y="42395"/>
                          <a:pt x="14468" y="42395"/>
                          <a:pt x="14468" y="42395"/>
                        </a:cubicBezTo>
                        <a:cubicBezTo>
                          <a:pt x="13617" y="43832"/>
                          <a:pt x="13617" y="43832"/>
                          <a:pt x="13617" y="43832"/>
                        </a:cubicBezTo>
                        <a:cubicBezTo>
                          <a:pt x="13617" y="43832"/>
                          <a:pt x="12765" y="44550"/>
                          <a:pt x="11914" y="44550"/>
                        </a:cubicBezTo>
                        <a:cubicBezTo>
                          <a:pt x="11914" y="44550"/>
                          <a:pt x="11063" y="43832"/>
                          <a:pt x="11063" y="43832"/>
                        </a:cubicBezTo>
                        <a:cubicBezTo>
                          <a:pt x="10212" y="42395"/>
                          <a:pt x="10212" y="42395"/>
                          <a:pt x="10212" y="42395"/>
                        </a:cubicBezTo>
                        <a:cubicBezTo>
                          <a:pt x="10212" y="41676"/>
                          <a:pt x="10212" y="41676"/>
                          <a:pt x="10212" y="41676"/>
                        </a:cubicBezTo>
                        <a:cubicBezTo>
                          <a:pt x="10212" y="40958"/>
                          <a:pt x="10212" y="40958"/>
                          <a:pt x="10212" y="40958"/>
                        </a:cubicBezTo>
                        <a:cubicBezTo>
                          <a:pt x="7659" y="41676"/>
                          <a:pt x="7659" y="41676"/>
                          <a:pt x="7659" y="41676"/>
                        </a:cubicBezTo>
                        <a:cubicBezTo>
                          <a:pt x="7659" y="40958"/>
                          <a:pt x="7659" y="40958"/>
                          <a:pt x="7659" y="40958"/>
                        </a:cubicBezTo>
                        <a:cubicBezTo>
                          <a:pt x="7659" y="40958"/>
                          <a:pt x="6808" y="40239"/>
                          <a:pt x="6808" y="40239"/>
                        </a:cubicBezTo>
                        <a:cubicBezTo>
                          <a:pt x="6808" y="39520"/>
                          <a:pt x="5957" y="38802"/>
                          <a:pt x="5957" y="38802"/>
                        </a:cubicBezTo>
                        <a:cubicBezTo>
                          <a:pt x="4255" y="36646"/>
                          <a:pt x="4255" y="36646"/>
                          <a:pt x="4255" y="36646"/>
                        </a:cubicBezTo>
                        <a:cubicBezTo>
                          <a:pt x="4255" y="36646"/>
                          <a:pt x="4255" y="36646"/>
                          <a:pt x="5106" y="36646"/>
                        </a:cubicBezTo>
                        <a:cubicBezTo>
                          <a:pt x="5106" y="35928"/>
                          <a:pt x="5106" y="35928"/>
                          <a:pt x="5957" y="35209"/>
                        </a:cubicBezTo>
                        <a:cubicBezTo>
                          <a:pt x="5957" y="34491"/>
                          <a:pt x="7659" y="33053"/>
                          <a:pt x="7659" y="33053"/>
                        </a:cubicBezTo>
                        <a:cubicBezTo>
                          <a:pt x="8510" y="30898"/>
                          <a:pt x="8510" y="30898"/>
                          <a:pt x="8510" y="30898"/>
                        </a:cubicBezTo>
                        <a:cubicBezTo>
                          <a:pt x="10212" y="29461"/>
                          <a:pt x="10212" y="29461"/>
                          <a:pt x="10212" y="29461"/>
                        </a:cubicBezTo>
                        <a:cubicBezTo>
                          <a:pt x="11063" y="28023"/>
                          <a:pt x="11063" y="28023"/>
                          <a:pt x="11063" y="28023"/>
                        </a:cubicBezTo>
                        <a:cubicBezTo>
                          <a:pt x="12765" y="25868"/>
                          <a:pt x="12765" y="25868"/>
                          <a:pt x="12765" y="25868"/>
                        </a:cubicBezTo>
                        <a:cubicBezTo>
                          <a:pt x="14468" y="24431"/>
                          <a:pt x="14468" y="24431"/>
                          <a:pt x="14468" y="24431"/>
                        </a:cubicBezTo>
                        <a:cubicBezTo>
                          <a:pt x="17021" y="24431"/>
                          <a:pt x="17021" y="24431"/>
                          <a:pt x="17021" y="24431"/>
                        </a:cubicBezTo>
                        <a:cubicBezTo>
                          <a:pt x="17021" y="24431"/>
                          <a:pt x="18723" y="25149"/>
                          <a:pt x="18723" y="25149"/>
                        </a:cubicBezTo>
                        <a:cubicBezTo>
                          <a:pt x="19574" y="24431"/>
                          <a:pt x="20425" y="23712"/>
                          <a:pt x="20425" y="23712"/>
                        </a:cubicBezTo>
                        <a:cubicBezTo>
                          <a:pt x="23829" y="22994"/>
                          <a:pt x="23829" y="22994"/>
                          <a:pt x="23829" y="22994"/>
                        </a:cubicBezTo>
                        <a:cubicBezTo>
                          <a:pt x="24680" y="22994"/>
                          <a:pt x="24680" y="22994"/>
                          <a:pt x="24680" y="22994"/>
                        </a:cubicBezTo>
                        <a:cubicBezTo>
                          <a:pt x="27234" y="23712"/>
                          <a:pt x="27234" y="23712"/>
                          <a:pt x="27234" y="23712"/>
                        </a:cubicBezTo>
                        <a:cubicBezTo>
                          <a:pt x="28936" y="23712"/>
                          <a:pt x="28936" y="23712"/>
                          <a:pt x="28936" y="23712"/>
                        </a:cubicBezTo>
                        <a:cubicBezTo>
                          <a:pt x="32340" y="23712"/>
                          <a:pt x="32340" y="23712"/>
                          <a:pt x="32340" y="23712"/>
                        </a:cubicBezTo>
                        <a:close/>
                        <a:moveTo>
                          <a:pt x="13617" y="99880"/>
                        </a:moveTo>
                        <a:cubicBezTo>
                          <a:pt x="13617" y="99880"/>
                          <a:pt x="13617" y="99880"/>
                          <a:pt x="13617" y="99880"/>
                        </a:cubicBezTo>
                        <a:cubicBezTo>
                          <a:pt x="13617" y="99880"/>
                          <a:pt x="11914" y="99161"/>
                          <a:pt x="11914" y="99161"/>
                        </a:cubicBezTo>
                        <a:cubicBezTo>
                          <a:pt x="11914" y="99880"/>
                          <a:pt x="11063" y="100598"/>
                          <a:pt x="11063" y="100598"/>
                        </a:cubicBezTo>
                        <a:cubicBezTo>
                          <a:pt x="10212" y="102754"/>
                          <a:pt x="10212" y="102754"/>
                          <a:pt x="10212" y="102754"/>
                        </a:cubicBezTo>
                        <a:cubicBezTo>
                          <a:pt x="9361" y="103473"/>
                          <a:pt x="9361" y="103473"/>
                          <a:pt x="9361" y="103473"/>
                        </a:cubicBezTo>
                        <a:cubicBezTo>
                          <a:pt x="9361" y="104910"/>
                          <a:pt x="9361" y="104910"/>
                          <a:pt x="9361" y="104910"/>
                        </a:cubicBezTo>
                        <a:cubicBezTo>
                          <a:pt x="6808" y="105628"/>
                          <a:pt x="6808" y="105628"/>
                          <a:pt x="6808" y="105628"/>
                        </a:cubicBezTo>
                        <a:cubicBezTo>
                          <a:pt x="6808" y="105628"/>
                          <a:pt x="6808" y="106347"/>
                          <a:pt x="7659" y="106347"/>
                        </a:cubicBezTo>
                        <a:cubicBezTo>
                          <a:pt x="8510" y="106347"/>
                          <a:pt x="9361" y="106347"/>
                          <a:pt x="9361" y="106347"/>
                        </a:cubicBezTo>
                        <a:cubicBezTo>
                          <a:pt x="9361" y="105628"/>
                          <a:pt x="10212" y="104910"/>
                          <a:pt x="10212" y="104910"/>
                        </a:cubicBezTo>
                        <a:cubicBezTo>
                          <a:pt x="10212" y="104910"/>
                          <a:pt x="11063" y="104191"/>
                          <a:pt x="11063" y="104191"/>
                        </a:cubicBezTo>
                        <a:cubicBezTo>
                          <a:pt x="11914" y="104191"/>
                          <a:pt x="13617" y="104191"/>
                          <a:pt x="13617" y="103473"/>
                        </a:cubicBezTo>
                        <a:cubicBezTo>
                          <a:pt x="13617" y="102754"/>
                          <a:pt x="13617" y="102035"/>
                          <a:pt x="13617" y="102035"/>
                        </a:cubicBezTo>
                        <a:cubicBezTo>
                          <a:pt x="13617" y="101317"/>
                          <a:pt x="13617" y="101317"/>
                          <a:pt x="13617" y="101317"/>
                        </a:cubicBezTo>
                        <a:cubicBezTo>
                          <a:pt x="13617" y="99880"/>
                          <a:pt x="13617" y="99880"/>
                          <a:pt x="13617" y="99880"/>
                        </a:cubicBezTo>
                        <a:close/>
                        <a:moveTo>
                          <a:pt x="57872" y="80479"/>
                        </a:moveTo>
                        <a:cubicBezTo>
                          <a:pt x="57872" y="80479"/>
                          <a:pt x="57872" y="80479"/>
                          <a:pt x="57872" y="80479"/>
                        </a:cubicBezTo>
                        <a:cubicBezTo>
                          <a:pt x="57872" y="80479"/>
                          <a:pt x="57872" y="80479"/>
                          <a:pt x="57872" y="80479"/>
                        </a:cubicBezTo>
                        <a:cubicBezTo>
                          <a:pt x="57872" y="80479"/>
                          <a:pt x="58723" y="79760"/>
                          <a:pt x="58723" y="79760"/>
                        </a:cubicBezTo>
                        <a:cubicBezTo>
                          <a:pt x="58723" y="79041"/>
                          <a:pt x="57872" y="78323"/>
                          <a:pt x="57872" y="78323"/>
                        </a:cubicBezTo>
                        <a:cubicBezTo>
                          <a:pt x="57872" y="77604"/>
                          <a:pt x="58723" y="77604"/>
                          <a:pt x="58723" y="77604"/>
                        </a:cubicBezTo>
                        <a:cubicBezTo>
                          <a:pt x="58723" y="77604"/>
                          <a:pt x="58723" y="76886"/>
                          <a:pt x="58723" y="76886"/>
                        </a:cubicBezTo>
                        <a:cubicBezTo>
                          <a:pt x="58723" y="76886"/>
                          <a:pt x="57872" y="76886"/>
                          <a:pt x="57872" y="76886"/>
                        </a:cubicBezTo>
                        <a:cubicBezTo>
                          <a:pt x="57021" y="76886"/>
                          <a:pt x="57021" y="77604"/>
                          <a:pt x="57021" y="77604"/>
                        </a:cubicBezTo>
                        <a:cubicBezTo>
                          <a:pt x="57021" y="77604"/>
                          <a:pt x="57021" y="78323"/>
                          <a:pt x="57021" y="78323"/>
                        </a:cubicBezTo>
                        <a:cubicBezTo>
                          <a:pt x="57021" y="78323"/>
                          <a:pt x="57021" y="79041"/>
                          <a:pt x="57021" y="79041"/>
                        </a:cubicBezTo>
                        <a:cubicBezTo>
                          <a:pt x="57021" y="79041"/>
                          <a:pt x="57872" y="80479"/>
                          <a:pt x="57872" y="80479"/>
                        </a:cubicBezTo>
                        <a:close/>
                        <a:moveTo>
                          <a:pt x="80851" y="99880"/>
                        </a:moveTo>
                        <a:cubicBezTo>
                          <a:pt x="80851" y="99880"/>
                          <a:pt x="80851" y="99880"/>
                          <a:pt x="80851" y="99880"/>
                        </a:cubicBezTo>
                        <a:cubicBezTo>
                          <a:pt x="81702" y="99161"/>
                          <a:pt x="81702" y="99161"/>
                          <a:pt x="81702" y="99161"/>
                        </a:cubicBezTo>
                        <a:cubicBezTo>
                          <a:pt x="82553" y="99880"/>
                          <a:pt x="82553" y="99880"/>
                          <a:pt x="82553" y="99880"/>
                        </a:cubicBezTo>
                        <a:cubicBezTo>
                          <a:pt x="82553" y="99880"/>
                          <a:pt x="81702" y="100598"/>
                          <a:pt x="81702" y="100598"/>
                        </a:cubicBezTo>
                        <a:cubicBezTo>
                          <a:pt x="81702" y="100598"/>
                          <a:pt x="80851" y="99880"/>
                          <a:pt x="80851" y="99880"/>
                        </a:cubicBezTo>
                        <a:cubicBezTo>
                          <a:pt x="80851" y="99880"/>
                          <a:pt x="80851" y="99880"/>
                          <a:pt x="80851" y="99880"/>
                        </a:cubicBezTo>
                        <a:close/>
                        <a:moveTo>
                          <a:pt x="90212" y="109221"/>
                        </a:moveTo>
                        <a:cubicBezTo>
                          <a:pt x="90212" y="109221"/>
                          <a:pt x="90212" y="109221"/>
                          <a:pt x="90212" y="109221"/>
                        </a:cubicBezTo>
                        <a:cubicBezTo>
                          <a:pt x="91063" y="109221"/>
                          <a:pt x="91063" y="109221"/>
                          <a:pt x="91063" y="109221"/>
                        </a:cubicBezTo>
                        <a:cubicBezTo>
                          <a:pt x="91063" y="109940"/>
                          <a:pt x="91063" y="109940"/>
                          <a:pt x="91063" y="109940"/>
                        </a:cubicBezTo>
                        <a:cubicBezTo>
                          <a:pt x="90212" y="110658"/>
                          <a:pt x="90212" y="110658"/>
                          <a:pt x="90212" y="110658"/>
                        </a:cubicBezTo>
                        <a:cubicBezTo>
                          <a:pt x="90212" y="109940"/>
                          <a:pt x="90212" y="109940"/>
                          <a:pt x="90212" y="109940"/>
                        </a:cubicBezTo>
                        <a:cubicBezTo>
                          <a:pt x="90212" y="109221"/>
                          <a:pt x="90212" y="109221"/>
                          <a:pt x="90212" y="109221"/>
                        </a:cubicBezTo>
                        <a:close/>
                        <a:moveTo>
                          <a:pt x="87659" y="107784"/>
                        </a:moveTo>
                        <a:cubicBezTo>
                          <a:pt x="87659" y="107784"/>
                          <a:pt x="87659" y="107784"/>
                          <a:pt x="87659" y="107784"/>
                        </a:cubicBezTo>
                        <a:cubicBezTo>
                          <a:pt x="86808" y="107065"/>
                          <a:pt x="86808" y="107065"/>
                          <a:pt x="86808" y="107065"/>
                        </a:cubicBezTo>
                        <a:cubicBezTo>
                          <a:pt x="88510" y="107065"/>
                          <a:pt x="88510" y="107065"/>
                          <a:pt x="88510" y="107065"/>
                        </a:cubicBezTo>
                        <a:cubicBezTo>
                          <a:pt x="88510" y="107065"/>
                          <a:pt x="88510" y="107065"/>
                          <a:pt x="89361" y="107065"/>
                        </a:cubicBezTo>
                        <a:cubicBezTo>
                          <a:pt x="89361" y="107065"/>
                          <a:pt x="90212" y="107784"/>
                          <a:pt x="90212" y="107784"/>
                        </a:cubicBezTo>
                        <a:cubicBezTo>
                          <a:pt x="90212" y="107784"/>
                          <a:pt x="90212" y="107784"/>
                          <a:pt x="90212" y="107784"/>
                        </a:cubicBezTo>
                        <a:cubicBezTo>
                          <a:pt x="89361" y="107784"/>
                          <a:pt x="89361" y="108502"/>
                          <a:pt x="89361" y="108502"/>
                        </a:cubicBezTo>
                        <a:cubicBezTo>
                          <a:pt x="88510" y="108502"/>
                          <a:pt x="87659" y="107784"/>
                          <a:pt x="87659" y="107784"/>
                        </a:cubicBezTo>
                        <a:close/>
                        <a:moveTo>
                          <a:pt x="91914" y="107784"/>
                        </a:moveTo>
                        <a:cubicBezTo>
                          <a:pt x="91914" y="107784"/>
                          <a:pt x="91914" y="107784"/>
                          <a:pt x="91914" y="107784"/>
                        </a:cubicBezTo>
                        <a:cubicBezTo>
                          <a:pt x="91063" y="106347"/>
                          <a:pt x="91063" y="106347"/>
                          <a:pt x="91063" y="106347"/>
                        </a:cubicBezTo>
                        <a:cubicBezTo>
                          <a:pt x="91914" y="105628"/>
                          <a:pt x="91914" y="105628"/>
                          <a:pt x="91914" y="105628"/>
                        </a:cubicBezTo>
                        <a:cubicBezTo>
                          <a:pt x="91914" y="105628"/>
                          <a:pt x="92765" y="106347"/>
                          <a:pt x="92765" y="106347"/>
                        </a:cubicBezTo>
                        <a:cubicBezTo>
                          <a:pt x="92765" y="106347"/>
                          <a:pt x="91914" y="107065"/>
                          <a:pt x="91914" y="107065"/>
                        </a:cubicBezTo>
                        <a:cubicBezTo>
                          <a:pt x="91914" y="107784"/>
                          <a:pt x="91914" y="107784"/>
                          <a:pt x="91914" y="107784"/>
                        </a:cubicBezTo>
                        <a:close/>
                        <a:moveTo>
                          <a:pt x="109787" y="103473"/>
                        </a:moveTo>
                        <a:cubicBezTo>
                          <a:pt x="109787" y="103473"/>
                          <a:pt x="109787" y="103473"/>
                          <a:pt x="109787" y="103473"/>
                        </a:cubicBezTo>
                        <a:cubicBezTo>
                          <a:pt x="108936" y="102754"/>
                          <a:pt x="108936" y="102754"/>
                          <a:pt x="108936" y="102754"/>
                        </a:cubicBezTo>
                        <a:cubicBezTo>
                          <a:pt x="108936" y="102754"/>
                          <a:pt x="109787" y="102035"/>
                          <a:pt x="109787" y="102035"/>
                        </a:cubicBezTo>
                        <a:cubicBezTo>
                          <a:pt x="110638" y="102035"/>
                          <a:pt x="111489" y="102035"/>
                          <a:pt x="111489" y="102035"/>
                        </a:cubicBezTo>
                        <a:cubicBezTo>
                          <a:pt x="109787" y="103473"/>
                          <a:pt x="109787" y="103473"/>
                          <a:pt x="109787" y="103473"/>
                        </a:cubicBezTo>
                        <a:close/>
                        <a:moveTo>
                          <a:pt x="108085" y="104191"/>
                        </a:moveTo>
                        <a:cubicBezTo>
                          <a:pt x="108085" y="104191"/>
                          <a:pt x="108085" y="104191"/>
                          <a:pt x="108085" y="104191"/>
                        </a:cubicBezTo>
                        <a:cubicBezTo>
                          <a:pt x="108085" y="102035"/>
                          <a:pt x="108085" y="102035"/>
                          <a:pt x="108085" y="102035"/>
                        </a:cubicBezTo>
                        <a:cubicBezTo>
                          <a:pt x="108936" y="101317"/>
                          <a:pt x="108936" y="101317"/>
                          <a:pt x="108936" y="101317"/>
                        </a:cubicBezTo>
                        <a:cubicBezTo>
                          <a:pt x="108085" y="100598"/>
                          <a:pt x="108085" y="100598"/>
                          <a:pt x="108085" y="100598"/>
                        </a:cubicBezTo>
                        <a:cubicBezTo>
                          <a:pt x="107234" y="100598"/>
                          <a:pt x="107234" y="100598"/>
                          <a:pt x="107234" y="100598"/>
                        </a:cubicBezTo>
                        <a:cubicBezTo>
                          <a:pt x="107234" y="100598"/>
                          <a:pt x="106382" y="99161"/>
                          <a:pt x="106382" y="99161"/>
                        </a:cubicBezTo>
                        <a:cubicBezTo>
                          <a:pt x="106382" y="99161"/>
                          <a:pt x="105531" y="99161"/>
                          <a:pt x="105531" y="99161"/>
                        </a:cubicBezTo>
                        <a:cubicBezTo>
                          <a:pt x="105531" y="99161"/>
                          <a:pt x="104680" y="99161"/>
                          <a:pt x="104680" y="99161"/>
                        </a:cubicBezTo>
                        <a:cubicBezTo>
                          <a:pt x="104680" y="99161"/>
                          <a:pt x="105531" y="98443"/>
                          <a:pt x="105531" y="98443"/>
                        </a:cubicBezTo>
                        <a:cubicBezTo>
                          <a:pt x="105531" y="98443"/>
                          <a:pt x="105531" y="98443"/>
                          <a:pt x="106382" y="98443"/>
                        </a:cubicBezTo>
                        <a:cubicBezTo>
                          <a:pt x="107234" y="97724"/>
                          <a:pt x="107234" y="97724"/>
                          <a:pt x="107234" y="97724"/>
                        </a:cubicBezTo>
                        <a:cubicBezTo>
                          <a:pt x="107234" y="97724"/>
                          <a:pt x="108936" y="95568"/>
                          <a:pt x="110638" y="95568"/>
                        </a:cubicBezTo>
                        <a:cubicBezTo>
                          <a:pt x="111489" y="95568"/>
                          <a:pt x="113191" y="95568"/>
                          <a:pt x="113191" y="95568"/>
                        </a:cubicBezTo>
                        <a:cubicBezTo>
                          <a:pt x="114893" y="94131"/>
                          <a:pt x="114893" y="94131"/>
                          <a:pt x="114893" y="94131"/>
                        </a:cubicBezTo>
                        <a:cubicBezTo>
                          <a:pt x="114893" y="94131"/>
                          <a:pt x="114893" y="93413"/>
                          <a:pt x="114893" y="93413"/>
                        </a:cubicBezTo>
                        <a:cubicBezTo>
                          <a:pt x="115744" y="93413"/>
                          <a:pt x="114893" y="91976"/>
                          <a:pt x="114893" y="91976"/>
                        </a:cubicBezTo>
                        <a:cubicBezTo>
                          <a:pt x="114893" y="90538"/>
                          <a:pt x="114893" y="90538"/>
                          <a:pt x="114893" y="90538"/>
                        </a:cubicBezTo>
                        <a:cubicBezTo>
                          <a:pt x="114893" y="90538"/>
                          <a:pt x="112340" y="89101"/>
                          <a:pt x="112340" y="89101"/>
                        </a:cubicBezTo>
                        <a:cubicBezTo>
                          <a:pt x="112340" y="89101"/>
                          <a:pt x="108936" y="87664"/>
                          <a:pt x="108936" y="87664"/>
                        </a:cubicBezTo>
                        <a:cubicBezTo>
                          <a:pt x="108936" y="87664"/>
                          <a:pt x="108936" y="86227"/>
                          <a:pt x="108085" y="86227"/>
                        </a:cubicBezTo>
                        <a:cubicBezTo>
                          <a:pt x="108085" y="86227"/>
                          <a:pt x="108936" y="84790"/>
                          <a:pt x="108936" y="84790"/>
                        </a:cubicBezTo>
                        <a:cubicBezTo>
                          <a:pt x="108936" y="84790"/>
                          <a:pt x="110638" y="82634"/>
                          <a:pt x="112340" y="81916"/>
                        </a:cubicBezTo>
                        <a:cubicBezTo>
                          <a:pt x="113191" y="81197"/>
                          <a:pt x="114042" y="81197"/>
                          <a:pt x="114042" y="81197"/>
                        </a:cubicBezTo>
                        <a:cubicBezTo>
                          <a:pt x="114893" y="81197"/>
                          <a:pt x="115744" y="81916"/>
                          <a:pt x="116595" y="82634"/>
                        </a:cubicBezTo>
                        <a:cubicBezTo>
                          <a:pt x="116595" y="82634"/>
                          <a:pt x="117446" y="82634"/>
                          <a:pt x="118297" y="82634"/>
                        </a:cubicBezTo>
                        <a:cubicBezTo>
                          <a:pt x="119148" y="82634"/>
                          <a:pt x="120000" y="82634"/>
                          <a:pt x="120000" y="82634"/>
                        </a:cubicBezTo>
                        <a:cubicBezTo>
                          <a:pt x="120000" y="82634"/>
                          <a:pt x="120000" y="81197"/>
                          <a:pt x="120000" y="80479"/>
                        </a:cubicBezTo>
                        <a:cubicBezTo>
                          <a:pt x="120000" y="79760"/>
                          <a:pt x="120000" y="80479"/>
                          <a:pt x="119148" y="79760"/>
                        </a:cubicBezTo>
                        <a:cubicBezTo>
                          <a:pt x="119148" y="79760"/>
                          <a:pt x="118297" y="79041"/>
                          <a:pt x="118297" y="79041"/>
                        </a:cubicBezTo>
                        <a:cubicBezTo>
                          <a:pt x="118297" y="79041"/>
                          <a:pt x="118297" y="78323"/>
                          <a:pt x="118297" y="78323"/>
                        </a:cubicBezTo>
                        <a:cubicBezTo>
                          <a:pt x="118297" y="78323"/>
                          <a:pt x="118297" y="77604"/>
                          <a:pt x="118297" y="76886"/>
                        </a:cubicBezTo>
                        <a:cubicBezTo>
                          <a:pt x="118297" y="76886"/>
                          <a:pt x="118297" y="74730"/>
                          <a:pt x="118297" y="74730"/>
                        </a:cubicBezTo>
                        <a:cubicBezTo>
                          <a:pt x="118297" y="74011"/>
                          <a:pt x="117446" y="72574"/>
                          <a:pt x="117446" y="72574"/>
                        </a:cubicBezTo>
                        <a:cubicBezTo>
                          <a:pt x="117446" y="71856"/>
                          <a:pt x="116595" y="71137"/>
                          <a:pt x="116595" y="71137"/>
                        </a:cubicBezTo>
                        <a:cubicBezTo>
                          <a:pt x="115744" y="69700"/>
                          <a:pt x="115744" y="69700"/>
                          <a:pt x="115744" y="69700"/>
                        </a:cubicBezTo>
                        <a:cubicBezTo>
                          <a:pt x="115744" y="69700"/>
                          <a:pt x="115744" y="69700"/>
                          <a:pt x="115744" y="68982"/>
                        </a:cubicBezTo>
                        <a:cubicBezTo>
                          <a:pt x="115744" y="67544"/>
                          <a:pt x="116595" y="66107"/>
                          <a:pt x="116595" y="66107"/>
                        </a:cubicBezTo>
                        <a:cubicBezTo>
                          <a:pt x="117446" y="65389"/>
                          <a:pt x="117446" y="63952"/>
                          <a:pt x="117446" y="63952"/>
                        </a:cubicBezTo>
                        <a:cubicBezTo>
                          <a:pt x="116595" y="63233"/>
                          <a:pt x="116595" y="63233"/>
                          <a:pt x="116595" y="63233"/>
                        </a:cubicBezTo>
                        <a:cubicBezTo>
                          <a:pt x="116595" y="63233"/>
                          <a:pt x="113191" y="62514"/>
                          <a:pt x="113191" y="62514"/>
                        </a:cubicBezTo>
                        <a:cubicBezTo>
                          <a:pt x="113191" y="62514"/>
                          <a:pt x="112340" y="61796"/>
                          <a:pt x="112340" y="61796"/>
                        </a:cubicBezTo>
                        <a:cubicBezTo>
                          <a:pt x="112340" y="61077"/>
                          <a:pt x="111489" y="61077"/>
                          <a:pt x="111489" y="61077"/>
                        </a:cubicBezTo>
                        <a:cubicBezTo>
                          <a:pt x="111489" y="61077"/>
                          <a:pt x="108085" y="61796"/>
                          <a:pt x="108085" y="61796"/>
                        </a:cubicBezTo>
                        <a:cubicBezTo>
                          <a:pt x="108085" y="61796"/>
                          <a:pt x="106382" y="62514"/>
                          <a:pt x="105531" y="63233"/>
                        </a:cubicBezTo>
                        <a:cubicBezTo>
                          <a:pt x="103829" y="63233"/>
                          <a:pt x="103829" y="63233"/>
                          <a:pt x="102978" y="63952"/>
                        </a:cubicBezTo>
                        <a:cubicBezTo>
                          <a:pt x="101276" y="64670"/>
                          <a:pt x="101276" y="65389"/>
                          <a:pt x="100425" y="66107"/>
                        </a:cubicBezTo>
                        <a:cubicBezTo>
                          <a:pt x="99574" y="66107"/>
                          <a:pt x="98723" y="67544"/>
                          <a:pt x="98723" y="67544"/>
                        </a:cubicBezTo>
                        <a:cubicBezTo>
                          <a:pt x="97872" y="68263"/>
                          <a:pt x="97872" y="68263"/>
                          <a:pt x="98723" y="68982"/>
                        </a:cubicBezTo>
                        <a:cubicBezTo>
                          <a:pt x="98723" y="69700"/>
                          <a:pt x="99574" y="68982"/>
                          <a:pt x="99574" y="68982"/>
                        </a:cubicBezTo>
                        <a:cubicBezTo>
                          <a:pt x="99574" y="68982"/>
                          <a:pt x="100425" y="68982"/>
                          <a:pt x="101276" y="68982"/>
                        </a:cubicBezTo>
                        <a:cubicBezTo>
                          <a:pt x="102127" y="68982"/>
                          <a:pt x="102127" y="69700"/>
                          <a:pt x="101276" y="69700"/>
                        </a:cubicBezTo>
                        <a:cubicBezTo>
                          <a:pt x="101276" y="69700"/>
                          <a:pt x="101276" y="70419"/>
                          <a:pt x="101276" y="70419"/>
                        </a:cubicBezTo>
                        <a:cubicBezTo>
                          <a:pt x="101276" y="70419"/>
                          <a:pt x="101276" y="70419"/>
                          <a:pt x="100425" y="71137"/>
                        </a:cubicBezTo>
                        <a:cubicBezTo>
                          <a:pt x="100425" y="71137"/>
                          <a:pt x="100425" y="71856"/>
                          <a:pt x="100425" y="72574"/>
                        </a:cubicBezTo>
                        <a:cubicBezTo>
                          <a:pt x="100425" y="73293"/>
                          <a:pt x="99574" y="73293"/>
                          <a:pt x="99574" y="73293"/>
                        </a:cubicBezTo>
                        <a:cubicBezTo>
                          <a:pt x="98723" y="74011"/>
                          <a:pt x="98723" y="74011"/>
                          <a:pt x="97872" y="74730"/>
                        </a:cubicBezTo>
                        <a:cubicBezTo>
                          <a:pt x="97021" y="74730"/>
                          <a:pt x="97021" y="75449"/>
                          <a:pt x="97021" y="75449"/>
                        </a:cubicBezTo>
                        <a:cubicBezTo>
                          <a:pt x="97021" y="76167"/>
                          <a:pt x="97021" y="76167"/>
                          <a:pt x="97872" y="76886"/>
                        </a:cubicBezTo>
                        <a:cubicBezTo>
                          <a:pt x="97872" y="77604"/>
                          <a:pt x="97872" y="77604"/>
                          <a:pt x="97872" y="77604"/>
                        </a:cubicBezTo>
                        <a:cubicBezTo>
                          <a:pt x="97872" y="78323"/>
                          <a:pt x="97021" y="79041"/>
                          <a:pt x="97021" y="78323"/>
                        </a:cubicBezTo>
                        <a:cubicBezTo>
                          <a:pt x="97021" y="78323"/>
                          <a:pt x="97021" y="77604"/>
                          <a:pt x="97021" y="77604"/>
                        </a:cubicBezTo>
                        <a:cubicBezTo>
                          <a:pt x="94468" y="77604"/>
                          <a:pt x="94468" y="77604"/>
                          <a:pt x="94468" y="77604"/>
                        </a:cubicBezTo>
                        <a:cubicBezTo>
                          <a:pt x="94468" y="77604"/>
                          <a:pt x="94468" y="77604"/>
                          <a:pt x="93617" y="77604"/>
                        </a:cubicBezTo>
                        <a:cubicBezTo>
                          <a:pt x="93617" y="77604"/>
                          <a:pt x="95319" y="76167"/>
                          <a:pt x="95319" y="76167"/>
                        </a:cubicBezTo>
                        <a:cubicBezTo>
                          <a:pt x="96170" y="75449"/>
                          <a:pt x="96170" y="75449"/>
                          <a:pt x="96170" y="75449"/>
                        </a:cubicBezTo>
                        <a:cubicBezTo>
                          <a:pt x="96170" y="74730"/>
                          <a:pt x="96170" y="74730"/>
                          <a:pt x="96170" y="74730"/>
                        </a:cubicBezTo>
                        <a:cubicBezTo>
                          <a:pt x="93617" y="74730"/>
                          <a:pt x="93617" y="74730"/>
                          <a:pt x="93617" y="74730"/>
                        </a:cubicBezTo>
                        <a:cubicBezTo>
                          <a:pt x="92765" y="74730"/>
                          <a:pt x="92765" y="74730"/>
                          <a:pt x="92765" y="74730"/>
                        </a:cubicBezTo>
                        <a:cubicBezTo>
                          <a:pt x="93617" y="74011"/>
                          <a:pt x="93617" y="74011"/>
                          <a:pt x="93617" y="74011"/>
                        </a:cubicBezTo>
                        <a:cubicBezTo>
                          <a:pt x="93617" y="72574"/>
                          <a:pt x="93617" y="72574"/>
                          <a:pt x="93617" y="72574"/>
                        </a:cubicBezTo>
                        <a:cubicBezTo>
                          <a:pt x="94468" y="71137"/>
                          <a:pt x="94468" y="71137"/>
                          <a:pt x="94468" y="71137"/>
                        </a:cubicBezTo>
                        <a:cubicBezTo>
                          <a:pt x="94468" y="71137"/>
                          <a:pt x="94468" y="69700"/>
                          <a:pt x="95319" y="69700"/>
                        </a:cubicBezTo>
                        <a:cubicBezTo>
                          <a:pt x="95319" y="69700"/>
                          <a:pt x="96170" y="68982"/>
                          <a:pt x="96170" y="68263"/>
                        </a:cubicBezTo>
                        <a:cubicBezTo>
                          <a:pt x="97021" y="68263"/>
                          <a:pt x="96170" y="67544"/>
                          <a:pt x="96170" y="67544"/>
                        </a:cubicBezTo>
                        <a:cubicBezTo>
                          <a:pt x="94468" y="67544"/>
                          <a:pt x="94468" y="67544"/>
                          <a:pt x="94468" y="67544"/>
                        </a:cubicBezTo>
                        <a:cubicBezTo>
                          <a:pt x="92765" y="68263"/>
                          <a:pt x="92765" y="68263"/>
                          <a:pt x="92765" y="68263"/>
                        </a:cubicBezTo>
                        <a:cubicBezTo>
                          <a:pt x="92765" y="68263"/>
                          <a:pt x="90212" y="68982"/>
                          <a:pt x="89361" y="68982"/>
                        </a:cubicBezTo>
                        <a:cubicBezTo>
                          <a:pt x="88510" y="68982"/>
                          <a:pt x="89361" y="68982"/>
                          <a:pt x="88510" y="68982"/>
                        </a:cubicBezTo>
                        <a:cubicBezTo>
                          <a:pt x="88510" y="68263"/>
                          <a:pt x="87659" y="68263"/>
                          <a:pt x="87659" y="68263"/>
                        </a:cubicBezTo>
                        <a:cubicBezTo>
                          <a:pt x="87659" y="68263"/>
                          <a:pt x="85957" y="68263"/>
                          <a:pt x="85957" y="68263"/>
                        </a:cubicBezTo>
                        <a:cubicBezTo>
                          <a:pt x="85106" y="68263"/>
                          <a:pt x="85106" y="68982"/>
                          <a:pt x="85106" y="68982"/>
                        </a:cubicBezTo>
                        <a:cubicBezTo>
                          <a:pt x="85106" y="68982"/>
                          <a:pt x="87659" y="69700"/>
                          <a:pt x="88510" y="70419"/>
                        </a:cubicBezTo>
                        <a:cubicBezTo>
                          <a:pt x="88510" y="70419"/>
                          <a:pt x="89361" y="70419"/>
                          <a:pt x="89361" y="70419"/>
                        </a:cubicBezTo>
                        <a:cubicBezTo>
                          <a:pt x="89361" y="71137"/>
                          <a:pt x="89361" y="71137"/>
                          <a:pt x="89361" y="71137"/>
                        </a:cubicBezTo>
                        <a:cubicBezTo>
                          <a:pt x="89361" y="71137"/>
                          <a:pt x="88510" y="72574"/>
                          <a:pt x="87659" y="72574"/>
                        </a:cubicBezTo>
                        <a:cubicBezTo>
                          <a:pt x="87659" y="73293"/>
                          <a:pt x="86808" y="73293"/>
                          <a:pt x="86808" y="73293"/>
                        </a:cubicBezTo>
                        <a:cubicBezTo>
                          <a:pt x="85106" y="74011"/>
                          <a:pt x="85106" y="74011"/>
                          <a:pt x="85106" y="74011"/>
                        </a:cubicBezTo>
                        <a:cubicBezTo>
                          <a:pt x="85106" y="74011"/>
                          <a:pt x="85957" y="75449"/>
                          <a:pt x="85957" y="75449"/>
                        </a:cubicBezTo>
                        <a:cubicBezTo>
                          <a:pt x="85957" y="75449"/>
                          <a:pt x="85957" y="76886"/>
                          <a:pt x="85957" y="76886"/>
                        </a:cubicBezTo>
                        <a:cubicBezTo>
                          <a:pt x="84255" y="76167"/>
                          <a:pt x="84255" y="76167"/>
                          <a:pt x="84255" y="76167"/>
                        </a:cubicBezTo>
                        <a:cubicBezTo>
                          <a:pt x="81702" y="77604"/>
                          <a:pt x="81702" y="77604"/>
                          <a:pt x="81702" y="77604"/>
                        </a:cubicBezTo>
                        <a:cubicBezTo>
                          <a:pt x="81702" y="77604"/>
                          <a:pt x="80851" y="77604"/>
                          <a:pt x="80851" y="77604"/>
                        </a:cubicBezTo>
                        <a:cubicBezTo>
                          <a:pt x="80000" y="77604"/>
                          <a:pt x="80000" y="76886"/>
                          <a:pt x="80000" y="76886"/>
                        </a:cubicBezTo>
                        <a:cubicBezTo>
                          <a:pt x="79148" y="78323"/>
                          <a:pt x="79148" y="78323"/>
                          <a:pt x="79148" y="78323"/>
                        </a:cubicBezTo>
                        <a:cubicBezTo>
                          <a:pt x="79148" y="78323"/>
                          <a:pt x="75744" y="77604"/>
                          <a:pt x="74893" y="77604"/>
                        </a:cubicBezTo>
                        <a:cubicBezTo>
                          <a:pt x="74893" y="77604"/>
                          <a:pt x="74893" y="79041"/>
                          <a:pt x="74893" y="79041"/>
                        </a:cubicBezTo>
                        <a:cubicBezTo>
                          <a:pt x="76595" y="79760"/>
                          <a:pt x="76595" y="79760"/>
                          <a:pt x="76595" y="79760"/>
                        </a:cubicBezTo>
                        <a:cubicBezTo>
                          <a:pt x="74893" y="80479"/>
                          <a:pt x="74893" y="80479"/>
                          <a:pt x="74893" y="80479"/>
                        </a:cubicBezTo>
                        <a:cubicBezTo>
                          <a:pt x="78297" y="81916"/>
                          <a:pt x="78297" y="81916"/>
                          <a:pt x="78297" y="81916"/>
                        </a:cubicBezTo>
                        <a:cubicBezTo>
                          <a:pt x="79148" y="82634"/>
                          <a:pt x="79148" y="82634"/>
                          <a:pt x="79148" y="82634"/>
                        </a:cubicBezTo>
                        <a:cubicBezTo>
                          <a:pt x="80000" y="84790"/>
                          <a:pt x="80000" y="84790"/>
                          <a:pt x="80000" y="84790"/>
                        </a:cubicBezTo>
                        <a:cubicBezTo>
                          <a:pt x="79148" y="85508"/>
                          <a:pt x="79148" y="85508"/>
                          <a:pt x="79148" y="85508"/>
                        </a:cubicBezTo>
                        <a:cubicBezTo>
                          <a:pt x="80851" y="86946"/>
                          <a:pt x="80851" y="86946"/>
                          <a:pt x="80851" y="86946"/>
                        </a:cubicBezTo>
                        <a:cubicBezTo>
                          <a:pt x="80851" y="86946"/>
                          <a:pt x="80851" y="87664"/>
                          <a:pt x="81702" y="88383"/>
                        </a:cubicBezTo>
                        <a:cubicBezTo>
                          <a:pt x="81702" y="88383"/>
                          <a:pt x="81702" y="89820"/>
                          <a:pt x="81702" y="89820"/>
                        </a:cubicBezTo>
                        <a:cubicBezTo>
                          <a:pt x="81702" y="91257"/>
                          <a:pt x="81702" y="91257"/>
                          <a:pt x="81702" y="91257"/>
                        </a:cubicBezTo>
                        <a:cubicBezTo>
                          <a:pt x="81702" y="91976"/>
                          <a:pt x="81702" y="91976"/>
                          <a:pt x="81702" y="91976"/>
                        </a:cubicBezTo>
                        <a:cubicBezTo>
                          <a:pt x="81702" y="91976"/>
                          <a:pt x="80000" y="92694"/>
                          <a:pt x="80000" y="93413"/>
                        </a:cubicBezTo>
                        <a:cubicBezTo>
                          <a:pt x="80000" y="93413"/>
                          <a:pt x="80851" y="93413"/>
                          <a:pt x="80851" y="93413"/>
                        </a:cubicBezTo>
                        <a:cubicBezTo>
                          <a:pt x="82553" y="94850"/>
                          <a:pt x="82553" y="94850"/>
                          <a:pt x="82553" y="94850"/>
                        </a:cubicBezTo>
                        <a:cubicBezTo>
                          <a:pt x="83404" y="96287"/>
                          <a:pt x="83404" y="96287"/>
                          <a:pt x="83404" y="96287"/>
                        </a:cubicBezTo>
                        <a:cubicBezTo>
                          <a:pt x="83404" y="96287"/>
                          <a:pt x="82553" y="97005"/>
                          <a:pt x="82553" y="97724"/>
                        </a:cubicBezTo>
                        <a:cubicBezTo>
                          <a:pt x="82553" y="97724"/>
                          <a:pt x="84255" y="98443"/>
                          <a:pt x="84255" y="98443"/>
                        </a:cubicBezTo>
                        <a:cubicBezTo>
                          <a:pt x="87659" y="98443"/>
                          <a:pt x="87659" y="98443"/>
                          <a:pt x="87659" y="98443"/>
                        </a:cubicBezTo>
                        <a:cubicBezTo>
                          <a:pt x="89361" y="98443"/>
                          <a:pt x="89361" y="98443"/>
                          <a:pt x="89361" y="98443"/>
                        </a:cubicBezTo>
                        <a:cubicBezTo>
                          <a:pt x="89361" y="98443"/>
                          <a:pt x="91914" y="98443"/>
                          <a:pt x="92765" y="98443"/>
                        </a:cubicBezTo>
                        <a:cubicBezTo>
                          <a:pt x="92765" y="98443"/>
                          <a:pt x="95319" y="97724"/>
                          <a:pt x="95319" y="97724"/>
                        </a:cubicBezTo>
                        <a:cubicBezTo>
                          <a:pt x="95319" y="97724"/>
                          <a:pt x="97021" y="99161"/>
                          <a:pt x="97872" y="99161"/>
                        </a:cubicBezTo>
                        <a:cubicBezTo>
                          <a:pt x="98723" y="99880"/>
                          <a:pt x="97872" y="100598"/>
                          <a:pt x="97872" y="100598"/>
                        </a:cubicBezTo>
                        <a:cubicBezTo>
                          <a:pt x="97872" y="101317"/>
                          <a:pt x="97021" y="101317"/>
                          <a:pt x="97021" y="101317"/>
                        </a:cubicBezTo>
                        <a:cubicBezTo>
                          <a:pt x="97021" y="101317"/>
                          <a:pt x="97872" y="103473"/>
                          <a:pt x="97872" y="103473"/>
                        </a:cubicBezTo>
                        <a:cubicBezTo>
                          <a:pt x="98723" y="104191"/>
                          <a:pt x="98723" y="103473"/>
                          <a:pt x="98723" y="103473"/>
                        </a:cubicBezTo>
                        <a:cubicBezTo>
                          <a:pt x="98723" y="103473"/>
                          <a:pt x="99574" y="104191"/>
                          <a:pt x="100425" y="104910"/>
                        </a:cubicBezTo>
                        <a:cubicBezTo>
                          <a:pt x="100425" y="105628"/>
                          <a:pt x="101276" y="105628"/>
                          <a:pt x="101276" y="105628"/>
                        </a:cubicBezTo>
                        <a:cubicBezTo>
                          <a:pt x="102127" y="105628"/>
                          <a:pt x="102127" y="105628"/>
                          <a:pt x="102127" y="105628"/>
                        </a:cubicBezTo>
                        <a:cubicBezTo>
                          <a:pt x="102127" y="105628"/>
                          <a:pt x="102978" y="105628"/>
                          <a:pt x="102978" y="106347"/>
                        </a:cubicBezTo>
                        <a:cubicBezTo>
                          <a:pt x="103829" y="106347"/>
                          <a:pt x="104680" y="106347"/>
                          <a:pt x="105531" y="106347"/>
                        </a:cubicBezTo>
                        <a:cubicBezTo>
                          <a:pt x="105531" y="106347"/>
                          <a:pt x="106382" y="106347"/>
                          <a:pt x="106382" y="105628"/>
                        </a:cubicBezTo>
                        <a:cubicBezTo>
                          <a:pt x="106382" y="105628"/>
                          <a:pt x="107234" y="105628"/>
                          <a:pt x="108085" y="105628"/>
                        </a:cubicBezTo>
                        <a:cubicBezTo>
                          <a:pt x="108085" y="104910"/>
                          <a:pt x="108085" y="104191"/>
                          <a:pt x="108085" y="104191"/>
                        </a:cubicBezTo>
                        <a:cubicBezTo>
                          <a:pt x="108085" y="104191"/>
                          <a:pt x="108085" y="104191"/>
                          <a:pt x="108085" y="104191"/>
                        </a:cubicBezTo>
                        <a:close/>
                        <a:moveTo>
                          <a:pt x="108085" y="107784"/>
                        </a:moveTo>
                        <a:cubicBezTo>
                          <a:pt x="108085" y="107784"/>
                          <a:pt x="108085" y="107784"/>
                          <a:pt x="108085" y="107784"/>
                        </a:cubicBezTo>
                        <a:cubicBezTo>
                          <a:pt x="107234" y="108502"/>
                          <a:pt x="107234" y="108502"/>
                          <a:pt x="107234" y="108502"/>
                        </a:cubicBezTo>
                        <a:cubicBezTo>
                          <a:pt x="108085" y="108502"/>
                          <a:pt x="108085" y="108502"/>
                          <a:pt x="108085" y="108502"/>
                        </a:cubicBezTo>
                        <a:cubicBezTo>
                          <a:pt x="108085" y="108502"/>
                          <a:pt x="109787" y="109221"/>
                          <a:pt x="109787" y="109221"/>
                        </a:cubicBezTo>
                        <a:cubicBezTo>
                          <a:pt x="110638" y="109221"/>
                          <a:pt x="110638" y="109221"/>
                          <a:pt x="110638" y="109221"/>
                        </a:cubicBezTo>
                        <a:cubicBezTo>
                          <a:pt x="111489" y="108502"/>
                          <a:pt x="111489" y="108502"/>
                          <a:pt x="111489" y="108502"/>
                        </a:cubicBezTo>
                        <a:cubicBezTo>
                          <a:pt x="112340" y="107065"/>
                          <a:pt x="112340" y="107065"/>
                          <a:pt x="112340" y="107065"/>
                        </a:cubicBezTo>
                        <a:cubicBezTo>
                          <a:pt x="114893" y="106347"/>
                          <a:pt x="114893" y="106347"/>
                          <a:pt x="114893" y="106347"/>
                        </a:cubicBezTo>
                        <a:cubicBezTo>
                          <a:pt x="114893" y="106347"/>
                          <a:pt x="117446" y="106347"/>
                          <a:pt x="117446" y="106347"/>
                        </a:cubicBezTo>
                        <a:cubicBezTo>
                          <a:pt x="117446" y="106347"/>
                          <a:pt x="118297" y="105628"/>
                          <a:pt x="118297" y="105628"/>
                        </a:cubicBezTo>
                        <a:cubicBezTo>
                          <a:pt x="118297" y="104910"/>
                          <a:pt x="118297" y="104910"/>
                          <a:pt x="118297" y="104910"/>
                        </a:cubicBezTo>
                        <a:cubicBezTo>
                          <a:pt x="116595" y="103473"/>
                          <a:pt x="116595" y="103473"/>
                          <a:pt x="116595" y="103473"/>
                        </a:cubicBezTo>
                        <a:cubicBezTo>
                          <a:pt x="114893" y="103473"/>
                          <a:pt x="114893" y="103473"/>
                          <a:pt x="114893" y="103473"/>
                        </a:cubicBezTo>
                        <a:cubicBezTo>
                          <a:pt x="114893" y="103473"/>
                          <a:pt x="113191" y="103473"/>
                          <a:pt x="112340" y="103473"/>
                        </a:cubicBezTo>
                        <a:cubicBezTo>
                          <a:pt x="112340" y="103473"/>
                          <a:pt x="111489" y="103473"/>
                          <a:pt x="111489" y="103473"/>
                        </a:cubicBezTo>
                        <a:cubicBezTo>
                          <a:pt x="111489" y="103473"/>
                          <a:pt x="111489" y="104191"/>
                          <a:pt x="111489" y="104910"/>
                        </a:cubicBezTo>
                        <a:cubicBezTo>
                          <a:pt x="110638" y="105628"/>
                          <a:pt x="110638" y="105628"/>
                          <a:pt x="109787" y="105628"/>
                        </a:cubicBezTo>
                        <a:cubicBezTo>
                          <a:pt x="109787" y="105628"/>
                          <a:pt x="108936" y="105628"/>
                          <a:pt x="108936" y="105628"/>
                        </a:cubicBezTo>
                        <a:cubicBezTo>
                          <a:pt x="108085" y="107784"/>
                          <a:pt x="108085" y="107784"/>
                          <a:pt x="108085" y="107784"/>
                        </a:cubicBezTo>
                        <a:close/>
                        <a:moveTo>
                          <a:pt x="98723" y="116407"/>
                        </a:moveTo>
                        <a:cubicBezTo>
                          <a:pt x="98723" y="116407"/>
                          <a:pt x="98723" y="116407"/>
                          <a:pt x="98723" y="116407"/>
                        </a:cubicBezTo>
                        <a:cubicBezTo>
                          <a:pt x="99574" y="116407"/>
                          <a:pt x="99574" y="116407"/>
                          <a:pt x="99574" y="116407"/>
                        </a:cubicBezTo>
                        <a:cubicBezTo>
                          <a:pt x="100425" y="115688"/>
                          <a:pt x="100425" y="115688"/>
                          <a:pt x="100425" y="115688"/>
                        </a:cubicBezTo>
                        <a:cubicBezTo>
                          <a:pt x="99574" y="114251"/>
                          <a:pt x="99574" y="114251"/>
                          <a:pt x="99574" y="114251"/>
                        </a:cubicBezTo>
                        <a:cubicBezTo>
                          <a:pt x="98723" y="113532"/>
                          <a:pt x="98723" y="113532"/>
                          <a:pt x="98723" y="113532"/>
                        </a:cubicBezTo>
                        <a:cubicBezTo>
                          <a:pt x="97872" y="111377"/>
                          <a:pt x="97872" y="111377"/>
                          <a:pt x="97872" y="111377"/>
                        </a:cubicBezTo>
                        <a:cubicBezTo>
                          <a:pt x="96170" y="109940"/>
                          <a:pt x="96170" y="109940"/>
                          <a:pt x="96170" y="109940"/>
                        </a:cubicBezTo>
                        <a:cubicBezTo>
                          <a:pt x="95319" y="109221"/>
                          <a:pt x="95319" y="109221"/>
                          <a:pt x="95319" y="109221"/>
                        </a:cubicBezTo>
                        <a:cubicBezTo>
                          <a:pt x="94468" y="110658"/>
                          <a:pt x="94468" y="110658"/>
                          <a:pt x="94468" y="110658"/>
                        </a:cubicBezTo>
                        <a:cubicBezTo>
                          <a:pt x="93617" y="111377"/>
                          <a:pt x="93617" y="111377"/>
                          <a:pt x="93617" y="111377"/>
                        </a:cubicBezTo>
                        <a:cubicBezTo>
                          <a:pt x="92765" y="112095"/>
                          <a:pt x="92765" y="112095"/>
                          <a:pt x="92765" y="112095"/>
                        </a:cubicBezTo>
                        <a:cubicBezTo>
                          <a:pt x="92765" y="112095"/>
                          <a:pt x="90212" y="111377"/>
                          <a:pt x="89361" y="110658"/>
                        </a:cubicBezTo>
                        <a:cubicBezTo>
                          <a:pt x="87659" y="109940"/>
                          <a:pt x="87659" y="109940"/>
                          <a:pt x="87659" y="109940"/>
                        </a:cubicBezTo>
                        <a:cubicBezTo>
                          <a:pt x="87659" y="109940"/>
                          <a:pt x="86808" y="109940"/>
                          <a:pt x="85957" y="109221"/>
                        </a:cubicBezTo>
                        <a:cubicBezTo>
                          <a:pt x="85957" y="109221"/>
                          <a:pt x="85106" y="108502"/>
                          <a:pt x="85106" y="108502"/>
                        </a:cubicBezTo>
                        <a:cubicBezTo>
                          <a:pt x="85106" y="108502"/>
                          <a:pt x="85106" y="107784"/>
                          <a:pt x="84255" y="107784"/>
                        </a:cubicBezTo>
                        <a:cubicBezTo>
                          <a:pt x="84255" y="107065"/>
                          <a:pt x="83404" y="107784"/>
                          <a:pt x="82553" y="107784"/>
                        </a:cubicBezTo>
                        <a:cubicBezTo>
                          <a:pt x="80851" y="107784"/>
                          <a:pt x="80851" y="107784"/>
                          <a:pt x="80000" y="107784"/>
                        </a:cubicBezTo>
                        <a:cubicBezTo>
                          <a:pt x="80000" y="108502"/>
                          <a:pt x="79148" y="108502"/>
                          <a:pt x="79148" y="108502"/>
                        </a:cubicBezTo>
                        <a:cubicBezTo>
                          <a:pt x="78297" y="109221"/>
                          <a:pt x="79148" y="110658"/>
                          <a:pt x="79148" y="110658"/>
                        </a:cubicBezTo>
                        <a:cubicBezTo>
                          <a:pt x="79148" y="111377"/>
                          <a:pt x="79148" y="111377"/>
                          <a:pt x="79148" y="111377"/>
                        </a:cubicBezTo>
                        <a:cubicBezTo>
                          <a:pt x="80000" y="112814"/>
                          <a:pt x="80000" y="112814"/>
                          <a:pt x="80000" y="112814"/>
                        </a:cubicBezTo>
                        <a:cubicBezTo>
                          <a:pt x="78297" y="112814"/>
                          <a:pt x="78297" y="112814"/>
                          <a:pt x="78297" y="112814"/>
                        </a:cubicBezTo>
                        <a:cubicBezTo>
                          <a:pt x="77446" y="112814"/>
                          <a:pt x="77446" y="112814"/>
                          <a:pt x="77446" y="112814"/>
                        </a:cubicBezTo>
                        <a:cubicBezTo>
                          <a:pt x="78297" y="114251"/>
                          <a:pt x="78297" y="114251"/>
                          <a:pt x="78297" y="114251"/>
                        </a:cubicBezTo>
                        <a:cubicBezTo>
                          <a:pt x="78297" y="114251"/>
                          <a:pt x="78297" y="114970"/>
                          <a:pt x="79148" y="115688"/>
                        </a:cubicBezTo>
                        <a:cubicBezTo>
                          <a:pt x="79148" y="115688"/>
                          <a:pt x="80000" y="116407"/>
                          <a:pt x="80000" y="116407"/>
                        </a:cubicBezTo>
                        <a:cubicBezTo>
                          <a:pt x="80000" y="116407"/>
                          <a:pt x="84255" y="117125"/>
                          <a:pt x="84255" y="117125"/>
                        </a:cubicBezTo>
                        <a:cubicBezTo>
                          <a:pt x="85106" y="117125"/>
                          <a:pt x="85106" y="117125"/>
                          <a:pt x="85106" y="117125"/>
                        </a:cubicBezTo>
                        <a:cubicBezTo>
                          <a:pt x="85106" y="117125"/>
                          <a:pt x="86808" y="117844"/>
                          <a:pt x="88510" y="118562"/>
                        </a:cubicBezTo>
                        <a:cubicBezTo>
                          <a:pt x="89361" y="119281"/>
                          <a:pt x="90212" y="120000"/>
                          <a:pt x="90212" y="120000"/>
                        </a:cubicBezTo>
                        <a:cubicBezTo>
                          <a:pt x="90212" y="120000"/>
                          <a:pt x="91914" y="120000"/>
                          <a:pt x="91914" y="120000"/>
                        </a:cubicBezTo>
                        <a:cubicBezTo>
                          <a:pt x="92765" y="119281"/>
                          <a:pt x="92765" y="119281"/>
                          <a:pt x="92765" y="119281"/>
                        </a:cubicBezTo>
                        <a:cubicBezTo>
                          <a:pt x="95319" y="118562"/>
                          <a:pt x="95319" y="118562"/>
                          <a:pt x="95319" y="118562"/>
                        </a:cubicBezTo>
                        <a:cubicBezTo>
                          <a:pt x="97021" y="118562"/>
                          <a:pt x="97021" y="118562"/>
                          <a:pt x="97021" y="118562"/>
                        </a:cubicBezTo>
                        <a:cubicBezTo>
                          <a:pt x="99574" y="119281"/>
                          <a:pt x="99574" y="119281"/>
                          <a:pt x="99574" y="119281"/>
                        </a:cubicBezTo>
                        <a:cubicBezTo>
                          <a:pt x="100425" y="119281"/>
                          <a:pt x="100425" y="119281"/>
                          <a:pt x="100425" y="119281"/>
                        </a:cubicBezTo>
                        <a:cubicBezTo>
                          <a:pt x="100425" y="117844"/>
                          <a:pt x="100425" y="117844"/>
                          <a:pt x="100425" y="117844"/>
                        </a:cubicBezTo>
                        <a:cubicBezTo>
                          <a:pt x="100425" y="117125"/>
                          <a:pt x="100425" y="117125"/>
                          <a:pt x="100425" y="117125"/>
                        </a:cubicBezTo>
                        <a:cubicBezTo>
                          <a:pt x="98723" y="116407"/>
                          <a:pt x="98723" y="116407"/>
                          <a:pt x="98723" y="116407"/>
                        </a:cubicBezTo>
                        <a:close/>
                        <a:moveTo>
                          <a:pt x="65531" y="86946"/>
                        </a:moveTo>
                        <a:cubicBezTo>
                          <a:pt x="65531" y="86946"/>
                          <a:pt x="65531" y="86946"/>
                          <a:pt x="65531" y="86946"/>
                        </a:cubicBezTo>
                        <a:cubicBezTo>
                          <a:pt x="63829" y="86227"/>
                          <a:pt x="63829" y="86227"/>
                          <a:pt x="63829" y="86227"/>
                        </a:cubicBezTo>
                        <a:cubicBezTo>
                          <a:pt x="62127" y="84071"/>
                          <a:pt x="62127" y="84071"/>
                          <a:pt x="62127" y="84071"/>
                        </a:cubicBezTo>
                        <a:cubicBezTo>
                          <a:pt x="59574" y="83353"/>
                          <a:pt x="59574" y="83353"/>
                          <a:pt x="59574" y="83353"/>
                        </a:cubicBezTo>
                        <a:cubicBezTo>
                          <a:pt x="59574" y="83353"/>
                          <a:pt x="58723" y="81197"/>
                          <a:pt x="58723" y="81197"/>
                        </a:cubicBezTo>
                        <a:cubicBezTo>
                          <a:pt x="57872" y="80479"/>
                          <a:pt x="57872" y="81197"/>
                          <a:pt x="57872" y="81197"/>
                        </a:cubicBezTo>
                        <a:cubicBezTo>
                          <a:pt x="57872" y="81197"/>
                          <a:pt x="57872" y="82634"/>
                          <a:pt x="57021" y="83353"/>
                        </a:cubicBezTo>
                        <a:cubicBezTo>
                          <a:pt x="56170" y="83353"/>
                          <a:pt x="55319" y="83353"/>
                          <a:pt x="55319" y="83353"/>
                        </a:cubicBezTo>
                        <a:cubicBezTo>
                          <a:pt x="53617" y="84790"/>
                          <a:pt x="53617" y="84790"/>
                          <a:pt x="53617" y="84790"/>
                        </a:cubicBezTo>
                        <a:cubicBezTo>
                          <a:pt x="53617" y="84790"/>
                          <a:pt x="51063" y="85508"/>
                          <a:pt x="50212" y="85508"/>
                        </a:cubicBezTo>
                        <a:cubicBezTo>
                          <a:pt x="50212" y="85508"/>
                          <a:pt x="49361" y="86227"/>
                          <a:pt x="49361" y="86227"/>
                        </a:cubicBezTo>
                        <a:cubicBezTo>
                          <a:pt x="44255" y="85508"/>
                          <a:pt x="44255" y="85508"/>
                          <a:pt x="44255" y="85508"/>
                        </a:cubicBezTo>
                        <a:cubicBezTo>
                          <a:pt x="42553" y="86946"/>
                          <a:pt x="42553" y="86946"/>
                          <a:pt x="42553" y="86946"/>
                        </a:cubicBezTo>
                        <a:cubicBezTo>
                          <a:pt x="42553" y="87664"/>
                          <a:pt x="42553" y="87664"/>
                          <a:pt x="42553" y="87664"/>
                        </a:cubicBezTo>
                        <a:cubicBezTo>
                          <a:pt x="43404" y="89101"/>
                          <a:pt x="43404" y="89101"/>
                          <a:pt x="43404" y="89101"/>
                        </a:cubicBezTo>
                        <a:cubicBezTo>
                          <a:pt x="44255" y="89820"/>
                          <a:pt x="44255" y="89820"/>
                          <a:pt x="44255" y="89820"/>
                        </a:cubicBezTo>
                        <a:cubicBezTo>
                          <a:pt x="45106" y="89820"/>
                          <a:pt x="45106" y="89820"/>
                          <a:pt x="45106" y="89820"/>
                        </a:cubicBezTo>
                        <a:cubicBezTo>
                          <a:pt x="45106" y="91257"/>
                          <a:pt x="45106" y="91257"/>
                          <a:pt x="45106" y="91257"/>
                        </a:cubicBezTo>
                        <a:cubicBezTo>
                          <a:pt x="45957" y="92694"/>
                          <a:pt x="45957" y="92694"/>
                          <a:pt x="45957" y="92694"/>
                        </a:cubicBezTo>
                        <a:cubicBezTo>
                          <a:pt x="45957" y="92694"/>
                          <a:pt x="46808" y="93413"/>
                          <a:pt x="47659" y="94850"/>
                        </a:cubicBezTo>
                        <a:cubicBezTo>
                          <a:pt x="48510" y="96287"/>
                          <a:pt x="47659" y="97005"/>
                          <a:pt x="47659" y="97005"/>
                        </a:cubicBezTo>
                        <a:cubicBezTo>
                          <a:pt x="50212" y="99161"/>
                          <a:pt x="50212" y="99161"/>
                          <a:pt x="50212" y="99161"/>
                        </a:cubicBezTo>
                        <a:cubicBezTo>
                          <a:pt x="51914" y="99880"/>
                          <a:pt x="51914" y="99880"/>
                          <a:pt x="51914" y="99880"/>
                        </a:cubicBezTo>
                        <a:cubicBezTo>
                          <a:pt x="51914" y="99880"/>
                          <a:pt x="52765" y="100598"/>
                          <a:pt x="53617" y="100598"/>
                        </a:cubicBezTo>
                        <a:cubicBezTo>
                          <a:pt x="53617" y="100598"/>
                          <a:pt x="53617" y="101317"/>
                          <a:pt x="53617" y="101317"/>
                        </a:cubicBezTo>
                        <a:cubicBezTo>
                          <a:pt x="53617" y="102754"/>
                          <a:pt x="53617" y="102754"/>
                          <a:pt x="53617" y="102754"/>
                        </a:cubicBezTo>
                        <a:cubicBezTo>
                          <a:pt x="54468" y="104191"/>
                          <a:pt x="54468" y="104191"/>
                          <a:pt x="54468" y="104191"/>
                        </a:cubicBezTo>
                        <a:cubicBezTo>
                          <a:pt x="55319" y="103473"/>
                          <a:pt x="55319" y="103473"/>
                          <a:pt x="55319" y="103473"/>
                        </a:cubicBezTo>
                        <a:cubicBezTo>
                          <a:pt x="56170" y="102754"/>
                          <a:pt x="56170" y="102754"/>
                          <a:pt x="56170" y="102754"/>
                        </a:cubicBezTo>
                        <a:cubicBezTo>
                          <a:pt x="60425" y="104191"/>
                          <a:pt x="60425" y="104191"/>
                          <a:pt x="60425" y="104191"/>
                        </a:cubicBezTo>
                        <a:cubicBezTo>
                          <a:pt x="60425" y="104191"/>
                          <a:pt x="63829" y="105628"/>
                          <a:pt x="64680" y="105628"/>
                        </a:cubicBezTo>
                        <a:cubicBezTo>
                          <a:pt x="64680" y="105628"/>
                          <a:pt x="66382" y="104191"/>
                          <a:pt x="66382" y="104191"/>
                        </a:cubicBezTo>
                        <a:cubicBezTo>
                          <a:pt x="67234" y="103473"/>
                          <a:pt x="69787" y="103473"/>
                          <a:pt x="69787" y="103473"/>
                        </a:cubicBezTo>
                        <a:cubicBezTo>
                          <a:pt x="70638" y="103473"/>
                          <a:pt x="70638" y="102754"/>
                          <a:pt x="70638" y="102754"/>
                        </a:cubicBezTo>
                        <a:cubicBezTo>
                          <a:pt x="70638" y="102035"/>
                          <a:pt x="71489" y="101317"/>
                          <a:pt x="71489" y="100598"/>
                        </a:cubicBezTo>
                        <a:cubicBezTo>
                          <a:pt x="71489" y="99880"/>
                          <a:pt x="72340" y="99161"/>
                          <a:pt x="72340" y="99161"/>
                        </a:cubicBezTo>
                        <a:cubicBezTo>
                          <a:pt x="72340" y="97724"/>
                          <a:pt x="72340" y="97724"/>
                          <a:pt x="72340" y="97724"/>
                        </a:cubicBezTo>
                        <a:cubicBezTo>
                          <a:pt x="71489" y="95568"/>
                          <a:pt x="71489" y="95568"/>
                          <a:pt x="71489" y="95568"/>
                        </a:cubicBezTo>
                        <a:cubicBezTo>
                          <a:pt x="72340" y="92694"/>
                          <a:pt x="72340" y="92694"/>
                          <a:pt x="72340" y="92694"/>
                        </a:cubicBezTo>
                        <a:cubicBezTo>
                          <a:pt x="70638" y="91257"/>
                          <a:pt x="70638" y="91257"/>
                          <a:pt x="70638" y="91257"/>
                        </a:cubicBezTo>
                        <a:cubicBezTo>
                          <a:pt x="69787" y="90538"/>
                          <a:pt x="69787" y="90538"/>
                          <a:pt x="69787" y="90538"/>
                        </a:cubicBezTo>
                        <a:cubicBezTo>
                          <a:pt x="69787" y="89820"/>
                          <a:pt x="69787" y="89820"/>
                          <a:pt x="69787" y="89820"/>
                        </a:cubicBezTo>
                        <a:cubicBezTo>
                          <a:pt x="69787" y="89101"/>
                          <a:pt x="69787" y="89101"/>
                          <a:pt x="69787" y="89101"/>
                        </a:cubicBezTo>
                        <a:cubicBezTo>
                          <a:pt x="71489" y="88383"/>
                          <a:pt x="71489" y="88383"/>
                          <a:pt x="71489" y="88383"/>
                        </a:cubicBezTo>
                        <a:cubicBezTo>
                          <a:pt x="71489" y="86227"/>
                          <a:pt x="71489" y="86227"/>
                          <a:pt x="71489" y="86227"/>
                        </a:cubicBezTo>
                        <a:cubicBezTo>
                          <a:pt x="74042" y="84790"/>
                          <a:pt x="74042" y="84790"/>
                          <a:pt x="74042" y="84790"/>
                        </a:cubicBezTo>
                        <a:cubicBezTo>
                          <a:pt x="74893" y="82634"/>
                          <a:pt x="74893" y="82634"/>
                          <a:pt x="74893" y="82634"/>
                        </a:cubicBezTo>
                        <a:cubicBezTo>
                          <a:pt x="74893" y="82634"/>
                          <a:pt x="71489" y="81916"/>
                          <a:pt x="70638" y="81916"/>
                        </a:cubicBezTo>
                        <a:cubicBezTo>
                          <a:pt x="68936" y="81916"/>
                          <a:pt x="69787" y="81916"/>
                          <a:pt x="69787" y="81197"/>
                        </a:cubicBezTo>
                        <a:cubicBezTo>
                          <a:pt x="69787" y="81197"/>
                          <a:pt x="68936" y="80479"/>
                          <a:pt x="68936" y="80479"/>
                        </a:cubicBezTo>
                        <a:cubicBezTo>
                          <a:pt x="68936" y="80479"/>
                          <a:pt x="67234" y="81197"/>
                          <a:pt x="67234" y="81197"/>
                        </a:cubicBezTo>
                        <a:cubicBezTo>
                          <a:pt x="66382" y="81197"/>
                          <a:pt x="66382" y="79760"/>
                          <a:pt x="66382" y="79760"/>
                        </a:cubicBezTo>
                        <a:cubicBezTo>
                          <a:pt x="66382" y="79760"/>
                          <a:pt x="64680" y="80479"/>
                          <a:pt x="64680" y="80479"/>
                        </a:cubicBezTo>
                        <a:cubicBezTo>
                          <a:pt x="63829" y="80479"/>
                          <a:pt x="62127" y="80479"/>
                          <a:pt x="62127" y="80479"/>
                        </a:cubicBezTo>
                        <a:cubicBezTo>
                          <a:pt x="62127" y="80479"/>
                          <a:pt x="62127" y="81197"/>
                          <a:pt x="62127" y="81197"/>
                        </a:cubicBezTo>
                        <a:cubicBezTo>
                          <a:pt x="61276" y="81916"/>
                          <a:pt x="62127" y="82634"/>
                          <a:pt x="62978" y="82634"/>
                        </a:cubicBezTo>
                        <a:cubicBezTo>
                          <a:pt x="62978" y="83353"/>
                          <a:pt x="63829" y="84790"/>
                          <a:pt x="63829" y="84790"/>
                        </a:cubicBezTo>
                        <a:cubicBezTo>
                          <a:pt x="64680" y="86227"/>
                          <a:pt x="64680" y="86227"/>
                          <a:pt x="64680" y="86227"/>
                        </a:cubicBezTo>
                        <a:cubicBezTo>
                          <a:pt x="65531" y="86946"/>
                          <a:pt x="65531" y="86946"/>
                          <a:pt x="65531" y="86946"/>
                        </a:cubicBezTo>
                        <a:close/>
                        <a:moveTo>
                          <a:pt x="63829" y="76886"/>
                        </a:moveTo>
                        <a:cubicBezTo>
                          <a:pt x="63829" y="76886"/>
                          <a:pt x="63829" y="76886"/>
                          <a:pt x="63829" y="76886"/>
                        </a:cubicBezTo>
                        <a:cubicBezTo>
                          <a:pt x="65531" y="76886"/>
                          <a:pt x="65531" y="76886"/>
                          <a:pt x="65531" y="76886"/>
                        </a:cubicBezTo>
                        <a:cubicBezTo>
                          <a:pt x="66382" y="75449"/>
                          <a:pt x="66382" y="75449"/>
                          <a:pt x="66382" y="75449"/>
                        </a:cubicBezTo>
                        <a:cubicBezTo>
                          <a:pt x="66382" y="75449"/>
                          <a:pt x="67234" y="74730"/>
                          <a:pt x="67234" y="74011"/>
                        </a:cubicBezTo>
                        <a:cubicBezTo>
                          <a:pt x="67234" y="74011"/>
                          <a:pt x="67234" y="73293"/>
                          <a:pt x="67234" y="73293"/>
                        </a:cubicBezTo>
                        <a:cubicBezTo>
                          <a:pt x="67234" y="71856"/>
                          <a:pt x="67234" y="71856"/>
                          <a:pt x="67234" y="71856"/>
                        </a:cubicBezTo>
                        <a:cubicBezTo>
                          <a:pt x="66382" y="71137"/>
                          <a:pt x="66382" y="71137"/>
                          <a:pt x="66382" y="71137"/>
                        </a:cubicBezTo>
                        <a:cubicBezTo>
                          <a:pt x="65531" y="69700"/>
                          <a:pt x="65531" y="69700"/>
                          <a:pt x="65531" y="69700"/>
                        </a:cubicBezTo>
                        <a:cubicBezTo>
                          <a:pt x="64680" y="67544"/>
                          <a:pt x="64680" y="67544"/>
                          <a:pt x="64680" y="67544"/>
                        </a:cubicBezTo>
                        <a:cubicBezTo>
                          <a:pt x="62978" y="67544"/>
                          <a:pt x="62978" y="67544"/>
                          <a:pt x="62978" y="67544"/>
                        </a:cubicBezTo>
                        <a:cubicBezTo>
                          <a:pt x="62978" y="67544"/>
                          <a:pt x="62978" y="68982"/>
                          <a:pt x="62978" y="68982"/>
                        </a:cubicBezTo>
                        <a:cubicBezTo>
                          <a:pt x="62978" y="69700"/>
                          <a:pt x="63829" y="70419"/>
                          <a:pt x="63829" y="70419"/>
                        </a:cubicBezTo>
                        <a:cubicBezTo>
                          <a:pt x="64680" y="71137"/>
                          <a:pt x="64680" y="71137"/>
                          <a:pt x="64680" y="71137"/>
                        </a:cubicBezTo>
                        <a:cubicBezTo>
                          <a:pt x="64680" y="71856"/>
                          <a:pt x="64680" y="71856"/>
                          <a:pt x="64680" y="71856"/>
                        </a:cubicBezTo>
                        <a:cubicBezTo>
                          <a:pt x="63829" y="72574"/>
                          <a:pt x="63829" y="72574"/>
                          <a:pt x="63829" y="72574"/>
                        </a:cubicBezTo>
                        <a:cubicBezTo>
                          <a:pt x="62978" y="74011"/>
                          <a:pt x="62978" y="74011"/>
                          <a:pt x="62978" y="74011"/>
                        </a:cubicBezTo>
                        <a:cubicBezTo>
                          <a:pt x="63829" y="75449"/>
                          <a:pt x="63829" y="75449"/>
                          <a:pt x="63829" y="75449"/>
                        </a:cubicBezTo>
                        <a:cubicBezTo>
                          <a:pt x="63829" y="76886"/>
                          <a:pt x="63829" y="76886"/>
                          <a:pt x="63829" y="76886"/>
                        </a:cubicBezTo>
                        <a:close/>
                        <a:moveTo>
                          <a:pt x="68085" y="112814"/>
                        </a:moveTo>
                        <a:cubicBezTo>
                          <a:pt x="68085" y="112814"/>
                          <a:pt x="68085" y="112814"/>
                          <a:pt x="68085" y="112814"/>
                        </a:cubicBezTo>
                        <a:cubicBezTo>
                          <a:pt x="68936" y="114970"/>
                          <a:pt x="68936" y="114970"/>
                          <a:pt x="68936" y="114970"/>
                        </a:cubicBezTo>
                        <a:cubicBezTo>
                          <a:pt x="69787" y="116407"/>
                          <a:pt x="69787" y="116407"/>
                          <a:pt x="69787" y="116407"/>
                        </a:cubicBezTo>
                        <a:cubicBezTo>
                          <a:pt x="69787" y="116407"/>
                          <a:pt x="71489" y="117125"/>
                          <a:pt x="71489" y="116407"/>
                        </a:cubicBezTo>
                        <a:cubicBezTo>
                          <a:pt x="71489" y="115688"/>
                          <a:pt x="70638" y="114970"/>
                          <a:pt x="71489" y="114251"/>
                        </a:cubicBezTo>
                        <a:cubicBezTo>
                          <a:pt x="71489" y="113532"/>
                          <a:pt x="72340" y="112095"/>
                          <a:pt x="72340" y="111377"/>
                        </a:cubicBezTo>
                        <a:cubicBezTo>
                          <a:pt x="72340" y="110658"/>
                          <a:pt x="73191" y="109940"/>
                          <a:pt x="73191" y="109221"/>
                        </a:cubicBezTo>
                        <a:cubicBezTo>
                          <a:pt x="74042" y="108502"/>
                          <a:pt x="74893" y="107065"/>
                          <a:pt x="74893" y="106347"/>
                        </a:cubicBezTo>
                        <a:cubicBezTo>
                          <a:pt x="74893" y="106347"/>
                          <a:pt x="75744" y="104910"/>
                          <a:pt x="75744" y="104191"/>
                        </a:cubicBezTo>
                        <a:cubicBezTo>
                          <a:pt x="75744" y="104191"/>
                          <a:pt x="75744" y="102035"/>
                          <a:pt x="75744" y="102035"/>
                        </a:cubicBezTo>
                        <a:cubicBezTo>
                          <a:pt x="75744" y="102035"/>
                          <a:pt x="74893" y="99880"/>
                          <a:pt x="74893" y="99880"/>
                        </a:cubicBezTo>
                        <a:cubicBezTo>
                          <a:pt x="74042" y="101317"/>
                          <a:pt x="74042" y="101317"/>
                          <a:pt x="74042" y="101317"/>
                        </a:cubicBezTo>
                        <a:cubicBezTo>
                          <a:pt x="74042" y="102754"/>
                          <a:pt x="74042" y="102754"/>
                          <a:pt x="74042" y="102754"/>
                        </a:cubicBezTo>
                        <a:cubicBezTo>
                          <a:pt x="72340" y="105628"/>
                          <a:pt x="72340" y="105628"/>
                          <a:pt x="72340" y="105628"/>
                        </a:cubicBezTo>
                        <a:cubicBezTo>
                          <a:pt x="71489" y="107065"/>
                          <a:pt x="71489" y="107065"/>
                          <a:pt x="71489" y="107065"/>
                        </a:cubicBezTo>
                        <a:cubicBezTo>
                          <a:pt x="69787" y="108502"/>
                          <a:pt x="69787" y="108502"/>
                          <a:pt x="69787" y="108502"/>
                        </a:cubicBezTo>
                        <a:cubicBezTo>
                          <a:pt x="69787" y="109221"/>
                          <a:pt x="69787" y="109221"/>
                          <a:pt x="69787" y="109221"/>
                        </a:cubicBezTo>
                        <a:cubicBezTo>
                          <a:pt x="69787" y="110658"/>
                          <a:pt x="69787" y="110658"/>
                          <a:pt x="69787" y="110658"/>
                        </a:cubicBezTo>
                        <a:cubicBezTo>
                          <a:pt x="68936" y="111377"/>
                          <a:pt x="68936" y="111377"/>
                          <a:pt x="68936" y="111377"/>
                        </a:cubicBezTo>
                        <a:cubicBezTo>
                          <a:pt x="68936" y="112095"/>
                          <a:pt x="68936" y="112095"/>
                          <a:pt x="68936" y="112095"/>
                        </a:cubicBezTo>
                        <a:cubicBezTo>
                          <a:pt x="68085" y="112814"/>
                          <a:pt x="68085" y="112814"/>
                          <a:pt x="68085" y="112814"/>
                        </a:cubicBezTo>
                        <a:close/>
                        <a:moveTo>
                          <a:pt x="63829" y="106347"/>
                        </a:moveTo>
                        <a:cubicBezTo>
                          <a:pt x="63829" y="106347"/>
                          <a:pt x="63829" y="106347"/>
                          <a:pt x="63829" y="106347"/>
                        </a:cubicBezTo>
                        <a:cubicBezTo>
                          <a:pt x="64680" y="107065"/>
                          <a:pt x="64680" y="107065"/>
                          <a:pt x="64680" y="107065"/>
                        </a:cubicBezTo>
                        <a:cubicBezTo>
                          <a:pt x="64680" y="107065"/>
                          <a:pt x="65531" y="109221"/>
                          <a:pt x="66382" y="109221"/>
                        </a:cubicBezTo>
                        <a:cubicBezTo>
                          <a:pt x="66382" y="109221"/>
                          <a:pt x="68936" y="107065"/>
                          <a:pt x="68936" y="107065"/>
                        </a:cubicBezTo>
                        <a:cubicBezTo>
                          <a:pt x="68936" y="105628"/>
                          <a:pt x="68936" y="105628"/>
                          <a:pt x="68936" y="105628"/>
                        </a:cubicBezTo>
                        <a:cubicBezTo>
                          <a:pt x="69787" y="104191"/>
                          <a:pt x="69787" y="104191"/>
                          <a:pt x="69787" y="104191"/>
                        </a:cubicBezTo>
                        <a:cubicBezTo>
                          <a:pt x="67234" y="104910"/>
                          <a:pt x="67234" y="104910"/>
                          <a:pt x="67234" y="104910"/>
                        </a:cubicBezTo>
                        <a:cubicBezTo>
                          <a:pt x="65531" y="106347"/>
                          <a:pt x="65531" y="106347"/>
                          <a:pt x="65531" y="106347"/>
                        </a:cubicBezTo>
                        <a:cubicBezTo>
                          <a:pt x="63829" y="106347"/>
                          <a:pt x="63829" y="106347"/>
                          <a:pt x="63829" y="106347"/>
                        </a:cubicBezTo>
                        <a:close/>
                        <a:moveTo>
                          <a:pt x="56170" y="107784"/>
                        </a:moveTo>
                        <a:cubicBezTo>
                          <a:pt x="56170" y="107784"/>
                          <a:pt x="56170" y="107784"/>
                          <a:pt x="56170" y="107784"/>
                        </a:cubicBezTo>
                        <a:cubicBezTo>
                          <a:pt x="56170" y="107784"/>
                          <a:pt x="57021" y="109940"/>
                          <a:pt x="57021" y="109940"/>
                        </a:cubicBezTo>
                        <a:cubicBezTo>
                          <a:pt x="57872" y="109940"/>
                          <a:pt x="58723" y="110658"/>
                          <a:pt x="58723" y="110658"/>
                        </a:cubicBezTo>
                        <a:cubicBezTo>
                          <a:pt x="60425" y="112095"/>
                          <a:pt x="60425" y="112095"/>
                          <a:pt x="60425" y="112095"/>
                        </a:cubicBezTo>
                        <a:cubicBezTo>
                          <a:pt x="60425" y="112095"/>
                          <a:pt x="60425" y="112814"/>
                          <a:pt x="61276" y="112814"/>
                        </a:cubicBezTo>
                        <a:cubicBezTo>
                          <a:pt x="61276" y="112814"/>
                          <a:pt x="62978" y="112095"/>
                          <a:pt x="62978" y="112095"/>
                        </a:cubicBezTo>
                        <a:cubicBezTo>
                          <a:pt x="63829" y="110658"/>
                          <a:pt x="63829" y="110658"/>
                          <a:pt x="63829" y="110658"/>
                        </a:cubicBezTo>
                        <a:cubicBezTo>
                          <a:pt x="63829" y="110658"/>
                          <a:pt x="62127" y="110658"/>
                          <a:pt x="62127" y="110658"/>
                        </a:cubicBezTo>
                        <a:cubicBezTo>
                          <a:pt x="61276" y="110658"/>
                          <a:pt x="60425" y="109221"/>
                          <a:pt x="60425" y="109221"/>
                        </a:cubicBezTo>
                        <a:cubicBezTo>
                          <a:pt x="60425" y="109221"/>
                          <a:pt x="59574" y="109221"/>
                          <a:pt x="59574" y="109221"/>
                        </a:cubicBezTo>
                        <a:cubicBezTo>
                          <a:pt x="58723" y="109221"/>
                          <a:pt x="57021" y="107784"/>
                          <a:pt x="57021" y="107784"/>
                        </a:cubicBezTo>
                        <a:cubicBezTo>
                          <a:pt x="56170" y="107784"/>
                          <a:pt x="56170" y="107784"/>
                          <a:pt x="56170" y="107784"/>
                        </a:cubicBezTo>
                        <a:close/>
                        <a:moveTo>
                          <a:pt x="42553" y="105628"/>
                        </a:moveTo>
                        <a:cubicBezTo>
                          <a:pt x="42553" y="105628"/>
                          <a:pt x="42553" y="105628"/>
                          <a:pt x="42553" y="105628"/>
                        </a:cubicBezTo>
                        <a:cubicBezTo>
                          <a:pt x="44255" y="106347"/>
                          <a:pt x="44255" y="106347"/>
                          <a:pt x="44255" y="106347"/>
                        </a:cubicBezTo>
                        <a:cubicBezTo>
                          <a:pt x="45106" y="107065"/>
                          <a:pt x="45106" y="107065"/>
                          <a:pt x="45106" y="107065"/>
                        </a:cubicBezTo>
                        <a:cubicBezTo>
                          <a:pt x="46808" y="107784"/>
                          <a:pt x="46808" y="107784"/>
                          <a:pt x="46808" y="107784"/>
                        </a:cubicBezTo>
                        <a:cubicBezTo>
                          <a:pt x="45106" y="109221"/>
                          <a:pt x="45106" y="109221"/>
                          <a:pt x="45106" y="109221"/>
                        </a:cubicBezTo>
                        <a:cubicBezTo>
                          <a:pt x="45106" y="109221"/>
                          <a:pt x="45957" y="110658"/>
                          <a:pt x="46808" y="109940"/>
                        </a:cubicBezTo>
                        <a:cubicBezTo>
                          <a:pt x="47659" y="109940"/>
                          <a:pt x="47659" y="109940"/>
                          <a:pt x="47659" y="109940"/>
                        </a:cubicBezTo>
                        <a:cubicBezTo>
                          <a:pt x="47659" y="109940"/>
                          <a:pt x="49361" y="110658"/>
                          <a:pt x="49361" y="110658"/>
                        </a:cubicBezTo>
                        <a:cubicBezTo>
                          <a:pt x="50212" y="111377"/>
                          <a:pt x="51063" y="111377"/>
                          <a:pt x="51914" y="111377"/>
                        </a:cubicBezTo>
                        <a:cubicBezTo>
                          <a:pt x="52765" y="111377"/>
                          <a:pt x="52765" y="110658"/>
                          <a:pt x="52765" y="110658"/>
                        </a:cubicBezTo>
                        <a:cubicBezTo>
                          <a:pt x="52765" y="109940"/>
                          <a:pt x="52765" y="109221"/>
                          <a:pt x="52765" y="109221"/>
                        </a:cubicBezTo>
                        <a:cubicBezTo>
                          <a:pt x="51914" y="107784"/>
                          <a:pt x="51914" y="107784"/>
                          <a:pt x="51914" y="107784"/>
                        </a:cubicBezTo>
                        <a:cubicBezTo>
                          <a:pt x="51063" y="106347"/>
                          <a:pt x="51063" y="106347"/>
                          <a:pt x="51063" y="106347"/>
                        </a:cubicBezTo>
                        <a:cubicBezTo>
                          <a:pt x="47659" y="105628"/>
                          <a:pt x="47659" y="105628"/>
                          <a:pt x="47659" y="105628"/>
                        </a:cubicBezTo>
                        <a:cubicBezTo>
                          <a:pt x="45957" y="104191"/>
                          <a:pt x="45957" y="104191"/>
                          <a:pt x="45957" y="104191"/>
                        </a:cubicBezTo>
                        <a:cubicBezTo>
                          <a:pt x="43404" y="103473"/>
                          <a:pt x="43404" y="103473"/>
                          <a:pt x="43404" y="103473"/>
                        </a:cubicBezTo>
                        <a:cubicBezTo>
                          <a:pt x="42553" y="103473"/>
                          <a:pt x="42553" y="103473"/>
                          <a:pt x="42553" y="103473"/>
                        </a:cubicBezTo>
                        <a:cubicBezTo>
                          <a:pt x="42553" y="105628"/>
                          <a:pt x="42553" y="105628"/>
                          <a:pt x="42553" y="105628"/>
                        </a:cubicBezTo>
                        <a:close/>
                        <a:moveTo>
                          <a:pt x="70638" y="17964"/>
                        </a:moveTo>
                        <a:cubicBezTo>
                          <a:pt x="70638" y="17964"/>
                          <a:pt x="70638" y="17964"/>
                          <a:pt x="70638" y="17964"/>
                        </a:cubicBezTo>
                        <a:cubicBezTo>
                          <a:pt x="70638" y="18682"/>
                          <a:pt x="70638" y="18682"/>
                          <a:pt x="70638" y="18682"/>
                        </a:cubicBezTo>
                        <a:cubicBezTo>
                          <a:pt x="70638" y="18682"/>
                          <a:pt x="71489" y="18682"/>
                          <a:pt x="71489" y="18682"/>
                        </a:cubicBezTo>
                        <a:cubicBezTo>
                          <a:pt x="71489" y="18682"/>
                          <a:pt x="72340" y="18682"/>
                          <a:pt x="72340" y="18682"/>
                        </a:cubicBezTo>
                        <a:cubicBezTo>
                          <a:pt x="72340" y="18682"/>
                          <a:pt x="74042" y="19401"/>
                          <a:pt x="74042" y="19401"/>
                        </a:cubicBezTo>
                        <a:cubicBezTo>
                          <a:pt x="74042" y="20119"/>
                          <a:pt x="74893" y="19401"/>
                          <a:pt x="74893" y="19401"/>
                        </a:cubicBezTo>
                        <a:cubicBezTo>
                          <a:pt x="75744" y="19401"/>
                          <a:pt x="75744" y="18682"/>
                          <a:pt x="75744" y="17964"/>
                        </a:cubicBezTo>
                        <a:cubicBezTo>
                          <a:pt x="75744" y="17964"/>
                          <a:pt x="76595" y="17245"/>
                          <a:pt x="76595" y="17245"/>
                        </a:cubicBezTo>
                        <a:cubicBezTo>
                          <a:pt x="76595" y="17245"/>
                          <a:pt x="79148" y="15808"/>
                          <a:pt x="79148" y="15808"/>
                        </a:cubicBezTo>
                        <a:cubicBezTo>
                          <a:pt x="79148" y="15089"/>
                          <a:pt x="77446" y="15089"/>
                          <a:pt x="77446" y="15089"/>
                        </a:cubicBezTo>
                        <a:cubicBezTo>
                          <a:pt x="77446" y="15089"/>
                          <a:pt x="74893" y="15808"/>
                          <a:pt x="74893" y="15808"/>
                        </a:cubicBezTo>
                        <a:cubicBezTo>
                          <a:pt x="74893" y="15808"/>
                          <a:pt x="72340" y="16526"/>
                          <a:pt x="72340" y="16526"/>
                        </a:cubicBezTo>
                        <a:lnTo>
                          <a:pt x="70638" y="1796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2" name="Shape 2028"/>
                  <p:cNvSpPr/>
                  <p:nvPr/>
                </p:nvSpPr>
                <p:spPr>
                  <a:xfrm>
                    <a:off x="4518028" y="2422185"/>
                    <a:ext cx="310038" cy="351588"/>
                  </a:xfrm>
                  <a:custGeom>
                    <a:avLst/>
                    <a:gdLst/>
                    <a:ahLst/>
                    <a:cxnLst/>
                    <a:rect l="0" t="0" r="0" b="0"/>
                    <a:pathLst>
                      <a:path w="120000" h="120000" extrusionOk="0">
                        <a:moveTo>
                          <a:pt x="63529" y="26415"/>
                        </a:moveTo>
                        <a:cubicBezTo>
                          <a:pt x="62647" y="24905"/>
                          <a:pt x="62647" y="24905"/>
                          <a:pt x="62647" y="24905"/>
                        </a:cubicBezTo>
                        <a:cubicBezTo>
                          <a:pt x="60882" y="24905"/>
                          <a:pt x="60882" y="24905"/>
                          <a:pt x="60882" y="24905"/>
                        </a:cubicBezTo>
                        <a:cubicBezTo>
                          <a:pt x="58235" y="26415"/>
                          <a:pt x="58235" y="26415"/>
                          <a:pt x="58235" y="26415"/>
                        </a:cubicBezTo>
                        <a:cubicBezTo>
                          <a:pt x="58235" y="24905"/>
                          <a:pt x="58235" y="24905"/>
                          <a:pt x="58235" y="24905"/>
                        </a:cubicBezTo>
                        <a:cubicBezTo>
                          <a:pt x="61764" y="23396"/>
                          <a:pt x="61764" y="23396"/>
                          <a:pt x="61764" y="23396"/>
                        </a:cubicBezTo>
                        <a:cubicBezTo>
                          <a:pt x="63529" y="22641"/>
                          <a:pt x="63529" y="22641"/>
                          <a:pt x="63529" y="22641"/>
                        </a:cubicBezTo>
                        <a:cubicBezTo>
                          <a:pt x="64411" y="21132"/>
                          <a:pt x="64411" y="21132"/>
                          <a:pt x="64411" y="21132"/>
                        </a:cubicBezTo>
                        <a:cubicBezTo>
                          <a:pt x="66176" y="18867"/>
                          <a:pt x="66176" y="18867"/>
                          <a:pt x="66176" y="18867"/>
                        </a:cubicBezTo>
                        <a:cubicBezTo>
                          <a:pt x="66176" y="18867"/>
                          <a:pt x="67941" y="17358"/>
                          <a:pt x="68823" y="16603"/>
                        </a:cubicBezTo>
                        <a:cubicBezTo>
                          <a:pt x="69705" y="16603"/>
                          <a:pt x="73235" y="15094"/>
                          <a:pt x="73235" y="15094"/>
                        </a:cubicBezTo>
                        <a:cubicBezTo>
                          <a:pt x="73235" y="15094"/>
                          <a:pt x="76764" y="13584"/>
                          <a:pt x="77647" y="13584"/>
                        </a:cubicBezTo>
                        <a:cubicBezTo>
                          <a:pt x="78529" y="13584"/>
                          <a:pt x="84705" y="12830"/>
                          <a:pt x="84705" y="12830"/>
                        </a:cubicBezTo>
                        <a:cubicBezTo>
                          <a:pt x="90882" y="14339"/>
                          <a:pt x="90882" y="14339"/>
                          <a:pt x="90882" y="14339"/>
                        </a:cubicBezTo>
                        <a:cubicBezTo>
                          <a:pt x="90882" y="14339"/>
                          <a:pt x="92647" y="12830"/>
                          <a:pt x="94411" y="12830"/>
                        </a:cubicBezTo>
                        <a:cubicBezTo>
                          <a:pt x="94411" y="12830"/>
                          <a:pt x="96176" y="13584"/>
                          <a:pt x="97058" y="13584"/>
                        </a:cubicBezTo>
                        <a:cubicBezTo>
                          <a:pt x="97941" y="13584"/>
                          <a:pt x="99705" y="12830"/>
                          <a:pt x="99705" y="12830"/>
                        </a:cubicBezTo>
                        <a:cubicBezTo>
                          <a:pt x="103235" y="12830"/>
                          <a:pt x="103235" y="12830"/>
                          <a:pt x="103235" y="12830"/>
                        </a:cubicBezTo>
                        <a:cubicBezTo>
                          <a:pt x="105882" y="15849"/>
                          <a:pt x="105882" y="15849"/>
                          <a:pt x="105882" y="15849"/>
                        </a:cubicBezTo>
                        <a:cubicBezTo>
                          <a:pt x="106764" y="18867"/>
                          <a:pt x="106764" y="18867"/>
                          <a:pt x="106764" y="18867"/>
                        </a:cubicBezTo>
                        <a:cubicBezTo>
                          <a:pt x="111176" y="19622"/>
                          <a:pt x="111176" y="19622"/>
                          <a:pt x="111176" y="19622"/>
                        </a:cubicBezTo>
                        <a:cubicBezTo>
                          <a:pt x="111176" y="19622"/>
                          <a:pt x="110294" y="21132"/>
                          <a:pt x="110294" y="21886"/>
                        </a:cubicBezTo>
                        <a:cubicBezTo>
                          <a:pt x="111176" y="21886"/>
                          <a:pt x="113823" y="22641"/>
                          <a:pt x="113823" y="22641"/>
                        </a:cubicBezTo>
                        <a:cubicBezTo>
                          <a:pt x="113823" y="23396"/>
                          <a:pt x="113823" y="23396"/>
                          <a:pt x="113823" y="23396"/>
                        </a:cubicBezTo>
                        <a:cubicBezTo>
                          <a:pt x="113823" y="23396"/>
                          <a:pt x="113823" y="26415"/>
                          <a:pt x="113823" y="27169"/>
                        </a:cubicBezTo>
                        <a:cubicBezTo>
                          <a:pt x="113823" y="27924"/>
                          <a:pt x="113823" y="32452"/>
                          <a:pt x="113823" y="32452"/>
                        </a:cubicBezTo>
                        <a:cubicBezTo>
                          <a:pt x="113823" y="32452"/>
                          <a:pt x="111176" y="36981"/>
                          <a:pt x="110294" y="36981"/>
                        </a:cubicBezTo>
                        <a:cubicBezTo>
                          <a:pt x="109411" y="37735"/>
                          <a:pt x="110294" y="40754"/>
                          <a:pt x="110294" y="40754"/>
                        </a:cubicBezTo>
                        <a:cubicBezTo>
                          <a:pt x="109411" y="44528"/>
                          <a:pt x="109411" y="44528"/>
                          <a:pt x="109411" y="44528"/>
                        </a:cubicBezTo>
                        <a:cubicBezTo>
                          <a:pt x="109411" y="44528"/>
                          <a:pt x="109411" y="47547"/>
                          <a:pt x="108529" y="46792"/>
                        </a:cubicBezTo>
                        <a:cubicBezTo>
                          <a:pt x="107647" y="46792"/>
                          <a:pt x="103235" y="45283"/>
                          <a:pt x="103235" y="45283"/>
                        </a:cubicBezTo>
                        <a:cubicBezTo>
                          <a:pt x="99705" y="46037"/>
                          <a:pt x="99705" y="46037"/>
                          <a:pt x="99705" y="46037"/>
                        </a:cubicBezTo>
                        <a:cubicBezTo>
                          <a:pt x="99705" y="48301"/>
                          <a:pt x="99705" y="48301"/>
                          <a:pt x="99705" y="48301"/>
                        </a:cubicBezTo>
                        <a:cubicBezTo>
                          <a:pt x="101470" y="49056"/>
                          <a:pt x="101470" y="49056"/>
                          <a:pt x="101470" y="49056"/>
                        </a:cubicBezTo>
                        <a:cubicBezTo>
                          <a:pt x="98823" y="49056"/>
                          <a:pt x="98823" y="49056"/>
                          <a:pt x="98823" y="49056"/>
                        </a:cubicBezTo>
                        <a:cubicBezTo>
                          <a:pt x="98823" y="50566"/>
                          <a:pt x="98823" y="50566"/>
                          <a:pt x="98823" y="50566"/>
                        </a:cubicBezTo>
                        <a:cubicBezTo>
                          <a:pt x="98823" y="50566"/>
                          <a:pt x="99705" y="52075"/>
                          <a:pt x="100588" y="52830"/>
                        </a:cubicBezTo>
                        <a:cubicBezTo>
                          <a:pt x="100588" y="53584"/>
                          <a:pt x="103235" y="53584"/>
                          <a:pt x="103235" y="53584"/>
                        </a:cubicBezTo>
                        <a:cubicBezTo>
                          <a:pt x="105000" y="55094"/>
                          <a:pt x="105000" y="55094"/>
                          <a:pt x="105000" y="55094"/>
                        </a:cubicBezTo>
                        <a:cubicBezTo>
                          <a:pt x="107647" y="54339"/>
                          <a:pt x="107647" y="54339"/>
                          <a:pt x="107647" y="54339"/>
                        </a:cubicBezTo>
                        <a:cubicBezTo>
                          <a:pt x="109411" y="57358"/>
                          <a:pt x="109411" y="57358"/>
                          <a:pt x="109411" y="57358"/>
                        </a:cubicBezTo>
                        <a:cubicBezTo>
                          <a:pt x="108529" y="58867"/>
                          <a:pt x="108529" y="58867"/>
                          <a:pt x="108529" y="58867"/>
                        </a:cubicBezTo>
                        <a:cubicBezTo>
                          <a:pt x="108529" y="58867"/>
                          <a:pt x="108529" y="60377"/>
                          <a:pt x="108529" y="61132"/>
                        </a:cubicBezTo>
                        <a:cubicBezTo>
                          <a:pt x="108529" y="61886"/>
                          <a:pt x="109411" y="62641"/>
                          <a:pt x="108529" y="62641"/>
                        </a:cubicBezTo>
                        <a:cubicBezTo>
                          <a:pt x="108529" y="62641"/>
                          <a:pt x="106764" y="63396"/>
                          <a:pt x="106764" y="63396"/>
                        </a:cubicBezTo>
                        <a:cubicBezTo>
                          <a:pt x="105882" y="64905"/>
                          <a:pt x="105882" y="64905"/>
                          <a:pt x="105882" y="64905"/>
                        </a:cubicBezTo>
                        <a:cubicBezTo>
                          <a:pt x="105882" y="64905"/>
                          <a:pt x="104117" y="65660"/>
                          <a:pt x="103235" y="65660"/>
                        </a:cubicBezTo>
                        <a:cubicBezTo>
                          <a:pt x="102352" y="66415"/>
                          <a:pt x="102352" y="66415"/>
                          <a:pt x="102352" y="67169"/>
                        </a:cubicBezTo>
                        <a:cubicBezTo>
                          <a:pt x="102352" y="67169"/>
                          <a:pt x="98823" y="66415"/>
                          <a:pt x="98823" y="66415"/>
                        </a:cubicBezTo>
                        <a:cubicBezTo>
                          <a:pt x="98823" y="68679"/>
                          <a:pt x="98823" y="68679"/>
                          <a:pt x="98823" y="68679"/>
                        </a:cubicBezTo>
                        <a:cubicBezTo>
                          <a:pt x="97058" y="68679"/>
                          <a:pt x="97058" y="68679"/>
                          <a:pt x="97058" y="68679"/>
                        </a:cubicBezTo>
                        <a:cubicBezTo>
                          <a:pt x="98823" y="70943"/>
                          <a:pt x="98823" y="70943"/>
                          <a:pt x="98823" y="70943"/>
                        </a:cubicBezTo>
                        <a:cubicBezTo>
                          <a:pt x="101470" y="72452"/>
                          <a:pt x="101470" y="72452"/>
                          <a:pt x="101470" y="72452"/>
                        </a:cubicBezTo>
                        <a:cubicBezTo>
                          <a:pt x="100588" y="73207"/>
                          <a:pt x="100588" y="73207"/>
                          <a:pt x="100588" y="73207"/>
                        </a:cubicBezTo>
                        <a:cubicBezTo>
                          <a:pt x="98823" y="73962"/>
                          <a:pt x="98823" y="73962"/>
                          <a:pt x="98823" y="73962"/>
                        </a:cubicBezTo>
                        <a:cubicBezTo>
                          <a:pt x="97941" y="75471"/>
                          <a:pt x="97941" y="75471"/>
                          <a:pt x="97941" y="75471"/>
                        </a:cubicBezTo>
                        <a:cubicBezTo>
                          <a:pt x="95294" y="75471"/>
                          <a:pt x="95294" y="75471"/>
                          <a:pt x="95294" y="75471"/>
                        </a:cubicBezTo>
                        <a:cubicBezTo>
                          <a:pt x="92647" y="76226"/>
                          <a:pt x="92647" y="76226"/>
                          <a:pt x="92647" y="76226"/>
                        </a:cubicBezTo>
                        <a:cubicBezTo>
                          <a:pt x="91764" y="76226"/>
                          <a:pt x="91764" y="76226"/>
                          <a:pt x="91764" y="76226"/>
                        </a:cubicBezTo>
                        <a:cubicBezTo>
                          <a:pt x="89117" y="76226"/>
                          <a:pt x="89117" y="76226"/>
                          <a:pt x="89117" y="76226"/>
                        </a:cubicBezTo>
                        <a:cubicBezTo>
                          <a:pt x="88235" y="77735"/>
                          <a:pt x="88235" y="77735"/>
                          <a:pt x="88235" y="77735"/>
                        </a:cubicBezTo>
                        <a:cubicBezTo>
                          <a:pt x="87352" y="76226"/>
                          <a:pt x="87352" y="76226"/>
                          <a:pt x="87352" y="76226"/>
                        </a:cubicBezTo>
                        <a:cubicBezTo>
                          <a:pt x="84705" y="75471"/>
                          <a:pt x="84705" y="75471"/>
                          <a:pt x="84705" y="75471"/>
                        </a:cubicBezTo>
                        <a:cubicBezTo>
                          <a:pt x="82941" y="73962"/>
                          <a:pt x="82941" y="73962"/>
                          <a:pt x="82941" y="73962"/>
                        </a:cubicBezTo>
                        <a:cubicBezTo>
                          <a:pt x="80294" y="74716"/>
                          <a:pt x="80294" y="74716"/>
                          <a:pt x="80294" y="74716"/>
                        </a:cubicBezTo>
                        <a:cubicBezTo>
                          <a:pt x="82941" y="76226"/>
                          <a:pt x="82941" y="76226"/>
                          <a:pt x="82941" y="76226"/>
                        </a:cubicBezTo>
                        <a:cubicBezTo>
                          <a:pt x="81176" y="76226"/>
                          <a:pt x="81176" y="76226"/>
                          <a:pt x="81176" y="76226"/>
                        </a:cubicBezTo>
                        <a:cubicBezTo>
                          <a:pt x="76764" y="75471"/>
                          <a:pt x="76764" y="75471"/>
                          <a:pt x="76764" y="75471"/>
                        </a:cubicBezTo>
                        <a:cubicBezTo>
                          <a:pt x="76764" y="77735"/>
                          <a:pt x="76764" y="77735"/>
                          <a:pt x="76764" y="77735"/>
                        </a:cubicBezTo>
                        <a:cubicBezTo>
                          <a:pt x="76764" y="79245"/>
                          <a:pt x="76764" y="79245"/>
                          <a:pt x="76764" y="79245"/>
                        </a:cubicBezTo>
                        <a:cubicBezTo>
                          <a:pt x="76764" y="79245"/>
                          <a:pt x="75882" y="80000"/>
                          <a:pt x="76764" y="80000"/>
                        </a:cubicBezTo>
                        <a:cubicBezTo>
                          <a:pt x="77647" y="80000"/>
                          <a:pt x="79411" y="81509"/>
                          <a:pt x="79411" y="81509"/>
                        </a:cubicBezTo>
                        <a:cubicBezTo>
                          <a:pt x="79411" y="83018"/>
                          <a:pt x="79411" y="83018"/>
                          <a:pt x="79411" y="83018"/>
                        </a:cubicBezTo>
                        <a:cubicBezTo>
                          <a:pt x="80294" y="84528"/>
                          <a:pt x="80294" y="84528"/>
                          <a:pt x="80294" y="84528"/>
                        </a:cubicBezTo>
                        <a:cubicBezTo>
                          <a:pt x="80294" y="85283"/>
                          <a:pt x="80294" y="85283"/>
                          <a:pt x="80294" y="85283"/>
                        </a:cubicBezTo>
                        <a:cubicBezTo>
                          <a:pt x="82058" y="87547"/>
                          <a:pt x="82058" y="87547"/>
                          <a:pt x="82058" y="87547"/>
                        </a:cubicBezTo>
                        <a:cubicBezTo>
                          <a:pt x="82058" y="89811"/>
                          <a:pt x="82058" y="89811"/>
                          <a:pt x="82058" y="89811"/>
                        </a:cubicBezTo>
                        <a:cubicBezTo>
                          <a:pt x="83823" y="92075"/>
                          <a:pt x="83823" y="92075"/>
                          <a:pt x="83823" y="92075"/>
                        </a:cubicBezTo>
                        <a:cubicBezTo>
                          <a:pt x="82941" y="94339"/>
                          <a:pt x="82941" y="94339"/>
                          <a:pt x="82941" y="94339"/>
                        </a:cubicBezTo>
                        <a:cubicBezTo>
                          <a:pt x="82941" y="94339"/>
                          <a:pt x="83823" y="95849"/>
                          <a:pt x="82941" y="96603"/>
                        </a:cubicBezTo>
                        <a:cubicBezTo>
                          <a:pt x="82941" y="96603"/>
                          <a:pt x="81176" y="98113"/>
                          <a:pt x="81176" y="98113"/>
                        </a:cubicBezTo>
                        <a:cubicBezTo>
                          <a:pt x="80294" y="99622"/>
                          <a:pt x="80294" y="99622"/>
                          <a:pt x="80294" y="99622"/>
                        </a:cubicBezTo>
                        <a:cubicBezTo>
                          <a:pt x="78529" y="100377"/>
                          <a:pt x="78529" y="100377"/>
                          <a:pt x="78529" y="100377"/>
                        </a:cubicBezTo>
                        <a:cubicBezTo>
                          <a:pt x="78529" y="101886"/>
                          <a:pt x="78529" y="101886"/>
                          <a:pt x="78529" y="101886"/>
                        </a:cubicBezTo>
                        <a:cubicBezTo>
                          <a:pt x="78529" y="101886"/>
                          <a:pt x="78529" y="104150"/>
                          <a:pt x="79411" y="104150"/>
                        </a:cubicBezTo>
                        <a:cubicBezTo>
                          <a:pt x="79411" y="104150"/>
                          <a:pt x="81176" y="102641"/>
                          <a:pt x="81176" y="102641"/>
                        </a:cubicBezTo>
                        <a:cubicBezTo>
                          <a:pt x="81176" y="102641"/>
                          <a:pt x="82941" y="104150"/>
                          <a:pt x="82058" y="104905"/>
                        </a:cubicBezTo>
                        <a:cubicBezTo>
                          <a:pt x="82058" y="104905"/>
                          <a:pt x="78529" y="104905"/>
                          <a:pt x="78529" y="104905"/>
                        </a:cubicBezTo>
                        <a:cubicBezTo>
                          <a:pt x="76764" y="104905"/>
                          <a:pt x="76764" y="104905"/>
                          <a:pt x="76764" y="104905"/>
                        </a:cubicBezTo>
                        <a:cubicBezTo>
                          <a:pt x="76764" y="104905"/>
                          <a:pt x="75882" y="106415"/>
                          <a:pt x="75000" y="106415"/>
                        </a:cubicBezTo>
                        <a:cubicBezTo>
                          <a:pt x="75000" y="107169"/>
                          <a:pt x="75000" y="107924"/>
                          <a:pt x="75000" y="107924"/>
                        </a:cubicBezTo>
                        <a:cubicBezTo>
                          <a:pt x="73235" y="106415"/>
                          <a:pt x="73235" y="106415"/>
                          <a:pt x="73235" y="106415"/>
                        </a:cubicBezTo>
                        <a:cubicBezTo>
                          <a:pt x="72352" y="107169"/>
                          <a:pt x="72352" y="107169"/>
                          <a:pt x="72352" y="107169"/>
                        </a:cubicBezTo>
                        <a:cubicBezTo>
                          <a:pt x="73235" y="108679"/>
                          <a:pt x="73235" y="108679"/>
                          <a:pt x="73235" y="108679"/>
                        </a:cubicBezTo>
                        <a:cubicBezTo>
                          <a:pt x="73235" y="110188"/>
                          <a:pt x="73235" y="110188"/>
                          <a:pt x="73235" y="110188"/>
                        </a:cubicBezTo>
                        <a:cubicBezTo>
                          <a:pt x="73235" y="110188"/>
                          <a:pt x="75000" y="110188"/>
                          <a:pt x="75000" y="110188"/>
                        </a:cubicBezTo>
                        <a:cubicBezTo>
                          <a:pt x="75000" y="110188"/>
                          <a:pt x="76764" y="110943"/>
                          <a:pt x="76764" y="110943"/>
                        </a:cubicBezTo>
                        <a:cubicBezTo>
                          <a:pt x="76764" y="110943"/>
                          <a:pt x="75882" y="111698"/>
                          <a:pt x="76764" y="111698"/>
                        </a:cubicBezTo>
                        <a:cubicBezTo>
                          <a:pt x="76764" y="112452"/>
                          <a:pt x="76764" y="112452"/>
                          <a:pt x="77647" y="112452"/>
                        </a:cubicBezTo>
                        <a:cubicBezTo>
                          <a:pt x="78529" y="113207"/>
                          <a:pt x="78529" y="113207"/>
                          <a:pt x="78529" y="113207"/>
                        </a:cubicBezTo>
                        <a:cubicBezTo>
                          <a:pt x="78529" y="113207"/>
                          <a:pt x="78529" y="114716"/>
                          <a:pt x="78529" y="115471"/>
                        </a:cubicBezTo>
                        <a:cubicBezTo>
                          <a:pt x="77647" y="115471"/>
                          <a:pt x="77647" y="116226"/>
                          <a:pt x="77647" y="116226"/>
                        </a:cubicBezTo>
                        <a:cubicBezTo>
                          <a:pt x="76764" y="116226"/>
                          <a:pt x="76764" y="116226"/>
                          <a:pt x="76764" y="116226"/>
                        </a:cubicBezTo>
                        <a:cubicBezTo>
                          <a:pt x="75882" y="116981"/>
                          <a:pt x="75882" y="117735"/>
                          <a:pt x="75882" y="117735"/>
                        </a:cubicBezTo>
                        <a:cubicBezTo>
                          <a:pt x="75882" y="117735"/>
                          <a:pt x="75000" y="117735"/>
                          <a:pt x="75000" y="117735"/>
                        </a:cubicBezTo>
                        <a:cubicBezTo>
                          <a:pt x="75000" y="118490"/>
                          <a:pt x="75882" y="119245"/>
                          <a:pt x="75882" y="120000"/>
                        </a:cubicBezTo>
                        <a:cubicBezTo>
                          <a:pt x="75882" y="120000"/>
                          <a:pt x="75882" y="120000"/>
                          <a:pt x="75000" y="120000"/>
                        </a:cubicBezTo>
                        <a:cubicBezTo>
                          <a:pt x="75000" y="120000"/>
                          <a:pt x="75000" y="120000"/>
                          <a:pt x="75000" y="120000"/>
                        </a:cubicBezTo>
                        <a:cubicBezTo>
                          <a:pt x="75000" y="120000"/>
                          <a:pt x="73235" y="118490"/>
                          <a:pt x="73235" y="118490"/>
                        </a:cubicBezTo>
                        <a:cubicBezTo>
                          <a:pt x="72352" y="118490"/>
                          <a:pt x="71470" y="119245"/>
                          <a:pt x="69705" y="119245"/>
                        </a:cubicBezTo>
                        <a:cubicBezTo>
                          <a:pt x="68823" y="118490"/>
                          <a:pt x="68823" y="118490"/>
                          <a:pt x="68823" y="118490"/>
                        </a:cubicBezTo>
                        <a:cubicBezTo>
                          <a:pt x="65294" y="119245"/>
                          <a:pt x="65294" y="119245"/>
                          <a:pt x="65294" y="119245"/>
                        </a:cubicBezTo>
                        <a:cubicBezTo>
                          <a:pt x="65294" y="117735"/>
                          <a:pt x="65294" y="117735"/>
                          <a:pt x="65294" y="117735"/>
                        </a:cubicBezTo>
                        <a:cubicBezTo>
                          <a:pt x="64411" y="116226"/>
                          <a:pt x="64411" y="116226"/>
                          <a:pt x="64411" y="116226"/>
                        </a:cubicBezTo>
                        <a:cubicBezTo>
                          <a:pt x="64411" y="116226"/>
                          <a:pt x="64411" y="114716"/>
                          <a:pt x="64411" y="113962"/>
                        </a:cubicBezTo>
                        <a:cubicBezTo>
                          <a:pt x="64411" y="113962"/>
                          <a:pt x="65294" y="113207"/>
                          <a:pt x="65294" y="113207"/>
                        </a:cubicBezTo>
                        <a:cubicBezTo>
                          <a:pt x="66176" y="113207"/>
                          <a:pt x="67058" y="111698"/>
                          <a:pt x="67058" y="111698"/>
                        </a:cubicBezTo>
                        <a:cubicBezTo>
                          <a:pt x="67058" y="111698"/>
                          <a:pt x="67941" y="110188"/>
                          <a:pt x="68823" y="109433"/>
                        </a:cubicBezTo>
                        <a:cubicBezTo>
                          <a:pt x="68823" y="109433"/>
                          <a:pt x="69705" y="107169"/>
                          <a:pt x="69705" y="107169"/>
                        </a:cubicBezTo>
                        <a:cubicBezTo>
                          <a:pt x="69705" y="106415"/>
                          <a:pt x="70588" y="105660"/>
                          <a:pt x="70588" y="105660"/>
                        </a:cubicBezTo>
                        <a:cubicBezTo>
                          <a:pt x="70588" y="105660"/>
                          <a:pt x="72352" y="104150"/>
                          <a:pt x="72352" y="103396"/>
                        </a:cubicBezTo>
                        <a:cubicBezTo>
                          <a:pt x="72352" y="102641"/>
                          <a:pt x="71470" y="102641"/>
                          <a:pt x="70588" y="102641"/>
                        </a:cubicBezTo>
                        <a:cubicBezTo>
                          <a:pt x="70588" y="102641"/>
                          <a:pt x="67941" y="101886"/>
                          <a:pt x="67058" y="101132"/>
                        </a:cubicBezTo>
                        <a:cubicBezTo>
                          <a:pt x="66176" y="101132"/>
                          <a:pt x="64411" y="100377"/>
                          <a:pt x="62647" y="100377"/>
                        </a:cubicBezTo>
                        <a:cubicBezTo>
                          <a:pt x="60882" y="99622"/>
                          <a:pt x="61764" y="99622"/>
                          <a:pt x="62647" y="98113"/>
                        </a:cubicBezTo>
                        <a:cubicBezTo>
                          <a:pt x="62647" y="97358"/>
                          <a:pt x="60882" y="97358"/>
                          <a:pt x="60882" y="96603"/>
                        </a:cubicBezTo>
                        <a:cubicBezTo>
                          <a:pt x="60882" y="96603"/>
                          <a:pt x="60000" y="97358"/>
                          <a:pt x="59117" y="98113"/>
                        </a:cubicBezTo>
                        <a:cubicBezTo>
                          <a:pt x="58235" y="98113"/>
                          <a:pt x="57352" y="97358"/>
                          <a:pt x="56470" y="97358"/>
                        </a:cubicBezTo>
                        <a:cubicBezTo>
                          <a:pt x="56470" y="97358"/>
                          <a:pt x="53823" y="97358"/>
                          <a:pt x="53823" y="97358"/>
                        </a:cubicBezTo>
                        <a:cubicBezTo>
                          <a:pt x="53823" y="97358"/>
                          <a:pt x="53823" y="96603"/>
                          <a:pt x="53823" y="95849"/>
                        </a:cubicBezTo>
                        <a:cubicBezTo>
                          <a:pt x="53823" y="95094"/>
                          <a:pt x="52941" y="95094"/>
                          <a:pt x="52941" y="95094"/>
                        </a:cubicBezTo>
                        <a:cubicBezTo>
                          <a:pt x="52941" y="95094"/>
                          <a:pt x="51176" y="95094"/>
                          <a:pt x="51176" y="94339"/>
                        </a:cubicBezTo>
                        <a:cubicBezTo>
                          <a:pt x="50294" y="94339"/>
                          <a:pt x="51176" y="94339"/>
                          <a:pt x="51176" y="93584"/>
                        </a:cubicBezTo>
                        <a:cubicBezTo>
                          <a:pt x="51176" y="92830"/>
                          <a:pt x="51176" y="93584"/>
                          <a:pt x="50294" y="93584"/>
                        </a:cubicBezTo>
                        <a:cubicBezTo>
                          <a:pt x="49411" y="93584"/>
                          <a:pt x="49411" y="91320"/>
                          <a:pt x="49411" y="91320"/>
                        </a:cubicBezTo>
                        <a:cubicBezTo>
                          <a:pt x="49411" y="91320"/>
                          <a:pt x="48529" y="89811"/>
                          <a:pt x="48529" y="89056"/>
                        </a:cubicBezTo>
                        <a:cubicBezTo>
                          <a:pt x="47647" y="87547"/>
                          <a:pt x="47647" y="89056"/>
                          <a:pt x="47647" y="89056"/>
                        </a:cubicBezTo>
                        <a:cubicBezTo>
                          <a:pt x="45882" y="91320"/>
                          <a:pt x="45882" y="91320"/>
                          <a:pt x="45882" y="91320"/>
                        </a:cubicBezTo>
                        <a:cubicBezTo>
                          <a:pt x="45882" y="91320"/>
                          <a:pt x="45000" y="91320"/>
                          <a:pt x="42352" y="90566"/>
                        </a:cubicBezTo>
                        <a:cubicBezTo>
                          <a:pt x="40588" y="89811"/>
                          <a:pt x="41470" y="89811"/>
                          <a:pt x="41470" y="89811"/>
                        </a:cubicBezTo>
                        <a:cubicBezTo>
                          <a:pt x="43235" y="88301"/>
                          <a:pt x="43235" y="88301"/>
                          <a:pt x="43235" y="88301"/>
                        </a:cubicBezTo>
                        <a:cubicBezTo>
                          <a:pt x="43235" y="88301"/>
                          <a:pt x="41470" y="87547"/>
                          <a:pt x="40588" y="87547"/>
                        </a:cubicBezTo>
                        <a:cubicBezTo>
                          <a:pt x="39705" y="86792"/>
                          <a:pt x="39705" y="86792"/>
                          <a:pt x="38823" y="88301"/>
                        </a:cubicBezTo>
                        <a:cubicBezTo>
                          <a:pt x="37941" y="89056"/>
                          <a:pt x="37941" y="89056"/>
                          <a:pt x="37058" y="89811"/>
                        </a:cubicBezTo>
                        <a:cubicBezTo>
                          <a:pt x="36176" y="90566"/>
                          <a:pt x="36176" y="90566"/>
                          <a:pt x="34411" y="90566"/>
                        </a:cubicBezTo>
                        <a:cubicBezTo>
                          <a:pt x="33529" y="90566"/>
                          <a:pt x="33529" y="89811"/>
                          <a:pt x="32647" y="89811"/>
                        </a:cubicBezTo>
                        <a:cubicBezTo>
                          <a:pt x="32647" y="89056"/>
                          <a:pt x="32647" y="89056"/>
                          <a:pt x="31764" y="88301"/>
                        </a:cubicBezTo>
                        <a:cubicBezTo>
                          <a:pt x="31764" y="87547"/>
                          <a:pt x="30882" y="87547"/>
                          <a:pt x="30882" y="87547"/>
                        </a:cubicBezTo>
                        <a:cubicBezTo>
                          <a:pt x="30882" y="87547"/>
                          <a:pt x="29117" y="88301"/>
                          <a:pt x="29117" y="89056"/>
                        </a:cubicBezTo>
                        <a:cubicBezTo>
                          <a:pt x="28235" y="89056"/>
                          <a:pt x="29117" y="89811"/>
                          <a:pt x="29117" y="90566"/>
                        </a:cubicBezTo>
                        <a:cubicBezTo>
                          <a:pt x="30000" y="91320"/>
                          <a:pt x="29117" y="92075"/>
                          <a:pt x="29117" y="92075"/>
                        </a:cubicBezTo>
                        <a:cubicBezTo>
                          <a:pt x="29117" y="92075"/>
                          <a:pt x="27352" y="92075"/>
                          <a:pt x="26470" y="92075"/>
                        </a:cubicBezTo>
                        <a:cubicBezTo>
                          <a:pt x="25588" y="92075"/>
                          <a:pt x="24705" y="92075"/>
                          <a:pt x="23823" y="91320"/>
                        </a:cubicBezTo>
                        <a:cubicBezTo>
                          <a:pt x="22058" y="90566"/>
                          <a:pt x="22941" y="92075"/>
                          <a:pt x="22941" y="92830"/>
                        </a:cubicBezTo>
                        <a:cubicBezTo>
                          <a:pt x="22941" y="92830"/>
                          <a:pt x="21176" y="94339"/>
                          <a:pt x="21176" y="94339"/>
                        </a:cubicBezTo>
                        <a:cubicBezTo>
                          <a:pt x="21176" y="94339"/>
                          <a:pt x="21176" y="94339"/>
                          <a:pt x="21176" y="94339"/>
                        </a:cubicBezTo>
                        <a:cubicBezTo>
                          <a:pt x="19411" y="94339"/>
                          <a:pt x="17647" y="93584"/>
                          <a:pt x="17647" y="93584"/>
                        </a:cubicBezTo>
                        <a:cubicBezTo>
                          <a:pt x="16764" y="94339"/>
                          <a:pt x="16764" y="94339"/>
                          <a:pt x="16764" y="94339"/>
                        </a:cubicBezTo>
                        <a:cubicBezTo>
                          <a:pt x="14117" y="93584"/>
                          <a:pt x="14117" y="93584"/>
                          <a:pt x="14117" y="93584"/>
                        </a:cubicBezTo>
                        <a:cubicBezTo>
                          <a:pt x="13235" y="93584"/>
                          <a:pt x="13235" y="93584"/>
                          <a:pt x="13235" y="93584"/>
                        </a:cubicBezTo>
                        <a:cubicBezTo>
                          <a:pt x="12352" y="91320"/>
                          <a:pt x="12352" y="91320"/>
                          <a:pt x="12352" y="91320"/>
                        </a:cubicBezTo>
                        <a:cubicBezTo>
                          <a:pt x="11470" y="91320"/>
                          <a:pt x="11470" y="91320"/>
                          <a:pt x="11470" y="91320"/>
                        </a:cubicBezTo>
                        <a:cubicBezTo>
                          <a:pt x="7941" y="89811"/>
                          <a:pt x="7941" y="89811"/>
                          <a:pt x="7941" y="89811"/>
                        </a:cubicBezTo>
                        <a:cubicBezTo>
                          <a:pt x="7058" y="89056"/>
                          <a:pt x="7058" y="89056"/>
                          <a:pt x="7058" y="89056"/>
                        </a:cubicBezTo>
                        <a:cubicBezTo>
                          <a:pt x="5294" y="89811"/>
                          <a:pt x="5294" y="89811"/>
                          <a:pt x="5294" y="89811"/>
                        </a:cubicBezTo>
                        <a:cubicBezTo>
                          <a:pt x="4411" y="90566"/>
                          <a:pt x="4411" y="90566"/>
                          <a:pt x="4411" y="90566"/>
                        </a:cubicBezTo>
                        <a:cubicBezTo>
                          <a:pt x="4411" y="90566"/>
                          <a:pt x="2647" y="91320"/>
                          <a:pt x="1764" y="91320"/>
                        </a:cubicBezTo>
                        <a:cubicBezTo>
                          <a:pt x="1764" y="90566"/>
                          <a:pt x="0" y="87547"/>
                          <a:pt x="0" y="87547"/>
                        </a:cubicBezTo>
                        <a:cubicBezTo>
                          <a:pt x="882" y="85283"/>
                          <a:pt x="882" y="85283"/>
                          <a:pt x="882" y="85283"/>
                        </a:cubicBezTo>
                        <a:cubicBezTo>
                          <a:pt x="882" y="85283"/>
                          <a:pt x="3529" y="84528"/>
                          <a:pt x="3529" y="84528"/>
                        </a:cubicBezTo>
                        <a:cubicBezTo>
                          <a:pt x="3529" y="84528"/>
                          <a:pt x="5294" y="84528"/>
                          <a:pt x="5294" y="84528"/>
                        </a:cubicBezTo>
                        <a:cubicBezTo>
                          <a:pt x="5294" y="84528"/>
                          <a:pt x="6176" y="84528"/>
                          <a:pt x="6176" y="85283"/>
                        </a:cubicBezTo>
                        <a:cubicBezTo>
                          <a:pt x="7058" y="85283"/>
                          <a:pt x="8823" y="86792"/>
                          <a:pt x="9705" y="86792"/>
                        </a:cubicBezTo>
                        <a:cubicBezTo>
                          <a:pt x="9705" y="86792"/>
                          <a:pt x="11470" y="87547"/>
                          <a:pt x="11470" y="87547"/>
                        </a:cubicBezTo>
                        <a:cubicBezTo>
                          <a:pt x="12352" y="87547"/>
                          <a:pt x="14117" y="88301"/>
                          <a:pt x="14117" y="88301"/>
                        </a:cubicBezTo>
                        <a:cubicBezTo>
                          <a:pt x="14117" y="88301"/>
                          <a:pt x="15882" y="88301"/>
                          <a:pt x="15882" y="88301"/>
                        </a:cubicBezTo>
                        <a:cubicBezTo>
                          <a:pt x="15882" y="88301"/>
                          <a:pt x="17647" y="87547"/>
                          <a:pt x="17647" y="87547"/>
                        </a:cubicBezTo>
                        <a:cubicBezTo>
                          <a:pt x="17647" y="87547"/>
                          <a:pt x="17647" y="87547"/>
                          <a:pt x="17647" y="87547"/>
                        </a:cubicBezTo>
                        <a:cubicBezTo>
                          <a:pt x="18529" y="86792"/>
                          <a:pt x="18529" y="86037"/>
                          <a:pt x="18529" y="86037"/>
                        </a:cubicBezTo>
                        <a:cubicBezTo>
                          <a:pt x="18529" y="86037"/>
                          <a:pt x="19411" y="86037"/>
                          <a:pt x="19411" y="86037"/>
                        </a:cubicBezTo>
                        <a:cubicBezTo>
                          <a:pt x="19411" y="86792"/>
                          <a:pt x="20294" y="87547"/>
                          <a:pt x="20294" y="87547"/>
                        </a:cubicBezTo>
                        <a:cubicBezTo>
                          <a:pt x="20294" y="87547"/>
                          <a:pt x="21176" y="88301"/>
                          <a:pt x="21176" y="88301"/>
                        </a:cubicBezTo>
                        <a:cubicBezTo>
                          <a:pt x="22058" y="89056"/>
                          <a:pt x="22941" y="89056"/>
                          <a:pt x="22941" y="89056"/>
                        </a:cubicBezTo>
                        <a:cubicBezTo>
                          <a:pt x="22941" y="89056"/>
                          <a:pt x="23823" y="88301"/>
                          <a:pt x="23823" y="88301"/>
                        </a:cubicBezTo>
                        <a:cubicBezTo>
                          <a:pt x="23823" y="88301"/>
                          <a:pt x="24705" y="89056"/>
                          <a:pt x="24705" y="88301"/>
                        </a:cubicBezTo>
                        <a:cubicBezTo>
                          <a:pt x="24705" y="88301"/>
                          <a:pt x="25588" y="88301"/>
                          <a:pt x="25588" y="88301"/>
                        </a:cubicBezTo>
                        <a:cubicBezTo>
                          <a:pt x="25588" y="88301"/>
                          <a:pt x="26470" y="87547"/>
                          <a:pt x="25588" y="87547"/>
                        </a:cubicBezTo>
                        <a:cubicBezTo>
                          <a:pt x="25588" y="87547"/>
                          <a:pt x="25588" y="86792"/>
                          <a:pt x="25588" y="87547"/>
                        </a:cubicBezTo>
                        <a:cubicBezTo>
                          <a:pt x="24705" y="87547"/>
                          <a:pt x="24705" y="87547"/>
                          <a:pt x="23823" y="87547"/>
                        </a:cubicBezTo>
                        <a:cubicBezTo>
                          <a:pt x="22941" y="87547"/>
                          <a:pt x="21176" y="86792"/>
                          <a:pt x="21176" y="86792"/>
                        </a:cubicBezTo>
                        <a:cubicBezTo>
                          <a:pt x="21176" y="86037"/>
                          <a:pt x="20294" y="86037"/>
                          <a:pt x="20294" y="85283"/>
                        </a:cubicBezTo>
                        <a:cubicBezTo>
                          <a:pt x="19411" y="85283"/>
                          <a:pt x="19411" y="84528"/>
                          <a:pt x="18529" y="84528"/>
                        </a:cubicBezTo>
                        <a:cubicBezTo>
                          <a:pt x="17647" y="84528"/>
                          <a:pt x="17647" y="84528"/>
                          <a:pt x="17647" y="84528"/>
                        </a:cubicBezTo>
                        <a:cubicBezTo>
                          <a:pt x="17647" y="84528"/>
                          <a:pt x="16764" y="85283"/>
                          <a:pt x="16764" y="86037"/>
                        </a:cubicBezTo>
                        <a:cubicBezTo>
                          <a:pt x="16764" y="86037"/>
                          <a:pt x="17647" y="86792"/>
                          <a:pt x="15882" y="86037"/>
                        </a:cubicBezTo>
                        <a:cubicBezTo>
                          <a:pt x="14117" y="86037"/>
                          <a:pt x="12352" y="86037"/>
                          <a:pt x="12352" y="86037"/>
                        </a:cubicBezTo>
                        <a:cubicBezTo>
                          <a:pt x="9705" y="83773"/>
                          <a:pt x="9705" y="83773"/>
                          <a:pt x="9705" y="83773"/>
                        </a:cubicBezTo>
                        <a:cubicBezTo>
                          <a:pt x="9705" y="83773"/>
                          <a:pt x="8823" y="83773"/>
                          <a:pt x="7941" y="83773"/>
                        </a:cubicBezTo>
                        <a:cubicBezTo>
                          <a:pt x="7941" y="83773"/>
                          <a:pt x="6176" y="83018"/>
                          <a:pt x="6176" y="82264"/>
                        </a:cubicBezTo>
                        <a:cubicBezTo>
                          <a:pt x="6176" y="82264"/>
                          <a:pt x="5294" y="81509"/>
                          <a:pt x="5294" y="80754"/>
                        </a:cubicBezTo>
                        <a:cubicBezTo>
                          <a:pt x="5294" y="80754"/>
                          <a:pt x="4411" y="80754"/>
                          <a:pt x="4411" y="80000"/>
                        </a:cubicBezTo>
                        <a:cubicBezTo>
                          <a:pt x="4411" y="80000"/>
                          <a:pt x="3529" y="79245"/>
                          <a:pt x="3529" y="79245"/>
                        </a:cubicBezTo>
                        <a:cubicBezTo>
                          <a:pt x="3529" y="79245"/>
                          <a:pt x="3529" y="78490"/>
                          <a:pt x="4411" y="77735"/>
                        </a:cubicBezTo>
                        <a:cubicBezTo>
                          <a:pt x="6176" y="77735"/>
                          <a:pt x="6176" y="77735"/>
                          <a:pt x="7058" y="77735"/>
                        </a:cubicBezTo>
                        <a:cubicBezTo>
                          <a:pt x="7941" y="77735"/>
                          <a:pt x="7058" y="77735"/>
                          <a:pt x="8823" y="77735"/>
                        </a:cubicBezTo>
                        <a:cubicBezTo>
                          <a:pt x="10588" y="77735"/>
                          <a:pt x="9705" y="77735"/>
                          <a:pt x="10588" y="77735"/>
                        </a:cubicBezTo>
                        <a:cubicBezTo>
                          <a:pt x="11470" y="77735"/>
                          <a:pt x="13235" y="77735"/>
                          <a:pt x="13235" y="77735"/>
                        </a:cubicBezTo>
                        <a:cubicBezTo>
                          <a:pt x="13235" y="77735"/>
                          <a:pt x="11470" y="76981"/>
                          <a:pt x="14117" y="77735"/>
                        </a:cubicBezTo>
                        <a:cubicBezTo>
                          <a:pt x="14117" y="77735"/>
                          <a:pt x="17647" y="78490"/>
                          <a:pt x="16764" y="80000"/>
                        </a:cubicBezTo>
                        <a:cubicBezTo>
                          <a:pt x="16764" y="80000"/>
                          <a:pt x="15882" y="80754"/>
                          <a:pt x="15882" y="80754"/>
                        </a:cubicBezTo>
                        <a:cubicBezTo>
                          <a:pt x="15882" y="80754"/>
                          <a:pt x="17647" y="81509"/>
                          <a:pt x="17647" y="81509"/>
                        </a:cubicBezTo>
                        <a:cubicBezTo>
                          <a:pt x="17647" y="81509"/>
                          <a:pt x="18529" y="80754"/>
                          <a:pt x="18529" y="80754"/>
                        </a:cubicBezTo>
                        <a:cubicBezTo>
                          <a:pt x="19411" y="81509"/>
                          <a:pt x="19411" y="81509"/>
                          <a:pt x="19411" y="81509"/>
                        </a:cubicBezTo>
                        <a:cubicBezTo>
                          <a:pt x="21176" y="83018"/>
                          <a:pt x="21176" y="83018"/>
                          <a:pt x="21176" y="83018"/>
                        </a:cubicBezTo>
                        <a:cubicBezTo>
                          <a:pt x="21176" y="83018"/>
                          <a:pt x="22941" y="83018"/>
                          <a:pt x="22941" y="83018"/>
                        </a:cubicBezTo>
                        <a:cubicBezTo>
                          <a:pt x="22058" y="83773"/>
                          <a:pt x="21176" y="82264"/>
                          <a:pt x="22058" y="83773"/>
                        </a:cubicBezTo>
                        <a:cubicBezTo>
                          <a:pt x="22941" y="85283"/>
                          <a:pt x="23823" y="86037"/>
                          <a:pt x="23823" y="86037"/>
                        </a:cubicBezTo>
                        <a:cubicBezTo>
                          <a:pt x="24705" y="86037"/>
                          <a:pt x="24705" y="86037"/>
                          <a:pt x="24705" y="86037"/>
                        </a:cubicBezTo>
                        <a:cubicBezTo>
                          <a:pt x="24705" y="86037"/>
                          <a:pt x="24705" y="85283"/>
                          <a:pt x="25588" y="85283"/>
                        </a:cubicBezTo>
                        <a:cubicBezTo>
                          <a:pt x="25588" y="86037"/>
                          <a:pt x="27352" y="86037"/>
                          <a:pt x="28235" y="86037"/>
                        </a:cubicBezTo>
                        <a:cubicBezTo>
                          <a:pt x="28235" y="86037"/>
                          <a:pt x="28235" y="85283"/>
                          <a:pt x="27352" y="83773"/>
                        </a:cubicBezTo>
                        <a:cubicBezTo>
                          <a:pt x="26470" y="83018"/>
                          <a:pt x="25588" y="82264"/>
                          <a:pt x="25588" y="82264"/>
                        </a:cubicBezTo>
                        <a:cubicBezTo>
                          <a:pt x="24705" y="82264"/>
                          <a:pt x="25588" y="83018"/>
                          <a:pt x="23823" y="82264"/>
                        </a:cubicBezTo>
                        <a:cubicBezTo>
                          <a:pt x="22058" y="81509"/>
                          <a:pt x="22058" y="82264"/>
                          <a:pt x="21176" y="81509"/>
                        </a:cubicBezTo>
                        <a:cubicBezTo>
                          <a:pt x="20294" y="80000"/>
                          <a:pt x="19411" y="80000"/>
                          <a:pt x="19411" y="79245"/>
                        </a:cubicBezTo>
                        <a:cubicBezTo>
                          <a:pt x="19411" y="79245"/>
                          <a:pt x="20294" y="79245"/>
                          <a:pt x="21176" y="78490"/>
                        </a:cubicBezTo>
                        <a:cubicBezTo>
                          <a:pt x="22058" y="78490"/>
                          <a:pt x="20294" y="77735"/>
                          <a:pt x="22058" y="78490"/>
                        </a:cubicBezTo>
                        <a:cubicBezTo>
                          <a:pt x="24705" y="79245"/>
                          <a:pt x="24705" y="79245"/>
                          <a:pt x="25588" y="79245"/>
                        </a:cubicBezTo>
                        <a:cubicBezTo>
                          <a:pt x="25588" y="79245"/>
                          <a:pt x="27352" y="79245"/>
                          <a:pt x="25588" y="78490"/>
                        </a:cubicBezTo>
                        <a:cubicBezTo>
                          <a:pt x="23823" y="78490"/>
                          <a:pt x="22941" y="77735"/>
                          <a:pt x="22941" y="77735"/>
                        </a:cubicBezTo>
                        <a:cubicBezTo>
                          <a:pt x="21176" y="77735"/>
                          <a:pt x="21176" y="77735"/>
                          <a:pt x="21176" y="77735"/>
                        </a:cubicBezTo>
                        <a:cubicBezTo>
                          <a:pt x="21176" y="77735"/>
                          <a:pt x="21176" y="77735"/>
                          <a:pt x="20294" y="77735"/>
                        </a:cubicBezTo>
                        <a:cubicBezTo>
                          <a:pt x="19411" y="77735"/>
                          <a:pt x="19411" y="78490"/>
                          <a:pt x="19411" y="77735"/>
                        </a:cubicBezTo>
                        <a:cubicBezTo>
                          <a:pt x="18529" y="77735"/>
                          <a:pt x="17647" y="77735"/>
                          <a:pt x="17647" y="76981"/>
                        </a:cubicBezTo>
                        <a:cubicBezTo>
                          <a:pt x="16764" y="76981"/>
                          <a:pt x="15882" y="76226"/>
                          <a:pt x="15882" y="76226"/>
                        </a:cubicBezTo>
                        <a:cubicBezTo>
                          <a:pt x="15882" y="75471"/>
                          <a:pt x="15000" y="74716"/>
                          <a:pt x="15000" y="74716"/>
                        </a:cubicBezTo>
                        <a:cubicBezTo>
                          <a:pt x="15000" y="74716"/>
                          <a:pt x="15000" y="74716"/>
                          <a:pt x="15000" y="74716"/>
                        </a:cubicBezTo>
                        <a:cubicBezTo>
                          <a:pt x="14117" y="74716"/>
                          <a:pt x="13235" y="74716"/>
                          <a:pt x="12352" y="74716"/>
                        </a:cubicBezTo>
                        <a:cubicBezTo>
                          <a:pt x="12352" y="74716"/>
                          <a:pt x="11470" y="74716"/>
                          <a:pt x="11470" y="74716"/>
                        </a:cubicBezTo>
                        <a:cubicBezTo>
                          <a:pt x="11470" y="73962"/>
                          <a:pt x="11470" y="73962"/>
                          <a:pt x="11470" y="73207"/>
                        </a:cubicBezTo>
                        <a:cubicBezTo>
                          <a:pt x="11470" y="73207"/>
                          <a:pt x="11470" y="72452"/>
                          <a:pt x="12352" y="72452"/>
                        </a:cubicBezTo>
                        <a:cubicBezTo>
                          <a:pt x="13235" y="72452"/>
                          <a:pt x="14117" y="72452"/>
                          <a:pt x="15000" y="72452"/>
                        </a:cubicBezTo>
                        <a:cubicBezTo>
                          <a:pt x="15882" y="72452"/>
                          <a:pt x="16764" y="72452"/>
                          <a:pt x="17647" y="72452"/>
                        </a:cubicBezTo>
                        <a:cubicBezTo>
                          <a:pt x="17647" y="72452"/>
                          <a:pt x="18529" y="73207"/>
                          <a:pt x="18529" y="73207"/>
                        </a:cubicBezTo>
                        <a:cubicBezTo>
                          <a:pt x="19411" y="73962"/>
                          <a:pt x="20294" y="73962"/>
                          <a:pt x="20294" y="73962"/>
                        </a:cubicBezTo>
                        <a:cubicBezTo>
                          <a:pt x="20294" y="74716"/>
                          <a:pt x="20294" y="74716"/>
                          <a:pt x="21176" y="74716"/>
                        </a:cubicBezTo>
                        <a:cubicBezTo>
                          <a:pt x="21176" y="75471"/>
                          <a:pt x="22058" y="75471"/>
                          <a:pt x="22058" y="75471"/>
                        </a:cubicBezTo>
                        <a:cubicBezTo>
                          <a:pt x="22941" y="76981"/>
                          <a:pt x="22941" y="76981"/>
                          <a:pt x="22941" y="76981"/>
                        </a:cubicBezTo>
                        <a:cubicBezTo>
                          <a:pt x="22941" y="76981"/>
                          <a:pt x="22941" y="76981"/>
                          <a:pt x="22941" y="76981"/>
                        </a:cubicBezTo>
                        <a:cubicBezTo>
                          <a:pt x="24705" y="77735"/>
                          <a:pt x="24705" y="77735"/>
                          <a:pt x="24705" y="77735"/>
                        </a:cubicBezTo>
                        <a:cubicBezTo>
                          <a:pt x="24705" y="77735"/>
                          <a:pt x="27352" y="78490"/>
                          <a:pt x="27352" y="78490"/>
                        </a:cubicBezTo>
                        <a:cubicBezTo>
                          <a:pt x="27352" y="78490"/>
                          <a:pt x="27352" y="78490"/>
                          <a:pt x="28235" y="78490"/>
                        </a:cubicBezTo>
                        <a:cubicBezTo>
                          <a:pt x="29117" y="78490"/>
                          <a:pt x="29117" y="77735"/>
                          <a:pt x="29117" y="77735"/>
                        </a:cubicBezTo>
                        <a:cubicBezTo>
                          <a:pt x="29117" y="77735"/>
                          <a:pt x="30000" y="77735"/>
                          <a:pt x="30000" y="77735"/>
                        </a:cubicBezTo>
                        <a:cubicBezTo>
                          <a:pt x="30000" y="77735"/>
                          <a:pt x="32647" y="76226"/>
                          <a:pt x="32647" y="76226"/>
                        </a:cubicBezTo>
                        <a:cubicBezTo>
                          <a:pt x="32647" y="76981"/>
                          <a:pt x="33529" y="76981"/>
                          <a:pt x="34411" y="76981"/>
                        </a:cubicBezTo>
                        <a:cubicBezTo>
                          <a:pt x="34411" y="76981"/>
                          <a:pt x="37058" y="78490"/>
                          <a:pt x="37058" y="78490"/>
                        </a:cubicBezTo>
                        <a:cubicBezTo>
                          <a:pt x="37058" y="77735"/>
                          <a:pt x="37058" y="76981"/>
                          <a:pt x="37058" y="76981"/>
                        </a:cubicBezTo>
                        <a:cubicBezTo>
                          <a:pt x="37058" y="76981"/>
                          <a:pt x="37941" y="76226"/>
                          <a:pt x="37941" y="76226"/>
                        </a:cubicBezTo>
                        <a:cubicBezTo>
                          <a:pt x="41470" y="76226"/>
                          <a:pt x="41470" y="76226"/>
                          <a:pt x="41470" y="76226"/>
                        </a:cubicBezTo>
                        <a:cubicBezTo>
                          <a:pt x="41470" y="76226"/>
                          <a:pt x="42352" y="75471"/>
                          <a:pt x="42352" y="75471"/>
                        </a:cubicBezTo>
                        <a:cubicBezTo>
                          <a:pt x="41470" y="75471"/>
                          <a:pt x="40588" y="75471"/>
                          <a:pt x="40588" y="75471"/>
                        </a:cubicBezTo>
                        <a:cubicBezTo>
                          <a:pt x="38823" y="76226"/>
                          <a:pt x="38823" y="76226"/>
                          <a:pt x="38823" y="76226"/>
                        </a:cubicBezTo>
                        <a:cubicBezTo>
                          <a:pt x="37058" y="76226"/>
                          <a:pt x="37058" y="76226"/>
                          <a:pt x="37058" y="76226"/>
                        </a:cubicBezTo>
                        <a:cubicBezTo>
                          <a:pt x="37058" y="76226"/>
                          <a:pt x="36176" y="76981"/>
                          <a:pt x="36176" y="76981"/>
                        </a:cubicBezTo>
                        <a:cubicBezTo>
                          <a:pt x="35294" y="76981"/>
                          <a:pt x="34411" y="76226"/>
                          <a:pt x="34411" y="76226"/>
                        </a:cubicBezTo>
                        <a:cubicBezTo>
                          <a:pt x="33529" y="75471"/>
                          <a:pt x="31764" y="74716"/>
                          <a:pt x="31764" y="74716"/>
                        </a:cubicBezTo>
                        <a:cubicBezTo>
                          <a:pt x="30882" y="74716"/>
                          <a:pt x="31764" y="74716"/>
                          <a:pt x="30000" y="73962"/>
                        </a:cubicBezTo>
                        <a:cubicBezTo>
                          <a:pt x="28235" y="73207"/>
                          <a:pt x="27352" y="72452"/>
                          <a:pt x="27352" y="72452"/>
                        </a:cubicBezTo>
                        <a:cubicBezTo>
                          <a:pt x="26470" y="71698"/>
                          <a:pt x="26470" y="71698"/>
                          <a:pt x="26470" y="71698"/>
                        </a:cubicBezTo>
                        <a:cubicBezTo>
                          <a:pt x="26470" y="71698"/>
                          <a:pt x="26470" y="70943"/>
                          <a:pt x="25588" y="70943"/>
                        </a:cubicBezTo>
                        <a:cubicBezTo>
                          <a:pt x="24705" y="70188"/>
                          <a:pt x="22058" y="69433"/>
                          <a:pt x="22058" y="69433"/>
                        </a:cubicBezTo>
                        <a:cubicBezTo>
                          <a:pt x="22058" y="69433"/>
                          <a:pt x="22058" y="68679"/>
                          <a:pt x="22058" y="68679"/>
                        </a:cubicBezTo>
                        <a:cubicBezTo>
                          <a:pt x="22058" y="68679"/>
                          <a:pt x="22058" y="66415"/>
                          <a:pt x="22058" y="66415"/>
                        </a:cubicBezTo>
                        <a:cubicBezTo>
                          <a:pt x="22058" y="65660"/>
                          <a:pt x="21176" y="64150"/>
                          <a:pt x="21176" y="64150"/>
                        </a:cubicBezTo>
                        <a:cubicBezTo>
                          <a:pt x="21176" y="64150"/>
                          <a:pt x="22941" y="63396"/>
                          <a:pt x="22941" y="63396"/>
                        </a:cubicBezTo>
                        <a:cubicBezTo>
                          <a:pt x="23823" y="63396"/>
                          <a:pt x="24705" y="64150"/>
                          <a:pt x="24705" y="64150"/>
                        </a:cubicBezTo>
                        <a:cubicBezTo>
                          <a:pt x="25588" y="63396"/>
                          <a:pt x="25588" y="63396"/>
                          <a:pt x="25588" y="63396"/>
                        </a:cubicBezTo>
                        <a:cubicBezTo>
                          <a:pt x="32647" y="55094"/>
                          <a:pt x="32647" y="55094"/>
                          <a:pt x="32647" y="55094"/>
                        </a:cubicBezTo>
                        <a:cubicBezTo>
                          <a:pt x="38823" y="47547"/>
                          <a:pt x="38823" y="47547"/>
                          <a:pt x="38823" y="47547"/>
                        </a:cubicBezTo>
                        <a:cubicBezTo>
                          <a:pt x="41470" y="36226"/>
                          <a:pt x="41470" y="36226"/>
                          <a:pt x="41470" y="36226"/>
                        </a:cubicBezTo>
                        <a:cubicBezTo>
                          <a:pt x="43235" y="30943"/>
                          <a:pt x="43235" y="30943"/>
                          <a:pt x="43235" y="30943"/>
                        </a:cubicBezTo>
                        <a:cubicBezTo>
                          <a:pt x="45000" y="26415"/>
                          <a:pt x="45000" y="26415"/>
                          <a:pt x="45000" y="26415"/>
                        </a:cubicBezTo>
                        <a:cubicBezTo>
                          <a:pt x="45000" y="26415"/>
                          <a:pt x="45000" y="25660"/>
                          <a:pt x="45882" y="26415"/>
                        </a:cubicBezTo>
                        <a:cubicBezTo>
                          <a:pt x="45882" y="26415"/>
                          <a:pt x="46764" y="27924"/>
                          <a:pt x="46764" y="27924"/>
                        </a:cubicBezTo>
                        <a:cubicBezTo>
                          <a:pt x="47647" y="28679"/>
                          <a:pt x="47647" y="28679"/>
                          <a:pt x="47647" y="28679"/>
                        </a:cubicBezTo>
                        <a:cubicBezTo>
                          <a:pt x="48529" y="28679"/>
                          <a:pt x="48529" y="28679"/>
                          <a:pt x="48529" y="28679"/>
                        </a:cubicBezTo>
                        <a:cubicBezTo>
                          <a:pt x="48529" y="28679"/>
                          <a:pt x="50294" y="27924"/>
                          <a:pt x="51176" y="27924"/>
                        </a:cubicBezTo>
                        <a:cubicBezTo>
                          <a:pt x="51176" y="27924"/>
                          <a:pt x="54705" y="29433"/>
                          <a:pt x="54705" y="29433"/>
                        </a:cubicBezTo>
                        <a:cubicBezTo>
                          <a:pt x="54705" y="29433"/>
                          <a:pt x="54705" y="30943"/>
                          <a:pt x="54705" y="31698"/>
                        </a:cubicBezTo>
                        <a:cubicBezTo>
                          <a:pt x="54705" y="31698"/>
                          <a:pt x="56470" y="33207"/>
                          <a:pt x="55588" y="33962"/>
                        </a:cubicBezTo>
                        <a:cubicBezTo>
                          <a:pt x="55588" y="33962"/>
                          <a:pt x="54705" y="35471"/>
                          <a:pt x="54705" y="35471"/>
                        </a:cubicBezTo>
                        <a:cubicBezTo>
                          <a:pt x="54705" y="35471"/>
                          <a:pt x="55588" y="36226"/>
                          <a:pt x="55588" y="36226"/>
                        </a:cubicBezTo>
                        <a:cubicBezTo>
                          <a:pt x="56470" y="36226"/>
                          <a:pt x="56470" y="36226"/>
                          <a:pt x="57352" y="36226"/>
                        </a:cubicBezTo>
                        <a:cubicBezTo>
                          <a:pt x="58235" y="36226"/>
                          <a:pt x="59117" y="36981"/>
                          <a:pt x="59117" y="36981"/>
                        </a:cubicBezTo>
                        <a:cubicBezTo>
                          <a:pt x="59117" y="36981"/>
                          <a:pt x="59117" y="37735"/>
                          <a:pt x="59117" y="37735"/>
                        </a:cubicBezTo>
                        <a:cubicBezTo>
                          <a:pt x="59117" y="37735"/>
                          <a:pt x="59117" y="39245"/>
                          <a:pt x="59117" y="39245"/>
                        </a:cubicBezTo>
                        <a:cubicBezTo>
                          <a:pt x="59117" y="40000"/>
                          <a:pt x="57352" y="40000"/>
                          <a:pt x="57352" y="40000"/>
                        </a:cubicBezTo>
                        <a:cubicBezTo>
                          <a:pt x="57352" y="40000"/>
                          <a:pt x="57352" y="40754"/>
                          <a:pt x="57352" y="40754"/>
                        </a:cubicBezTo>
                        <a:cubicBezTo>
                          <a:pt x="56470" y="41509"/>
                          <a:pt x="55588" y="42264"/>
                          <a:pt x="54705" y="42264"/>
                        </a:cubicBezTo>
                        <a:cubicBezTo>
                          <a:pt x="54705" y="42264"/>
                          <a:pt x="52941" y="40754"/>
                          <a:pt x="52941" y="40754"/>
                        </a:cubicBezTo>
                        <a:cubicBezTo>
                          <a:pt x="52941" y="40754"/>
                          <a:pt x="52058" y="41509"/>
                          <a:pt x="52058" y="41509"/>
                        </a:cubicBezTo>
                        <a:cubicBezTo>
                          <a:pt x="52941" y="43018"/>
                          <a:pt x="52941" y="43018"/>
                          <a:pt x="52941" y="43018"/>
                        </a:cubicBezTo>
                        <a:cubicBezTo>
                          <a:pt x="53823" y="45283"/>
                          <a:pt x="53823" y="45283"/>
                          <a:pt x="53823" y="45283"/>
                        </a:cubicBezTo>
                        <a:cubicBezTo>
                          <a:pt x="52941" y="46037"/>
                          <a:pt x="52941" y="46037"/>
                          <a:pt x="52941" y="46037"/>
                        </a:cubicBezTo>
                        <a:cubicBezTo>
                          <a:pt x="53823" y="48301"/>
                          <a:pt x="53823" y="48301"/>
                          <a:pt x="53823" y="48301"/>
                        </a:cubicBezTo>
                        <a:cubicBezTo>
                          <a:pt x="53823" y="49811"/>
                          <a:pt x="53823" y="49811"/>
                          <a:pt x="53823" y="49811"/>
                        </a:cubicBezTo>
                        <a:cubicBezTo>
                          <a:pt x="52058" y="50566"/>
                          <a:pt x="52058" y="50566"/>
                          <a:pt x="52058" y="50566"/>
                        </a:cubicBezTo>
                        <a:cubicBezTo>
                          <a:pt x="52058" y="50566"/>
                          <a:pt x="51176" y="51320"/>
                          <a:pt x="50294" y="51320"/>
                        </a:cubicBezTo>
                        <a:cubicBezTo>
                          <a:pt x="50294" y="51320"/>
                          <a:pt x="49411" y="50566"/>
                          <a:pt x="49411" y="51320"/>
                        </a:cubicBezTo>
                        <a:cubicBezTo>
                          <a:pt x="50294" y="52075"/>
                          <a:pt x="50294" y="52830"/>
                          <a:pt x="51176" y="52830"/>
                        </a:cubicBezTo>
                        <a:cubicBezTo>
                          <a:pt x="52058" y="52830"/>
                          <a:pt x="53823" y="52830"/>
                          <a:pt x="53823" y="52830"/>
                        </a:cubicBezTo>
                        <a:cubicBezTo>
                          <a:pt x="55588" y="55094"/>
                          <a:pt x="55588" y="55094"/>
                          <a:pt x="55588" y="55094"/>
                        </a:cubicBezTo>
                        <a:cubicBezTo>
                          <a:pt x="55588" y="55094"/>
                          <a:pt x="56470" y="55094"/>
                          <a:pt x="57352" y="55094"/>
                        </a:cubicBezTo>
                        <a:cubicBezTo>
                          <a:pt x="57352" y="55094"/>
                          <a:pt x="59117" y="55849"/>
                          <a:pt x="59117" y="55849"/>
                        </a:cubicBezTo>
                        <a:cubicBezTo>
                          <a:pt x="59117" y="55849"/>
                          <a:pt x="59117" y="55849"/>
                          <a:pt x="60000" y="56603"/>
                        </a:cubicBezTo>
                        <a:cubicBezTo>
                          <a:pt x="60882" y="56603"/>
                          <a:pt x="62647" y="57358"/>
                          <a:pt x="62647" y="57358"/>
                        </a:cubicBezTo>
                        <a:cubicBezTo>
                          <a:pt x="62647" y="57358"/>
                          <a:pt x="62647" y="56603"/>
                          <a:pt x="61764" y="56603"/>
                        </a:cubicBezTo>
                        <a:cubicBezTo>
                          <a:pt x="61764" y="56603"/>
                          <a:pt x="60882" y="54339"/>
                          <a:pt x="59117" y="54339"/>
                        </a:cubicBezTo>
                        <a:cubicBezTo>
                          <a:pt x="58235" y="53584"/>
                          <a:pt x="57352" y="53584"/>
                          <a:pt x="56470" y="53584"/>
                        </a:cubicBezTo>
                        <a:cubicBezTo>
                          <a:pt x="55588" y="53584"/>
                          <a:pt x="53823" y="52830"/>
                          <a:pt x="53823" y="52830"/>
                        </a:cubicBezTo>
                        <a:cubicBezTo>
                          <a:pt x="53823" y="52075"/>
                          <a:pt x="52941" y="51320"/>
                          <a:pt x="53823" y="51320"/>
                        </a:cubicBezTo>
                        <a:cubicBezTo>
                          <a:pt x="53823" y="50566"/>
                          <a:pt x="53823" y="49811"/>
                          <a:pt x="55588" y="49811"/>
                        </a:cubicBezTo>
                        <a:cubicBezTo>
                          <a:pt x="56470" y="49811"/>
                          <a:pt x="57352" y="50566"/>
                          <a:pt x="58235" y="49811"/>
                        </a:cubicBezTo>
                        <a:cubicBezTo>
                          <a:pt x="59117" y="49811"/>
                          <a:pt x="60882" y="47547"/>
                          <a:pt x="60882" y="47547"/>
                        </a:cubicBezTo>
                        <a:cubicBezTo>
                          <a:pt x="62647" y="46037"/>
                          <a:pt x="62647" y="46037"/>
                          <a:pt x="62647" y="46037"/>
                        </a:cubicBezTo>
                        <a:cubicBezTo>
                          <a:pt x="65294" y="45283"/>
                          <a:pt x="65294" y="45283"/>
                          <a:pt x="65294" y="45283"/>
                        </a:cubicBezTo>
                        <a:cubicBezTo>
                          <a:pt x="65294" y="45283"/>
                          <a:pt x="68823" y="43773"/>
                          <a:pt x="68823" y="43773"/>
                        </a:cubicBezTo>
                        <a:cubicBezTo>
                          <a:pt x="68823" y="43773"/>
                          <a:pt x="69705" y="43773"/>
                          <a:pt x="70588" y="44528"/>
                        </a:cubicBezTo>
                        <a:cubicBezTo>
                          <a:pt x="71470" y="45283"/>
                          <a:pt x="71470" y="45283"/>
                          <a:pt x="71470" y="45283"/>
                        </a:cubicBezTo>
                        <a:cubicBezTo>
                          <a:pt x="72352" y="45283"/>
                          <a:pt x="74117" y="46037"/>
                          <a:pt x="74117" y="46037"/>
                        </a:cubicBezTo>
                        <a:cubicBezTo>
                          <a:pt x="74117" y="46037"/>
                          <a:pt x="74117" y="46037"/>
                          <a:pt x="75000" y="46792"/>
                        </a:cubicBezTo>
                        <a:cubicBezTo>
                          <a:pt x="75000" y="46792"/>
                          <a:pt x="75882" y="47547"/>
                          <a:pt x="75000" y="49056"/>
                        </a:cubicBezTo>
                        <a:cubicBezTo>
                          <a:pt x="75000" y="49811"/>
                          <a:pt x="75000" y="50566"/>
                          <a:pt x="75000" y="50566"/>
                        </a:cubicBezTo>
                        <a:cubicBezTo>
                          <a:pt x="75000" y="50566"/>
                          <a:pt x="75882" y="49811"/>
                          <a:pt x="75882" y="49056"/>
                        </a:cubicBezTo>
                        <a:cubicBezTo>
                          <a:pt x="75882" y="47547"/>
                          <a:pt x="75882" y="46792"/>
                          <a:pt x="75882" y="46037"/>
                        </a:cubicBezTo>
                        <a:cubicBezTo>
                          <a:pt x="75882" y="45283"/>
                          <a:pt x="75000" y="44528"/>
                          <a:pt x="75000" y="44528"/>
                        </a:cubicBezTo>
                        <a:cubicBezTo>
                          <a:pt x="75000" y="44528"/>
                          <a:pt x="73235" y="45283"/>
                          <a:pt x="71470" y="44528"/>
                        </a:cubicBezTo>
                        <a:cubicBezTo>
                          <a:pt x="70588" y="43773"/>
                          <a:pt x="70588" y="43018"/>
                          <a:pt x="69705" y="43018"/>
                        </a:cubicBezTo>
                        <a:cubicBezTo>
                          <a:pt x="69705" y="43018"/>
                          <a:pt x="68823" y="42264"/>
                          <a:pt x="67941" y="42264"/>
                        </a:cubicBezTo>
                        <a:cubicBezTo>
                          <a:pt x="67941" y="42264"/>
                          <a:pt x="67941" y="41509"/>
                          <a:pt x="67941" y="40754"/>
                        </a:cubicBezTo>
                        <a:cubicBezTo>
                          <a:pt x="67941" y="40000"/>
                          <a:pt x="67941" y="39245"/>
                          <a:pt x="67941" y="38490"/>
                        </a:cubicBezTo>
                        <a:cubicBezTo>
                          <a:pt x="67941" y="38490"/>
                          <a:pt x="67058" y="37735"/>
                          <a:pt x="67941" y="36981"/>
                        </a:cubicBezTo>
                        <a:cubicBezTo>
                          <a:pt x="68823" y="36226"/>
                          <a:pt x="68823" y="36226"/>
                          <a:pt x="69705" y="36226"/>
                        </a:cubicBezTo>
                        <a:cubicBezTo>
                          <a:pt x="69705" y="35471"/>
                          <a:pt x="71470" y="34716"/>
                          <a:pt x="70588" y="34716"/>
                        </a:cubicBezTo>
                        <a:cubicBezTo>
                          <a:pt x="70588" y="33962"/>
                          <a:pt x="69705" y="33962"/>
                          <a:pt x="68823" y="33962"/>
                        </a:cubicBezTo>
                        <a:cubicBezTo>
                          <a:pt x="67941" y="33962"/>
                          <a:pt x="68823" y="34716"/>
                          <a:pt x="67941" y="34716"/>
                        </a:cubicBezTo>
                        <a:cubicBezTo>
                          <a:pt x="66176" y="34716"/>
                          <a:pt x="66176" y="33962"/>
                          <a:pt x="65294" y="33207"/>
                        </a:cubicBezTo>
                        <a:cubicBezTo>
                          <a:pt x="65294" y="32452"/>
                          <a:pt x="65294" y="32452"/>
                          <a:pt x="64411" y="33207"/>
                        </a:cubicBezTo>
                        <a:cubicBezTo>
                          <a:pt x="63529" y="33207"/>
                          <a:pt x="62647" y="32452"/>
                          <a:pt x="62647" y="32452"/>
                        </a:cubicBezTo>
                        <a:cubicBezTo>
                          <a:pt x="62647" y="32452"/>
                          <a:pt x="61764" y="31698"/>
                          <a:pt x="62647" y="30943"/>
                        </a:cubicBezTo>
                        <a:cubicBezTo>
                          <a:pt x="62647" y="30943"/>
                          <a:pt x="63529" y="29433"/>
                          <a:pt x="63529" y="29433"/>
                        </a:cubicBezTo>
                        <a:cubicBezTo>
                          <a:pt x="63529" y="29433"/>
                          <a:pt x="63529" y="27169"/>
                          <a:pt x="63529" y="27169"/>
                        </a:cubicBezTo>
                        <a:cubicBezTo>
                          <a:pt x="63529" y="26415"/>
                          <a:pt x="63529" y="26415"/>
                          <a:pt x="63529" y="26415"/>
                        </a:cubicBezTo>
                        <a:close/>
                        <a:moveTo>
                          <a:pt x="112058" y="754"/>
                        </a:moveTo>
                        <a:cubicBezTo>
                          <a:pt x="112058" y="754"/>
                          <a:pt x="112058" y="754"/>
                          <a:pt x="112058" y="754"/>
                        </a:cubicBezTo>
                        <a:cubicBezTo>
                          <a:pt x="112058" y="754"/>
                          <a:pt x="112058" y="0"/>
                          <a:pt x="112941" y="0"/>
                        </a:cubicBezTo>
                        <a:cubicBezTo>
                          <a:pt x="113823" y="0"/>
                          <a:pt x="113823" y="0"/>
                          <a:pt x="114705" y="0"/>
                        </a:cubicBezTo>
                        <a:cubicBezTo>
                          <a:pt x="114705" y="0"/>
                          <a:pt x="116470" y="0"/>
                          <a:pt x="116470" y="0"/>
                        </a:cubicBezTo>
                        <a:cubicBezTo>
                          <a:pt x="116470" y="0"/>
                          <a:pt x="117352" y="0"/>
                          <a:pt x="118235" y="0"/>
                        </a:cubicBezTo>
                        <a:cubicBezTo>
                          <a:pt x="118235" y="0"/>
                          <a:pt x="119117" y="0"/>
                          <a:pt x="119117" y="0"/>
                        </a:cubicBezTo>
                        <a:cubicBezTo>
                          <a:pt x="120000" y="0"/>
                          <a:pt x="119117" y="754"/>
                          <a:pt x="119117" y="754"/>
                        </a:cubicBezTo>
                        <a:cubicBezTo>
                          <a:pt x="117352" y="754"/>
                          <a:pt x="117352" y="754"/>
                          <a:pt x="117352" y="754"/>
                        </a:cubicBezTo>
                        <a:cubicBezTo>
                          <a:pt x="117352" y="754"/>
                          <a:pt x="116470" y="754"/>
                          <a:pt x="115588" y="754"/>
                        </a:cubicBezTo>
                        <a:cubicBezTo>
                          <a:pt x="115588" y="1509"/>
                          <a:pt x="114705" y="1509"/>
                          <a:pt x="114705" y="1509"/>
                        </a:cubicBezTo>
                        <a:cubicBezTo>
                          <a:pt x="114705" y="1509"/>
                          <a:pt x="113823" y="1509"/>
                          <a:pt x="113823" y="1509"/>
                        </a:cubicBezTo>
                        <a:cubicBezTo>
                          <a:pt x="112941" y="1509"/>
                          <a:pt x="112941" y="754"/>
                          <a:pt x="112941" y="1509"/>
                        </a:cubicBezTo>
                        <a:cubicBezTo>
                          <a:pt x="112058" y="1509"/>
                          <a:pt x="112058" y="754"/>
                          <a:pt x="112058" y="754"/>
                        </a:cubicBezTo>
                        <a:close/>
                        <a:moveTo>
                          <a:pt x="104117" y="4528"/>
                        </a:moveTo>
                        <a:cubicBezTo>
                          <a:pt x="104117" y="4528"/>
                          <a:pt x="104117" y="4528"/>
                          <a:pt x="104117" y="4528"/>
                        </a:cubicBezTo>
                        <a:cubicBezTo>
                          <a:pt x="104117" y="4528"/>
                          <a:pt x="104117" y="3773"/>
                          <a:pt x="105000" y="3773"/>
                        </a:cubicBezTo>
                        <a:cubicBezTo>
                          <a:pt x="105000" y="3773"/>
                          <a:pt x="105000" y="3018"/>
                          <a:pt x="105882" y="3773"/>
                        </a:cubicBezTo>
                        <a:cubicBezTo>
                          <a:pt x="105882" y="3773"/>
                          <a:pt x="105882" y="5283"/>
                          <a:pt x="105882" y="5283"/>
                        </a:cubicBezTo>
                        <a:cubicBezTo>
                          <a:pt x="105000" y="5283"/>
                          <a:pt x="105000" y="5283"/>
                          <a:pt x="104117" y="5283"/>
                        </a:cubicBezTo>
                        <a:cubicBezTo>
                          <a:pt x="104117" y="5283"/>
                          <a:pt x="104117" y="4528"/>
                          <a:pt x="104117" y="4528"/>
                        </a:cubicBezTo>
                        <a:close/>
                        <a:moveTo>
                          <a:pt x="98823" y="6792"/>
                        </a:moveTo>
                        <a:cubicBezTo>
                          <a:pt x="98823" y="6792"/>
                          <a:pt x="98823" y="6792"/>
                          <a:pt x="98823" y="6792"/>
                        </a:cubicBezTo>
                        <a:cubicBezTo>
                          <a:pt x="98823" y="6792"/>
                          <a:pt x="97941" y="6037"/>
                          <a:pt x="97941" y="6037"/>
                        </a:cubicBezTo>
                        <a:cubicBezTo>
                          <a:pt x="97941" y="6037"/>
                          <a:pt x="97941" y="5283"/>
                          <a:pt x="98823" y="5283"/>
                        </a:cubicBezTo>
                        <a:cubicBezTo>
                          <a:pt x="98823" y="5283"/>
                          <a:pt x="99705" y="5283"/>
                          <a:pt x="99705" y="5283"/>
                        </a:cubicBezTo>
                        <a:cubicBezTo>
                          <a:pt x="100588" y="5283"/>
                          <a:pt x="100588" y="5283"/>
                          <a:pt x="100588" y="5283"/>
                        </a:cubicBezTo>
                        <a:cubicBezTo>
                          <a:pt x="100588" y="5283"/>
                          <a:pt x="101470" y="4528"/>
                          <a:pt x="101470" y="4528"/>
                        </a:cubicBezTo>
                        <a:cubicBezTo>
                          <a:pt x="101470" y="4528"/>
                          <a:pt x="102352" y="6037"/>
                          <a:pt x="102352" y="6037"/>
                        </a:cubicBezTo>
                        <a:cubicBezTo>
                          <a:pt x="102352" y="6037"/>
                          <a:pt x="102352" y="6037"/>
                          <a:pt x="101470" y="6037"/>
                        </a:cubicBezTo>
                        <a:cubicBezTo>
                          <a:pt x="101470" y="6037"/>
                          <a:pt x="100588" y="6792"/>
                          <a:pt x="100588" y="6792"/>
                        </a:cubicBezTo>
                        <a:cubicBezTo>
                          <a:pt x="99705" y="7547"/>
                          <a:pt x="99705" y="7547"/>
                          <a:pt x="99705" y="7547"/>
                        </a:cubicBezTo>
                        <a:cubicBezTo>
                          <a:pt x="98823" y="6792"/>
                          <a:pt x="98823" y="6792"/>
                          <a:pt x="98823" y="6792"/>
                        </a:cubicBezTo>
                        <a:close/>
                        <a:moveTo>
                          <a:pt x="95294" y="9056"/>
                        </a:moveTo>
                        <a:cubicBezTo>
                          <a:pt x="95294" y="9056"/>
                          <a:pt x="95294" y="9056"/>
                          <a:pt x="95294" y="9056"/>
                        </a:cubicBezTo>
                        <a:cubicBezTo>
                          <a:pt x="95294" y="8301"/>
                          <a:pt x="94411" y="8301"/>
                          <a:pt x="94411" y="8301"/>
                        </a:cubicBezTo>
                        <a:cubicBezTo>
                          <a:pt x="94411" y="8301"/>
                          <a:pt x="93529" y="7547"/>
                          <a:pt x="93529" y="7547"/>
                        </a:cubicBezTo>
                        <a:cubicBezTo>
                          <a:pt x="93529" y="7547"/>
                          <a:pt x="93529" y="6792"/>
                          <a:pt x="94411" y="6792"/>
                        </a:cubicBezTo>
                        <a:cubicBezTo>
                          <a:pt x="94411" y="6792"/>
                          <a:pt x="94411" y="6792"/>
                          <a:pt x="94411" y="7547"/>
                        </a:cubicBezTo>
                        <a:cubicBezTo>
                          <a:pt x="95294" y="7547"/>
                          <a:pt x="95294" y="8301"/>
                          <a:pt x="95294" y="8301"/>
                        </a:cubicBezTo>
                        <a:cubicBezTo>
                          <a:pt x="95294" y="9056"/>
                          <a:pt x="95294" y="9056"/>
                          <a:pt x="95294" y="9056"/>
                        </a:cubicBezTo>
                        <a:close/>
                        <a:moveTo>
                          <a:pt x="84705" y="9056"/>
                        </a:moveTo>
                        <a:cubicBezTo>
                          <a:pt x="84705" y="9056"/>
                          <a:pt x="84705" y="9056"/>
                          <a:pt x="84705" y="9056"/>
                        </a:cubicBezTo>
                        <a:cubicBezTo>
                          <a:pt x="84705" y="9056"/>
                          <a:pt x="84705" y="9056"/>
                          <a:pt x="85588" y="9056"/>
                        </a:cubicBezTo>
                        <a:cubicBezTo>
                          <a:pt x="86470" y="8301"/>
                          <a:pt x="86470" y="7547"/>
                          <a:pt x="87352" y="8301"/>
                        </a:cubicBezTo>
                        <a:cubicBezTo>
                          <a:pt x="88235" y="8301"/>
                          <a:pt x="90000" y="9056"/>
                          <a:pt x="90000" y="9056"/>
                        </a:cubicBezTo>
                        <a:cubicBezTo>
                          <a:pt x="90000" y="9056"/>
                          <a:pt x="90000" y="8301"/>
                          <a:pt x="90000" y="8301"/>
                        </a:cubicBezTo>
                        <a:cubicBezTo>
                          <a:pt x="90882" y="8301"/>
                          <a:pt x="90882" y="9056"/>
                          <a:pt x="90882" y="9056"/>
                        </a:cubicBezTo>
                        <a:cubicBezTo>
                          <a:pt x="90882" y="9056"/>
                          <a:pt x="90000" y="9056"/>
                          <a:pt x="90000" y="9056"/>
                        </a:cubicBezTo>
                        <a:cubicBezTo>
                          <a:pt x="89117" y="9811"/>
                          <a:pt x="89117" y="9811"/>
                          <a:pt x="88235" y="9811"/>
                        </a:cubicBezTo>
                        <a:cubicBezTo>
                          <a:pt x="87352" y="9811"/>
                          <a:pt x="87352" y="9056"/>
                          <a:pt x="86470" y="9811"/>
                        </a:cubicBezTo>
                        <a:cubicBezTo>
                          <a:pt x="86470" y="9811"/>
                          <a:pt x="86470" y="10566"/>
                          <a:pt x="85588" y="10566"/>
                        </a:cubicBezTo>
                        <a:cubicBezTo>
                          <a:pt x="85588" y="10566"/>
                          <a:pt x="84705" y="10566"/>
                          <a:pt x="84705" y="10566"/>
                        </a:cubicBezTo>
                        <a:cubicBezTo>
                          <a:pt x="84705" y="9811"/>
                          <a:pt x="84705" y="9056"/>
                          <a:pt x="84705" y="9056"/>
                        </a:cubicBezTo>
                        <a:close/>
                        <a:moveTo>
                          <a:pt x="82058" y="9811"/>
                        </a:moveTo>
                        <a:cubicBezTo>
                          <a:pt x="82058" y="9811"/>
                          <a:pt x="82058" y="9811"/>
                          <a:pt x="82058" y="9811"/>
                        </a:cubicBezTo>
                        <a:cubicBezTo>
                          <a:pt x="82058" y="9811"/>
                          <a:pt x="82058" y="9056"/>
                          <a:pt x="82941" y="9811"/>
                        </a:cubicBezTo>
                        <a:cubicBezTo>
                          <a:pt x="82941" y="9811"/>
                          <a:pt x="82941" y="9056"/>
                          <a:pt x="82941" y="9811"/>
                        </a:cubicBezTo>
                        <a:cubicBezTo>
                          <a:pt x="83823" y="10566"/>
                          <a:pt x="83823" y="11320"/>
                          <a:pt x="82941" y="11320"/>
                        </a:cubicBezTo>
                        <a:cubicBezTo>
                          <a:pt x="82058" y="10566"/>
                          <a:pt x="82058" y="9811"/>
                          <a:pt x="82058" y="9811"/>
                        </a:cubicBezTo>
                        <a:close/>
                        <a:moveTo>
                          <a:pt x="71470" y="9811"/>
                        </a:moveTo>
                        <a:cubicBezTo>
                          <a:pt x="71470" y="9811"/>
                          <a:pt x="71470" y="9811"/>
                          <a:pt x="71470" y="9811"/>
                        </a:cubicBezTo>
                        <a:cubicBezTo>
                          <a:pt x="71470" y="9811"/>
                          <a:pt x="71470" y="9056"/>
                          <a:pt x="72352" y="9056"/>
                        </a:cubicBezTo>
                        <a:cubicBezTo>
                          <a:pt x="72352" y="9056"/>
                          <a:pt x="72352" y="9056"/>
                          <a:pt x="73235" y="9056"/>
                        </a:cubicBezTo>
                        <a:cubicBezTo>
                          <a:pt x="73235" y="9811"/>
                          <a:pt x="74117" y="9811"/>
                          <a:pt x="74117" y="9811"/>
                        </a:cubicBezTo>
                        <a:cubicBezTo>
                          <a:pt x="75000" y="9811"/>
                          <a:pt x="75000" y="9811"/>
                          <a:pt x="75000" y="9811"/>
                        </a:cubicBezTo>
                        <a:cubicBezTo>
                          <a:pt x="75882" y="9811"/>
                          <a:pt x="75882" y="9056"/>
                          <a:pt x="76764" y="9811"/>
                        </a:cubicBezTo>
                        <a:cubicBezTo>
                          <a:pt x="77647" y="9811"/>
                          <a:pt x="77647" y="9811"/>
                          <a:pt x="78529" y="9811"/>
                        </a:cubicBezTo>
                        <a:cubicBezTo>
                          <a:pt x="78529" y="9811"/>
                          <a:pt x="80294" y="9811"/>
                          <a:pt x="80294" y="9811"/>
                        </a:cubicBezTo>
                        <a:cubicBezTo>
                          <a:pt x="80294" y="9811"/>
                          <a:pt x="80294" y="10566"/>
                          <a:pt x="80294" y="10566"/>
                        </a:cubicBezTo>
                        <a:cubicBezTo>
                          <a:pt x="79411" y="10566"/>
                          <a:pt x="79411" y="10566"/>
                          <a:pt x="78529" y="10566"/>
                        </a:cubicBezTo>
                        <a:cubicBezTo>
                          <a:pt x="78529" y="10566"/>
                          <a:pt x="79411" y="10566"/>
                          <a:pt x="77647" y="10566"/>
                        </a:cubicBezTo>
                        <a:cubicBezTo>
                          <a:pt x="76764" y="10566"/>
                          <a:pt x="76764" y="10566"/>
                          <a:pt x="75882" y="10566"/>
                        </a:cubicBezTo>
                        <a:cubicBezTo>
                          <a:pt x="75882" y="10566"/>
                          <a:pt x="75882" y="10566"/>
                          <a:pt x="75000" y="10566"/>
                        </a:cubicBezTo>
                        <a:cubicBezTo>
                          <a:pt x="75000" y="10566"/>
                          <a:pt x="75000" y="10566"/>
                          <a:pt x="75000" y="10566"/>
                        </a:cubicBezTo>
                        <a:cubicBezTo>
                          <a:pt x="74117" y="10566"/>
                          <a:pt x="76764" y="9811"/>
                          <a:pt x="74117" y="10566"/>
                        </a:cubicBezTo>
                        <a:cubicBezTo>
                          <a:pt x="71470" y="11320"/>
                          <a:pt x="71470" y="11320"/>
                          <a:pt x="71470" y="11320"/>
                        </a:cubicBezTo>
                        <a:cubicBezTo>
                          <a:pt x="71470" y="11320"/>
                          <a:pt x="71470" y="10566"/>
                          <a:pt x="71470" y="10566"/>
                        </a:cubicBezTo>
                        <a:cubicBezTo>
                          <a:pt x="71470" y="10566"/>
                          <a:pt x="71470" y="9811"/>
                          <a:pt x="71470" y="9811"/>
                        </a:cubicBezTo>
                        <a:close/>
                        <a:moveTo>
                          <a:pt x="60000" y="12075"/>
                        </a:moveTo>
                        <a:cubicBezTo>
                          <a:pt x="60000" y="12075"/>
                          <a:pt x="60000" y="12075"/>
                          <a:pt x="60000" y="12075"/>
                        </a:cubicBezTo>
                        <a:cubicBezTo>
                          <a:pt x="60882" y="12075"/>
                          <a:pt x="60882" y="12075"/>
                          <a:pt x="60882" y="12075"/>
                        </a:cubicBezTo>
                        <a:cubicBezTo>
                          <a:pt x="60882" y="12075"/>
                          <a:pt x="62647" y="12075"/>
                          <a:pt x="62647" y="11320"/>
                        </a:cubicBezTo>
                        <a:cubicBezTo>
                          <a:pt x="63529" y="11320"/>
                          <a:pt x="63529" y="11320"/>
                          <a:pt x="63529" y="11320"/>
                        </a:cubicBezTo>
                        <a:cubicBezTo>
                          <a:pt x="63529" y="11320"/>
                          <a:pt x="65294" y="10566"/>
                          <a:pt x="65294" y="10566"/>
                        </a:cubicBezTo>
                        <a:cubicBezTo>
                          <a:pt x="66176" y="10566"/>
                          <a:pt x="67058" y="9811"/>
                          <a:pt x="67058" y="9811"/>
                        </a:cubicBezTo>
                        <a:cubicBezTo>
                          <a:pt x="67058" y="9811"/>
                          <a:pt x="68823" y="10566"/>
                          <a:pt x="68823" y="10566"/>
                        </a:cubicBezTo>
                        <a:cubicBezTo>
                          <a:pt x="69705" y="10566"/>
                          <a:pt x="69705" y="9811"/>
                          <a:pt x="69705" y="9811"/>
                        </a:cubicBezTo>
                        <a:cubicBezTo>
                          <a:pt x="67941" y="9056"/>
                          <a:pt x="67941" y="9056"/>
                          <a:pt x="67941" y="9056"/>
                        </a:cubicBezTo>
                        <a:cubicBezTo>
                          <a:pt x="64411" y="9811"/>
                          <a:pt x="64411" y="9811"/>
                          <a:pt x="64411" y="9811"/>
                        </a:cubicBezTo>
                        <a:cubicBezTo>
                          <a:pt x="64411" y="9811"/>
                          <a:pt x="61764" y="10566"/>
                          <a:pt x="60882" y="10566"/>
                        </a:cubicBezTo>
                        <a:cubicBezTo>
                          <a:pt x="60000" y="9811"/>
                          <a:pt x="59117" y="10566"/>
                          <a:pt x="59117" y="10566"/>
                        </a:cubicBezTo>
                        <a:cubicBezTo>
                          <a:pt x="58235" y="11320"/>
                          <a:pt x="58235" y="11320"/>
                          <a:pt x="58235" y="11320"/>
                        </a:cubicBezTo>
                        <a:cubicBezTo>
                          <a:pt x="58235" y="11320"/>
                          <a:pt x="59117" y="12075"/>
                          <a:pt x="59117" y="12075"/>
                        </a:cubicBezTo>
                        <a:cubicBezTo>
                          <a:pt x="59117" y="12830"/>
                          <a:pt x="60000" y="12075"/>
                          <a:pt x="60000" y="12075"/>
                        </a:cubicBezTo>
                        <a:close/>
                        <a:moveTo>
                          <a:pt x="49411" y="16603"/>
                        </a:moveTo>
                        <a:cubicBezTo>
                          <a:pt x="49411" y="16603"/>
                          <a:pt x="49411" y="16603"/>
                          <a:pt x="49411" y="16603"/>
                        </a:cubicBezTo>
                        <a:cubicBezTo>
                          <a:pt x="49411" y="16603"/>
                          <a:pt x="49411" y="16603"/>
                          <a:pt x="49411" y="16603"/>
                        </a:cubicBezTo>
                        <a:cubicBezTo>
                          <a:pt x="50294" y="17358"/>
                          <a:pt x="50294" y="17358"/>
                          <a:pt x="50294" y="17358"/>
                        </a:cubicBezTo>
                        <a:cubicBezTo>
                          <a:pt x="50294" y="17358"/>
                          <a:pt x="51176" y="16603"/>
                          <a:pt x="51176" y="16603"/>
                        </a:cubicBezTo>
                        <a:cubicBezTo>
                          <a:pt x="51176" y="15849"/>
                          <a:pt x="52058" y="15849"/>
                          <a:pt x="52058" y="15849"/>
                        </a:cubicBezTo>
                        <a:cubicBezTo>
                          <a:pt x="52058" y="15849"/>
                          <a:pt x="52941" y="15094"/>
                          <a:pt x="53823" y="15094"/>
                        </a:cubicBezTo>
                        <a:cubicBezTo>
                          <a:pt x="53823" y="15094"/>
                          <a:pt x="55588" y="14339"/>
                          <a:pt x="55588" y="14339"/>
                        </a:cubicBezTo>
                        <a:cubicBezTo>
                          <a:pt x="55588" y="13584"/>
                          <a:pt x="55588" y="13584"/>
                          <a:pt x="55588" y="13584"/>
                        </a:cubicBezTo>
                        <a:cubicBezTo>
                          <a:pt x="55588" y="13584"/>
                          <a:pt x="52941" y="13584"/>
                          <a:pt x="52941" y="13584"/>
                        </a:cubicBezTo>
                        <a:cubicBezTo>
                          <a:pt x="52941" y="13584"/>
                          <a:pt x="51176" y="15094"/>
                          <a:pt x="51176" y="15094"/>
                        </a:cubicBezTo>
                        <a:cubicBezTo>
                          <a:pt x="51176" y="15094"/>
                          <a:pt x="49411" y="16603"/>
                          <a:pt x="49411" y="16603"/>
                        </a:cubicBezTo>
                        <a:close/>
                        <a:moveTo>
                          <a:pt x="48529" y="24150"/>
                        </a:moveTo>
                        <a:cubicBezTo>
                          <a:pt x="48529" y="24150"/>
                          <a:pt x="48529" y="24150"/>
                          <a:pt x="48529" y="24150"/>
                        </a:cubicBezTo>
                        <a:cubicBezTo>
                          <a:pt x="48529" y="24150"/>
                          <a:pt x="50294" y="22641"/>
                          <a:pt x="50294" y="21886"/>
                        </a:cubicBezTo>
                        <a:cubicBezTo>
                          <a:pt x="50294" y="21886"/>
                          <a:pt x="50294" y="20377"/>
                          <a:pt x="50294" y="20377"/>
                        </a:cubicBezTo>
                        <a:cubicBezTo>
                          <a:pt x="50294" y="18867"/>
                          <a:pt x="50294" y="18867"/>
                          <a:pt x="50294" y="18867"/>
                        </a:cubicBezTo>
                        <a:cubicBezTo>
                          <a:pt x="48529" y="17358"/>
                          <a:pt x="48529" y="17358"/>
                          <a:pt x="48529" y="17358"/>
                        </a:cubicBezTo>
                        <a:cubicBezTo>
                          <a:pt x="48529" y="17358"/>
                          <a:pt x="47647" y="18867"/>
                          <a:pt x="47647" y="18867"/>
                        </a:cubicBezTo>
                        <a:cubicBezTo>
                          <a:pt x="47647" y="19622"/>
                          <a:pt x="46764" y="19622"/>
                          <a:pt x="45882" y="20377"/>
                        </a:cubicBezTo>
                        <a:cubicBezTo>
                          <a:pt x="45000" y="21132"/>
                          <a:pt x="45000" y="21886"/>
                          <a:pt x="45000" y="22641"/>
                        </a:cubicBezTo>
                        <a:cubicBezTo>
                          <a:pt x="45000" y="22641"/>
                          <a:pt x="44117" y="23396"/>
                          <a:pt x="44117" y="24150"/>
                        </a:cubicBezTo>
                        <a:cubicBezTo>
                          <a:pt x="44117" y="24905"/>
                          <a:pt x="45000" y="24905"/>
                          <a:pt x="45882" y="24905"/>
                        </a:cubicBezTo>
                        <a:cubicBezTo>
                          <a:pt x="46764" y="24905"/>
                          <a:pt x="45882" y="24905"/>
                          <a:pt x="45882" y="24905"/>
                        </a:cubicBezTo>
                        <a:cubicBezTo>
                          <a:pt x="48529" y="24150"/>
                          <a:pt x="48529" y="24150"/>
                          <a:pt x="48529" y="24150"/>
                        </a:cubicBezTo>
                        <a:close/>
                        <a:moveTo>
                          <a:pt x="18529" y="70943"/>
                        </a:moveTo>
                        <a:cubicBezTo>
                          <a:pt x="18529" y="70943"/>
                          <a:pt x="18529" y="70943"/>
                          <a:pt x="18529" y="70943"/>
                        </a:cubicBezTo>
                        <a:cubicBezTo>
                          <a:pt x="18529" y="70943"/>
                          <a:pt x="18529" y="70943"/>
                          <a:pt x="19411" y="70943"/>
                        </a:cubicBezTo>
                        <a:cubicBezTo>
                          <a:pt x="19411" y="70943"/>
                          <a:pt x="19411" y="70188"/>
                          <a:pt x="19411" y="70188"/>
                        </a:cubicBezTo>
                        <a:cubicBezTo>
                          <a:pt x="20294" y="70188"/>
                          <a:pt x="20294" y="70943"/>
                          <a:pt x="20294" y="70943"/>
                        </a:cubicBezTo>
                        <a:cubicBezTo>
                          <a:pt x="21176" y="70943"/>
                          <a:pt x="21176" y="71698"/>
                          <a:pt x="21176" y="71698"/>
                        </a:cubicBezTo>
                        <a:cubicBezTo>
                          <a:pt x="22058" y="73207"/>
                          <a:pt x="22058" y="73207"/>
                          <a:pt x="22058" y="73207"/>
                        </a:cubicBezTo>
                        <a:cubicBezTo>
                          <a:pt x="22058" y="73207"/>
                          <a:pt x="22058" y="73962"/>
                          <a:pt x="22058" y="73962"/>
                        </a:cubicBezTo>
                        <a:cubicBezTo>
                          <a:pt x="22058" y="74716"/>
                          <a:pt x="22058" y="74716"/>
                          <a:pt x="22058" y="74716"/>
                        </a:cubicBezTo>
                        <a:cubicBezTo>
                          <a:pt x="22058" y="74716"/>
                          <a:pt x="22941" y="74716"/>
                          <a:pt x="23823" y="74716"/>
                        </a:cubicBezTo>
                        <a:cubicBezTo>
                          <a:pt x="23823" y="74716"/>
                          <a:pt x="23823" y="75471"/>
                          <a:pt x="24705" y="75471"/>
                        </a:cubicBezTo>
                        <a:cubicBezTo>
                          <a:pt x="25588" y="76226"/>
                          <a:pt x="25588" y="76226"/>
                          <a:pt x="25588" y="76226"/>
                        </a:cubicBezTo>
                        <a:cubicBezTo>
                          <a:pt x="26470" y="76981"/>
                          <a:pt x="26470" y="76981"/>
                          <a:pt x="27352" y="77735"/>
                        </a:cubicBezTo>
                        <a:cubicBezTo>
                          <a:pt x="28235" y="77735"/>
                          <a:pt x="28235" y="77735"/>
                          <a:pt x="29117" y="77735"/>
                        </a:cubicBezTo>
                        <a:cubicBezTo>
                          <a:pt x="29117" y="76981"/>
                          <a:pt x="29117" y="76981"/>
                          <a:pt x="30000" y="76981"/>
                        </a:cubicBezTo>
                        <a:cubicBezTo>
                          <a:pt x="30000" y="76981"/>
                          <a:pt x="30000" y="76981"/>
                          <a:pt x="30882" y="76981"/>
                        </a:cubicBezTo>
                        <a:cubicBezTo>
                          <a:pt x="30882" y="76226"/>
                          <a:pt x="30000" y="76226"/>
                          <a:pt x="30000" y="76226"/>
                        </a:cubicBezTo>
                        <a:cubicBezTo>
                          <a:pt x="30000" y="76226"/>
                          <a:pt x="29117" y="75471"/>
                          <a:pt x="28235" y="74716"/>
                        </a:cubicBezTo>
                        <a:cubicBezTo>
                          <a:pt x="28235" y="74716"/>
                          <a:pt x="28235" y="74716"/>
                          <a:pt x="28235" y="73962"/>
                        </a:cubicBezTo>
                        <a:cubicBezTo>
                          <a:pt x="28235" y="73962"/>
                          <a:pt x="28235" y="73962"/>
                          <a:pt x="27352" y="73207"/>
                        </a:cubicBezTo>
                        <a:cubicBezTo>
                          <a:pt x="26470" y="73207"/>
                          <a:pt x="26470" y="73207"/>
                          <a:pt x="26470" y="73207"/>
                        </a:cubicBezTo>
                        <a:cubicBezTo>
                          <a:pt x="25588" y="72452"/>
                          <a:pt x="25588" y="71698"/>
                          <a:pt x="25588" y="71698"/>
                        </a:cubicBezTo>
                        <a:cubicBezTo>
                          <a:pt x="25588" y="71698"/>
                          <a:pt x="23823" y="71698"/>
                          <a:pt x="23823" y="70943"/>
                        </a:cubicBezTo>
                        <a:cubicBezTo>
                          <a:pt x="23823" y="70943"/>
                          <a:pt x="22941" y="70943"/>
                          <a:pt x="22941" y="70943"/>
                        </a:cubicBezTo>
                        <a:cubicBezTo>
                          <a:pt x="22941" y="70943"/>
                          <a:pt x="21176" y="70188"/>
                          <a:pt x="21176" y="69433"/>
                        </a:cubicBezTo>
                        <a:cubicBezTo>
                          <a:pt x="21176" y="69433"/>
                          <a:pt x="21176" y="68679"/>
                          <a:pt x="21176" y="68679"/>
                        </a:cubicBezTo>
                        <a:cubicBezTo>
                          <a:pt x="21176" y="68679"/>
                          <a:pt x="20294" y="68679"/>
                          <a:pt x="19411" y="68679"/>
                        </a:cubicBezTo>
                        <a:cubicBezTo>
                          <a:pt x="18529" y="69433"/>
                          <a:pt x="17647" y="69433"/>
                          <a:pt x="17647" y="69433"/>
                        </a:cubicBezTo>
                        <a:cubicBezTo>
                          <a:pt x="16764" y="69433"/>
                          <a:pt x="16764" y="70188"/>
                          <a:pt x="16764" y="70188"/>
                        </a:cubicBezTo>
                        <a:cubicBezTo>
                          <a:pt x="16764" y="70188"/>
                          <a:pt x="16764" y="70943"/>
                          <a:pt x="17647" y="70943"/>
                        </a:cubicBezTo>
                        <a:cubicBezTo>
                          <a:pt x="17647" y="71698"/>
                          <a:pt x="18529" y="70943"/>
                          <a:pt x="18529" y="70943"/>
                        </a:cubicBezTo>
                        <a:close/>
                        <a:moveTo>
                          <a:pt x="62647" y="56603"/>
                        </a:moveTo>
                        <a:cubicBezTo>
                          <a:pt x="62647" y="56603"/>
                          <a:pt x="62647" y="56603"/>
                          <a:pt x="62647" y="56603"/>
                        </a:cubicBezTo>
                        <a:cubicBezTo>
                          <a:pt x="62647" y="57358"/>
                          <a:pt x="62647" y="57358"/>
                          <a:pt x="62647" y="57358"/>
                        </a:cubicBezTo>
                        <a:cubicBezTo>
                          <a:pt x="62647" y="57358"/>
                          <a:pt x="62647" y="57358"/>
                          <a:pt x="63529" y="57358"/>
                        </a:cubicBezTo>
                        <a:cubicBezTo>
                          <a:pt x="63529" y="56603"/>
                          <a:pt x="63529" y="57358"/>
                          <a:pt x="64411" y="57358"/>
                        </a:cubicBezTo>
                        <a:cubicBezTo>
                          <a:pt x="64411" y="57358"/>
                          <a:pt x="64411" y="57358"/>
                          <a:pt x="64411" y="57358"/>
                        </a:cubicBezTo>
                        <a:cubicBezTo>
                          <a:pt x="65294" y="57358"/>
                          <a:pt x="66176" y="55849"/>
                          <a:pt x="66176" y="55849"/>
                        </a:cubicBezTo>
                        <a:cubicBezTo>
                          <a:pt x="66176" y="55849"/>
                          <a:pt x="66176" y="55849"/>
                          <a:pt x="67058" y="55849"/>
                        </a:cubicBezTo>
                        <a:cubicBezTo>
                          <a:pt x="67058" y="55849"/>
                          <a:pt x="67941" y="55849"/>
                          <a:pt x="67941" y="55094"/>
                        </a:cubicBezTo>
                        <a:cubicBezTo>
                          <a:pt x="67941" y="55094"/>
                          <a:pt x="67941" y="55094"/>
                          <a:pt x="68823" y="55094"/>
                        </a:cubicBezTo>
                        <a:cubicBezTo>
                          <a:pt x="68823" y="54339"/>
                          <a:pt x="68823" y="54339"/>
                          <a:pt x="68823" y="54339"/>
                        </a:cubicBezTo>
                        <a:cubicBezTo>
                          <a:pt x="69705" y="53584"/>
                          <a:pt x="70588" y="53584"/>
                          <a:pt x="70588" y="53584"/>
                        </a:cubicBezTo>
                        <a:cubicBezTo>
                          <a:pt x="71470" y="52830"/>
                          <a:pt x="71470" y="52830"/>
                          <a:pt x="71470" y="52075"/>
                        </a:cubicBezTo>
                        <a:cubicBezTo>
                          <a:pt x="71470" y="52075"/>
                          <a:pt x="70588" y="52075"/>
                          <a:pt x="70588" y="52830"/>
                        </a:cubicBezTo>
                        <a:cubicBezTo>
                          <a:pt x="69705" y="52830"/>
                          <a:pt x="68823" y="52830"/>
                          <a:pt x="68823" y="52830"/>
                        </a:cubicBezTo>
                        <a:cubicBezTo>
                          <a:pt x="68823" y="53584"/>
                          <a:pt x="67941" y="53584"/>
                          <a:pt x="67941" y="53584"/>
                        </a:cubicBezTo>
                        <a:cubicBezTo>
                          <a:pt x="67058" y="53584"/>
                          <a:pt x="66176" y="54339"/>
                          <a:pt x="65294" y="54339"/>
                        </a:cubicBezTo>
                        <a:cubicBezTo>
                          <a:pt x="65294" y="54339"/>
                          <a:pt x="65294" y="55094"/>
                          <a:pt x="64411" y="55849"/>
                        </a:cubicBezTo>
                        <a:cubicBezTo>
                          <a:pt x="64411" y="55849"/>
                          <a:pt x="64411" y="55849"/>
                          <a:pt x="64411" y="56603"/>
                        </a:cubicBezTo>
                        <a:cubicBezTo>
                          <a:pt x="63529" y="56603"/>
                          <a:pt x="62647" y="56603"/>
                          <a:pt x="62647" y="5660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3" name="Shape 2030"/>
                  <p:cNvSpPr/>
                  <p:nvPr/>
                </p:nvSpPr>
                <p:spPr>
                  <a:xfrm>
                    <a:off x="5550394" y="2957025"/>
                    <a:ext cx="547516" cy="376093"/>
                  </a:xfrm>
                  <a:custGeom>
                    <a:avLst/>
                    <a:gdLst/>
                    <a:ahLst/>
                    <a:cxnLst/>
                    <a:rect l="0" t="0" r="0" b="0"/>
                    <a:pathLst>
                      <a:path w="120000" h="120000" extrusionOk="0">
                        <a:moveTo>
                          <a:pt x="14000" y="43058"/>
                        </a:moveTo>
                        <a:cubicBezTo>
                          <a:pt x="14000" y="43058"/>
                          <a:pt x="14000" y="43058"/>
                          <a:pt x="14000" y="43058"/>
                        </a:cubicBezTo>
                        <a:cubicBezTo>
                          <a:pt x="14000" y="43058"/>
                          <a:pt x="14000" y="43058"/>
                          <a:pt x="14000" y="43058"/>
                        </a:cubicBezTo>
                        <a:cubicBezTo>
                          <a:pt x="14000" y="42352"/>
                          <a:pt x="14000" y="42352"/>
                          <a:pt x="14000" y="42352"/>
                        </a:cubicBezTo>
                        <a:cubicBezTo>
                          <a:pt x="14000" y="40941"/>
                          <a:pt x="14000" y="40941"/>
                          <a:pt x="14000" y="40941"/>
                        </a:cubicBezTo>
                        <a:cubicBezTo>
                          <a:pt x="15500" y="38117"/>
                          <a:pt x="15500" y="38117"/>
                          <a:pt x="15500" y="38117"/>
                        </a:cubicBezTo>
                        <a:cubicBezTo>
                          <a:pt x="15500" y="34588"/>
                          <a:pt x="15500" y="34588"/>
                          <a:pt x="15500" y="34588"/>
                        </a:cubicBezTo>
                        <a:cubicBezTo>
                          <a:pt x="19500" y="35294"/>
                          <a:pt x="19500" y="35294"/>
                          <a:pt x="19500" y="35294"/>
                        </a:cubicBezTo>
                        <a:cubicBezTo>
                          <a:pt x="22000" y="38823"/>
                          <a:pt x="22000" y="38823"/>
                          <a:pt x="22000" y="38823"/>
                        </a:cubicBezTo>
                        <a:cubicBezTo>
                          <a:pt x="25500" y="41647"/>
                          <a:pt x="25500" y="41647"/>
                          <a:pt x="25500" y="41647"/>
                        </a:cubicBezTo>
                        <a:cubicBezTo>
                          <a:pt x="27500" y="43058"/>
                          <a:pt x="27500" y="43058"/>
                          <a:pt x="27500" y="43058"/>
                        </a:cubicBezTo>
                        <a:cubicBezTo>
                          <a:pt x="32000" y="41647"/>
                          <a:pt x="32000" y="41647"/>
                          <a:pt x="32000" y="41647"/>
                        </a:cubicBezTo>
                        <a:cubicBezTo>
                          <a:pt x="40500" y="40941"/>
                          <a:pt x="40500" y="40941"/>
                          <a:pt x="40500" y="40941"/>
                        </a:cubicBezTo>
                        <a:cubicBezTo>
                          <a:pt x="40500" y="40941"/>
                          <a:pt x="45000" y="40235"/>
                          <a:pt x="45500" y="39529"/>
                        </a:cubicBezTo>
                        <a:cubicBezTo>
                          <a:pt x="46000" y="38823"/>
                          <a:pt x="49000" y="38117"/>
                          <a:pt x="48000" y="36705"/>
                        </a:cubicBezTo>
                        <a:cubicBezTo>
                          <a:pt x="47000" y="36000"/>
                          <a:pt x="45000" y="33882"/>
                          <a:pt x="45000" y="33882"/>
                        </a:cubicBezTo>
                        <a:cubicBezTo>
                          <a:pt x="45000" y="32470"/>
                          <a:pt x="45000" y="32470"/>
                          <a:pt x="45000" y="32470"/>
                        </a:cubicBezTo>
                        <a:cubicBezTo>
                          <a:pt x="47500" y="28941"/>
                          <a:pt x="47500" y="28941"/>
                          <a:pt x="47500" y="28941"/>
                        </a:cubicBezTo>
                        <a:cubicBezTo>
                          <a:pt x="52000" y="26823"/>
                          <a:pt x="52000" y="26823"/>
                          <a:pt x="52000" y="26823"/>
                        </a:cubicBezTo>
                        <a:cubicBezTo>
                          <a:pt x="55500" y="26117"/>
                          <a:pt x="55500" y="26117"/>
                          <a:pt x="55500" y="26117"/>
                        </a:cubicBezTo>
                        <a:cubicBezTo>
                          <a:pt x="57500" y="25411"/>
                          <a:pt x="57500" y="25411"/>
                          <a:pt x="57500" y="25411"/>
                        </a:cubicBezTo>
                        <a:cubicBezTo>
                          <a:pt x="58500" y="21176"/>
                          <a:pt x="58500" y="21176"/>
                          <a:pt x="58500" y="21176"/>
                        </a:cubicBezTo>
                        <a:cubicBezTo>
                          <a:pt x="61500" y="20470"/>
                          <a:pt x="61500" y="20470"/>
                          <a:pt x="61500" y="20470"/>
                        </a:cubicBezTo>
                        <a:cubicBezTo>
                          <a:pt x="63500" y="21176"/>
                          <a:pt x="63500" y="21176"/>
                          <a:pt x="63500" y="21176"/>
                        </a:cubicBezTo>
                        <a:cubicBezTo>
                          <a:pt x="66500" y="21176"/>
                          <a:pt x="66500" y="21176"/>
                          <a:pt x="66500" y="21176"/>
                        </a:cubicBezTo>
                        <a:cubicBezTo>
                          <a:pt x="68000" y="18352"/>
                          <a:pt x="68000" y="18352"/>
                          <a:pt x="68000" y="18352"/>
                        </a:cubicBezTo>
                        <a:cubicBezTo>
                          <a:pt x="69500" y="16941"/>
                          <a:pt x="69500" y="16941"/>
                          <a:pt x="69500" y="16941"/>
                        </a:cubicBezTo>
                        <a:cubicBezTo>
                          <a:pt x="71500" y="15529"/>
                          <a:pt x="71500" y="15529"/>
                          <a:pt x="71500" y="15529"/>
                        </a:cubicBezTo>
                        <a:cubicBezTo>
                          <a:pt x="73000" y="11294"/>
                          <a:pt x="73000" y="11294"/>
                          <a:pt x="73000" y="11294"/>
                        </a:cubicBezTo>
                        <a:cubicBezTo>
                          <a:pt x="74000" y="6352"/>
                          <a:pt x="74000" y="6352"/>
                          <a:pt x="74000" y="6352"/>
                        </a:cubicBezTo>
                        <a:cubicBezTo>
                          <a:pt x="74500" y="4235"/>
                          <a:pt x="74500" y="4235"/>
                          <a:pt x="74500" y="4235"/>
                        </a:cubicBezTo>
                        <a:cubicBezTo>
                          <a:pt x="81500" y="1411"/>
                          <a:pt x="81500" y="1411"/>
                          <a:pt x="81500" y="1411"/>
                        </a:cubicBezTo>
                        <a:cubicBezTo>
                          <a:pt x="84000" y="3529"/>
                          <a:pt x="84000" y="3529"/>
                          <a:pt x="84000" y="3529"/>
                        </a:cubicBezTo>
                        <a:cubicBezTo>
                          <a:pt x="87500" y="2823"/>
                          <a:pt x="87500" y="2823"/>
                          <a:pt x="87500" y="2823"/>
                        </a:cubicBezTo>
                        <a:cubicBezTo>
                          <a:pt x="90000" y="0"/>
                          <a:pt x="90000" y="0"/>
                          <a:pt x="90000" y="0"/>
                        </a:cubicBezTo>
                        <a:cubicBezTo>
                          <a:pt x="93000" y="705"/>
                          <a:pt x="93000" y="705"/>
                          <a:pt x="93000" y="705"/>
                        </a:cubicBezTo>
                        <a:cubicBezTo>
                          <a:pt x="97000" y="6352"/>
                          <a:pt x="97000" y="6352"/>
                          <a:pt x="97000" y="6352"/>
                        </a:cubicBezTo>
                        <a:cubicBezTo>
                          <a:pt x="101000" y="6352"/>
                          <a:pt x="101000" y="6352"/>
                          <a:pt x="101000" y="6352"/>
                        </a:cubicBezTo>
                        <a:cubicBezTo>
                          <a:pt x="103500" y="4235"/>
                          <a:pt x="103500" y="4235"/>
                          <a:pt x="103500" y="4235"/>
                        </a:cubicBezTo>
                        <a:cubicBezTo>
                          <a:pt x="106000" y="2823"/>
                          <a:pt x="106000" y="2823"/>
                          <a:pt x="106000" y="2823"/>
                        </a:cubicBezTo>
                        <a:cubicBezTo>
                          <a:pt x="107500" y="4941"/>
                          <a:pt x="107500" y="4941"/>
                          <a:pt x="107500" y="4941"/>
                        </a:cubicBezTo>
                        <a:cubicBezTo>
                          <a:pt x="109000" y="7764"/>
                          <a:pt x="109000" y="7764"/>
                          <a:pt x="109000" y="7764"/>
                        </a:cubicBezTo>
                        <a:cubicBezTo>
                          <a:pt x="111500" y="7058"/>
                          <a:pt x="111500" y="7058"/>
                          <a:pt x="111500" y="7058"/>
                        </a:cubicBezTo>
                        <a:cubicBezTo>
                          <a:pt x="113000" y="9882"/>
                          <a:pt x="113000" y="9882"/>
                          <a:pt x="113000" y="9882"/>
                        </a:cubicBezTo>
                        <a:cubicBezTo>
                          <a:pt x="114500" y="12000"/>
                          <a:pt x="114500" y="12000"/>
                          <a:pt x="114500" y="12000"/>
                        </a:cubicBezTo>
                        <a:cubicBezTo>
                          <a:pt x="117000" y="11294"/>
                          <a:pt x="117000" y="11294"/>
                          <a:pt x="117000" y="11294"/>
                        </a:cubicBezTo>
                        <a:cubicBezTo>
                          <a:pt x="119500" y="13411"/>
                          <a:pt x="119500" y="13411"/>
                          <a:pt x="119500" y="13411"/>
                        </a:cubicBezTo>
                        <a:cubicBezTo>
                          <a:pt x="119000" y="16235"/>
                          <a:pt x="119000" y="16235"/>
                          <a:pt x="119000" y="16235"/>
                        </a:cubicBezTo>
                        <a:cubicBezTo>
                          <a:pt x="120000" y="19764"/>
                          <a:pt x="120000" y="19764"/>
                          <a:pt x="120000" y="19764"/>
                        </a:cubicBezTo>
                        <a:cubicBezTo>
                          <a:pt x="118500" y="21882"/>
                          <a:pt x="118500" y="21882"/>
                          <a:pt x="118500" y="21882"/>
                        </a:cubicBezTo>
                        <a:cubicBezTo>
                          <a:pt x="118500" y="21882"/>
                          <a:pt x="118000" y="23294"/>
                          <a:pt x="117000" y="23294"/>
                        </a:cubicBezTo>
                        <a:cubicBezTo>
                          <a:pt x="116500" y="24000"/>
                          <a:pt x="115500" y="24705"/>
                          <a:pt x="115500" y="24705"/>
                        </a:cubicBezTo>
                        <a:cubicBezTo>
                          <a:pt x="114000" y="26823"/>
                          <a:pt x="114000" y="26823"/>
                          <a:pt x="114000" y="26823"/>
                        </a:cubicBezTo>
                        <a:cubicBezTo>
                          <a:pt x="112000" y="27529"/>
                          <a:pt x="112000" y="27529"/>
                          <a:pt x="112000" y="27529"/>
                        </a:cubicBezTo>
                        <a:cubicBezTo>
                          <a:pt x="110500" y="28235"/>
                          <a:pt x="110500" y="28235"/>
                          <a:pt x="110500" y="28235"/>
                        </a:cubicBezTo>
                        <a:cubicBezTo>
                          <a:pt x="109500" y="29647"/>
                          <a:pt x="109500" y="29647"/>
                          <a:pt x="109500" y="29647"/>
                        </a:cubicBezTo>
                        <a:cubicBezTo>
                          <a:pt x="108500" y="33882"/>
                          <a:pt x="108500" y="33882"/>
                          <a:pt x="108500" y="33882"/>
                        </a:cubicBezTo>
                        <a:cubicBezTo>
                          <a:pt x="107000" y="36000"/>
                          <a:pt x="107000" y="36000"/>
                          <a:pt x="107000" y="36000"/>
                        </a:cubicBezTo>
                        <a:cubicBezTo>
                          <a:pt x="106500" y="39529"/>
                          <a:pt x="106500" y="39529"/>
                          <a:pt x="106500" y="39529"/>
                        </a:cubicBezTo>
                        <a:cubicBezTo>
                          <a:pt x="106500" y="39529"/>
                          <a:pt x="107500" y="43058"/>
                          <a:pt x="106500" y="43764"/>
                        </a:cubicBezTo>
                        <a:cubicBezTo>
                          <a:pt x="106000" y="43764"/>
                          <a:pt x="105500" y="44470"/>
                          <a:pt x="105500" y="44470"/>
                        </a:cubicBezTo>
                        <a:cubicBezTo>
                          <a:pt x="105000" y="50117"/>
                          <a:pt x="105000" y="50117"/>
                          <a:pt x="105000" y="50117"/>
                        </a:cubicBezTo>
                        <a:cubicBezTo>
                          <a:pt x="103000" y="52941"/>
                          <a:pt x="103000" y="52941"/>
                          <a:pt x="103000" y="52941"/>
                        </a:cubicBezTo>
                        <a:cubicBezTo>
                          <a:pt x="102500" y="58588"/>
                          <a:pt x="102500" y="58588"/>
                          <a:pt x="102500" y="58588"/>
                        </a:cubicBezTo>
                        <a:cubicBezTo>
                          <a:pt x="102500" y="58588"/>
                          <a:pt x="103500" y="61411"/>
                          <a:pt x="102000" y="61411"/>
                        </a:cubicBezTo>
                        <a:cubicBezTo>
                          <a:pt x="101000" y="62117"/>
                          <a:pt x="100500" y="63529"/>
                          <a:pt x="100500" y="63529"/>
                        </a:cubicBezTo>
                        <a:cubicBezTo>
                          <a:pt x="100500" y="68470"/>
                          <a:pt x="100500" y="68470"/>
                          <a:pt x="100500" y="68470"/>
                        </a:cubicBezTo>
                        <a:cubicBezTo>
                          <a:pt x="99000" y="72000"/>
                          <a:pt x="99000" y="72000"/>
                          <a:pt x="99000" y="72000"/>
                        </a:cubicBezTo>
                        <a:cubicBezTo>
                          <a:pt x="99500" y="74823"/>
                          <a:pt x="99500" y="74823"/>
                          <a:pt x="99500" y="74823"/>
                        </a:cubicBezTo>
                        <a:cubicBezTo>
                          <a:pt x="98500" y="76941"/>
                          <a:pt x="98500" y="76941"/>
                          <a:pt x="98500" y="76941"/>
                        </a:cubicBezTo>
                        <a:cubicBezTo>
                          <a:pt x="99000" y="80470"/>
                          <a:pt x="99000" y="80470"/>
                          <a:pt x="99000" y="80470"/>
                        </a:cubicBezTo>
                        <a:cubicBezTo>
                          <a:pt x="98000" y="82588"/>
                          <a:pt x="98000" y="82588"/>
                          <a:pt x="98000" y="82588"/>
                        </a:cubicBezTo>
                        <a:cubicBezTo>
                          <a:pt x="97500" y="83294"/>
                          <a:pt x="97500" y="83294"/>
                          <a:pt x="97500" y="83294"/>
                        </a:cubicBezTo>
                        <a:cubicBezTo>
                          <a:pt x="97000" y="85411"/>
                          <a:pt x="97000" y="85411"/>
                          <a:pt x="97000" y="85411"/>
                        </a:cubicBezTo>
                        <a:cubicBezTo>
                          <a:pt x="96000" y="88941"/>
                          <a:pt x="96000" y="88941"/>
                          <a:pt x="96000" y="88941"/>
                        </a:cubicBezTo>
                        <a:cubicBezTo>
                          <a:pt x="92000" y="93882"/>
                          <a:pt x="92000" y="93882"/>
                          <a:pt x="92000" y="93882"/>
                        </a:cubicBezTo>
                        <a:cubicBezTo>
                          <a:pt x="90000" y="93176"/>
                          <a:pt x="90000" y="93176"/>
                          <a:pt x="90000" y="93176"/>
                        </a:cubicBezTo>
                        <a:cubicBezTo>
                          <a:pt x="88500" y="95294"/>
                          <a:pt x="88500" y="95294"/>
                          <a:pt x="88500" y="95294"/>
                        </a:cubicBezTo>
                        <a:cubicBezTo>
                          <a:pt x="88500" y="95294"/>
                          <a:pt x="89000" y="95294"/>
                          <a:pt x="88000" y="96705"/>
                        </a:cubicBezTo>
                        <a:cubicBezTo>
                          <a:pt x="87000" y="97411"/>
                          <a:pt x="85000" y="98117"/>
                          <a:pt x="85000" y="98117"/>
                        </a:cubicBezTo>
                        <a:cubicBezTo>
                          <a:pt x="84000" y="98117"/>
                          <a:pt x="84000" y="98117"/>
                          <a:pt x="84000" y="98117"/>
                        </a:cubicBezTo>
                        <a:cubicBezTo>
                          <a:pt x="80500" y="98117"/>
                          <a:pt x="80500" y="98117"/>
                          <a:pt x="80500" y="98117"/>
                        </a:cubicBezTo>
                        <a:cubicBezTo>
                          <a:pt x="80500" y="98117"/>
                          <a:pt x="80000" y="97411"/>
                          <a:pt x="79500" y="98117"/>
                        </a:cubicBezTo>
                        <a:cubicBezTo>
                          <a:pt x="79000" y="98117"/>
                          <a:pt x="76500" y="98117"/>
                          <a:pt x="76500" y="98117"/>
                        </a:cubicBezTo>
                        <a:cubicBezTo>
                          <a:pt x="76500" y="98117"/>
                          <a:pt x="75500" y="97411"/>
                          <a:pt x="75000" y="97411"/>
                        </a:cubicBezTo>
                        <a:cubicBezTo>
                          <a:pt x="74500" y="97411"/>
                          <a:pt x="71500" y="98117"/>
                          <a:pt x="71500" y="98117"/>
                        </a:cubicBezTo>
                        <a:cubicBezTo>
                          <a:pt x="69500" y="99529"/>
                          <a:pt x="69500" y="99529"/>
                          <a:pt x="69500" y="99529"/>
                        </a:cubicBezTo>
                        <a:cubicBezTo>
                          <a:pt x="69500" y="99529"/>
                          <a:pt x="69000" y="98117"/>
                          <a:pt x="68500" y="98823"/>
                        </a:cubicBezTo>
                        <a:cubicBezTo>
                          <a:pt x="67500" y="98823"/>
                          <a:pt x="65000" y="100235"/>
                          <a:pt x="65000" y="100235"/>
                        </a:cubicBezTo>
                        <a:cubicBezTo>
                          <a:pt x="65000" y="100235"/>
                          <a:pt x="66000" y="101647"/>
                          <a:pt x="65000" y="101647"/>
                        </a:cubicBezTo>
                        <a:cubicBezTo>
                          <a:pt x="64500" y="101647"/>
                          <a:pt x="63000" y="104470"/>
                          <a:pt x="63000" y="104470"/>
                        </a:cubicBezTo>
                        <a:cubicBezTo>
                          <a:pt x="62000" y="105176"/>
                          <a:pt x="62000" y="105176"/>
                          <a:pt x="62000" y="105176"/>
                        </a:cubicBezTo>
                        <a:cubicBezTo>
                          <a:pt x="61500" y="107294"/>
                          <a:pt x="61500" y="107294"/>
                          <a:pt x="61500" y="107294"/>
                        </a:cubicBezTo>
                        <a:cubicBezTo>
                          <a:pt x="61500" y="107294"/>
                          <a:pt x="61000" y="107294"/>
                          <a:pt x="60000" y="107294"/>
                        </a:cubicBezTo>
                        <a:cubicBezTo>
                          <a:pt x="59500" y="107294"/>
                          <a:pt x="58000" y="108000"/>
                          <a:pt x="58000" y="108000"/>
                        </a:cubicBezTo>
                        <a:cubicBezTo>
                          <a:pt x="57500" y="107294"/>
                          <a:pt x="57500" y="107294"/>
                          <a:pt x="57500" y="107294"/>
                        </a:cubicBezTo>
                        <a:cubicBezTo>
                          <a:pt x="55500" y="111529"/>
                          <a:pt x="55500" y="111529"/>
                          <a:pt x="55500" y="111529"/>
                        </a:cubicBezTo>
                        <a:cubicBezTo>
                          <a:pt x="53500" y="112941"/>
                          <a:pt x="53500" y="112941"/>
                          <a:pt x="53500" y="112941"/>
                        </a:cubicBezTo>
                        <a:cubicBezTo>
                          <a:pt x="52500" y="112235"/>
                          <a:pt x="52500" y="112235"/>
                          <a:pt x="52500" y="112235"/>
                        </a:cubicBezTo>
                        <a:cubicBezTo>
                          <a:pt x="51500" y="115764"/>
                          <a:pt x="51500" y="115764"/>
                          <a:pt x="51500" y="115764"/>
                        </a:cubicBezTo>
                        <a:cubicBezTo>
                          <a:pt x="51500" y="115764"/>
                          <a:pt x="50000" y="116470"/>
                          <a:pt x="50000" y="117176"/>
                        </a:cubicBezTo>
                        <a:cubicBezTo>
                          <a:pt x="49500" y="117882"/>
                          <a:pt x="47000" y="117882"/>
                          <a:pt x="47000" y="117882"/>
                        </a:cubicBezTo>
                        <a:cubicBezTo>
                          <a:pt x="45000" y="117882"/>
                          <a:pt x="45000" y="117882"/>
                          <a:pt x="45000" y="117882"/>
                        </a:cubicBezTo>
                        <a:cubicBezTo>
                          <a:pt x="41500" y="119294"/>
                          <a:pt x="41500" y="119294"/>
                          <a:pt x="41500" y="119294"/>
                        </a:cubicBezTo>
                        <a:cubicBezTo>
                          <a:pt x="41500" y="119294"/>
                          <a:pt x="40500" y="120000"/>
                          <a:pt x="40000" y="120000"/>
                        </a:cubicBezTo>
                        <a:cubicBezTo>
                          <a:pt x="39500" y="120000"/>
                          <a:pt x="37000" y="119294"/>
                          <a:pt x="37000" y="119294"/>
                        </a:cubicBezTo>
                        <a:cubicBezTo>
                          <a:pt x="35500" y="120000"/>
                          <a:pt x="35500" y="120000"/>
                          <a:pt x="35500" y="120000"/>
                        </a:cubicBezTo>
                        <a:cubicBezTo>
                          <a:pt x="32000" y="118588"/>
                          <a:pt x="32000" y="118588"/>
                          <a:pt x="32000" y="118588"/>
                        </a:cubicBezTo>
                        <a:cubicBezTo>
                          <a:pt x="31000" y="116470"/>
                          <a:pt x="31000" y="116470"/>
                          <a:pt x="31000" y="116470"/>
                        </a:cubicBezTo>
                        <a:cubicBezTo>
                          <a:pt x="28000" y="115764"/>
                          <a:pt x="28000" y="115764"/>
                          <a:pt x="28000" y="115764"/>
                        </a:cubicBezTo>
                        <a:cubicBezTo>
                          <a:pt x="27500" y="114352"/>
                          <a:pt x="27500" y="114352"/>
                          <a:pt x="27500" y="114352"/>
                        </a:cubicBezTo>
                        <a:cubicBezTo>
                          <a:pt x="25500" y="114352"/>
                          <a:pt x="25500" y="114352"/>
                          <a:pt x="25500" y="114352"/>
                        </a:cubicBezTo>
                        <a:cubicBezTo>
                          <a:pt x="23500" y="111529"/>
                          <a:pt x="23500" y="111529"/>
                          <a:pt x="23500" y="111529"/>
                        </a:cubicBezTo>
                        <a:cubicBezTo>
                          <a:pt x="21000" y="107294"/>
                          <a:pt x="21000" y="107294"/>
                          <a:pt x="21000" y="107294"/>
                        </a:cubicBezTo>
                        <a:cubicBezTo>
                          <a:pt x="16000" y="105176"/>
                          <a:pt x="16000" y="105176"/>
                          <a:pt x="16000" y="105176"/>
                        </a:cubicBezTo>
                        <a:cubicBezTo>
                          <a:pt x="14500" y="102352"/>
                          <a:pt x="14500" y="102352"/>
                          <a:pt x="14500" y="102352"/>
                        </a:cubicBezTo>
                        <a:cubicBezTo>
                          <a:pt x="13000" y="100941"/>
                          <a:pt x="13000" y="100941"/>
                          <a:pt x="13000" y="100941"/>
                        </a:cubicBezTo>
                        <a:cubicBezTo>
                          <a:pt x="11000" y="98823"/>
                          <a:pt x="11000" y="98823"/>
                          <a:pt x="11000" y="98823"/>
                        </a:cubicBezTo>
                        <a:cubicBezTo>
                          <a:pt x="9000" y="96705"/>
                          <a:pt x="9000" y="96705"/>
                          <a:pt x="9000" y="96705"/>
                        </a:cubicBezTo>
                        <a:cubicBezTo>
                          <a:pt x="8000" y="95294"/>
                          <a:pt x="8000" y="95294"/>
                          <a:pt x="8000" y="95294"/>
                        </a:cubicBezTo>
                        <a:cubicBezTo>
                          <a:pt x="5000" y="89647"/>
                          <a:pt x="5000" y="89647"/>
                          <a:pt x="5000" y="89647"/>
                        </a:cubicBezTo>
                        <a:cubicBezTo>
                          <a:pt x="5000" y="88235"/>
                          <a:pt x="5000" y="88235"/>
                          <a:pt x="5000" y="88235"/>
                        </a:cubicBezTo>
                        <a:cubicBezTo>
                          <a:pt x="3500" y="85411"/>
                          <a:pt x="3500" y="85411"/>
                          <a:pt x="3500" y="85411"/>
                        </a:cubicBezTo>
                        <a:cubicBezTo>
                          <a:pt x="3000" y="82588"/>
                          <a:pt x="3000" y="82588"/>
                          <a:pt x="3000" y="82588"/>
                        </a:cubicBezTo>
                        <a:cubicBezTo>
                          <a:pt x="2000" y="81176"/>
                          <a:pt x="2000" y="81176"/>
                          <a:pt x="2000" y="81176"/>
                        </a:cubicBezTo>
                        <a:cubicBezTo>
                          <a:pt x="0" y="82588"/>
                          <a:pt x="0" y="82588"/>
                          <a:pt x="0" y="82588"/>
                        </a:cubicBezTo>
                        <a:cubicBezTo>
                          <a:pt x="0" y="82588"/>
                          <a:pt x="0" y="82588"/>
                          <a:pt x="0" y="82588"/>
                        </a:cubicBezTo>
                        <a:cubicBezTo>
                          <a:pt x="0" y="81882"/>
                          <a:pt x="0" y="81882"/>
                          <a:pt x="0" y="81882"/>
                        </a:cubicBezTo>
                        <a:cubicBezTo>
                          <a:pt x="1500" y="76941"/>
                          <a:pt x="1500" y="76941"/>
                          <a:pt x="1500" y="76941"/>
                        </a:cubicBezTo>
                        <a:cubicBezTo>
                          <a:pt x="3000" y="76235"/>
                          <a:pt x="3000" y="76235"/>
                          <a:pt x="3000" y="76235"/>
                        </a:cubicBezTo>
                        <a:cubicBezTo>
                          <a:pt x="4500" y="72705"/>
                          <a:pt x="4500" y="72705"/>
                          <a:pt x="4500" y="72705"/>
                        </a:cubicBezTo>
                        <a:cubicBezTo>
                          <a:pt x="4000" y="68470"/>
                          <a:pt x="4000" y="68470"/>
                          <a:pt x="4000" y="68470"/>
                        </a:cubicBezTo>
                        <a:cubicBezTo>
                          <a:pt x="4000" y="67058"/>
                          <a:pt x="4000" y="67058"/>
                          <a:pt x="4000" y="67058"/>
                        </a:cubicBezTo>
                        <a:cubicBezTo>
                          <a:pt x="2500" y="62823"/>
                          <a:pt x="2500" y="62823"/>
                          <a:pt x="2500" y="62823"/>
                        </a:cubicBezTo>
                        <a:cubicBezTo>
                          <a:pt x="2500" y="62823"/>
                          <a:pt x="3000" y="62117"/>
                          <a:pt x="3500" y="62117"/>
                        </a:cubicBezTo>
                        <a:cubicBezTo>
                          <a:pt x="4000" y="62117"/>
                          <a:pt x="5500" y="60705"/>
                          <a:pt x="5500" y="60705"/>
                        </a:cubicBezTo>
                        <a:cubicBezTo>
                          <a:pt x="8500" y="57882"/>
                          <a:pt x="8500" y="57882"/>
                          <a:pt x="8500" y="57882"/>
                        </a:cubicBezTo>
                        <a:cubicBezTo>
                          <a:pt x="6000" y="52235"/>
                          <a:pt x="6000" y="52235"/>
                          <a:pt x="6000" y="52235"/>
                        </a:cubicBezTo>
                        <a:cubicBezTo>
                          <a:pt x="5000" y="52235"/>
                          <a:pt x="5000" y="52235"/>
                          <a:pt x="5000" y="52235"/>
                        </a:cubicBezTo>
                        <a:cubicBezTo>
                          <a:pt x="2000" y="50823"/>
                          <a:pt x="2000" y="50823"/>
                          <a:pt x="2000" y="50823"/>
                        </a:cubicBezTo>
                        <a:cubicBezTo>
                          <a:pt x="4000" y="48705"/>
                          <a:pt x="4000" y="48705"/>
                          <a:pt x="4000" y="48705"/>
                        </a:cubicBezTo>
                        <a:cubicBezTo>
                          <a:pt x="5000" y="47294"/>
                          <a:pt x="5000" y="47294"/>
                          <a:pt x="5000" y="47294"/>
                        </a:cubicBezTo>
                        <a:cubicBezTo>
                          <a:pt x="9000" y="49411"/>
                          <a:pt x="9000" y="49411"/>
                          <a:pt x="9000" y="49411"/>
                        </a:cubicBezTo>
                        <a:cubicBezTo>
                          <a:pt x="9000" y="49411"/>
                          <a:pt x="10500" y="50117"/>
                          <a:pt x="10000" y="49411"/>
                        </a:cubicBezTo>
                        <a:cubicBezTo>
                          <a:pt x="10000" y="47294"/>
                          <a:pt x="10500" y="48705"/>
                          <a:pt x="10500" y="48705"/>
                        </a:cubicBezTo>
                        <a:cubicBezTo>
                          <a:pt x="11000" y="50117"/>
                          <a:pt x="12500" y="48705"/>
                          <a:pt x="13500" y="48705"/>
                        </a:cubicBezTo>
                        <a:cubicBezTo>
                          <a:pt x="15000" y="48000"/>
                          <a:pt x="14000" y="46588"/>
                          <a:pt x="13500" y="45176"/>
                        </a:cubicBezTo>
                        <a:cubicBezTo>
                          <a:pt x="13500" y="44470"/>
                          <a:pt x="13500" y="43764"/>
                          <a:pt x="14000" y="4305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4" name="Shape 2031"/>
                  <p:cNvSpPr/>
                  <p:nvPr/>
                </p:nvSpPr>
                <p:spPr>
                  <a:xfrm>
                    <a:off x="5991266" y="1973644"/>
                    <a:ext cx="656360" cy="596634"/>
                  </a:xfrm>
                  <a:custGeom>
                    <a:avLst/>
                    <a:gdLst/>
                    <a:ahLst/>
                    <a:cxnLst/>
                    <a:rect l="0" t="0" r="0" b="0"/>
                    <a:pathLst>
                      <a:path w="120000" h="120000" extrusionOk="0">
                        <a:moveTo>
                          <a:pt x="33750" y="29333"/>
                        </a:moveTo>
                        <a:cubicBezTo>
                          <a:pt x="33333" y="27111"/>
                          <a:pt x="33333" y="27111"/>
                          <a:pt x="33333" y="27111"/>
                        </a:cubicBezTo>
                        <a:cubicBezTo>
                          <a:pt x="35000" y="26222"/>
                          <a:pt x="35000" y="26222"/>
                          <a:pt x="35000" y="26222"/>
                        </a:cubicBezTo>
                        <a:cubicBezTo>
                          <a:pt x="34583" y="24444"/>
                          <a:pt x="34583" y="24444"/>
                          <a:pt x="34583" y="24444"/>
                        </a:cubicBezTo>
                        <a:cubicBezTo>
                          <a:pt x="31666" y="24888"/>
                          <a:pt x="31666" y="24888"/>
                          <a:pt x="31666" y="24888"/>
                        </a:cubicBezTo>
                        <a:cubicBezTo>
                          <a:pt x="30416" y="24444"/>
                          <a:pt x="30416" y="24444"/>
                          <a:pt x="30416" y="24444"/>
                        </a:cubicBezTo>
                        <a:cubicBezTo>
                          <a:pt x="30416" y="22222"/>
                          <a:pt x="30416" y="22222"/>
                          <a:pt x="30416" y="22222"/>
                        </a:cubicBezTo>
                        <a:cubicBezTo>
                          <a:pt x="31250" y="20000"/>
                          <a:pt x="31250" y="20000"/>
                          <a:pt x="31250" y="20000"/>
                        </a:cubicBezTo>
                        <a:cubicBezTo>
                          <a:pt x="30833" y="16000"/>
                          <a:pt x="30833" y="16000"/>
                          <a:pt x="30833" y="16000"/>
                        </a:cubicBezTo>
                        <a:cubicBezTo>
                          <a:pt x="30833" y="16000"/>
                          <a:pt x="30000" y="16000"/>
                          <a:pt x="31250" y="15111"/>
                        </a:cubicBezTo>
                        <a:cubicBezTo>
                          <a:pt x="32916" y="14666"/>
                          <a:pt x="33750" y="14666"/>
                          <a:pt x="33750" y="14666"/>
                        </a:cubicBezTo>
                        <a:cubicBezTo>
                          <a:pt x="34166" y="12000"/>
                          <a:pt x="34166" y="12000"/>
                          <a:pt x="34166" y="12000"/>
                        </a:cubicBezTo>
                        <a:cubicBezTo>
                          <a:pt x="35416" y="10666"/>
                          <a:pt x="35416" y="10666"/>
                          <a:pt x="35416" y="10666"/>
                        </a:cubicBezTo>
                        <a:cubicBezTo>
                          <a:pt x="35416" y="10666"/>
                          <a:pt x="35000" y="10666"/>
                          <a:pt x="36666" y="10666"/>
                        </a:cubicBezTo>
                        <a:cubicBezTo>
                          <a:pt x="38333" y="10666"/>
                          <a:pt x="38750" y="10666"/>
                          <a:pt x="38750" y="10666"/>
                        </a:cubicBezTo>
                        <a:cubicBezTo>
                          <a:pt x="42083" y="10666"/>
                          <a:pt x="42083" y="10666"/>
                          <a:pt x="42083" y="10666"/>
                        </a:cubicBezTo>
                        <a:cubicBezTo>
                          <a:pt x="42916" y="9333"/>
                          <a:pt x="42916" y="9333"/>
                          <a:pt x="42916" y="9333"/>
                        </a:cubicBezTo>
                        <a:cubicBezTo>
                          <a:pt x="42083" y="7111"/>
                          <a:pt x="42083" y="7111"/>
                          <a:pt x="42083" y="7111"/>
                        </a:cubicBezTo>
                        <a:cubicBezTo>
                          <a:pt x="44166" y="4888"/>
                          <a:pt x="44166" y="4888"/>
                          <a:pt x="44166" y="4888"/>
                        </a:cubicBezTo>
                        <a:cubicBezTo>
                          <a:pt x="44583" y="1777"/>
                          <a:pt x="44583" y="1777"/>
                          <a:pt x="44583" y="1777"/>
                        </a:cubicBezTo>
                        <a:cubicBezTo>
                          <a:pt x="46666" y="444"/>
                          <a:pt x="46666" y="444"/>
                          <a:pt x="46666" y="444"/>
                        </a:cubicBezTo>
                        <a:cubicBezTo>
                          <a:pt x="46666" y="444"/>
                          <a:pt x="47916" y="1777"/>
                          <a:pt x="48333" y="1777"/>
                        </a:cubicBezTo>
                        <a:cubicBezTo>
                          <a:pt x="48750" y="1777"/>
                          <a:pt x="49166" y="2222"/>
                          <a:pt x="49583" y="1777"/>
                        </a:cubicBezTo>
                        <a:cubicBezTo>
                          <a:pt x="50000" y="1777"/>
                          <a:pt x="50416" y="888"/>
                          <a:pt x="50416" y="888"/>
                        </a:cubicBezTo>
                        <a:cubicBezTo>
                          <a:pt x="52500" y="0"/>
                          <a:pt x="52500" y="0"/>
                          <a:pt x="52500" y="0"/>
                        </a:cubicBezTo>
                        <a:cubicBezTo>
                          <a:pt x="53750" y="444"/>
                          <a:pt x="53750" y="444"/>
                          <a:pt x="53750" y="444"/>
                        </a:cubicBezTo>
                        <a:cubicBezTo>
                          <a:pt x="54583" y="2222"/>
                          <a:pt x="54583" y="2222"/>
                          <a:pt x="54583" y="2222"/>
                        </a:cubicBezTo>
                        <a:cubicBezTo>
                          <a:pt x="56666" y="2222"/>
                          <a:pt x="56666" y="2222"/>
                          <a:pt x="56666" y="2222"/>
                        </a:cubicBezTo>
                        <a:cubicBezTo>
                          <a:pt x="57083" y="1333"/>
                          <a:pt x="57083" y="1333"/>
                          <a:pt x="57083" y="1333"/>
                        </a:cubicBezTo>
                        <a:cubicBezTo>
                          <a:pt x="60000" y="444"/>
                          <a:pt x="60000" y="444"/>
                          <a:pt x="60000" y="444"/>
                        </a:cubicBezTo>
                        <a:cubicBezTo>
                          <a:pt x="63333" y="444"/>
                          <a:pt x="63333" y="444"/>
                          <a:pt x="63333" y="444"/>
                        </a:cubicBezTo>
                        <a:cubicBezTo>
                          <a:pt x="63750" y="3111"/>
                          <a:pt x="63750" y="3111"/>
                          <a:pt x="63750" y="3111"/>
                        </a:cubicBezTo>
                        <a:cubicBezTo>
                          <a:pt x="63750" y="4444"/>
                          <a:pt x="63750" y="4444"/>
                          <a:pt x="63750" y="4444"/>
                        </a:cubicBezTo>
                        <a:cubicBezTo>
                          <a:pt x="63750" y="4444"/>
                          <a:pt x="64583" y="5777"/>
                          <a:pt x="65416" y="5333"/>
                        </a:cubicBezTo>
                        <a:cubicBezTo>
                          <a:pt x="65833" y="5333"/>
                          <a:pt x="67500" y="4888"/>
                          <a:pt x="67916" y="4000"/>
                        </a:cubicBezTo>
                        <a:cubicBezTo>
                          <a:pt x="67916" y="3111"/>
                          <a:pt x="68333" y="2222"/>
                          <a:pt x="69166" y="1777"/>
                        </a:cubicBezTo>
                        <a:cubicBezTo>
                          <a:pt x="70000" y="1777"/>
                          <a:pt x="69583" y="1333"/>
                          <a:pt x="70833" y="888"/>
                        </a:cubicBezTo>
                        <a:cubicBezTo>
                          <a:pt x="72500" y="444"/>
                          <a:pt x="73750" y="0"/>
                          <a:pt x="73750" y="0"/>
                        </a:cubicBezTo>
                        <a:cubicBezTo>
                          <a:pt x="77500" y="888"/>
                          <a:pt x="77500" y="888"/>
                          <a:pt x="77500" y="888"/>
                        </a:cubicBezTo>
                        <a:cubicBezTo>
                          <a:pt x="78750" y="2222"/>
                          <a:pt x="78750" y="2222"/>
                          <a:pt x="78750" y="2222"/>
                        </a:cubicBezTo>
                        <a:cubicBezTo>
                          <a:pt x="80000" y="3111"/>
                          <a:pt x="80000" y="3111"/>
                          <a:pt x="80000" y="3111"/>
                        </a:cubicBezTo>
                        <a:cubicBezTo>
                          <a:pt x="81250" y="2666"/>
                          <a:pt x="81250" y="2666"/>
                          <a:pt x="81250" y="2666"/>
                        </a:cubicBezTo>
                        <a:cubicBezTo>
                          <a:pt x="81666" y="3555"/>
                          <a:pt x="81666" y="3555"/>
                          <a:pt x="81666" y="3555"/>
                        </a:cubicBezTo>
                        <a:cubicBezTo>
                          <a:pt x="83333" y="2666"/>
                          <a:pt x="83333" y="2666"/>
                          <a:pt x="83333" y="2666"/>
                        </a:cubicBezTo>
                        <a:cubicBezTo>
                          <a:pt x="84166" y="4444"/>
                          <a:pt x="84166" y="4444"/>
                          <a:pt x="84166" y="4444"/>
                        </a:cubicBezTo>
                        <a:cubicBezTo>
                          <a:pt x="84166" y="8000"/>
                          <a:pt x="84166" y="8000"/>
                          <a:pt x="84166" y="8000"/>
                        </a:cubicBezTo>
                        <a:cubicBezTo>
                          <a:pt x="84166" y="9333"/>
                          <a:pt x="84166" y="9333"/>
                          <a:pt x="84166" y="9333"/>
                        </a:cubicBezTo>
                        <a:cubicBezTo>
                          <a:pt x="84166" y="10666"/>
                          <a:pt x="84166" y="10666"/>
                          <a:pt x="84166" y="10666"/>
                        </a:cubicBezTo>
                        <a:cubicBezTo>
                          <a:pt x="86666" y="12444"/>
                          <a:pt x="86666" y="12444"/>
                          <a:pt x="86666" y="12444"/>
                        </a:cubicBezTo>
                        <a:cubicBezTo>
                          <a:pt x="87916" y="13777"/>
                          <a:pt x="87916" y="13777"/>
                          <a:pt x="87916" y="13777"/>
                        </a:cubicBezTo>
                        <a:cubicBezTo>
                          <a:pt x="87500" y="16000"/>
                          <a:pt x="87500" y="16000"/>
                          <a:pt x="87500" y="16000"/>
                        </a:cubicBezTo>
                        <a:cubicBezTo>
                          <a:pt x="87500" y="17333"/>
                          <a:pt x="87500" y="17333"/>
                          <a:pt x="87500" y="17333"/>
                        </a:cubicBezTo>
                        <a:cubicBezTo>
                          <a:pt x="86250" y="20888"/>
                          <a:pt x="86250" y="20888"/>
                          <a:pt x="86250" y="20888"/>
                        </a:cubicBezTo>
                        <a:cubicBezTo>
                          <a:pt x="89166" y="21777"/>
                          <a:pt x="89166" y="21777"/>
                          <a:pt x="89166" y="21777"/>
                        </a:cubicBezTo>
                        <a:cubicBezTo>
                          <a:pt x="90833" y="23555"/>
                          <a:pt x="90833" y="23555"/>
                          <a:pt x="90833" y="23555"/>
                        </a:cubicBezTo>
                        <a:cubicBezTo>
                          <a:pt x="92500" y="23555"/>
                          <a:pt x="92500" y="23555"/>
                          <a:pt x="92500" y="23555"/>
                        </a:cubicBezTo>
                        <a:cubicBezTo>
                          <a:pt x="92500" y="25777"/>
                          <a:pt x="92500" y="25777"/>
                          <a:pt x="92500" y="25777"/>
                        </a:cubicBezTo>
                        <a:cubicBezTo>
                          <a:pt x="92500" y="25777"/>
                          <a:pt x="91666" y="27111"/>
                          <a:pt x="92916" y="27111"/>
                        </a:cubicBezTo>
                        <a:cubicBezTo>
                          <a:pt x="94166" y="27555"/>
                          <a:pt x="94583" y="27555"/>
                          <a:pt x="94583" y="27555"/>
                        </a:cubicBezTo>
                        <a:cubicBezTo>
                          <a:pt x="95000" y="28888"/>
                          <a:pt x="95000" y="28888"/>
                          <a:pt x="95000" y="28888"/>
                        </a:cubicBezTo>
                        <a:cubicBezTo>
                          <a:pt x="97083" y="32000"/>
                          <a:pt x="97083" y="32000"/>
                          <a:pt x="97083" y="32000"/>
                        </a:cubicBezTo>
                        <a:cubicBezTo>
                          <a:pt x="101666" y="32888"/>
                          <a:pt x="101666" y="32888"/>
                          <a:pt x="101666" y="32888"/>
                        </a:cubicBezTo>
                        <a:cubicBezTo>
                          <a:pt x="103750" y="33777"/>
                          <a:pt x="103750" y="33777"/>
                          <a:pt x="103750" y="33777"/>
                        </a:cubicBezTo>
                        <a:cubicBezTo>
                          <a:pt x="104583" y="35555"/>
                          <a:pt x="104583" y="35555"/>
                          <a:pt x="104583" y="35555"/>
                        </a:cubicBezTo>
                        <a:cubicBezTo>
                          <a:pt x="105000" y="39555"/>
                          <a:pt x="105000" y="39555"/>
                          <a:pt x="105000" y="39555"/>
                        </a:cubicBezTo>
                        <a:cubicBezTo>
                          <a:pt x="107083" y="39555"/>
                          <a:pt x="107083" y="39555"/>
                          <a:pt x="107083" y="39555"/>
                        </a:cubicBezTo>
                        <a:cubicBezTo>
                          <a:pt x="108333" y="38222"/>
                          <a:pt x="108333" y="38222"/>
                          <a:pt x="108333" y="38222"/>
                        </a:cubicBezTo>
                        <a:cubicBezTo>
                          <a:pt x="109583" y="37777"/>
                          <a:pt x="109583" y="37777"/>
                          <a:pt x="109583" y="37777"/>
                        </a:cubicBezTo>
                        <a:cubicBezTo>
                          <a:pt x="111250" y="38222"/>
                          <a:pt x="111250" y="38222"/>
                          <a:pt x="111250" y="38222"/>
                        </a:cubicBezTo>
                        <a:cubicBezTo>
                          <a:pt x="113333" y="38666"/>
                          <a:pt x="113333" y="38666"/>
                          <a:pt x="113333" y="38666"/>
                        </a:cubicBezTo>
                        <a:cubicBezTo>
                          <a:pt x="115416" y="38666"/>
                          <a:pt x="115416" y="38666"/>
                          <a:pt x="115416" y="38666"/>
                        </a:cubicBezTo>
                        <a:cubicBezTo>
                          <a:pt x="114583" y="40888"/>
                          <a:pt x="114583" y="40888"/>
                          <a:pt x="114583" y="40888"/>
                        </a:cubicBezTo>
                        <a:cubicBezTo>
                          <a:pt x="116250" y="42222"/>
                          <a:pt x="116250" y="42222"/>
                          <a:pt x="116250" y="42222"/>
                        </a:cubicBezTo>
                        <a:cubicBezTo>
                          <a:pt x="117916" y="42666"/>
                          <a:pt x="117916" y="42666"/>
                          <a:pt x="117916" y="42666"/>
                        </a:cubicBezTo>
                        <a:cubicBezTo>
                          <a:pt x="120000" y="43555"/>
                          <a:pt x="120000" y="43555"/>
                          <a:pt x="120000" y="43555"/>
                        </a:cubicBezTo>
                        <a:cubicBezTo>
                          <a:pt x="120000" y="46222"/>
                          <a:pt x="120000" y="46222"/>
                          <a:pt x="120000" y="46222"/>
                        </a:cubicBezTo>
                        <a:cubicBezTo>
                          <a:pt x="119166" y="47555"/>
                          <a:pt x="119166" y="47555"/>
                          <a:pt x="119166" y="47555"/>
                        </a:cubicBezTo>
                        <a:cubicBezTo>
                          <a:pt x="117500" y="48000"/>
                          <a:pt x="117500" y="48000"/>
                          <a:pt x="117500" y="48000"/>
                        </a:cubicBezTo>
                        <a:cubicBezTo>
                          <a:pt x="117500" y="48000"/>
                          <a:pt x="118333" y="50222"/>
                          <a:pt x="117500" y="50666"/>
                        </a:cubicBezTo>
                        <a:cubicBezTo>
                          <a:pt x="117083" y="51111"/>
                          <a:pt x="114166" y="53777"/>
                          <a:pt x="114166" y="53777"/>
                        </a:cubicBezTo>
                        <a:cubicBezTo>
                          <a:pt x="111250" y="54666"/>
                          <a:pt x="111250" y="54666"/>
                          <a:pt x="111250" y="54666"/>
                        </a:cubicBezTo>
                        <a:cubicBezTo>
                          <a:pt x="108750" y="53777"/>
                          <a:pt x="108750" y="53777"/>
                          <a:pt x="108750" y="53777"/>
                        </a:cubicBezTo>
                        <a:cubicBezTo>
                          <a:pt x="108750" y="53777"/>
                          <a:pt x="108333" y="53333"/>
                          <a:pt x="106666" y="53777"/>
                        </a:cubicBezTo>
                        <a:cubicBezTo>
                          <a:pt x="105000" y="54666"/>
                          <a:pt x="105000" y="55111"/>
                          <a:pt x="105000" y="55111"/>
                        </a:cubicBezTo>
                        <a:cubicBezTo>
                          <a:pt x="104166" y="58222"/>
                          <a:pt x="104166" y="58222"/>
                          <a:pt x="104166" y="58222"/>
                        </a:cubicBezTo>
                        <a:cubicBezTo>
                          <a:pt x="104166" y="59555"/>
                          <a:pt x="104166" y="59555"/>
                          <a:pt x="104166" y="59555"/>
                        </a:cubicBezTo>
                        <a:cubicBezTo>
                          <a:pt x="105833" y="60888"/>
                          <a:pt x="105833" y="60888"/>
                          <a:pt x="105833" y="60888"/>
                        </a:cubicBezTo>
                        <a:cubicBezTo>
                          <a:pt x="107916" y="61333"/>
                          <a:pt x="107916" y="61333"/>
                          <a:pt x="107916" y="61333"/>
                        </a:cubicBezTo>
                        <a:cubicBezTo>
                          <a:pt x="109166" y="63111"/>
                          <a:pt x="109166" y="63111"/>
                          <a:pt x="109166" y="63111"/>
                        </a:cubicBezTo>
                        <a:cubicBezTo>
                          <a:pt x="110000" y="64444"/>
                          <a:pt x="110000" y="64444"/>
                          <a:pt x="110000" y="64444"/>
                        </a:cubicBezTo>
                        <a:cubicBezTo>
                          <a:pt x="109166" y="66222"/>
                          <a:pt x="109166" y="66222"/>
                          <a:pt x="109166" y="66222"/>
                        </a:cubicBezTo>
                        <a:cubicBezTo>
                          <a:pt x="110000" y="67111"/>
                          <a:pt x="110000" y="67111"/>
                          <a:pt x="110000" y="67111"/>
                        </a:cubicBezTo>
                        <a:cubicBezTo>
                          <a:pt x="111666" y="68000"/>
                          <a:pt x="111666" y="68000"/>
                          <a:pt x="111666" y="68000"/>
                        </a:cubicBezTo>
                        <a:cubicBezTo>
                          <a:pt x="110833" y="68888"/>
                          <a:pt x="110833" y="68888"/>
                          <a:pt x="110833" y="68888"/>
                        </a:cubicBezTo>
                        <a:cubicBezTo>
                          <a:pt x="112083" y="71555"/>
                          <a:pt x="112083" y="71555"/>
                          <a:pt x="112083" y="71555"/>
                        </a:cubicBezTo>
                        <a:cubicBezTo>
                          <a:pt x="112916" y="72888"/>
                          <a:pt x="112916" y="72888"/>
                          <a:pt x="112916" y="72888"/>
                        </a:cubicBezTo>
                        <a:cubicBezTo>
                          <a:pt x="112083" y="73777"/>
                          <a:pt x="112083" y="73777"/>
                          <a:pt x="112083" y="73777"/>
                        </a:cubicBezTo>
                        <a:cubicBezTo>
                          <a:pt x="113333" y="74222"/>
                          <a:pt x="113333" y="74222"/>
                          <a:pt x="113333" y="74222"/>
                        </a:cubicBezTo>
                        <a:cubicBezTo>
                          <a:pt x="115000" y="74222"/>
                          <a:pt x="115000" y="74222"/>
                          <a:pt x="115000" y="74222"/>
                        </a:cubicBezTo>
                        <a:cubicBezTo>
                          <a:pt x="115000" y="75555"/>
                          <a:pt x="115000" y="75555"/>
                          <a:pt x="115000" y="75555"/>
                        </a:cubicBezTo>
                        <a:cubicBezTo>
                          <a:pt x="117916" y="77333"/>
                          <a:pt x="117916" y="77333"/>
                          <a:pt x="117916" y="77333"/>
                        </a:cubicBezTo>
                        <a:cubicBezTo>
                          <a:pt x="117083" y="77333"/>
                          <a:pt x="117083" y="77333"/>
                          <a:pt x="117083" y="77333"/>
                        </a:cubicBezTo>
                        <a:cubicBezTo>
                          <a:pt x="113750" y="78222"/>
                          <a:pt x="113750" y="78222"/>
                          <a:pt x="113750" y="78222"/>
                        </a:cubicBezTo>
                        <a:cubicBezTo>
                          <a:pt x="112083" y="80888"/>
                          <a:pt x="112083" y="80888"/>
                          <a:pt x="112083" y="80888"/>
                        </a:cubicBezTo>
                        <a:cubicBezTo>
                          <a:pt x="107083" y="80888"/>
                          <a:pt x="107083" y="80888"/>
                          <a:pt x="107083" y="80888"/>
                        </a:cubicBezTo>
                        <a:cubicBezTo>
                          <a:pt x="106250" y="86222"/>
                          <a:pt x="106250" y="86222"/>
                          <a:pt x="106250" y="86222"/>
                        </a:cubicBezTo>
                        <a:cubicBezTo>
                          <a:pt x="105000" y="89777"/>
                          <a:pt x="105000" y="89777"/>
                          <a:pt x="105000" y="89777"/>
                        </a:cubicBezTo>
                        <a:cubicBezTo>
                          <a:pt x="103750" y="93777"/>
                          <a:pt x="103750" y="93777"/>
                          <a:pt x="103750" y="93777"/>
                        </a:cubicBezTo>
                        <a:cubicBezTo>
                          <a:pt x="104583" y="96000"/>
                          <a:pt x="104583" y="96000"/>
                          <a:pt x="104583" y="96000"/>
                        </a:cubicBezTo>
                        <a:cubicBezTo>
                          <a:pt x="105833" y="99111"/>
                          <a:pt x="105833" y="99111"/>
                          <a:pt x="105833" y="99111"/>
                        </a:cubicBezTo>
                        <a:cubicBezTo>
                          <a:pt x="108333" y="102222"/>
                          <a:pt x="108333" y="102222"/>
                          <a:pt x="108333" y="102222"/>
                        </a:cubicBezTo>
                        <a:cubicBezTo>
                          <a:pt x="108333" y="102222"/>
                          <a:pt x="108333" y="102222"/>
                          <a:pt x="108333" y="102222"/>
                        </a:cubicBezTo>
                        <a:cubicBezTo>
                          <a:pt x="105833" y="103111"/>
                          <a:pt x="105833" y="103111"/>
                          <a:pt x="105833" y="103111"/>
                        </a:cubicBezTo>
                        <a:cubicBezTo>
                          <a:pt x="104166" y="103555"/>
                          <a:pt x="104166" y="103555"/>
                          <a:pt x="104166" y="103555"/>
                        </a:cubicBezTo>
                        <a:cubicBezTo>
                          <a:pt x="102500" y="100888"/>
                          <a:pt x="102500" y="100888"/>
                          <a:pt x="102500" y="100888"/>
                        </a:cubicBezTo>
                        <a:cubicBezTo>
                          <a:pt x="100000" y="100000"/>
                          <a:pt x="100000" y="100000"/>
                          <a:pt x="100000" y="100000"/>
                        </a:cubicBezTo>
                        <a:cubicBezTo>
                          <a:pt x="97083" y="101333"/>
                          <a:pt x="97083" y="101333"/>
                          <a:pt x="97083" y="101333"/>
                        </a:cubicBezTo>
                        <a:cubicBezTo>
                          <a:pt x="94166" y="102222"/>
                          <a:pt x="94166" y="102222"/>
                          <a:pt x="94166" y="102222"/>
                        </a:cubicBezTo>
                        <a:cubicBezTo>
                          <a:pt x="93333" y="102222"/>
                          <a:pt x="93333" y="102222"/>
                          <a:pt x="93333" y="102222"/>
                        </a:cubicBezTo>
                        <a:cubicBezTo>
                          <a:pt x="92500" y="104000"/>
                          <a:pt x="92500" y="104000"/>
                          <a:pt x="92500" y="104000"/>
                        </a:cubicBezTo>
                        <a:cubicBezTo>
                          <a:pt x="90000" y="105333"/>
                          <a:pt x="90000" y="105333"/>
                          <a:pt x="90000" y="105333"/>
                        </a:cubicBezTo>
                        <a:cubicBezTo>
                          <a:pt x="90000" y="105333"/>
                          <a:pt x="89166" y="104444"/>
                          <a:pt x="88750" y="104000"/>
                        </a:cubicBezTo>
                        <a:cubicBezTo>
                          <a:pt x="88333" y="103555"/>
                          <a:pt x="87083" y="102666"/>
                          <a:pt x="87083" y="102666"/>
                        </a:cubicBezTo>
                        <a:cubicBezTo>
                          <a:pt x="87083" y="102666"/>
                          <a:pt x="86666" y="101777"/>
                          <a:pt x="86250" y="101333"/>
                        </a:cubicBezTo>
                        <a:cubicBezTo>
                          <a:pt x="85833" y="101333"/>
                          <a:pt x="83333" y="103111"/>
                          <a:pt x="83333" y="103111"/>
                        </a:cubicBezTo>
                        <a:cubicBezTo>
                          <a:pt x="83333" y="103111"/>
                          <a:pt x="81250" y="104444"/>
                          <a:pt x="81250" y="104888"/>
                        </a:cubicBezTo>
                        <a:cubicBezTo>
                          <a:pt x="81666" y="104888"/>
                          <a:pt x="81250" y="107111"/>
                          <a:pt x="81250" y="107111"/>
                        </a:cubicBezTo>
                        <a:cubicBezTo>
                          <a:pt x="78333" y="104444"/>
                          <a:pt x="78333" y="104444"/>
                          <a:pt x="78333" y="104444"/>
                        </a:cubicBezTo>
                        <a:cubicBezTo>
                          <a:pt x="76250" y="106222"/>
                          <a:pt x="76250" y="106222"/>
                          <a:pt x="76250" y="106222"/>
                        </a:cubicBezTo>
                        <a:cubicBezTo>
                          <a:pt x="74583" y="104888"/>
                          <a:pt x="74583" y="104888"/>
                          <a:pt x="74583" y="104888"/>
                        </a:cubicBezTo>
                        <a:cubicBezTo>
                          <a:pt x="73750" y="104444"/>
                          <a:pt x="73750" y="104444"/>
                          <a:pt x="73750" y="104444"/>
                        </a:cubicBezTo>
                        <a:cubicBezTo>
                          <a:pt x="71250" y="107555"/>
                          <a:pt x="71250" y="107555"/>
                          <a:pt x="71250" y="107555"/>
                        </a:cubicBezTo>
                        <a:cubicBezTo>
                          <a:pt x="69583" y="106666"/>
                          <a:pt x="69583" y="106666"/>
                          <a:pt x="69583" y="106666"/>
                        </a:cubicBezTo>
                        <a:cubicBezTo>
                          <a:pt x="68750" y="109777"/>
                          <a:pt x="68750" y="109777"/>
                          <a:pt x="68750" y="109777"/>
                        </a:cubicBezTo>
                        <a:cubicBezTo>
                          <a:pt x="66666" y="108000"/>
                          <a:pt x="66666" y="108000"/>
                          <a:pt x="66666" y="108000"/>
                        </a:cubicBezTo>
                        <a:cubicBezTo>
                          <a:pt x="66666" y="108000"/>
                          <a:pt x="64583" y="107555"/>
                          <a:pt x="64166" y="107555"/>
                        </a:cubicBezTo>
                        <a:cubicBezTo>
                          <a:pt x="63750" y="107555"/>
                          <a:pt x="62500" y="109333"/>
                          <a:pt x="62500" y="109333"/>
                        </a:cubicBezTo>
                        <a:cubicBezTo>
                          <a:pt x="60416" y="107555"/>
                          <a:pt x="60416" y="107555"/>
                          <a:pt x="60416" y="107555"/>
                        </a:cubicBezTo>
                        <a:cubicBezTo>
                          <a:pt x="58750" y="106222"/>
                          <a:pt x="58750" y="106222"/>
                          <a:pt x="58750" y="106222"/>
                        </a:cubicBezTo>
                        <a:cubicBezTo>
                          <a:pt x="58750" y="106222"/>
                          <a:pt x="54166" y="106666"/>
                          <a:pt x="53750" y="106666"/>
                        </a:cubicBezTo>
                        <a:cubicBezTo>
                          <a:pt x="53333" y="106666"/>
                          <a:pt x="50416" y="106222"/>
                          <a:pt x="50416" y="106222"/>
                        </a:cubicBezTo>
                        <a:cubicBezTo>
                          <a:pt x="46666" y="107111"/>
                          <a:pt x="46666" y="107111"/>
                          <a:pt x="46666" y="107111"/>
                        </a:cubicBezTo>
                        <a:cubicBezTo>
                          <a:pt x="41250" y="107111"/>
                          <a:pt x="41250" y="107111"/>
                          <a:pt x="41250" y="107111"/>
                        </a:cubicBezTo>
                        <a:cubicBezTo>
                          <a:pt x="36250" y="107555"/>
                          <a:pt x="36250" y="107555"/>
                          <a:pt x="36250" y="107555"/>
                        </a:cubicBezTo>
                        <a:cubicBezTo>
                          <a:pt x="32500" y="107555"/>
                          <a:pt x="32500" y="107555"/>
                          <a:pt x="32500" y="107555"/>
                        </a:cubicBezTo>
                        <a:cubicBezTo>
                          <a:pt x="29583" y="109777"/>
                          <a:pt x="29583" y="109777"/>
                          <a:pt x="29583" y="109777"/>
                        </a:cubicBezTo>
                        <a:cubicBezTo>
                          <a:pt x="26666" y="110222"/>
                          <a:pt x="26666" y="110222"/>
                          <a:pt x="26666" y="110222"/>
                        </a:cubicBezTo>
                        <a:cubicBezTo>
                          <a:pt x="23333" y="110666"/>
                          <a:pt x="23333" y="110666"/>
                          <a:pt x="23333" y="110666"/>
                        </a:cubicBezTo>
                        <a:cubicBezTo>
                          <a:pt x="22916" y="110666"/>
                          <a:pt x="22916" y="110666"/>
                          <a:pt x="22916" y="110666"/>
                        </a:cubicBezTo>
                        <a:cubicBezTo>
                          <a:pt x="22500" y="111111"/>
                          <a:pt x="22500" y="111111"/>
                          <a:pt x="22500" y="111111"/>
                        </a:cubicBezTo>
                        <a:cubicBezTo>
                          <a:pt x="21250" y="112000"/>
                          <a:pt x="21250" y="112000"/>
                          <a:pt x="21250" y="112000"/>
                        </a:cubicBezTo>
                        <a:cubicBezTo>
                          <a:pt x="21250" y="112444"/>
                          <a:pt x="21250" y="112444"/>
                          <a:pt x="21250" y="112444"/>
                        </a:cubicBezTo>
                        <a:cubicBezTo>
                          <a:pt x="20416" y="113333"/>
                          <a:pt x="20416" y="113333"/>
                          <a:pt x="20416" y="113333"/>
                        </a:cubicBezTo>
                        <a:cubicBezTo>
                          <a:pt x="20000" y="115555"/>
                          <a:pt x="20000" y="115555"/>
                          <a:pt x="20000" y="115555"/>
                        </a:cubicBezTo>
                        <a:cubicBezTo>
                          <a:pt x="19583" y="116444"/>
                          <a:pt x="18750" y="117333"/>
                          <a:pt x="18333" y="118222"/>
                        </a:cubicBezTo>
                        <a:cubicBezTo>
                          <a:pt x="18333" y="118222"/>
                          <a:pt x="18333" y="118222"/>
                          <a:pt x="18333" y="118222"/>
                        </a:cubicBezTo>
                        <a:cubicBezTo>
                          <a:pt x="18333" y="118222"/>
                          <a:pt x="17083" y="117777"/>
                          <a:pt x="17083" y="118666"/>
                        </a:cubicBezTo>
                        <a:cubicBezTo>
                          <a:pt x="17083" y="119111"/>
                          <a:pt x="17083" y="119111"/>
                          <a:pt x="17083" y="119111"/>
                        </a:cubicBezTo>
                        <a:cubicBezTo>
                          <a:pt x="15833" y="119555"/>
                          <a:pt x="13750" y="118666"/>
                          <a:pt x="13750" y="118666"/>
                        </a:cubicBezTo>
                        <a:cubicBezTo>
                          <a:pt x="11250" y="120000"/>
                          <a:pt x="11250" y="120000"/>
                          <a:pt x="11250" y="120000"/>
                        </a:cubicBezTo>
                        <a:cubicBezTo>
                          <a:pt x="11250" y="120000"/>
                          <a:pt x="11250" y="120000"/>
                          <a:pt x="11250" y="120000"/>
                        </a:cubicBezTo>
                        <a:cubicBezTo>
                          <a:pt x="11250" y="119555"/>
                          <a:pt x="10416" y="117777"/>
                          <a:pt x="10416" y="117777"/>
                        </a:cubicBezTo>
                        <a:cubicBezTo>
                          <a:pt x="10416" y="117777"/>
                          <a:pt x="10833" y="114666"/>
                          <a:pt x="10833" y="114666"/>
                        </a:cubicBezTo>
                        <a:cubicBezTo>
                          <a:pt x="10833" y="114222"/>
                          <a:pt x="10416" y="110666"/>
                          <a:pt x="10416" y="110666"/>
                        </a:cubicBezTo>
                        <a:cubicBezTo>
                          <a:pt x="10416" y="108888"/>
                          <a:pt x="10416" y="108888"/>
                          <a:pt x="10416" y="108888"/>
                        </a:cubicBezTo>
                        <a:cubicBezTo>
                          <a:pt x="7916" y="107111"/>
                          <a:pt x="7916" y="107111"/>
                          <a:pt x="7916" y="107111"/>
                        </a:cubicBezTo>
                        <a:cubicBezTo>
                          <a:pt x="7916" y="107111"/>
                          <a:pt x="5000" y="106666"/>
                          <a:pt x="4166" y="106666"/>
                        </a:cubicBezTo>
                        <a:cubicBezTo>
                          <a:pt x="3750" y="106666"/>
                          <a:pt x="3333" y="105333"/>
                          <a:pt x="3333" y="105333"/>
                        </a:cubicBezTo>
                        <a:cubicBezTo>
                          <a:pt x="3750" y="104000"/>
                          <a:pt x="3750" y="104000"/>
                          <a:pt x="3750" y="104000"/>
                        </a:cubicBezTo>
                        <a:cubicBezTo>
                          <a:pt x="5000" y="100000"/>
                          <a:pt x="5000" y="100000"/>
                          <a:pt x="5000" y="100000"/>
                        </a:cubicBezTo>
                        <a:cubicBezTo>
                          <a:pt x="7083" y="96888"/>
                          <a:pt x="7083" y="96888"/>
                          <a:pt x="7083" y="96888"/>
                        </a:cubicBezTo>
                        <a:cubicBezTo>
                          <a:pt x="8750" y="96000"/>
                          <a:pt x="8750" y="96000"/>
                          <a:pt x="8750" y="96000"/>
                        </a:cubicBezTo>
                        <a:cubicBezTo>
                          <a:pt x="8750" y="96000"/>
                          <a:pt x="10416" y="93333"/>
                          <a:pt x="10833" y="92888"/>
                        </a:cubicBezTo>
                        <a:cubicBezTo>
                          <a:pt x="11250" y="92888"/>
                          <a:pt x="10833" y="90666"/>
                          <a:pt x="10416" y="90666"/>
                        </a:cubicBezTo>
                        <a:cubicBezTo>
                          <a:pt x="10416" y="90222"/>
                          <a:pt x="10416" y="88888"/>
                          <a:pt x="10416" y="88444"/>
                        </a:cubicBezTo>
                        <a:cubicBezTo>
                          <a:pt x="10416" y="87555"/>
                          <a:pt x="9166" y="86222"/>
                          <a:pt x="9166" y="86222"/>
                        </a:cubicBezTo>
                        <a:cubicBezTo>
                          <a:pt x="8750" y="82666"/>
                          <a:pt x="8750" y="82666"/>
                          <a:pt x="8750" y="82666"/>
                        </a:cubicBezTo>
                        <a:cubicBezTo>
                          <a:pt x="7916" y="81777"/>
                          <a:pt x="7916" y="81777"/>
                          <a:pt x="7916" y="81777"/>
                        </a:cubicBezTo>
                        <a:cubicBezTo>
                          <a:pt x="7916" y="81333"/>
                          <a:pt x="7916" y="81333"/>
                          <a:pt x="7916" y="81333"/>
                        </a:cubicBezTo>
                        <a:cubicBezTo>
                          <a:pt x="5416" y="77777"/>
                          <a:pt x="5416" y="77777"/>
                          <a:pt x="5416" y="77777"/>
                        </a:cubicBezTo>
                        <a:cubicBezTo>
                          <a:pt x="3333" y="72888"/>
                          <a:pt x="3333" y="72888"/>
                          <a:pt x="3333" y="72888"/>
                        </a:cubicBezTo>
                        <a:cubicBezTo>
                          <a:pt x="3333" y="72888"/>
                          <a:pt x="833" y="68444"/>
                          <a:pt x="416" y="66666"/>
                        </a:cubicBezTo>
                        <a:cubicBezTo>
                          <a:pt x="0" y="65333"/>
                          <a:pt x="0" y="65333"/>
                          <a:pt x="0" y="65333"/>
                        </a:cubicBezTo>
                        <a:cubicBezTo>
                          <a:pt x="3750" y="64444"/>
                          <a:pt x="3750" y="64444"/>
                          <a:pt x="3750" y="64444"/>
                        </a:cubicBezTo>
                        <a:cubicBezTo>
                          <a:pt x="7916" y="62666"/>
                          <a:pt x="7916" y="62666"/>
                          <a:pt x="7916" y="62666"/>
                        </a:cubicBezTo>
                        <a:cubicBezTo>
                          <a:pt x="10416" y="63111"/>
                          <a:pt x="10416" y="63111"/>
                          <a:pt x="10416" y="63111"/>
                        </a:cubicBezTo>
                        <a:cubicBezTo>
                          <a:pt x="13333" y="62666"/>
                          <a:pt x="13333" y="62666"/>
                          <a:pt x="13333" y="62666"/>
                        </a:cubicBezTo>
                        <a:cubicBezTo>
                          <a:pt x="15000" y="60444"/>
                          <a:pt x="15000" y="60444"/>
                          <a:pt x="15000" y="60444"/>
                        </a:cubicBezTo>
                        <a:cubicBezTo>
                          <a:pt x="17083" y="60444"/>
                          <a:pt x="17083" y="60444"/>
                          <a:pt x="17083" y="60444"/>
                        </a:cubicBezTo>
                        <a:cubicBezTo>
                          <a:pt x="16250" y="57333"/>
                          <a:pt x="16250" y="57333"/>
                          <a:pt x="16250" y="57333"/>
                        </a:cubicBezTo>
                        <a:cubicBezTo>
                          <a:pt x="16250" y="57333"/>
                          <a:pt x="16666" y="56000"/>
                          <a:pt x="17083" y="56444"/>
                        </a:cubicBezTo>
                        <a:cubicBezTo>
                          <a:pt x="17916" y="56444"/>
                          <a:pt x="19583" y="56444"/>
                          <a:pt x="19583" y="56444"/>
                        </a:cubicBezTo>
                        <a:cubicBezTo>
                          <a:pt x="20416" y="54666"/>
                          <a:pt x="20416" y="54666"/>
                          <a:pt x="20416" y="54666"/>
                        </a:cubicBezTo>
                        <a:cubicBezTo>
                          <a:pt x="20416" y="53777"/>
                          <a:pt x="20416" y="53777"/>
                          <a:pt x="20416" y="53777"/>
                        </a:cubicBezTo>
                        <a:cubicBezTo>
                          <a:pt x="23333" y="52888"/>
                          <a:pt x="23333" y="52888"/>
                          <a:pt x="23333" y="52888"/>
                        </a:cubicBezTo>
                        <a:cubicBezTo>
                          <a:pt x="24583" y="51555"/>
                          <a:pt x="24583" y="51555"/>
                          <a:pt x="24583" y="51555"/>
                        </a:cubicBezTo>
                        <a:cubicBezTo>
                          <a:pt x="25416" y="52444"/>
                          <a:pt x="25416" y="52444"/>
                          <a:pt x="25416" y="52444"/>
                        </a:cubicBezTo>
                        <a:cubicBezTo>
                          <a:pt x="25000" y="54222"/>
                          <a:pt x="25000" y="54222"/>
                          <a:pt x="25000" y="54222"/>
                        </a:cubicBezTo>
                        <a:cubicBezTo>
                          <a:pt x="27083" y="53777"/>
                          <a:pt x="27083" y="53777"/>
                          <a:pt x="27083" y="53777"/>
                        </a:cubicBezTo>
                        <a:cubicBezTo>
                          <a:pt x="27916" y="51111"/>
                          <a:pt x="27916" y="51111"/>
                          <a:pt x="27916" y="51111"/>
                        </a:cubicBezTo>
                        <a:cubicBezTo>
                          <a:pt x="27083" y="50666"/>
                          <a:pt x="27083" y="50666"/>
                          <a:pt x="27083" y="50666"/>
                        </a:cubicBezTo>
                        <a:cubicBezTo>
                          <a:pt x="25000" y="49777"/>
                          <a:pt x="25000" y="49777"/>
                          <a:pt x="25000" y="49777"/>
                        </a:cubicBezTo>
                        <a:cubicBezTo>
                          <a:pt x="25000" y="49777"/>
                          <a:pt x="24166" y="50222"/>
                          <a:pt x="24166" y="49333"/>
                        </a:cubicBezTo>
                        <a:cubicBezTo>
                          <a:pt x="24583" y="48000"/>
                          <a:pt x="25416" y="45777"/>
                          <a:pt x="25416" y="45777"/>
                        </a:cubicBezTo>
                        <a:cubicBezTo>
                          <a:pt x="25000" y="43111"/>
                          <a:pt x="25000" y="43111"/>
                          <a:pt x="25000" y="43111"/>
                        </a:cubicBezTo>
                        <a:cubicBezTo>
                          <a:pt x="24583" y="40000"/>
                          <a:pt x="24583" y="40000"/>
                          <a:pt x="24583" y="40000"/>
                        </a:cubicBezTo>
                        <a:cubicBezTo>
                          <a:pt x="25000" y="38222"/>
                          <a:pt x="25000" y="38222"/>
                          <a:pt x="25000" y="38222"/>
                        </a:cubicBezTo>
                        <a:cubicBezTo>
                          <a:pt x="25000" y="36444"/>
                          <a:pt x="25000" y="36444"/>
                          <a:pt x="25000" y="36444"/>
                        </a:cubicBezTo>
                        <a:cubicBezTo>
                          <a:pt x="25833" y="34666"/>
                          <a:pt x="25833" y="34666"/>
                          <a:pt x="25833" y="34666"/>
                        </a:cubicBezTo>
                        <a:cubicBezTo>
                          <a:pt x="29166" y="33333"/>
                          <a:pt x="29166" y="33333"/>
                          <a:pt x="29166" y="33333"/>
                        </a:cubicBezTo>
                        <a:cubicBezTo>
                          <a:pt x="29166" y="30222"/>
                          <a:pt x="29166" y="30222"/>
                          <a:pt x="29166" y="30222"/>
                        </a:cubicBezTo>
                        <a:cubicBezTo>
                          <a:pt x="30416" y="28888"/>
                          <a:pt x="30416" y="28888"/>
                          <a:pt x="30416" y="28888"/>
                        </a:cubicBezTo>
                        <a:lnTo>
                          <a:pt x="33750" y="29333"/>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5" name="Shape 2032"/>
                  <p:cNvSpPr/>
                  <p:nvPr/>
                </p:nvSpPr>
                <p:spPr>
                  <a:xfrm>
                    <a:off x="6376066" y="2862203"/>
                    <a:ext cx="354016" cy="336671"/>
                  </a:xfrm>
                  <a:custGeom>
                    <a:avLst/>
                    <a:gdLst/>
                    <a:ahLst/>
                    <a:cxnLst/>
                    <a:rect l="0" t="0" r="0" b="0"/>
                    <a:pathLst>
                      <a:path w="120000" h="120000" extrusionOk="0">
                        <a:moveTo>
                          <a:pt x="76645" y="120000"/>
                        </a:moveTo>
                        <a:cubicBezTo>
                          <a:pt x="77419" y="116842"/>
                          <a:pt x="77419" y="116842"/>
                          <a:pt x="77419" y="116842"/>
                        </a:cubicBezTo>
                        <a:cubicBezTo>
                          <a:pt x="77419" y="116842"/>
                          <a:pt x="79741" y="116052"/>
                          <a:pt x="80516" y="116052"/>
                        </a:cubicBezTo>
                        <a:cubicBezTo>
                          <a:pt x="81290" y="115263"/>
                          <a:pt x="82064" y="116052"/>
                          <a:pt x="82838" y="115263"/>
                        </a:cubicBezTo>
                        <a:cubicBezTo>
                          <a:pt x="83612" y="115263"/>
                          <a:pt x="85161" y="114473"/>
                          <a:pt x="85161" y="114473"/>
                        </a:cubicBezTo>
                        <a:cubicBezTo>
                          <a:pt x="84387" y="114473"/>
                          <a:pt x="84387" y="114473"/>
                          <a:pt x="84387" y="114473"/>
                        </a:cubicBezTo>
                        <a:cubicBezTo>
                          <a:pt x="84387" y="112894"/>
                          <a:pt x="84387" y="112894"/>
                          <a:pt x="84387" y="112894"/>
                        </a:cubicBezTo>
                        <a:cubicBezTo>
                          <a:pt x="85161" y="111315"/>
                          <a:pt x="85161" y="111315"/>
                          <a:pt x="85161" y="111315"/>
                        </a:cubicBezTo>
                        <a:cubicBezTo>
                          <a:pt x="82064" y="109736"/>
                          <a:pt x="82064" y="109736"/>
                          <a:pt x="82064" y="109736"/>
                        </a:cubicBezTo>
                        <a:cubicBezTo>
                          <a:pt x="82838" y="108157"/>
                          <a:pt x="82838" y="108157"/>
                          <a:pt x="82838" y="108157"/>
                        </a:cubicBezTo>
                        <a:cubicBezTo>
                          <a:pt x="82838" y="108157"/>
                          <a:pt x="82064" y="106578"/>
                          <a:pt x="82838" y="106578"/>
                        </a:cubicBezTo>
                        <a:cubicBezTo>
                          <a:pt x="83612" y="106578"/>
                          <a:pt x="83612" y="104210"/>
                          <a:pt x="83612" y="104210"/>
                        </a:cubicBezTo>
                        <a:cubicBezTo>
                          <a:pt x="84387" y="102631"/>
                          <a:pt x="84387" y="102631"/>
                          <a:pt x="84387" y="102631"/>
                        </a:cubicBezTo>
                        <a:cubicBezTo>
                          <a:pt x="85935" y="102631"/>
                          <a:pt x="85935" y="102631"/>
                          <a:pt x="85935" y="102631"/>
                        </a:cubicBezTo>
                        <a:cubicBezTo>
                          <a:pt x="85935" y="102631"/>
                          <a:pt x="85935" y="101052"/>
                          <a:pt x="86709" y="100263"/>
                        </a:cubicBezTo>
                        <a:cubicBezTo>
                          <a:pt x="86709" y="100263"/>
                          <a:pt x="87483" y="99473"/>
                          <a:pt x="87483" y="99473"/>
                        </a:cubicBezTo>
                        <a:cubicBezTo>
                          <a:pt x="86709" y="97105"/>
                          <a:pt x="86709" y="97105"/>
                          <a:pt x="86709" y="97105"/>
                        </a:cubicBezTo>
                        <a:cubicBezTo>
                          <a:pt x="86709" y="97105"/>
                          <a:pt x="85161" y="94736"/>
                          <a:pt x="85935" y="94736"/>
                        </a:cubicBezTo>
                        <a:cubicBezTo>
                          <a:pt x="86709" y="94736"/>
                          <a:pt x="87483" y="93947"/>
                          <a:pt x="87483" y="93947"/>
                        </a:cubicBezTo>
                        <a:cubicBezTo>
                          <a:pt x="87483" y="93947"/>
                          <a:pt x="89806" y="91578"/>
                          <a:pt x="90580" y="91578"/>
                        </a:cubicBezTo>
                        <a:cubicBezTo>
                          <a:pt x="90580" y="91578"/>
                          <a:pt x="92129" y="90000"/>
                          <a:pt x="92129" y="89210"/>
                        </a:cubicBezTo>
                        <a:cubicBezTo>
                          <a:pt x="91354" y="88421"/>
                          <a:pt x="90580" y="87631"/>
                          <a:pt x="90580" y="87631"/>
                        </a:cubicBezTo>
                        <a:cubicBezTo>
                          <a:pt x="91354" y="84473"/>
                          <a:pt x="91354" y="84473"/>
                          <a:pt x="91354" y="84473"/>
                        </a:cubicBezTo>
                        <a:cubicBezTo>
                          <a:pt x="91354" y="84473"/>
                          <a:pt x="92129" y="82894"/>
                          <a:pt x="91354" y="82894"/>
                        </a:cubicBezTo>
                        <a:cubicBezTo>
                          <a:pt x="90580" y="82105"/>
                          <a:pt x="89032" y="82105"/>
                          <a:pt x="89032" y="82105"/>
                        </a:cubicBezTo>
                        <a:cubicBezTo>
                          <a:pt x="87483" y="80526"/>
                          <a:pt x="87483" y="80526"/>
                          <a:pt x="87483" y="80526"/>
                        </a:cubicBezTo>
                        <a:cubicBezTo>
                          <a:pt x="87483" y="78157"/>
                          <a:pt x="87483" y="78157"/>
                          <a:pt x="87483" y="78157"/>
                        </a:cubicBezTo>
                        <a:cubicBezTo>
                          <a:pt x="85935" y="75789"/>
                          <a:pt x="85935" y="75789"/>
                          <a:pt x="85935" y="75789"/>
                        </a:cubicBezTo>
                        <a:cubicBezTo>
                          <a:pt x="85935" y="75789"/>
                          <a:pt x="85935" y="74210"/>
                          <a:pt x="85935" y="73421"/>
                        </a:cubicBezTo>
                        <a:cubicBezTo>
                          <a:pt x="86709" y="73421"/>
                          <a:pt x="88258" y="70263"/>
                          <a:pt x="88258" y="69473"/>
                        </a:cubicBezTo>
                        <a:cubicBezTo>
                          <a:pt x="89032" y="69473"/>
                          <a:pt x="92129" y="66315"/>
                          <a:pt x="92129" y="66315"/>
                        </a:cubicBezTo>
                        <a:cubicBezTo>
                          <a:pt x="93677" y="70263"/>
                          <a:pt x="93677" y="70263"/>
                          <a:pt x="93677" y="70263"/>
                        </a:cubicBezTo>
                        <a:cubicBezTo>
                          <a:pt x="93677" y="73421"/>
                          <a:pt x="93677" y="73421"/>
                          <a:pt x="93677" y="73421"/>
                        </a:cubicBezTo>
                        <a:cubicBezTo>
                          <a:pt x="93677" y="73421"/>
                          <a:pt x="92903" y="75000"/>
                          <a:pt x="93677" y="75000"/>
                        </a:cubicBezTo>
                        <a:cubicBezTo>
                          <a:pt x="95225" y="74210"/>
                          <a:pt x="95225" y="72631"/>
                          <a:pt x="95225" y="72631"/>
                        </a:cubicBezTo>
                        <a:cubicBezTo>
                          <a:pt x="96000" y="71842"/>
                          <a:pt x="96000" y="71842"/>
                          <a:pt x="96000" y="71842"/>
                        </a:cubicBezTo>
                        <a:cubicBezTo>
                          <a:pt x="96000" y="71842"/>
                          <a:pt x="94451" y="69473"/>
                          <a:pt x="95225" y="69473"/>
                        </a:cubicBezTo>
                        <a:cubicBezTo>
                          <a:pt x="96000" y="69473"/>
                          <a:pt x="96000" y="67894"/>
                          <a:pt x="96000" y="69473"/>
                        </a:cubicBezTo>
                        <a:cubicBezTo>
                          <a:pt x="96774" y="70263"/>
                          <a:pt x="96774" y="71842"/>
                          <a:pt x="97548" y="71052"/>
                        </a:cubicBezTo>
                        <a:cubicBezTo>
                          <a:pt x="99096" y="71052"/>
                          <a:pt x="99096" y="71842"/>
                          <a:pt x="99096" y="71052"/>
                        </a:cubicBezTo>
                        <a:cubicBezTo>
                          <a:pt x="99870" y="70263"/>
                          <a:pt x="99870" y="69473"/>
                          <a:pt x="99870" y="69473"/>
                        </a:cubicBezTo>
                        <a:cubicBezTo>
                          <a:pt x="100645" y="68684"/>
                          <a:pt x="100645" y="68684"/>
                          <a:pt x="100645" y="68684"/>
                        </a:cubicBezTo>
                        <a:cubicBezTo>
                          <a:pt x="100645" y="68684"/>
                          <a:pt x="100645" y="70263"/>
                          <a:pt x="101419" y="70263"/>
                        </a:cubicBezTo>
                        <a:cubicBezTo>
                          <a:pt x="102193" y="70263"/>
                          <a:pt x="103741" y="70263"/>
                          <a:pt x="103741" y="70263"/>
                        </a:cubicBezTo>
                        <a:cubicBezTo>
                          <a:pt x="105290" y="71052"/>
                          <a:pt x="105290" y="71052"/>
                          <a:pt x="105290" y="71052"/>
                        </a:cubicBezTo>
                        <a:cubicBezTo>
                          <a:pt x="105290" y="71052"/>
                          <a:pt x="106064" y="71052"/>
                          <a:pt x="106064" y="70263"/>
                        </a:cubicBezTo>
                        <a:cubicBezTo>
                          <a:pt x="106064" y="69473"/>
                          <a:pt x="106064" y="68684"/>
                          <a:pt x="106064" y="68684"/>
                        </a:cubicBezTo>
                        <a:cubicBezTo>
                          <a:pt x="107612" y="67894"/>
                          <a:pt x="107612" y="67894"/>
                          <a:pt x="107612" y="67894"/>
                        </a:cubicBezTo>
                        <a:cubicBezTo>
                          <a:pt x="107612" y="65526"/>
                          <a:pt x="107612" y="65526"/>
                          <a:pt x="107612" y="65526"/>
                        </a:cubicBezTo>
                        <a:cubicBezTo>
                          <a:pt x="110709" y="67894"/>
                          <a:pt x="110709" y="67894"/>
                          <a:pt x="110709" y="67894"/>
                        </a:cubicBezTo>
                        <a:cubicBezTo>
                          <a:pt x="111483" y="70263"/>
                          <a:pt x="111483" y="70263"/>
                          <a:pt x="111483" y="70263"/>
                        </a:cubicBezTo>
                        <a:cubicBezTo>
                          <a:pt x="113032" y="69473"/>
                          <a:pt x="113032" y="69473"/>
                          <a:pt x="113032" y="69473"/>
                        </a:cubicBezTo>
                        <a:cubicBezTo>
                          <a:pt x="113806" y="67105"/>
                          <a:pt x="113806" y="67105"/>
                          <a:pt x="113806" y="67105"/>
                        </a:cubicBezTo>
                        <a:cubicBezTo>
                          <a:pt x="113806" y="67105"/>
                          <a:pt x="116129" y="67105"/>
                          <a:pt x="116903" y="66315"/>
                        </a:cubicBezTo>
                        <a:cubicBezTo>
                          <a:pt x="117677" y="66315"/>
                          <a:pt x="120000" y="65526"/>
                          <a:pt x="120000" y="65526"/>
                        </a:cubicBezTo>
                        <a:cubicBezTo>
                          <a:pt x="120000" y="64736"/>
                          <a:pt x="118451" y="63947"/>
                          <a:pt x="117677" y="64736"/>
                        </a:cubicBezTo>
                        <a:cubicBezTo>
                          <a:pt x="116903" y="64736"/>
                          <a:pt x="115354" y="65526"/>
                          <a:pt x="114580" y="64736"/>
                        </a:cubicBezTo>
                        <a:cubicBezTo>
                          <a:pt x="114580" y="63947"/>
                          <a:pt x="113032" y="62368"/>
                          <a:pt x="113032" y="62368"/>
                        </a:cubicBezTo>
                        <a:cubicBezTo>
                          <a:pt x="111483" y="62368"/>
                          <a:pt x="111483" y="62368"/>
                          <a:pt x="111483" y="62368"/>
                        </a:cubicBezTo>
                        <a:cubicBezTo>
                          <a:pt x="111483" y="62368"/>
                          <a:pt x="109935" y="61578"/>
                          <a:pt x="110709" y="60789"/>
                        </a:cubicBezTo>
                        <a:cubicBezTo>
                          <a:pt x="111483" y="60000"/>
                          <a:pt x="112258" y="60000"/>
                          <a:pt x="112258" y="60000"/>
                        </a:cubicBezTo>
                        <a:cubicBezTo>
                          <a:pt x="112258" y="60000"/>
                          <a:pt x="111483" y="58421"/>
                          <a:pt x="111483" y="57631"/>
                        </a:cubicBezTo>
                        <a:cubicBezTo>
                          <a:pt x="111483" y="56842"/>
                          <a:pt x="111483" y="55263"/>
                          <a:pt x="110709" y="54473"/>
                        </a:cubicBezTo>
                        <a:cubicBezTo>
                          <a:pt x="110709" y="54473"/>
                          <a:pt x="109161" y="51315"/>
                          <a:pt x="109161" y="51315"/>
                        </a:cubicBezTo>
                        <a:cubicBezTo>
                          <a:pt x="109161" y="49736"/>
                          <a:pt x="109161" y="49736"/>
                          <a:pt x="109161" y="49736"/>
                        </a:cubicBezTo>
                        <a:cubicBezTo>
                          <a:pt x="107612" y="50526"/>
                          <a:pt x="107612" y="50526"/>
                          <a:pt x="107612" y="50526"/>
                        </a:cubicBezTo>
                        <a:cubicBezTo>
                          <a:pt x="106064" y="48947"/>
                          <a:pt x="106064" y="48947"/>
                          <a:pt x="106064" y="48947"/>
                        </a:cubicBezTo>
                        <a:cubicBezTo>
                          <a:pt x="106064" y="48947"/>
                          <a:pt x="104516" y="48947"/>
                          <a:pt x="104516" y="49736"/>
                        </a:cubicBezTo>
                        <a:cubicBezTo>
                          <a:pt x="103741" y="49736"/>
                          <a:pt x="102967" y="48947"/>
                          <a:pt x="102967" y="48947"/>
                        </a:cubicBezTo>
                        <a:cubicBezTo>
                          <a:pt x="101419" y="48947"/>
                          <a:pt x="101419" y="48947"/>
                          <a:pt x="101419" y="48947"/>
                        </a:cubicBezTo>
                        <a:cubicBezTo>
                          <a:pt x="101419" y="48947"/>
                          <a:pt x="101419" y="48947"/>
                          <a:pt x="99870" y="48947"/>
                        </a:cubicBezTo>
                        <a:cubicBezTo>
                          <a:pt x="99096" y="48947"/>
                          <a:pt x="97548" y="48157"/>
                          <a:pt x="96774" y="48157"/>
                        </a:cubicBezTo>
                        <a:cubicBezTo>
                          <a:pt x="96774" y="47368"/>
                          <a:pt x="96774" y="46578"/>
                          <a:pt x="96774" y="46578"/>
                        </a:cubicBezTo>
                        <a:cubicBezTo>
                          <a:pt x="97548" y="45789"/>
                          <a:pt x="97548" y="45000"/>
                          <a:pt x="97548" y="45000"/>
                        </a:cubicBezTo>
                        <a:cubicBezTo>
                          <a:pt x="97548" y="45000"/>
                          <a:pt x="97548" y="42631"/>
                          <a:pt x="96774" y="42631"/>
                        </a:cubicBezTo>
                        <a:cubicBezTo>
                          <a:pt x="96000" y="42631"/>
                          <a:pt x="94451" y="42631"/>
                          <a:pt x="94451" y="42631"/>
                        </a:cubicBezTo>
                        <a:cubicBezTo>
                          <a:pt x="92903" y="41842"/>
                          <a:pt x="92903" y="41842"/>
                          <a:pt x="92903" y="41842"/>
                        </a:cubicBezTo>
                        <a:cubicBezTo>
                          <a:pt x="95225" y="41052"/>
                          <a:pt x="95225" y="41052"/>
                          <a:pt x="95225" y="41052"/>
                        </a:cubicBezTo>
                        <a:cubicBezTo>
                          <a:pt x="94451" y="39473"/>
                          <a:pt x="94451" y="39473"/>
                          <a:pt x="94451" y="39473"/>
                        </a:cubicBezTo>
                        <a:cubicBezTo>
                          <a:pt x="94451" y="39473"/>
                          <a:pt x="94451" y="37894"/>
                          <a:pt x="94451" y="37894"/>
                        </a:cubicBezTo>
                        <a:cubicBezTo>
                          <a:pt x="94451" y="37105"/>
                          <a:pt x="93677" y="36315"/>
                          <a:pt x="93677" y="36315"/>
                        </a:cubicBezTo>
                        <a:cubicBezTo>
                          <a:pt x="93677" y="33157"/>
                          <a:pt x="93677" y="33157"/>
                          <a:pt x="93677" y="33157"/>
                        </a:cubicBezTo>
                        <a:cubicBezTo>
                          <a:pt x="92129" y="33157"/>
                          <a:pt x="92129" y="33157"/>
                          <a:pt x="92129" y="33157"/>
                        </a:cubicBezTo>
                        <a:cubicBezTo>
                          <a:pt x="90580" y="32368"/>
                          <a:pt x="90580" y="32368"/>
                          <a:pt x="90580" y="32368"/>
                        </a:cubicBezTo>
                        <a:cubicBezTo>
                          <a:pt x="89806" y="34736"/>
                          <a:pt x="89806" y="34736"/>
                          <a:pt x="89806" y="34736"/>
                        </a:cubicBezTo>
                        <a:cubicBezTo>
                          <a:pt x="88258" y="35526"/>
                          <a:pt x="88258" y="35526"/>
                          <a:pt x="88258" y="35526"/>
                        </a:cubicBezTo>
                        <a:cubicBezTo>
                          <a:pt x="87483" y="33157"/>
                          <a:pt x="87483" y="33157"/>
                          <a:pt x="87483" y="33157"/>
                        </a:cubicBezTo>
                        <a:cubicBezTo>
                          <a:pt x="85935" y="32368"/>
                          <a:pt x="85935" y="32368"/>
                          <a:pt x="85935" y="32368"/>
                        </a:cubicBezTo>
                        <a:cubicBezTo>
                          <a:pt x="85161" y="32368"/>
                          <a:pt x="85161" y="32368"/>
                          <a:pt x="85161" y="32368"/>
                        </a:cubicBezTo>
                        <a:cubicBezTo>
                          <a:pt x="83612" y="30000"/>
                          <a:pt x="83612" y="30000"/>
                          <a:pt x="83612" y="30000"/>
                        </a:cubicBezTo>
                        <a:cubicBezTo>
                          <a:pt x="82064" y="30000"/>
                          <a:pt x="82064" y="30000"/>
                          <a:pt x="82064" y="30000"/>
                        </a:cubicBezTo>
                        <a:cubicBezTo>
                          <a:pt x="82064" y="30000"/>
                          <a:pt x="81290" y="32368"/>
                          <a:pt x="80516" y="30789"/>
                        </a:cubicBezTo>
                        <a:cubicBezTo>
                          <a:pt x="79741" y="30000"/>
                          <a:pt x="79741" y="27631"/>
                          <a:pt x="79741" y="27631"/>
                        </a:cubicBezTo>
                        <a:cubicBezTo>
                          <a:pt x="78967" y="26842"/>
                          <a:pt x="78967" y="26842"/>
                          <a:pt x="78967" y="26842"/>
                        </a:cubicBezTo>
                        <a:cubicBezTo>
                          <a:pt x="79741" y="25263"/>
                          <a:pt x="79741" y="25263"/>
                          <a:pt x="79741" y="25263"/>
                        </a:cubicBezTo>
                        <a:cubicBezTo>
                          <a:pt x="79741" y="22894"/>
                          <a:pt x="79741" y="22894"/>
                          <a:pt x="79741" y="22894"/>
                        </a:cubicBezTo>
                        <a:cubicBezTo>
                          <a:pt x="79741" y="22894"/>
                          <a:pt x="78967" y="21315"/>
                          <a:pt x="78967" y="21315"/>
                        </a:cubicBezTo>
                        <a:cubicBezTo>
                          <a:pt x="78967" y="20526"/>
                          <a:pt x="78193" y="18947"/>
                          <a:pt x="78193" y="18947"/>
                        </a:cubicBezTo>
                        <a:cubicBezTo>
                          <a:pt x="78967" y="17368"/>
                          <a:pt x="78967" y="17368"/>
                          <a:pt x="78967" y="17368"/>
                        </a:cubicBezTo>
                        <a:cubicBezTo>
                          <a:pt x="77419" y="16578"/>
                          <a:pt x="77419" y="16578"/>
                          <a:pt x="77419" y="16578"/>
                        </a:cubicBezTo>
                        <a:cubicBezTo>
                          <a:pt x="77419" y="14210"/>
                          <a:pt x="77419" y="14210"/>
                          <a:pt x="77419" y="14210"/>
                        </a:cubicBezTo>
                        <a:cubicBezTo>
                          <a:pt x="77419" y="13421"/>
                          <a:pt x="77419" y="13421"/>
                          <a:pt x="77419" y="13421"/>
                        </a:cubicBezTo>
                        <a:cubicBezTo>
                          <a:pt x="75096" y="12631"/>
                          <a:pt x="75096" y="12631"/>
                          <a:pt x="75096" y="12631"/>
                        </a:cubicBezTo>
                        <a:cubicBezTo>
                          <a:pt x="75096" y="12631"/>
                          <a:pt x="75096" y="11842"/>
                          <a:pt x="74322" y="11052"/>
                        </a:cubicBezTo>
                        <a:cubicBezTo>
                          <a:pt x="74322" y="11052"/>
                          <a:pt x="72774" y="9473"/>
                          <a:pt x="72774" y="9473"/>
                        </a:cubicBezTo>
                        <a:cubicBezTo>
                          <a:pt x="72774" y="9473"/>
                          <a:pt x="72000" y="9473"/>
                          <a:pt x="72000" y="10263"/>
                        </a:cubicBezTo>
                        <a:cubicBezTo>
                          <a:pt x="71225" y="11052"/>
                          <a:pt x="71225" y="12631"/>
                          <a:pt x="70451" y="12631"/>
                        </a:cubicBezTo>
                        <a:cubicBezTo>
                          <a:pt x="70451" y="12631"/>
                          <a:pt x="71225" y="12631"/>
                          <a:pt x="68903" y="12631"/>
                        </a:cubicBezTo>
                        <a:cubicBezTo>
                          <a:pt x="67354" y="11842"/>
                          <a:pt x="67354" y="11842"/>
                          <a:pt x="66580" y="11052"/>
                        </a:cubicBezTo>
                        <a:cubicBezTo>
                          <a:pt x="65806" y="11052"/>
                          <a:pt x="64258" y="9473"/>
                          <a:pt x="64258" y="9473"/>
                        </a:cubicBezTo>
                        <a:cubicBezTo>
                          <a:pt x="63483" y="6315"/>
                          <a:pt x="63483" y="6315"/>
                          <a:pt x="63483" y="6315"/>
                        </a:cubicBezTo>
                        <a:cubicBezTo>
                          <a:pt x="61935" y="6315"/>
                          <a:pt x="61935" y="6315"/>
                          <a:pt x="61935" y="6315"/>
                        </a:cubicBezTo>
                        <a:cubicBezTo>
                          <a:pt x="61935" y="6315"/>
                          <a:pt x="64258" y="7105"/>
                          <a:pt x="61161" y="7105"/>
                        </a:cubicBezTo>
                        <a:cubicBezTo>
                          <a:pt x="58064" y="7105"/>
                          <a:pt x="54967" y="7105"/>
                          <a:pt x="54967" y="7105"/>
                        </a:cubicBezTo>
                        <a:cubicBezTo>
                          <a:pt x="54193" y="8684"/>
                          <a:pt x="54193" y="8684"/>
                          <a:pt x="54193" y="8684"/>
                        </a:cubicBezTo>
                        <a:cubicBezTo>
                          <a:pt x="54193" y="8684"/>
                          <a:pt x="53419" y="10263"/>
                          <a:pt x="53419" y="11052"/>
                        </a:cubicBezTo>
                        <a:cubicBezTo>
                          <a:pt x="53419" y="11052"/>
                          <a:pt x="54193" y="11842"/>
                          <a:pt x="53419" y="11052"/>
                        </a:cubicBezTo>
                        <a:cubicBezTo>
                          <a:pt x="53419" y="10263"/>
                          <a:pt x="52645" y="10263"/>
                          <a:pt x="52645" y="9473"/>
                        </a:cubicBezTo>
                        <a:cubicBezTo>
                          <a:pt x="52645" y="9473"/>
                          <a:pt x="52645" y="8684"/>
                          <a:pt x="52645" y="8684"/>
                        </a:cubicBezTo>
                        <a:cubicBezTo>
                          <a:pt x="52645" y="7894"/>
                          <a:pt x="51096" y="7105"/>
                          <a:pt x="51096" y="7105"/>
                        </a:cubicBezTo>
                        <a:cubicBezTo>
                          <a:pt x="50322" y="8684"/>
                          <a:pt x="50322" y="8684"/>
                          <a:pt x="50322" y="8684"/>
                        </a:cubicBezTo>
                        <a:cubicBezTo>
                          <a:pt x="50322" y="8684"/>
                          <a:pt x="51096" y="9473"/>
                          <a:pt x="49548" y="9473"/>
                        </a:cubicBezTo>
                        <a:cubicBezTo>
                          <a:pt x="48774" y="10263"/>
                          <a:pt x="48774" y="10263"/>
                          <a:pt x="48774" y="10263"/>
                        </a:cubicBezTo>
                        <a:cubicBezTo>
                          <a:pt x="48774" y="9473"/>
                          <a:pt x="49548" y="8684"/>
                          <a:pt x="49548" y="8684"/>
                        </a:cubicBezTo>
                        <a:cubicBezTo>
                          <a:pt x="49548" y="8684"/>
                          <a:pt x="50322" y="7105"/>
                          <a:pt x="50322" y="7105"/>
                        </a:cubicBezTo>
                        <a:cubicBezTo>
                          <a:pt x="50322" y="7105"/>
                          <a:pt x="50322" y="5526"/>
                          <a:pt x="49548" y="5526"/>
                        </a:cubicBezTo>
                        <a:cubicBezTo>
                          <a:pt x="49548" y="5526"/>
                          <a:pt x="48000" y="5526"/>
                          <a:pt x="47225" y="5526"/>
                        </a:cubicBezTo>
                        <a:cubicBezTo>
                          <a:pt x="47225" y="5526"/>
                          <a:pt x="46451" y="6315"/>
                          <a:pt x="46451" y="6315"/>
                        </a:cubicBezTo>
                        <a:cubicBezTo>
                          <a:pt x="46451" y="6315"/>
                          <a:pt x="47225" y="7105"/>
                          <a:pt x="46451" y="7105"/>
                        </a:cubicBezTo>
                        <a:cubicBezTo>
                          <a:pt x="46451" y="7105"/>
                          <a:pt x="45677" y="7105"/>
                          <a:pt x="45677" y="7894"/>
                        </a:cubicBezTo>
                        <a:cubicBezTo>
                          <a:pt x="44903" y="7894"/>
                          <a:pt x="44903" y="6315"/>
                          <a:pt x="44903" y="6315"/>
                        </a:cubicBezTo>
                        <a:cubicBezTo>
                          <a:pt x="44903" y="6315"/>
                          <a:pt x="44129" y="5526"/>
                          <a:pt x="44129" y="5526"/>
                        </a:cubicBezTo>
                        <a:cubicBezTo>
                          <a:pt x="44129" y="6315"/>
                          <a:pt x="43354" y="7894"/>
                          <a:pt x="43354" y="7894"/>
                        </a:cubicBezTo>
                        <a:cubicBezTo>
                          <a:pt x="42580" y="7894"/>
                          <a:pt x="42580" y="7894"/>
                          <a:pt x="42580" y="7105"/>
                        </a:cubicBezTo>
                        <a:cubicBezTo>
                          <a:pt x="41806" y="7105"/>
                          <a:pt x="41806" y="5526"/>
                          <a:pt x="41806" y="5526"/>
                        </a:cubicBezTo>
                        <a:cubicBezTo>
                          <a:pt x="41032" y="4736"/>
                          <a:pt x="41032" y="4736"/>
                          <a:pt x="41032" y="4736"/>
                        </a:cubicBezTo>
                        <a:cubicBezTo>
                          <a:pt x="41032" y="4736"/>
                          <a:pt x="38709" y="4736"/>
                          <a:pt x="37935" y="4736"/>
                        </a:cubicBezTo>
                        <a:cubicBezTo>
                          <a:pt x="37935" y="4736"/>
                          <a:pt x="36387" y="4736"/>
                          <a:pt x="36387" y="3947"/>
                        </a:cubicBezTo>
                        <a:cubicBezTo>
                          <a:pt x="35612" y="3157"/>
                          <a:pt x="34838" y="3157"/>
                          <a:pt x="34838" y="3157"/>
                        </a:cubicBezTo>
                        <a:cubicBezTo>
                          <a:pt x="34838" y="3157"/>
                          <a:pt x="34838" y="3157"/>
                          <a:pt x="34064" y="2368"/>
                        </a:cubicBezTo>
                        <a:cubicBezTo>
                          <a:pt x="33290" y="2368"/>
                          <a:pt x="33290" y="2368"/>
                          <a:pt x="32516" y="2368"/>
                        </a:cubicBezTo>
                        <a:cubicBezTo>
                          <a:pt x="31741" y="1578"/>
                          <a:pt x="32516" y="1578"/>
                          <a:pt x="30967" y="1578"/>
                        </a:cubicBezTo>
                        <a:cubicBezTo>
                          <a:pt x="29419" y="1578"/>
                          <a:pt x="29419" y="3157"/>
                          <a:pt x="28645" y="2368"/>
                        </a:cubicBezTo>
                        <a:cubicBezTo>
                          <a:pt x="27096" y="2368"/>
                          <a:pt x="27096" y="2368"/>
                          <a:pt x="27096" y="2368"/>
                        </a:cubicBezTo>
                        <a:cubicBezTo>
                          <a:pt x="26322" y="1578"/>
                          <a:pt x="26322" y="1578"/>
                          <a:pt x="26322" y="1578"/>
                        </a:cubicBezTo>
                        <a:cubicBezTo>
                          <a:pt x="26322" y="789"/>
                          <a:pt x="25548" y="0"/>
                          <a:pt x="25548" y="789"/>
                        </a:cubicBezTo>
                        <a:cubicBezTo>
                          <a:pt x="25548" y="2368"/>
                          <a:pt x="25548" y="1578"/>
                          <a:pt x="24774" y="2368"/>
                        </a:cubicBezTo>
                        <a:cubicBezTo>
                          <a:pt x="24774" y="3157"/>
                          <a:pt x="23225" y="3947"/>
                          <a:pt x="23225" y="3947"/>
                        </a:cubicBezTo>
                        <a:cubicBezTo>
                          <a:pt x="23225" y="3947"/>
                          <a:pt x="22451" y="3947"/>
                          <a:pt x="22451" y="4736"/>
                        </a:cubicBezTo>
                        <a:cubicBezTo>
                          <a:pt x="22451" y="4736"/>
                          <a:pt x="21677" y="5526"/>
                          <a:pt x="21677" y="5526"/>
                        </a:cubicBezTo>
                        <a:cubicBezTo>
                          <a:pt x="21677" y="5526"/>
                          <a:pt x="21677" y="4736"/>
                          <a:pt x="20903" y="4736"/>
                        </a:cubicBezTo>
                        <a:cubicBezTo>
                          <a:pt x="20903" y="4736"/>
                          <a:pt x="20903" y="4736"/>
                          <a:pt x="20903" y="4736"/>
                        </a:cubicBezTo>
                        <a:cubicBezTo>
                          <a:pt x="20903" y="4736"/>
                          <a:pt x="19354" y="4736"/>
                          <a:pt x="19354" y="5526"/>
                        </a:cubicBezTo>
                        <a:cubicBezTo>
                          <a:pt x="19354" y="5526"/>
                          <a:pt x="19354" y="6315"/>
                          <a:pt x="19354" y="7105"/>
                        </a:cubicBezTo>
                        <a:cubicBezTo>
                          <a:pt x="19354" y="7105"/>
                          <a:pt x="18580" y="7894"/>
                          <a:pt x="18580" y="7894"/>
                        </a:cubicBezTo>
                        <a:cubicBezTo>
                          <a:pt x="17032" y="8684"/>
                          <a:pt x="17032" y="8684"/>
                          <a:pt x="17032" y="8684"/>
                        </a:cubicBezTo>
                        <a:cubicBezTo>
                          <a:pt x="17032" y="8684"/>
                          <a:pt x="17032" y="8684"/>
                          <a:pt x="16258" y="8684"/>
                        </a:cubicBezTo>
                        <a:cubicBezTo>
                          <a:pt x="15483" y="8684"/>
                          <a:pt x="13935" y="8684"/>
                          <a:pt x="13935" y="8684"/>
                        </a:cubicBezTo>
                        <a:cubicBezTo>
                          <a:pt x="13161" y="8684"/>
                          <a:pt x="12387" y="8684"/>
                          <a:pt x="12387" y="8684"/>
                        </a:cubicBezTo>
                        <a:cubicBezTo>
                          <a:pt x="12387" y="9473"/>
                          <a:pt x="12387" y="9473"/>
                          <a:pt x="12387" y="9473"/>
                        </a:cubicBezTo>
                        <a:cubicBezTo>
                          <a:pt x="11612" y="10263"/>
                          <a:pt x="11612" y="10263"/>
                          <a:pt x="11612" y="10263"/>
                        </a:cubicBezTo>
                        <a:cubicBezTo>
                          <a:pt x="11612" y="10263"/>
                          <a:pt x="10838" y="11842"/>
                          <a:pt x="10064" y="11052"/>
                        </a:cubicBezTo>
                        <a:cubicBezTo>
                          <a:pt x="10064" y="11052"/>
                          <a:pt x="9290" y="11052"/>
                          <a:pt x="9290" y="11052"/>
                        </a:cubicBezTo>
                        <a:cubicBezTo>
                          <a:pt x="7741" y="10263"/>
                          <a:pt x="7741" y="10263"/>
                          <a:pt x="7741" y="10263"/>
                        </a:cubicBezTo>
                        <a:cubicBezTo>
                          <a:pt x="7741" y="10263"/>
                          <a:pt x="6967" y="11052"/>
                          <a:pt x="6967" y="11052"/>
                        </a:cubicBezTo>
                        <a:cubicBezTo>
                          <a:pt x="6967" y="11052"/>
                          <a:pt x="6193" y="11052"/>
                          <a:pt x="6193" y="11052"/>
                        </a:cubicBezTo>
                        <a:cubicBezTo>
                          <a:pt x="6193" y="11052"/>
                          <a:pt x="6193" y="11052"/>
                          <a:pt x="6193" y="11052"/>
                        </a:cubicBezTo>
                        <a:cubicBezTo>
                          <a:pt x="6193" y="11052"/>
                          <a:pt x="6193" y="11842"/>
                          <a:pt x="6967" y="12631"/>
                        </a:cubicBezTo>
                        <a:cubicBezTo>
                          <a:pt x="6967" y="12631"/>
                          <a:pt x="6967" y="13421"/>
                          <a:pt x="6967" y="14210"/>
                        </a:cubicBezTo>
                        <a:cubicBezTo>
                          <a:pt x="6967" y="14210"/>
                          <a:pt x="6193" y="15000"/>
                          <a:pt x="6193" y="15000"/>
                        </a:cubicBezTo>
                        <a:cubicBezTo>
                          <a:pt x="5419" y="15000"/>
                          <a:pt x="4645" y="14210"/>
                          <a:pt x="4645" y="14210"/>
                        </a:cubicBezTo>
                        <a:cubicBezTo>
                          <a:pt x="4645" y="14210"/>
                          <a:pt x="4645" y="13421"/>
                          <a:pt x="3870" y="13421"/>
                        </a:cubicBezTo>
                        <a:cubicBezTo>
                          <a:pt x="3870" y="14210"/>
                          <a:pt x="1548" y="15000"/>
                          <a:pt x="1548" y="15000"/>
                        </a:cubicBezTo>
                        <a:cubicBezTo>
                          <a:pt x="1548" y="16578"/>
                          <a:pt x="1548" y="16578"/>
                          <a:pt x="1548" y="16578"/>
                        </a:cubicBezTo>
                        <a:cubicBezTo>
                          <a:pt x="0" y="17368"/>
                          <a:pt x="0" y="17368"/>
                          <a:pt x="0" y="17368"/>
                        </a:cubicBezTo>
                        <a:cubicBezTo>
                          <a:pt x="3870" y="17368"/>
                          <a:pt x="3870" y="17368"/>
                          <a:pt x="3870" y="17368"/>
                        </a:cubicBezTo>
                        <a:cubicBezTo>
                          <a:pt x="4645" y="17368"/>
                          <a:pt x="4645" y="17368"/>
                          <a:pt x="4645" y="17368"/>
                        </a:cubicBezTo>
                        <a:cubicBezTo>
                          <a:pt x="6193" y="17368"/>
                          <a:pt x="6193" y="17368"/>
                          <a:pt x="6193" y="17368"/>
                        </a:cubicBezTo>
                        <a:cubicBezTo>
                          <a:pt x="6967" y="16578"/>
                          <a:pt x="6967" y="16578"/>
                          <a:pt x="6967" y="16578"/>
                        </a:cubicBezTo>
                        <a:cubicBezTo>
                          <a:pt x="6967" y="16578"/>
                          <a:pt x="7741" y="16578"/>
                          <a:pt x="7741" y="17368"/>
                        </a:cubicBezTo>
                        <a:cubicBezTo>
                          <a:pt x="7741" y="17368"/>
                          <a:pt x="9290" y="18157"/>
                          <a:pt x="9290" y="18157"/>
                        </a:cubicBezTo>
                        <a:cubicBezTo>
                          <a:pt x="9290" y="18157"/>
                          <a:pt x="9290" y="18157"/>
                          <a:pt x="9290" y="18157"/>
                        </a:cubicBezTo>
                        <a:cubicBezTo>
                          <a:pt x="11612" y="17368"/>
                          <a:pt x="11612" y="17368"/>
                          <a:pt x="11612" y="17368"/>
                        </a:cubicBezTo>
                        <a:cubicBezTo>
                          <a:pt x="11612" y="18157"/>
                          <a:pt x="11612" y="18157"/>
                          <a:pt x="11612" y="18157"/>
                        </a:cubicBezTo>
                        <a:cubicBezTo>
                          <a:pt x="11612" y="18157"/>
                          <a:pt x="11612" y="18947"/>
                          <a:pt x="12387" y="18947"/>
                        </a:cubicBezTo>
                        <a:cubicBezTo>
                          <a:pt x="13161" y="18947"/>
                          <a:pt x="13161" y="18947"/>
                          <a:pt x="13161" y="18947"/>
                        </a:cubicBezTo>
                        <a:cubicBezTo>
                          <a:pt x="13161" y="20526"/>
                          <a:pt x="13161" y="20526"/>
                          <a:pt x="13161" y="20526"/>
                        </a:cubicBezTo>
                        <a:cubicBezTo>
                          <a:pt x="14709" y="20526"/>
                          <a:pt x="14709" y="20526"/>
                          <a:pt x="14709" y="20526"/>
                        </a:cubicBezTo>
                        <a:cubicBezTo>
                          <a:pt x="14709" y="20526"/>
                          <a:pt x="15483" y="20526"/>
                          <a:pt x="15483" y="20526"/>
                        </a:cubicBezTo>
                        <a:cubicBezTo>
                          <a:pt x="15483" y="20526"/>
                          <a:pt x="15483" y="21315"/>
                          <a:pt x="15483" y="21315"/>
                        </a:cubicBezTo>
                        <a:cubicBezTo>
                          <a:pt x="15483" y="21315"/>
                          <a:pt x="16258" y="22105"/>
                          <a:pt x="17032" y="22894"/>
                        </a:cubicBezTo>
                        <a:cubicBezTo>
                          <a:pt x="17032" y="22894"/>
                          <a:pt x="17806" y="23684"/>
                          <a:pt x="17806" y="23684"/>
                        </a:cubicBezTo>
                        <a:cubicBezTo>
                          <a:pt x="18580" y="24473"/>
                          <a:pt x="18580" y="24473"/>
                          <a:pt x="18580" y="24473"/>
                        </a:cubicBezTo>
                        <a:cubicBezTo>
                          <a:pt x="19354" y="25263"/>
                          <a:pt x="19354" y="25263"/>
                          <a:pt x="19354" y="25263"/>
                        </a:cubicBezTo>
                        <a:cubicBezTo>
                          <a:pt x="20129" y="26052"/>
                          <a:pt x="20129" y="26052"/>
                          <a:pt x="20129" y="26052"/>
                        </a:cubicBezTo>
                        <a:cubicBezTo>
                          <a:pt x="20129" y="26052"/>
                          <a:pt x="20129" y="26052"/>
                          <a:pt x="20129" y="26052"/>
                        </a:cubicBezTo>
                        <a:cubicBezTo>
                          <a:pt x="20129" y="26842"/>
                          <a:pt x="20129" y="27631"/>
                          <a:pt x="20903" y="27631"/>
                        </a:cubicBezTo>
                        <a:cubicBezTo>
                          <a:pt x="20903" y="27631"/>
                          <a:pt x="20903" y="27631"/>
                          <a:pt x="21677" y="27631"/>
                        </a:cubicBezTo>
                        <a:cubicBezTo>
                          <a:pt x="21677" y="27631"/>
                          <a:pt x="21677" y="27631"/>
                          <a:pt x="21677" y="28421"/>
                        </a:cubicBezTo>
                        <a:cubicBezTo>
                          <a:pt x="21677" y="28421"/>
                          <a:pt x="21677" y="28421"/>
                          <a:pt x="22451" y="29210"/>
                        </a:cubicBezTo>
                        <a:cubicBezTo>
                          <a:pt x="22451" y="29210"/>
                          <a:pt x="23225" y="30000"/>
                          <a:pt x="23225" y="30000"/>
                        </a:cubicBezTo>
                        <a:cubicBezTo>
                          <a:pt x="23225" y="30000"/>
                          <a:pt x="23225" y="30000"/>
                          <a:pt x="23225" y="30789"/>
                        </a:cubicBezTo>
                        <a:cubicBezTo>
                          <a:pt x="23225" y="31578"/>
                          <a:pt x="24000" y="32368"/>
                          <a:pt x="24000" y="32368"/>
                        </a:cubicBezTo>
                        <a:cubicBezTo>
                          <a:pt x="24000" y="33157"/>
                          <a:pt x="24774" y="33157"/>
                          <a:pt x="24774" y="33157"/>
                        </a:cubicBezTo>
                        <a:cubicBezTo>
                          <a:pt x="24774" y="33157"/>
                          <a:pt x="24774" y="33157"/>
                          <a:pt x="24774" y="33157"/>
                        </a:cubicBezTo>
                        <a:cubicBezTo>
                          <a:pt x="24774" y="33157"/>
                          <a:pt x="25548" y="33157"/>
                          <a:pt x="25548" y="33947"/>
                        </a:cubicBezTo>
                        <a:cubicBezTo>
                          <a:pt x="25548" y="34736"/>
                          <a:pt x="24774" y="35526"/>
                          <a:pt x="25548" y="35526"/>
                        </a:cubicBezTo>
                        <a:cubicBezTo>
                          <a:pt x="25548" y="35526"/>
                          <a:pt x="26322" y="37105"/>
                          <a:pt x="27096" y="37105"/>
                        </a:cubicBezTo>
                        <a:cubicBezTo>
                          <a:pt x="27870" y="37105"/>
                          <a:pt x="27870" y="37105"/>
                          <a:pt x="27870" y="37105"/>
                        </a:cubicBezTo>
                        <a:cubicBezTo>
                          <a:pt x="28645" y="37105"/>
                          <a:pt x="28645" y="38684"/>
                          <a:pt x="29419" y="38684"/>
                        </a:cubicBezTo>
                        <a:cubicBezTo>
                          <a:pt x="29419" y="39473"/>
                          <a:pt x="29419" y="39473"/>
                          <a:pt x="30193" y="39473"/>
                        </a:cubicBezTo>
                        <a:cubicBezTo>
                          <a:pt x="30967" y="39473"/>
                          <a:pt x="30967" y="39473"/>
                          <a:pt x="30967" y="39473"/>
                        </a:cubicBezTo>
                        <a:cubicBezTo>
                          <a:pt x="30967" y="39473"/>
                          <a:pt x="30967" y="39473"/>
                          <a:pt x="30967" y="40263"/>
                        </a:cubicBezTo>
                        <a:cubicBezTo>
                          <a:pt x="31741" y="40263"/>
                          <a:pt x="33290" y="41842"/>
                          <a:pt x="33290" y="41842"/>
                        </a:cubicBezTo>
                        <a:cubicBezTo>
                          <a:pt x="33290" y="41842"/>
                          <a:pt x="34064" y="42631"/>
                          <a:pt x="34064" y="42631"/>
                        </a:cubicBezTo>
                        <a:cubicBezTo>
                          <a:pt x="34064" y="42631"/>
                          <a:pt x="34838" y="42631"/>
                          <a:pt x="35612" y="42631"/>
                        </a:cubicBezTo>
                        <a:cubicBezTo>
                          <a:pt x="35612" y="42631"/>
                          <a:pt x="36387" y="42631"/>
                          <a:pt x="36387" y="43421"/>
                        </a:cubicBezTo>
                        <a:cubicBezTo>
                          <a:pt x="36387" y="44210"/>
                          <a:pt x="37161" y="44210"/>
                          <a:pt x="37161" y="45000"/>
                        </a:cubicBezTo>
                        <a:cubicBezTo>
                          <a:pt x="37161" y="45789"/>
                          <a:pt x="37935" y="45789"/>
                          <a:pt x="37935" y="46578"/>
                        </a:cubicBezTo>
                        <a:cubicBezTo>
                          <a:pt x="37935" y="46578"/>
                          <a:pt x="38709" y="48157"/>
                          <a:pt x="38709" y="48157"/>
                        </a:cubicBezTo>
                        <a:cubicBezTo>
                          <a:pt x="43354" y="49736"/>
                          <a:pt x="43354" y="49736"/>
                          <a:pt x="43354" y="49736"/>
                        </a:cubicBezTo>
                        <a:cubicBezTo>
                          <a:pt x="44129" y="51315"/>
                          <a:pt x="44129" y="51315"/>
                          <a:pt x="44129" y="51315"/>
                        </a:cubicBezTo>
                        <a:cubicBezTo>
                          <a:pt x="44129" y="51315"/>
                          <a:pt x="44903" y="52894"/>
                          <a:pt x="44903" y="52894"/>
                        </a:cubicBezTo>
                        <a:cubicBezTo>
                          <a:pt x="45677" y="53684"/>
                          <a:pt x="46451" y="53684"/>
                          <a:pt x="46451" y="53684"/>
                        </a:cubicBezTo>
                        <a:cubicBezTo>
                          <a:pt x="48774" y="56052"/>
                          <a:pt x="48774" y="56052"/>
                          <a:pt x="48774" y="56052"/>
                        </a:cubicBezTo>
                        <a:cubicBezTo>
                          <a:pt x="51096" y="56842"/>
                          <a:pt x="51096" y="56842"/>
                          <a:pt x="51096" y="56842"/>
                        </a:cubicBezTo>
                        <a:cubicBezTo>
                          <a:pt x="51096" y="56842"/>
                          <a:pt x="52645" y="57631"/>
                          <a:pt x="53419" y="57631"/>
                        </a:cubicBezTo>
                        <a:cubicBezTo>
                          <a:pt x="53419" y="57631"/>
                          <a:pt x="54967" y="58421"/>
                          <a:pt x="55741" y="58421"/>
                        </a:cubicBezTo>
                        <a:cubicBezTo>
                          <a:pt x="55741" y="59210"/>
                          <a:pt x="56516" y="61578"/>
                          <a:pt x="56516" y="61578"/>
                        </a:cubicBezTo>
                        <a:cubicBezTo>
                          <a:pt x="57290" y="61578"/>
                          <a:pt x="58838" y="63157"/>
                          <a:pt x="58838" y="64736"/>
                        </a:cubicBezTo>
                        <a:cubicBezTo>
                          <a:pt x="59612" y="65526"/>
                          <a:pt x="59612" y="65526"/>
                          <a:pt x="59612" y="67105"/>
                        </a:cubicBezTo>
                        <a:cubicBezTo>
                          <a:pt x="60387" y="67894"/>
                          <a:pt x="61935" y="69473"/>
                          <a:pt x="61935" y="69473"/>
                        </a:cubicBezTo>
                        <a:cubicBezTo>
                          <a:pt x="61935" y="69473"/>
                          <a:pt x="61935" y="69473"/>
                          <a:pt x="62709" y="71052"/>
                        </a:cubicBezTo>
                        <a:cubicBezTo>
                          <a:pt x="63483" y="71842"/>
                          <a:pt x="64258" y="72631"/>
                          <a:pt x="64258" y="73421"/>
                        </a:cubicBezTo>
                        <a:cubicBezTo>
                          <a:pt x="64258" y="73421"/>
                          <a:pt x="64258" y="73421"/>
                          <a:pt x="64258" y="74210"/>
                        </a:cubicBezTo>
                        <a:cubicBezTo>
                          <a:pt x="64258" y="74210"/>
                          <a:pt x="64258" y="75000"/>
                          <a:pt x="64258" y="75000"/>
                        </a:cubicBezTo>
                        <a:cubicBezTo>
                          <a:pt x="64258" y="75000"/>
                          <a:pt x="65032" y="76578"/>
                          <a:pt x="65032" y="77368"/>
                        </a:cubicBezTo>
                        <a:cubicBezTo>
                          <a:pt x="65032" y="77368"/>
                          <a:pt x="65806" y="78947"/>
                          <a:pt x="65806" y="78947"/>
                        </a:cubicBezTo>
                        <a:cubicBezTo>
                          <a:pt x="65806" y="79736"/>
                          <a:pt x="65806" y="79736"/>
                          <a:pt x="65806" y="79736"/>
                        </a:cubicBezTo>
                        <a:cubicBezTo>
                          <a:pt x="66580" y="82105"/>
                          <a:pt x="66580" y="82105"/>
                          <a:pt x="66580" y="82105"/>
                        </a:cubicBezTo>
                        <a:cubicBezTo>
                          <a:pt x="65806" y="83684"/>
                          <a:pt x="65806" y="83684"/>
                          <a:pt x="65806" y="83684"/>
                        </a:cubicBezTo>
                        <a:cubicBezTo>
                          <a:pt x="65806" y="83684"/>
                          <a:pt x="65032" y="84473"/>
                          <a:pt x="65806" y="84473"/>
                        </a:cubicBezTo>
                        <a:cubicBezTo>
                          <a:pt x="66580" y="84473"/>
                          <a:pt x="67354" y="85263"/>
                          <a:pt x="66580" y="86052"/>
                        </a:cubicBezTo>
                        <a:cubicBezTo>
                          <a:pt x="66580" y="86052"/>
                          <a:pt x="65806" y="87631"/>
                          <a:pt x="65806" y="87631"/>
                        </a:cubicBezTo>
                        <a:cubicBezTo>
                          <a:pt x="65806" y="88421"/>
                          <a:pt x="65806" y="88421"/>
                          <a:pt x="65806" y="88421"/>
                        </a:cubicBezTo>
                        <a:cubicBezTo>
                          <a:pt x="65032" y="90000"/>
                          <a:pt x="65032" y="90000"/>
                          <a:pt x="65032" y="90000"/>
                        </a:cubicBezTo>
                        <a:cubicBezTo>
                          <a:pt x="65032" y="90000"/>
                          <a:pt x="66580" y="90789"/>
                          <a:pt x="66580" y="90789"/>
                        </a:cubicBezTo>
                        <a:cubicBezTo>
                          <a:pt x="66580" y="91578"/>
                          <a:pt x="67354" y="92368"/>
                          <a:pt x="66580" y="93157"/>
                        </a:cubicBezTo>
                        <a:cubicBezTo>
                          <a:pt x="66580" y="93157"/>
                          <a:pt x="66580" y="94736"/>
                          <a:pt x="66580" y="94736"/>
                        </a:cubicBezTo>
                        <a:cubicBezTo>
                          <a:pt x="66580" y="94736"/>
                          <a:pt x="66580" y="96315"/>
                          <a:pt x="66580" y="96315"/>
                        </a:cubicBezTo>
                        <a:cubicBezTo>
                          <a:pt x="66580" y="96315"/>
                          <a:pt x="68129" y="97105"/>
                          <a:pt x="67354" y="97894"/>
                        </a:cubicBezTo>
                        <a:cubicBezTo>
                          <a:pt x="67354" y="97894"/>
                          <a:pt x="67354" y="98684"/>
                          <a:pt x="67354" y="99473"/>
                        </a:cubicBezTo>
                        <a:cubicBezTo>
                          <a:pt x="68129" y="101052"/>
                          <a:pt x="69677" y="103421"/>
                          <a:pt x="69677" y="103421"/>
                        </a:cubicBezTo>
                        <a:cubicBezTo>
                          <a:pt x="69677" y="103421"/>
                          <a:pt x="70451" y="105000"/>
                          <a:pt x="70451" y="105000"/>
                        </a:cubicBezTo>
                        <a:cubicBezTo>
                          <a:pt x="70451" y="105789"/>
                          <a:pt x="69677" y="105789"/>
                          <a:pt x="70451" y="106578"/>
                        </a:cubicBezTo>
                        <a:cubicBezTo>
                          <a:pt x="70451" y="106578"/>
                          <a:pt x="69677" y="107368"/>
                          <a:pt x="70451" y="107368"/>
                        </a:cubicBezTo>
                        <a:cubicBezTo>
                          <a:pt x="71225" y="108157"/>
                          <a:pt x="72000" y="109736"/>
                          <a:pt x="72000" y="109736"/>
                        </a:cubicBezTo>
                        <a:cubicBezTo>
                          <a:pt x="72000" y="109736"/>
                          <a:pt x="72000" y="109736"/>
                          <a:pt x="72774" y="110526"/>
                        </a:cubicBezTo>
                        <a:cubicBezTo>
                          <a:pt x="72774" y="111315"/>
                          <a:pt x="72774" y="112894"/>
                          <a:pt x="72774" y="112894"/>
                        </a:cubicBezTo>
                        <a:cubicBezTo>
                          <a:pt x="72774" y="113684"/>
                          <a:pt x="73548" y="113684"/>
                          <a:pt x="72774" y="113684"/>
                        </a:cubicBezTo>
                        <a:cubicBezTo>
                          <a:pt x="72774" y="113684"/>
                          <a:pt x="72000" y="114473"/>
                          <a:pt x="72000" y="114473"/>
                        </a:cubicBezTo>
                        <a:cubicBezTo>
                          <a:pt x="71225" y="116052"/>
                          <a:pt x="71225" y="116052"/>
                          <a:pt x="71225" y="116052"/>
                        </a:cubicBezTo>
                        <a:cubicBezTo>
                          <a:pt x="71225" y="116052"/>
                          <a:pt x="72000" y="116842"/>
                          <a:pt x="72774" y="116842"/>
                        </a:cubicBezTo>
                        <a:cubicBezTo>
                          <a:pt x="72774" y="116842"/>
                          <a:pt x="73548" y="116842"/>
                          <a:pt x="73548" y="116842"/>
                        </a:cubicBezTo>
                        <a:cubicBezTo>
                          <a:pt x="75096" y="118421"/>
                          <a:pt x="75096" y="118421"/>
                          <a:pt x="75096" y="118421"/>
                        </a:cubicBezTo>
                        <a:cubicBezTo>
                          <a:pt x="75096" y="120000"/>
                          <a:pt x="75096" y="120000"/>
                          <a:pt x="75096" y="120000"/>
                        </a:cubicBezTo>
                        <a:lnTo>
                          <a:pt x="76645" y="1200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6" name="Shape 2033"/>
                  <p:cNvSpPr/>
                  <p:nvPr/>
                </p:nvSpPr>
                <p:spPr>
                  <a:xfrm>
                    <a:off x="4446566" y="2676821"/>
                    <a:ext cx="294647" cy="240785"/>
                  </a:xfrm>
                  <a:custGeom>
                    <a:avLst/>
                    <a:gdLst/>
                    <a:ahLst/>
                    <a:cxnLst/>
                    <a:rect l="0" t="0" r="0" b="0"/>
                    <a:pathLst>
                      <a:path w="120000" h="120000" extrusionOk="0">
                        <a:moveTo>
                          <a:pt x="930" y="19816"/>
                        </a:moveTo>
                        <a:cubicBezTo>
                          <a:pt x="930" y="19816"/>
                          <a:pt x="19534" y="6605"/>
                          <a:pt x="19534" y="6605"/>
                        </a:cubicBezTo>
                        <a:cubicBezTo>
                          <a:pt x="25116" y="5504"/>
                          <a:pt x="25116" y="5504"/>
                          <a:pt x="25116" y="5504"/>
                        </a:cubicBezTo>
                        <a:cubicBezTo>
                          <a:pt x="27906" y="5504"/>
                          <a:pt x="27906" y="5504"/>
                          <a:pt x="27906" y="5504"/>
                        </a:cubicBezTo>
                        <a:cubicBezTo>
                          <a:pt x="28837" y="4403"/>
                          <a:pt x="28837" y="4403"/>
                          <a:pt x="28837" y="4403"/>
                        </a:cubicBezTo>
                        <a:cubicBezTo>
                          <a:pt x="28837" y="4403"/>
                          <a:pt x="29767" y="7706"/>
                          <a:pt x="30697" y="7706"/>
                        </a:cubicBezTo>
                        <a:cubicBezTo>
                          <a:pt x="30697" y="7706"/>
                          <a:pt x="32558" y="9908"/>
                          <a:pt x="32558" y="8807"/>
                        </a:cubicBezTo>
                        <a:cubicBezTo>
                          <a:pt x="33488" y="7706"/>
                          <a:pt x="33488" y="6605"/>
                          <a:pt x="34418" y="6605"/>
                        </a:cubicBezTo>
                        <a:cubicBezTo>
                          <a:pt x="34418" y="5504"/>
                          <a:pt x="35348" y="4403"/>
                          <a:pt x="37209" y="5504"/>
                        </a:cubicBezTo>
                        <a:cubicBezTo>
                          <a:pt x="38139" y="6605"/>
                          <a:pt x="38139" y="11009"/>
                          <a:pt x="38139" y="11009"/>
                        </a:cubicBezTo>
                        <a:cubicBezTo>
                          <a:pt x="45581" y="13211"/>
                          <a:pt x="40930" y="14311"/>
                          <a:pt x="51162" y="11009"/>
                        </a:cubicBezTo>
                        <a:cubicBezTo>
                          <a:pt x="51162" y="11009"/>
                          <a:pt x="53023" y="8807"/>
                          <a:pt x="53023" y="8807"/>
                        </a:cubicBezTo>
                        <a:cubicBezTo>
                          <a:pt x="53023" y="7706"/>
                          <a:pt x="52093" y="5504"/>
                          <a:pt x="53953" y="6605"/>
                        </a:cubicBezTo>
                        <a:cubicBezTo>
                          <a:pt x="54883" y="7706"/>
                          <a:pt x="55813" y="7706"/>
                          <a:pt x="56744" y="7706"/>
                        </a:cubicBezTo>
                        <a:cubicBezTo>
                          <a:pt x="57674" y="7706"/>
                          <a:pt x="59534" y="7706"/>
                          <a:pt x="59534" y="7706"/>
                        </a:cubicBezTo>
                        <a:cubicBezTo>
                          <a:pt x="59534" y="7706"/>
                          <a:pt x="60465" y="6605"/>
                          <a:pt x="59534" y="5504"/>
                        </a:cubicBezTo>
                        <a:cubicBezTo>
                          <a:pt x="59534" y="4403"/>
                          <a:pt x="58604" y="3302"/>
                          <a:pt x="59534" y="3302"/>
                        </a:cubicBezTo>
                        <a:cubicBezTo>
                          <a:pt x="59534" y="2201"/>
                          <a:pt x="61395" y="1100"/>
                          <a:pt x="61395" y="1100"/>
                        </a:cubicBezTo>
                        <a:cubicBezTo>
                          <a:pt x="61395" y="1100"/>
                          <a:pt x="62325" y="1100"/>
                          <a:pt x="62325" y="2201"/>
                        </a:cubicBezTo>
                        <a:cubicBezTo>
                          <a:pt x="63255" y="3302"/>
                          <a:pt x="63255" y="3302"/>
                          <a:pt x="63255" y="4403"/>
                        </a:cubicBezTo>
                        <a:cubicBezTo>
                          <a:pt x="64186" y="4403"/>
                          <a:pt x="64186" y="5504"/>
                          <a:pt x="65116" y="5504"/>
                        </a:cubicBezTo>
                        <a:cubicBezTo>
                          <a:pt x="66976" y="5504"/>
                          <a:pt x="66976" y="5504"/>
                          <a:pt x="67906" y="4403"/>
                        </a:cubicBezTo>
                        <a:cubicBezTo>
                          <a:pt x="68837" y="3302"/>
                          <a:pt x="68837" y="3302"/>
                          <a:pt x="69767" y="2201"/>
                        </a:cubicBezTo>
                        <a:cubicBezTo>
                          <a:pt x="70697" y="0"/>
                          <a:pt x="70697" y="0"/>
                          <a:pt x="71627" y="1100"/>
                        </a:cubicBezTo>
                        <a:cubicBezTo>
                          <a:pt x="72558" y="1100"/>
                          <a:pt x="74418" y="2201"/>
                          <a:pt x="74418" y="2201"/>
                        </a:cubicBezTo>
                        <a:cubicBezTo>
                          <a:pt x="72558" y="4403"/>
                          <a:pt x="72558" y="4403"/>
                          <a:pt x="72558" y="4403"/>
                        </a:cubicBezTo>
                        <a:cubicBezTo>
                          <a:pt x="72558" y="4403"/>
                          <a:pt x="71627" y="4403"/>
                          <a:pt x="73488" y="5504"/>
                        </a:cubicBezTo>
                        <a:cubicBezTo>
                          <a:pt x="76279" y="6605"/>
                          <a:pt x="77209" y="6605"/>
                          <a:pt x="77209" y="6605"/>
                        </a:cubicBezTo>
                        <a:cubicBezTo>
                          <a:pt x="79069" y="3302"/>
                          <a:pt x="79069" y="3302"/>
                          <a:pt x="79069" y="3302"/>
                        </a:cubicBezTo>
                        <a:cubicBezTo>
                          <a:pt x="79069" y="3302"/>
                          <a:pt x="79069" y="1100"/>
                          <a:pt x="80000" y="3302"/>
                        </a:cubicBezTo>
                        <a:cubicBezTo>
                          <a:pt x="80000" y="4403"/>
                          <a:pt x="80930" y="6605"/>
                          <a:pt x="80930" y="6605"/>
                        </a:cubicBezTo>
                        <a:cubicBezTo>
                          <a:pt x="80930" y="6605"/>
                          <a:pt x="80930" y="9908"/>
                          <a:pt x="81860" y="9908"/>
                        </a:cubicBezTo>
                        <a:cubicBezTo>
                          <a:pt x="82790" y="9908"/>
                          <a:pt x="82790" y="8807"/>
                          <a:pt x="82790" y="9908"/>
                        </a:cubicBezTo>
                        <a:cubicBezTo>
                          <a:pt x="82790" y="11009"/>
                          <a:pt x="81860" y="11009"/>
                          <a:pt x="82790" y="11009"/>
                        </a:cubicBezTo>
                        <a:cubicBezTo>
                          <a:pt x="82790" y="12110"/>
                          <a:pt x="84651" y="12110"/>
                          <a:pt x="84651" y="12110"/>
                        </a:cubicBezTo>
                        <a:cubicBezTo>
                          <a:pt x="84651" y="12110"/>
                          <a:pt x="85581" y="12110"/>
                          <a:pt x="85581" y="13211"/>
                        </a:cubicBezTo>
                        <a:cubicBezTo>
                          <a:pt x="85581" y="14311"/>
                          <a:pt x="85581" y="15412"/>
                          <a:pt x="85581" y="15412"/>
                        </a:cubicBezTo>
                        <a:cubicBezTo>
                          <a:pt x="85581" y="15412"/>
                          <a:pt x="88372" y="15412"/>
                          <a:pt x="88372" y="15412"/>
                        </a:cubicBezTo>
                        <a:cubicBezTo>
                          <a:pt x="89302" y="15412"/>
                          <a:pt x="90232" y="16513"/>
                          <a:pt x="91162" y="16513"/>
                        </a:cubicBezTo>
                        <a:cubicBezTo>
                          <a:pt x="92093" y="15412"/>
                          <a:pt x="93023" y="14311"/>
                          <a:pt x="93023" y="14311"/>
                        </a:cubicBezTo>
                        <a:cubicBezTo>
                          <a:pt x="93023" y="15412"/>
                          <a:pt x="94883" y="15412"/>
                          <a:pt x="94883" y="16513"/>
                        </a:cubicBezTo>
                        <a:cubicBezTo>
                          <a:pt x="93953" y="18715"/>
                          <a:pt x="93023" y="18715"/>
                          <a:pt x="94883" y="19816"/>
                        </a:cubicBezTo>
                        <a:cubicBezTo>
                          <a:pt x="96744" y="19816"/>
                          <a:pt x="98604" y="20917"/>
                          <a:pt x="99534" y="20917"/>
                        </a:cubicBezTo>
                        <a:cubicBezTo>
                          <a:pt x="100465" y="22018"/>
                          <a:pt x="103255" y="23119"/>
                          <a:pt x="103255" y="23119"/>
                        </a:cubicBezTo>
                        <a:cubicBezTo>
                          <a:pt x="104186" y="23119"/>
                          <a:pt x="105116" y="23119"/>
                          <a:pt x="105116" y="24220"/>
                        </a:cubicBezTo>
                        <a:cubicBezTo>
                          <a:pt x="105116" y="25321"/>
                          <a:pt x="103255" y="27522"/>
                          <a:pt x="103255" y="27522"/>
                        </a:cubicBezTo>
                        <a:cubicBezTo>
                          <a:pt x="103255" y="27522"/>
                          <a:pt x="102325" y="28623"/>
                          <a:pt x="102325" y="29724"/>
                        </a:cubicBezTo>
                        <a:cubicBezTo>
                          <a:pt x="102325" y="29724"/>
                          <a:pt x="101395" y="33027"/>
                          <a:pt x="101395" y="33027"/>
                        </a:cubicBezTo>
                        <a:cubicBezTo>
                          <a:pt x="100465" y="34128"/>
                          <a:pt x="99534" y="36330"/>
                          <a:pt x="99534" y="36330"/>
                        </a:cubicBezTo>
                        <a:cubicBezTo>
                          <a:pt x="99534" y="36330"/>
                          <a:pt x="98604" y="38532"/>
                          <a:pt x="97674" y="38532"/>
                        </a:cubicBezTo>
                        <a:cubicBezTo>
                          <a:pt x="97674" y="38532"/>
                          <a:pt x="96744" y="39633"/>
                          <a:pt x="96744" y="39633"/>
                        </a:cubicBezTo>
                        <a:cubicBezTo>
                          <a:pt x="96744" y="40733"/>
                          <a:pt x="96744" y="42935"/>
                          <a:pt x="96744" y="42935"/>
                        </a:cubicBezTo>
                        <a:cubicBezTo>
                          <a:pt x="97674" y="45137"/>
                          <a:pt x="97674" y="45137"/>
                          <a:pt x="97674" y="45137"/>
                        </a:cubicBezTo>
                        <a:cubicBezTo>
                          <a:pt x="97674" y="47339"/>
                          <a:pt x="97674" y="47339"/>
                          <a:pt x="97674" y="47339"/>
                        </a:cubicBezTo>
                        <a:cubicBezTo>
                          <a:pt x="101395" y="46238"/>
                          <a:pt x="101395" y="46238"/>
                          <a:pt x="101395" y="46238"/>
                        </a:cubicBezTo>
                        <a:cubicBezTo>
                          <a:pt x="101395" y="46238"/>
                          <a:pt x="101395" y="46238"/>
                          <a:pt x="102325" y="47339"/>
                        </a:cubicBezTo>
                        <a:cubicBezTo>
                          <a:pt x="104186" y="47339"/>
                          <a:pt x="105116" y="46238"/>
                          <a:pt x="106046" y="46238"/>
                        </a:cubicBezTo>
                        <a:cubicBezTo>
                          <a:pt x="106046" y="46238"/>
                          <a:pt x="107906" y="48440"/>
                          <a:pt x="107906" y="48440"/>
                        </a:cubicBezTo>
                        <a:cubicBezTo>
                          <a:pt x="107906" y="48440"/>
                          <a:pt x="108837" y="49541"/>
                          <a:pt x="108837" y="49541"/>
                        </a:cubicBezTo>
                        <a:cubicBezTo>
                          <a:pt x="109767" y="49541"/>
                          <a:pt x="111627" y="50642"/>
                          <a:pt x="111627" y="50642"/>
                        </a:cubicBezTo>
                        <a:cubicBezTo>
                          <a:pt x="111627" y="53944"/>
                          <a:pt x="111627" y="53944"/>
                          <a:pt x="111627" y="53944"/>
                        </a:cubicBezTo>
                        <a:cubicBezTo>
                          <a:pt x="111627" y="53944"/>
                          <a:pt x="113488" y="53944"/>
                          <a:pt x="113488" y="53944"/>
                        </a:cubicBezTo>
                        <a:cubicBezTo>
                          <a:pt x="114418" y="53944"/>
                          <a:pt x="115348" y="55045"/>
                          <a:pt x="115348" y="55045"/>
                        </a:cubicBezTo>
                        <a:cubicBezTo>
                          <a:pt x="115348" y="55045"/>
                          <a:pt x="115348" y="58348"/>
                          <a:pt x="114418" y="58348"/>
                        </a:cubicBezTo>
                        <a:cubicBezTo>
                          <a:pt x="114418" y="59449"/>
                          <a:pt x="113488" y="60550"/>
                          <a:pt x="113488" y="60550"/>
                        </a:cubicBezTo>
                        <a:cubicBezTo>
                          <a:pt x="113488" y="60550"/>
                          <a:pt x="114418" y="62752"/>
                          <a:pt x="115348" y="62752"/>
                        </a:cubicBezTo>
                        <a:cubicBezTo>
                          <a:pt x="115348" y="62752"/>
                          <a:pt x="117209" y="62752"/>
                          <a:pt x="117209" y="62752"/>
                        </a:cubicBezTo>
                        <a:cubicBezTo>
                          <a:pt x="118139" y="62752"/>
                          <a:pt x="119069" y="64954"/>
                          <a:pt x="119069" y="64954"/>
                        </a:cubicBezTo>
                        <a:cubicBezTo>
                          <a:pt x="119069" y="64954"/>
                          <a:pt x="120000" y="66055"/>
                          <a:pt x="120000" y="67155"/>
                        </a:cubicBezTo>
                        <a:cubicBezTo>
                          <a:pt x="120000" y="68256"/>
                          <a:pt x="119069" y="70458"/>
                          <a:pt x="119069" y="70458"/>
                        </a:cubicBezTo>
                        <a:cubicBezTo>
                          <a:pt x="119069" y="70458"/>
                          <a:pt x="119069" y="71559"/>
                          <a:pt x="119069" y="72660"/>
                        </a:cubicBezTo>
                        <a:cubicBezTo>
                          <a:pt x="119069" y="72660"/>
                          <a:pt x="118139" y="73761"/>
                          <a:pt x="118139" y="73761"/>
                        </a:cubicBezTo>
                        <a:cubicBezTo>
                          <a:pt x="116279" y="73761"/>
                          <a:pt x="116279" y="73761"/>
                          <a:pt x="116279" y="73761"/>
                        </a:cubicBezTo>
                        <a:cubicBezTo>
                          <a:pt x="116279" y="73761"/>
                          <a:pt x="116279" y="77064"/>
                          <a:pt x="115348" y="77064"/>
                        </a:cubicBezTo>
                        <a:cubicBezTo>
                          <a:pt x="115348" y="77064"/>
                          <a:pt x="114418" y="77064"/>
                          <a:pt x="114418" y="77064"/>
                        </a:cubicBezTo>
                        <a:cubicBezTo>
                          <a:pt x="113488" y="77064"/>
                          <a:pt x="112558" y="78165"/>
                          <a:pt x="112558" y="78165"/>
                        </a:cubicBezTo>
                        <a:cubicBezTo>
                          <a:pt x="112558" y="79266"/>
                          <a:pt x="112558" y="79266"/>
                          <a:pt x="112558" y="79266"/>
                        </a:cubicBezTo>
                        <a:cubicBezTo>
                          <a:pt x="111627" y="81467"/>
                          <a:pt x="111627" y="81467"/>
                          <a:pt x="111627" y="81467"/>
                        </a:cubicBezTo>
                        <a:cubicBezTo>
                          <a:pt x="111627" y="81467"/>
                          <a:pt x="111627" y="81467"/>
                          <a:pt x="110697" y="81467"/>
                        </a:cubicBezTo>
                        <a:cubicBezTo>
                          <a:pt x="110697" y="81467"/>
                          <a:pt x="110697" y="81467"/>
                          <a:pt x="109767" y="81467"/>
                        </a:cubicBezTo>
                        <a:cubicBezTo>
                          <a:pt x="109767" y="82568"/>
                          <a:pt x="108837" y="82568"/>
                          <a:pt x="108837" y="82568"/>
                        </a:cubicBezTo>
                        <a:cubicBezTo>
                          <a:pt x="108837" y="82568"/>
                          <a:pt x="107906" y="81467"/>
                          <a:pt x="106976" y="81467"/>
                        </a:cubicBezTo>
                        <a:cubicBezTo>
                          <a:pt x="106976" y="81467"/>
                          <a:pt x="106046" y="81467"/>
                          <a:pt x="106046" y="82568"/>
                        </a:cubicBezTo>
                        <a:cubicBezTo>
                          <a:pt x="105116" y="83669"/>
                          <a:pt x="105116" y="84770"/>
                          <a:pt x="104186" y="84770"/>
                        </a:cubicBezTo>
                        <a:cubicBezTo>
                          <a:pt x="104186" y="84770"/>
                          <a:pt x="103255" y="85871"/>
                          <a:pt x="103255" y="85871"/>
                        </a:cubicBezTo>
                        <a:cubicBezTo>
                          <a:pt x="103255" y="85871"/>
                          <a:pt x="103255" y="88073"/>
                          <a:pt x="102325" y="88073"/>
                        </a:cubicBezTo>
                        <a:cubicBezTo>
                          <a:pt x="102325" y="89174"/>
                          <a:pt x="101395" y="90275"/>
                          <a:pt x="101395" y="90275"/>
                        </a:cubicBezTo>
                        <a:cubicBezTo>
                          <a:pt x="101395" y="90275"/>
                          <a:pt x="101395" y="91376"/>
                          <a:pt x="101395" y="91376"/>
                        </a:cubicBezTo>
                        <a:cubicBezTo>
                          <a:pt x="101395" y="92477"/>
                          <a:pt x="101395" y="93577"/>
                          <a:pt x="100465" y="94678"/>
                        </a:cubicBezTo>
                        <a:cubicBezTo>
                          <a:pt x="99534" y="94678"/>
                          <a:pt x="97674" y="96880"/>
                          <a:pt x="97674" y="96880"/>
                        </a:cubicBezTo>
                        <a:cubicBezTo>
                          <a:pt x="97674" y="96880"/>
                          <a:pt x="97674" y="96880"/>
                          <a:pt x="97674" y="97981"/>
                        </a:cubicBezTo>
                        <a:cubicBezTo>
                          <a:pt x="98604" y="97981"/>
                          <a:pt x="98604" y="99082"/>
                          <a:pt x="98604" y="99082"/>
                        </a:cubicBezTo>
                        <a:cubicBezTo>
                          <a:pt x="98604" y="101284"/>
                          <a:pt x="98604" y="101284"/>
                          <a:pt x="98604" y="101284"/>
                        </a:cubicBezTo>
                        <a:cubicBezTo>
                          <a:pt x="98604" y="101284"/>
                          <a:pt x="97674" y="102385"/>
                          <a:pt x="97674" y="103486"/>
                        </a:cubicBezTo>
                        <a:cubicBezTo>
                          <a:pt x="98604" y="103486"/>
                          <a:pt x="98604" y="103486"/>
                          <a:pt x="98604" y="103486"/>
                        </a:cubicBezTo>
                        <a:cubicBezTo>
                          <a:pt x="99534" y="105688"/>
                          <a:pt x="99534" y="105688"/>
                          <a:pt x="99534" y="105688"/>
                        </a:cubicBezTo>
                        <a:cubicBezTo>
                          <a:pt x="100465" y="107889"/>
                          <a:pt x="100465" y="107889"/>
                          <a:pt x="100465" y="107889"/>
                        </a:cubicBezTo>
                        <a:cubicBezTo>
                          <a:pt x="101395" y="107889"/>
                          <a:pt x="101395" y="107889"/>
                          <a:pt x="101395" y="107889"/>
                        </a:cubicBezTo>
                        <a:cubicBezTo>
                          <a:pt x="101395" y="107889"/>
                          <a:pt x="102325" y="110091"/>
                          <a:pt x="102325" y="111192"/>
                        </a:cubicBezTo>
                        <a:cubicBezTo>
                          <a:pt x="102325" y="111192"/>
                          <a:pt x="102325" y="113394"/>
                          <a:pt x="102325" y="113394"/>
                        </a:cubicBezTo>
                        <a:cubicBezTo>
                          <a:pt x="100465" y="115596"/>
                          <a:pt x="100465" y="115596"/>
                          <a:pt x="100465" y="115596"/>
                        </a:cubicBezTo>
                        <a:cubicBezTo>
                          <a:pt x="99534" y="117798"/>
                          <a:pt x="99534" y="117798"/>
                          <a:pt x="99534" y="117798"/>
                        </a:cubicBezTo>
                        <a:cubicBezTo>
                          <a:pt x="99534" y="117798"/>
                          <a:pt x="98604" y="117798"/>
                          <a:pt x="98604" y="117798"/>
                        </a:cubicBezTo>
                        <a:cubicBezTo>
                          <a:pt x="97674" y="117798"/>
                          <a:pt x="96744" y="117798"/>
                          <a:pt x="96744" y="117798"/>
                        </a:cubicBezTo>
                        <a:cubicBezTo>
                          <a:pt x="95813" y="118899"/>
                          <a:pt x="95813" y="118899"/>
                          <a:pt x="95813" y="118899"/>
                        </a:cubicBezTo>
                        <a:cubicBezTo>
                          <a:pt x="93953" y="118899"/>
                          <a:pt x="93953" y="118899"/>
                          <a:pt x="93953" y="118899"/>
                        </a:cubicBezTo>
                        <a:cubicBezTo>
                          <a:pt x="92093" y="120000"/>
                          <a:pt x="92093" y="120000"/>
                          <a:pt x="92093" y="120000"/>
                        </a:cubicBezTo>
                        <a:cubicBezTo>
                          <a:pt x="89302" y="120000"/>
                          <a:pt x="89302" y="120000"/>
                          <a:pt x="89302" y="120000"/>
                        </a:cubicBezTo>
                        <a:cubicBezTo>
                          <a:pt x="88372" y="117798"/>
                          <a:pt x="88372" y="117798"/>
                          <a:pt x="88372" y="117798"/>
                        </a:cubicBezTo>
                        <a:cubicBezTo>
                          <a:pt x="87441" y="115596"/>
                          <a:pt x="87441" y="115596"/>
                          <a:pt x="87441" y="115596"/>
                        </a:cubicBezTo>
                        <a:cubicBezTo>
                          <a:pt x="86511" y="114495"/>
                          <a:pt x="86511" y="114495"/>
                          <a:pt x="86511" y="114495"/>
                        </a:cubicBezTo>
                        <a:cubicBezTo>
                          <a:pt x="85581" y="114495"/>
                          <a:pt x="85581" y="114495"/>
                          <a:pt x="85581" y="114495"/>
                        </a:cubicBezTo>
                        <a:cubicBezTo>
                          <a:pt x="82790" y="113394"/>
                          <a:pt x="82790" y="113394"/>
                          <a:pt x="82790" y="113394"/>
                        </a:cubicBezTo>
                        <a:cubicBezTo>
                          <a:pt x="83720" y="111192"/>
                          <a:pt x="83720" y="111192"/>
                          <a:pt x="83720" y="111192"/>
                        </a:cubicBezTo>
                        <a:cubicBezTo>
                          <a:pt x="83720" y="111192"/>
                          <a:pt x="82790" y="108990"/>
                          <a:pt x="82790" y="108990"/>
                        </a:cubicBezTo>
                        <a:cubicBezTo>
                          <a:pt x="81860" y="108990"/>
                          <a:pt x="80930" y="108990"/>
                          <a:pt x="80930" y="108990"/>
                        </a:cubicBezTo>
                        <a:cubicBezTo>
                          <a:pt x="79069" y="106788"/>
                          <a:pt x="79069" y="106788"/>
                          <a:pt x="79069" y="106788"/>
                        </a:cubicBezTo>
                        <a:cubicBezTo>
                          <a:pt x="79069" y="106788"/>
                          <a:pt x="79069" y="105688"/>
                          <a:pt x="78139" y="104587"/>
                        </a:cubicBezTo>
                        <a:cubicBezTo>
                          <a:pt x="77209" y="104587"/>
                          <a:pt x="77209" y="103486"/>
                          <a:pt x="76279" y="103486"/>
                        </a:cubicBezTo>
                        <a:cubicBezTo>
                          <a:pt x="75348" y="103486"/>
                          <a:pt x="73488" y="103486"/>
                          <a:pt x="73488" y="103486"/>
                        </a:cubicBezTo>
                        <a:cubicBezTo>
                          <a:pt x="73488" y="103486"/>
                          <a:pt x="72558" y="101284"/>
                          <a:pt x="71627" y="101284"/>
                        </a:cubicBezTo>
                        <a:cubicBezTo>
                          <a:pt x="71627" y="101284"/>
                          <a:pt x="67906" y="101284"/>
                          <a:pt x="67906" y="101284"/>
                        </a:cubicBezTo>
                        <a:cubicBezTo>
                          <a:pt x="67906" y="101284"/>
                          <a:pt x="68837" y="97981"/>
                          <a:pt x="68837" y="97981"/>
                        </a:cubicBezTo>
                        <a:cubicBezTo>
                          <a:pt x="68837" y="96880"/>
                          <a:pt x="68837" y="93577"/>
                          <a:pt x="68837" y="93577"/>
                        </a:cubicBezTo>
                        <a:cubicBezTo>
                          <a:pt x="68837" y="92477"/>
                          <a:pt x="68837" y="92477"/>
                          <a:pt x="68837" y="92477"/>
                        </a:cubicBezTo>
                        <a:cubicBezTo>
                          <a:pt x="68837" y="92477"/>
                          <a:pt x="67906" y="91376"/>
                          <a:pt x="68837" y="89174"/>
                        </a:cubicBezTo>
                        <a:cubicBezTo>
                          <a:pt x="69767" y="86972"/>
                          <a:pt x="68837" y="88073"/>
                          <a:pt x="69767" y="85871"/>
                        </a:cubicBezTo>
                        <a:cubicBezTo>
                          <a:pt x="70697" y="82568"/>
                          <a:pt x="70697" y="81467"/>
                          <a:pt x="70697" y="81467"/>
                        </a:cubicBezTo>
                        <a:cubicBezTo>
                          <a:pt x="68837" y="80366"/>
                          <a:pt x="68837" y="80366"/>
                          <a:pt x="68837" y="80366"/>
                        </a:cubicBezTo>
                        <a:cubicBezTo>
                          <a:pt x="68837" y="80366"/>
                          <a:pt x="67906" y="79266"/>
                          <a:pt x="66976" y="80366"/>
                        </a:cubicBezTo>
                        <a:cubicBezTo>
                          <a:pt x="66976" y="82568"/>
                          <a:pt x="66046" y="82568"/>
                          <a:pt x="66046" y="82568"/>
                        </a:cubicBezTo>
                        <a:cubicBezTo>
                          <a:pt x="64186" y="85871"/>
                          <a:pt x="64186" y="85871"/>
                          <a:pt x="64186" y="85871"/>
                        </a:cubicBezTo>
                        <a:cubicBezTo>
                          <a:pt x="64186" y="89174"/>
                          <a:pt x="64186" y="89174"/>
                          <a:pt x="64186" y="89174"/>
                        </a:cubicBezTo>
                        <a:cubicBezTo>
                          <a:pt x="64186" y="89174"/>
                          <a:pt x="65116" y="90275"/>
                          <a:pt x="62325" y="90275"/>
                        </a:cubicBezTo>
                        <a:cubicBezTo>
                          <a:pt x="60465" y="90275"/>
                          <a:pt x="58604" y="90275"/>
                          <a:pt x="58604" y="90275"/>
                        </a:cubicBezTo>
                        <a:cubicBezTo>
                          <a:pt x="58604" y="90275"/>
                          <a:pt x="60465" y="92477"/>
                          <a:pt x="58604" y="92477"/>
                        </a:cubicBezTo>
                        <a:cubicBezTo>
                          <a:pt x="55813" y="92477"/>
                          <a:pt x="53023" y="92477"/>
                          <a:pt x="53023" y="92477"/>
                        </a:cubicBezTo>
                        <a:cubicBezTo>
                          <a:pt x="51162" y="90275"/>
                          <a:pt x="51162" y="90275"/>
                          <a:pt x="51162" y="90275"/>
                        </a:cubicBezTo>
                        <a:cubicBezTo>
                          <a:pt x="47441" y="91376"/>
                          <a:pt x="47441" y="91376"/>
                          <a:pt x="47441" y="91376"/>
                        </a:cubicBezTo>
                        <a:cubicBezTo>
                          <a:pt x="47441" y="91376"/>
                          <a:pt x="47441" y="90275"/>
                          <a:pt x="47441" y="88073"/>
                        </a:cubicBezTo>
                        <a:cubicBezTo>
                          <a:pt x="47441" y="86972"/>
                          <a:pt x="46511" y="84770"/>
                          <a:pt x="47441" y="84770"/>
                        </a:cubicBezTo>
                        <a:cubicBezTo>
                          <a:pt x="48372" y="84770"/>
                          <a:pt x="49302" y="83669"/>
                          <a:pt x="49302" y="83669"/>
                        </a:cubicBezTo>
                        <a:cubicBezTo>
                          <a:pt x="48372" y="80366"/>
                          <a:pt x="48372" y="80366"/>
                          <a:pt x="48372" y="80366"/>
                        </a:cubicBezTo>
                        <a:cubicBezTo>
                          <a:pt x="48372" y="80366"/>
                          <a:pt x="48372" y="80366"/>
                          <a:pt x="48372" y="80366"/>
                        </a:cubicBezTo>
                        <a:cubicBezTo>
                          <a:pt x="48372" y="80366"/>
                          <a:pt x="47441" y="80366"/>
                          <a:pt x="47441" y="79266"/>
                        </a:cubicBezTo>
                        <a:cubicBezTo>
                          <a:pt x="47441" y="78165"/>
                          <a:pt x="48372" y="75963"/>
                          <a:pt x="48372" y="75963"/>
                        </a:cubicBezTo>
                        <a:cubicBezTo>
                          <a:pt x="49302" y="74862"/>
                          <a:pt x="49302" y="72660"/>
                          <a:pt x="49302" y="72660"/>
                        </a:cubicBezTo>
                        <a:cubicBezTo>
                          <a:pt x="48372" y="72660"/>
                          <a:pt x="48372" y="72660"/>
                          <a:pt x="48372" y="72660"/>
                        </a:cubicBezTo>
                        <a:cubicBezTo>
                          <a:pt x="48372" y="72660"/>
                          <a:pt x="46511" y="73761"/>
                          <a:pt x="46511" y="71559"/>
                        </a:cubicBezTo>
                        <a:cubicBezTo>
                          <a:pt x="46511" y="70458"/>
                          <a:pt x="45581" y="68256"/>
                          <a:pt x="45581" y="68256"/>
                        </a:cubicBezTo>
                        <a:cubicBezTo>
                          <a:pt x="45581" y="68256"/>
                          <a:pt x="43720" y="67155"/>
                          <a:pt x="43720" y="67155"/>
                        </a:cubicBezTo>
                        <a:cubicBezTo>
                          <a:pt x="42790" y="67155"/>
                          <a:pt x="42790" y="67155"/>
                          <a:pt x="41860" y="68256"/>
                        </a:cubicBezTo>
                        <a:cubicBezTo>
                          <a:pt x="41860" y="68256"/>
                          <a:pt x="39069" y="67155"/>
                          <a:pt x="39069" y="67155"/>
                        </a:cubicBezTo>
                        <a:cubicBezTo>
                          <a:pt x="39069" y="67155"/>
                          <a:pt x="36279" y="67155"/>
                          <a:pt x="36279" y="67155"/>
                        </a:cubicBezTo>
                        <a:cubicBezTo>
                          <a:pt x="35348" y="67155"/>
                          <a:pt x="34418" y="69357"/>
                          <a:pt x="34418" y="69357"/>
                        </a:cubicBezTo>
                        <a:cubicBezTo>
                          <a:pt x="32558" y="66055"/>
                          <a:pt x="32558" y="66055"/>
                          <a:pt x="32558" y="66055"/>
                        </a:cubicBezTo>
                        <a:cubicBezTo>
                          <a:pt x="33488" y="62752"/>
                          <a:pt x="33488" y="62752"/>
                          <a:pt x="33488" y="62752"/>
                        </a:cubicBezTo>
                        <a:cubicBezTo>
                          <a:pt x="33488" y="62752"/>
                          <a:pt x="31627" y="60550"/>
                          <a:pt x="31627" y="59449"/>
                        </a:cubicBezTo>
                        <a:cubicBezTo>
                          <a:pt x="31627" y="59449"/>
                          <a:pt x="30697" y="57247"/>
                          <a:pt x="30697" y="57247"/>
                        </a:cubicBezTo>
                        <a:cubicBezTo>
                          <a:pt x="28837" y="57247"/>
                          <a:pt x="28837" y="57247"/>
                          <a:pt x="28837" y="57247"/>
                        </a:cubicBezTo>
                        <a:cubicBezTo>
                          <a:pt x="27906" y="56146"/>
                          <a:pt x="27906" y="56146"/>
                          <a:pt x="27906" y="56146"/>
                        </a:cubicBezTo>
                        <a:cubicBezTo>
                          <a:pt x="27906" y="56146"/>
                          <a:pt x="26046" y="56146"/>
                          <a:pt x="25116" y="56146"/>
                        </a:cubicBezTo>
                        <a:cubicBezTo>
                          <a:pt x="24186" y="56146"/>
                          <a:pt x="24186" y="56146"/>
                          <a:pt x="23255" y="56146"/>
                        </a:cubicBezTo>
                        <a:cubicBezTo>
                          <a:pt x="23255" y="56146"/>
                          <a:pt x="21395" y="53944"/>
                          <a:pt x="21395" y="53944"/>
                        </a:cubicBezTo>
                        <a:cubicBezTo>
                          <a:pt x="21395" y="52844"/>
                          <a:pt x="21395" y="51743"/>
                          <a:pt x="21395" y="50642"/>
                        </a:cubicBezTo>
                        <a:cubicBezTo>
                          <a:pt x="20465" y="49541"/>
                          <a:pt x="19534" y="47339"/>
                          <a:pt x="19534" y="46238"/>
                        </a:cubicBezTo>
                        <a:cubicBezTo>
                          <a:pt x="19534" y="46238"/>
                          <a:pt x="20465" y="44036"/>
                          <a:pt x="20465" y="44036"/>
                        </a:cubicBezTo>
                        <a:cubicBezTo>
                          <a:pt x="19534" y="42935"/>
                          <a:pt x="17674" y="40733"/>
                          <a:pt x="17674" y="40733"/>
                        </a:cubicBezTo>
                        <a:cubicBezTo>
                          <a:pt x="16744" y="38532"/>
                          <a:pt x="16744" y="38532"/>
                          <a:pt x="16744" y="38532"/>
                        </a:cubicBezTo>
                        <a:cubicBezTo>
                          <a:pt x="16744" y="38532"/>
                          <a:pt x="13953" y="40733"/>
                          <a:pt x="13023" y="40733"/>
                        </a:cubicBezTo>
                        <a:cubicBezTo>
                          <a:pt x="12093" y="40733"/>
                          <a:pt x="10232" y="39633"/>
                          <a:pt x="10232" y="40733"/>
                        </a:cubicBezTo>
                        <a:cubicBezTo>
                          <a:pt x="10232" y="40733"/>
                          <a:pt x="11162" y="42935"/>
                          <a:pt x="10232" y="42935"/>
                        </a:cubicBezTo>
                        <a:cubicBezTo>
                          <a:pt x="9302" y="42935"/>
                          <a:pt x="7441" y="42935"/>
                          <a:pt x="6511" y="41834"/>
                        </a:cubicBezTo>
                        <a:cubicBezTo>
                          <a:pt x="5581" y="40733"/>
                          <a:pt x="5581" y="39633"/>
                          <a:pt x="5581" y="38532"/>
                        </a:cubicBezTo>
                        <a:cubicBezTo>
                          <a:pt x="4651" y="38532"/>
                          <a:pt x="4651" y="36330"/>
                          <a:pt x="3720" y="36330"/>
                        </a:cubicBezTo>
                        <a:cubicBezTo>
                          <a:pt x="2790" y="36330"/>
                          <a:pt x="1860" y="36330"/>
                          <a:pt x="1860" y="35229"/>
                        </a:cubicBezTo>
                        <a:cubicBezTo>
                          <a:pt x="1860" y="35229"/>
                          <a:pt x="1860" y="31926"/>
                          <a:pt x="1860" y="31926"/>
                        </a:cubicBezTo>
                        <a:cubicBezTo>
                          <a:pt x="1860" y="29724"/>
                          <a:pt x="1860" y="29724"/>
                          <a:pt x="1860" y="29724"/>
                        </a:cubicBezTo>
                        <a:cubicBezTo>
                          <a:pt x="1860" y="29724"/>
                          <a:pt x="1860" y="26422"/>
                          <a:pt x="930" y="26422"/>
                        </a:cubicBezTo>
                        <a:cubicBezTo>
                          <a:pt x="930" y="25321"/>
                          <a:pt x="0" y="24220"/>
                          <a:pt x="0" y="24220"/>
                        </a:cubicBezTo>
                        <a:cubicBezTo>
                          <a:pt x="0" y="20917"/>
                          <a:pt x="0" y="20917"/>
                          <a:pt x="0" y="20917"/>
                        </a:cubicBezTo>
                        <a:lnTo>
                          <a:pt x="930" y="19816"/>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8" name="Shape 2034"/>
                  <p:cNvSpPr/>
                  <p:nvPr/>
                </p:nvSpPr>
                <p:spPr>
                  <a:xfrm>
                    <a:off x="5187582" y="2730091"/>
                    <a:ext cx="547516" cy="294054"/>
                  </a:xfrm>
                  <a:custGeom>
                    <a:avLst/>
                    <a:gdLst/>
                    <a:ahLst/>
                    <a:cxnLst/>
                    <a:rect l="0" t="0" r="0" b="0"/>
                    <a:pathLst>
                      <a:path w="120000" h="120000" extrusionOk="0">
                        <a:moveTo>
                          <a:pt x="21500" y="24360"/>
                        </a:moveTo>
                        <a:cubicBezTo>
                          <a:pt x="22000" y="24360"/>
                          <a:pt x="25000" y="19849"/>
                          <a:pt x="25000" y="19849"/>
                        </a:cubicBezTo>
                        <a:cubicBezTo>
                          <a:pt x="28000" y="18045"/>
                          <a:pt x="28000" y="18045"/>
                          <a:pt x="28000" y="18045"/>
                        </a:cubicBezTo>
                        <a:cubicBezTo>
                          <a:pt x="29000" y="16240"/>
                          <a:pt x="29000" y="16240"/>
                          <a:pt x="29000" y="16240"/>
                        </a:cubicBezTo>
                        <a:cubicBezTo>
                          <a:pt x="30000" y="12631"/>
                          <a:pt x="30000" y="12631"/>
                          <a:pt x="30000" y="12631"/>
                        </a:cubicBezTo>
                        <a:cubicBezTo>
                          <a:pt x="30000" y="12631"/>
                          <a:pt x="29500" y="10827"/>
                          <a:pt x="31000" y="10827"/>
                        </a:cubicBezTo>
                        <a:cubicBezTo>
                          <a:pt x="32500" y="10827"/>
                          <a:pt x="37000" y="9022"/>
                          <a:pt x="37000" y="9022"/>
                        </a:cubicBezTo>
                        <a:cubicBezTo>
                          <a:pt x="37500" y="7218"/>
                          <a:pt x="37500" y="7218"/>
                          <a:pt x="37500" y="7218"/>
                        </a:cubicBezTo>
                        <a:cubicBezTo>
                          <a:pt x="36500" y="4511"/>
                          <a:pt x="36500" y="4511"/>
                          <a:pt x="36500" y="4511"/>
                        </a:cubicBezTo>
                        <a:cubicBezTo>
                          <a:pt x="36500" y="4511"/>
                          <a:pt x="36500" y="902"/>
                          <a:pt x="36500" y="902"/>
                        </a:cubicBezTo>
                        <a:cubicBezTo>
                          <a:pt x="37000" y="0"/>
                          <a:pt x="39000" y="0"/>
                          <a:pt x="40000" y="0"/>
                        </a:cubicBezTo>
                        <a:cubicBezTo>
                          <a:pt x="41000" y="902"/>
                          <a:pt x="42000" y="1804"/>
                          <a:pt x="42500" y="2706"/>
                        </a:cubicBezTo>
                        <a:cubicBezTo>
                          <a:pt x="42500" y="3609"/>
                          <a:pt x="42500" y="2706"/>
                          <a:pt x="42500" y="4511"/>
                        </a:cubicBezTo>
                        <a:cubicBezTo>
                          <a:pt x="42500" y="6315"/>
                          <a:pt x="42500" y="8120"/>
                          <a:pt x="42500" y="8120"/>
                        </a:cubicBezTo>
                        <a:cubicBezTo>
                          <a:pt x="42500" y="8120"/>
                          <a:pt x="43000" y="9022"/>
                          <a:pt x="43500" y="9924"/>
                        </a:cubicBezTo>
                        <a:cubicBezTo>
                          <a:pt x="44500" y="9924"/>
                          <a:pt x="45500" y="11729"/>
                          <a:pt x="45500" y="10827"/>
                        </a:cubicBezTo>
                        <a:cubicBezTo>
                          <a:pt x="45500" y="10827"/>
                          <a:pt x="46000" y="9924"/>
                          <a:pt x="46500" y="9022"/>
                        </a:cubicBezTo>
                        <a:cubicBezTo>
                          <a:pt x="46500" y="9022"/>
                          <a:pt x="46500" y="9022"/>
                          <a:pt x="46500" y="9022"/>
                        </a:cubicBezTo>
                        <a:cubicBezTo>
                          <a:pt x="46500" y="10827"/>
                          <a:pt x="47000" y="9924"/>
                          <a:pt x="47500" y="9924"/>
                        </a:cubicBezTo>
                        <a:cubicBezTo>
                          <a:pt x="48000" y="9924"/>
                          <a:pt x="50000" y="8120"/>
                          <a:pt x="50000" y="8120"/>
                        </a:cubicBezTo>
                        <a:cubicBezTo>
                          <a:pt x="50000" y="8120"/>
                          <a:pt x="49500" y="5413"/>
                          <a:pt x="49500" y="5413"/>
                        </a:cubicBezTo>
                        <a:cubicBezTo>
                          <a:pt x="49500" y="4511"/>
                          <a:pt x="49500" y="3609"/>
                          <a:pt x="49500" y="2706"/>
                        </a:cubicBezTo>
                        <a:cubicBezTo>
                          <a:pt x="50000" y="1804"/>
                          <a:pt x="50000" y="1804"/>
                          <a:pt x="50000" y="1804"/>
                        </a:cubicBezTo>
                        <a:cubicBezTo>
                          <a:pt x="50500" y="1804"/>
                          <a:pt x="51500" y="2706"/>
                          <a:pt x="51500" y="2706"/>
                        </a:cubicBezTo>
                        <a:cubicBezTo>
                          <a:pt x="51500" y="2706"/>
                          <a:pt x="52500" y="3609"/>
                          <a:pt x="53000" y="3609"/>
                        </a:cubicBezTo>
                        <a:cubicBezTo>
                          <a:pt x="54000" y="3609"/>
                          <a:pt x="53500" y="5413"/>
                          <a:pt x="53500" y="5413"/>
                        </a:cubicBezTo>
                        <a:cubicBezTo>
                          <a:pt x="53500" y="5413"/>
                          <a:pt x="54000" y="8120"/>
                          <a:pt x="55000" y="9022"/>
                        </a:cubicBezTo>
                        <a:cubicBezTo>
                          <a:pt x="56000" y="9924"/>
                          <a:pt x="56000" y="10827"/>
                          <a:pt x="56000" y="11729"/>
                        </a:cubicBezTo>
                        <a:cubicBezTo>
                          <a:pt x="56500" y="11729"/>
                          <a:pt x="57500" y="11729"/>
                          <a:pt x="57500" y="11729"/>
                        </a:cubicBezTo>
                        <a:cubicBezTo>
                          <a:pt x="59000" y="10827"/>
                          <a:pt x="59000" y="10827"/>
                          <a:pt x="59000" y="10827"/>
                        </a:cubicBezTo>
                        <a:cubicBezTo>
                          <a:pt x="59000" y="10827"/>
                          <a:pt x="60000" y="11729"/>
                          <a:pt x="60500" y="13533"/>
                        </a:cubicBezTo>
                        <a:cubicBezTo>
                          <a:pt x="60500" y="14436"/>
                          <a:pt x="62000" y="14436"/>
                          <a:pt x="62500" y="13533"/>
                        </a:cubicBezTo>
                        <a:cubicBezTo>
                          <a:pt x="63000" y="13533"/>
                          <a:pt x="63000" y="13533"/>
                          <a:pt x="63000" y="13533"/>
                        </a:cubicBezTo>
                        <a:cubicBezTo>
                          <a:pt x="63500" y="14436"/>
                          <a:pt x="63500" y="14436"/>
                          <a:pt x="63500" y="14436"/>
                        </a:cubicBezTo>
                        <a:cubicBezTo>
                          <a:pt x="63500" y="14436"/>
                          <a:pt x="64500" y="18045"/>
                          <a:pt x="66000" y="15338"/>
                        </a:cubicBezTo>
                        <a:cubicBezTo>
                          <a:pt x="67500" y="12631"/>
                          <a:pt x="66500" y="15338"/>
                          <a:pt x="66500" y="15338"/>
                        </a:cubicBezTo>
                        <a:cubicBezTo>
                          <a:pt x="66500" y="15338"/>
                          <a:pt x="67500" y="18045"/>
                          <a:pt x="68000" y="18045"/>
                        </a:cubicBezTo>
                        <a:cubicBezTo>
                          <a:pt x="69000" y="18045"/>
                          <a:pt x="69000" y="18045"/>
                          <a:pt x="69000" y="18045"/>
                        </a:cubicBezTo>
                        <a:cubicBezTo>
                          <a:pt x="71000" y="16240"/>
                          <a:pt x="71000" y="16240"/>
                          <a:pt x="71000" y="16240"/>
                        </a:cubicBezTo>
                        <a:cubicBezTo>
                          <a:pt x="72500" y="15338"/>
                          <a:pt x="72500" y="15338"/>
                          <a:pt x="72500" y="15338"/>
                        </a:cubicBezTo>
                        <a:cubicBezTo>
                          <a:pt x="72500" y="15338"/>
                          <a:pt x="74000" y="15338"/>
                          <a:pt x="73500" y="19849"/>
                        </a:cubicBezTo>
                        <a:cubicBezTo>
                          <a:pt x="73500" y="23458"/>
                          <a:pt x="73000" y="22556"/>
                          <a:pt x="73000" y="22556"/>
                        </a:cubicBezTo>
                        <a:cubicBezTo>
                          <a:pt x="72000" y="25263"/>
                          <a:pt x="72000" y="25263"/>
                          <a:pt x="72000" y="25263"/>
                        </a:cubicBezTo>
                        <a:cubicBezTo>
                          <a:pt x="72000" y="27969"/>
                          <a:pt x="72000" y="27969"/>
                          <a:pt x="72000" y="27969"/>
                        </a:cubicBezTo>
                        <a:cubicBezTo>
                          <a:pt x="72000" y="27969"/>
                          <a:pt x="72500" y="27969"/>
                          <a:pt x="73000" y="27969"/>
                        </a:cubicBezTo>
                        <a:cubicBezTo>
                          <a:pt x="73500" y="27969"/>
                          <a:pt x="74000" y="31578"/>
                          <a:pt x="74000" y="31578"/>
                        </a:cubicBezTo>
                        <a:cubicBezTo>
                          <a:pt x="75500" y="32481"/>
                          <a:pt x="75500" y="32481"/>
                          <a:pt x="75500" y="32481"/>
                        </a:cubicBezTo>
                        <a:cubicBezTo>
                          <a:pt x="75500" y="32481"/>
                          <a:pt x="76000" y="33383"/>
                          <a:pt x="77000" y="34285"/>
                        </a:cubicBezTo>
                        <a:cubicBezTo>
                          <a:pt x="77500" y="35187"/>
                          <a:pt x="78000" y="36992"/>
                          <a:pt x="78000" y="36992"/>
                        </a:cubicBezTo>
                        <a:cubicBezTo>
                          <a:pt x="78000" y="36992"/>
                          <a:pt x="78500" y="40601"/>
                          <a:pt x="79000" y="41503"/>
                        </a:cubicBezTo>
                        <a:cubicBezTo>
                          <a:pt x="79000" y="43308"/>
                          <a:pt x="82000" y="39699"/>
                          <a:pt x="82000" y="39699"/>
                        </a:cubicBezTo>
                        <a:cubicBezTo>
                          <a:pt x="82500" y="35187"/>
                          <a:pt x="82500" y="35187"/>
                          <a:pt x="82500" y="35187"/>
                        </a:cubicBezTo>
                        <a:cubicBezTo>
                          <a:pt x="85500" y="33383"/>
                          <a:pt x="85500" y="33383"/>
                          <a:pt x="85500" y="33383"/>
                        </a:cubicBezTo>
                        <a:cubicBezTo>
                          <a:pt x="84500" y="27969"/>
                          <a:pt x="84500" y="27969"/>
                          <a:pt x="84500" y="27969"/>
                        </a:cubicBezTo>
                        <a:cubicBezTo>
                          <a:pt x="83500" y="24360"/>
                          <a:pt x="83500" y="24360"/>
                          <a:pt x="83500" y="24360"/>
                        </a:cubicBezTo>
                        <a:cubicBezTo>
                          <a:pt x="83500" y="24360"/>
                          <a:pt x="85500" y="25263"/>
                          <a:pt x="86000" y="24360"/>
                        </a:cubicBezTo>
                        <a:cubicBezTo>
                          <a:pt x="86500" y="24360"/>
                          <a:pt x="88000" y="25263"/>
                          <a:pt x="88000" y="25263"/>
                        </a:cubicBezTo>
                        <a:cubicBezTo>
                          <a:pt x="93500" y="29774"/>
                          <a:pt x="93500" y="29774"/>
                          <a:pt x="93500" y="29774"/>
                        </a:cubicBezTo>
                        <a:cubicBezTo>
                          <a:pt x="93500" y="29774"/>
                          <a:pt x="95000" y="28872"/>
                          <a:pt x="96000" y="28872"/>
                        </a:cubicBezTo>
                        <a:cubicBezTo>
                          <a:pt x="97000" y="27969"/>
                          <a:pt x="97000" y="26165"/>
                          <a:pt x="97000" y="26165"/>
                        </a:cubicBezTo>
                        <a:cubicBezTo>
                          <a:pt x="97000" y="26165"/>
                          <a:pt x="97500" y="27067"/>
                          <a:pt x="98500" y="28872"/>
                        </a:cubicBezTo>
                        <a:cubicBezTo>
                          <a:pt x="99000" y="31578"/>
                          <a:pt x="98000" y="30676"/>
                          <a:pt x="98000" y="31578"/>
                        </a:cubicBezTo>
                        <a:cubicBezTo>
                          <a:pt x="97500" y="32481"/>
                          <a:pt x="96500" y="35187"/>
                          <a:pt x="96500" y="35187"/>
                        </a:cubicBezTo>
                        <a:cubicBezTo>
                          <a:pt x="96500" y="35187"/>
                          <a:pt x="97000" y="36992"/>
                          <a:pt x="98000" y="36992"/>
                        </a:cubicBezTo>
                        <a:cubicBezTo>
                          <a:pt x="98500" y="36992"/>
                          <a:pt x="98000" y="37894"/>
                          <a:pt x="99000" y="39699"/>
                        </a:cubicBezTo>
                        <a:cubicBezTo>
                          <a:pt x="99500" y="40601"/>
                          <a:pt x="101500" y="41503"/>
                          <a:pt x="101500" y="41503"/>
                        </a:cubicBezTo>
                        <a:cubicBezTo>
                          <a:pt x="103000" y="41503"/>
                          <a:pt x="103000" y="41503"/>
                          <a:pt x="103000" y="41503"/>
                        </a:cubicBezTo>
                        <a:cubicBezTo>
                          <a:pt x="104500" y="38796"/>
                          <a:pt x="104500" y="38796"/>
                          <a:pt x="104500" y="38796"/>
                        </a:cubicBezTo>
                        <a:cubicBezTo>
                          <a:pt x="104500" y="38796"/>
                          <a:pt x="106000" y="39699"/>
                          <a:pt x="106500" y="40601"/>
                        </a:cubicBezTo>
                        <a:cubicBezTo>
                          <a:pt x="107000" y="41503"/>
                          <a:pt x="109500" y="43308"/>
                          <a:pt x="109500" y="43308"/>
                        </a:cubicBezTo>
                        <a:cubicBezTo>
                          <a:pt x="113500" y="41503"/>
                          <a:pt x="113500" y="41503"/>
                          <a:pt x="113500" y="41503"/>
                        </a:cubicBezTo>
                        <a:cubicBezTo>
                          <a:pt x="114000" y="48721"/>
                          <a:pt x="114000" y="48721"/>
                          <a:pt x="114000" y="48721"/>
                        </a:cubicBezTo>
                        <a:cubicBezTo>
                          <a:pt x="114000" y="48721"/>
                          <a:pt x="115000" y="48721"/>
                          <a:pt x="116000" y="51428"/>
                        </a:cubicBezTo>
                        <a:cubicBezTo>
                          <a:pt x="117000" y="53233"/>
                          <a:pt x="116500" y="51428"/>
                          <a:pt x="116500" y="51428"/>
                        </a:cubicBezTo>
                        <a:cubicBezTo>
                          <a:pt x="116500" y="51428"/>
                          <a:pt x="118500" y="53233"/>
                          <a:pt x="118500" y="54135"/>
                        </a:cubicBezTo>
                        <a:cubicBezTo>
                          <a:pt x="118500" y="55939"/>
                          <a:pt x="119000" y="57744"/>
                          <a:pt x="119000" y="57744"/>
                        </a:cubicBezTo>
                        <a:cubicBezTo>
                          <a:pt x="120000" y="61353"/>
                          <a:pt x="120000" y="61353"/>
                          <a:pt x="120000" y="61353"/>
                        </a:cubicBezTo>
                        <a:cubicBezTo>
                          <a:pt x="119500" y="61353"/>
                          <a:pt x="118500" y="61353"/>
                          <a:pt x="118000" y="61353"/>
                        </a:cubicBezTo>
                        <a:cubicBezTo>
                          <a:pt x="118000" y="61353"/>
                          <a:pt x="117500" y="62255"/>
                          <a:pt x="117000" y="62255"/>
                        </a:cubicBezTo>
                        <a:cubicBezTo>
                          <a:pt x="116500" y="62255"/>
                          <a:pt x="116000" y="62255"/>
                          <a:pt x="116000" y="62255"/>
                        </a:cubicBezTo>
                        <a:cubicBezTo>
                          <a:pt x="114500" y="63157"/>
                          <a:pt x="114500" y="63157"/>
                          <a:pt x="114500" y="63157"/>
                        </a:cubicBezTo>
                        <a:cubicBezTo>
                          <a:pt x="113500" y="64962"/>
                          <a:pt x="113500" y="64962"/>
                          <a:pt x="113500" y="64962"/>
                        </a:cubicBezTo>
                        <a:cubicBezTo>
                          <a:pt x="112500" y="66766"/>
                          <a:pt x="112500" y="66766"/>
                          <a:pt x="112500" y="66766"/>
                        </a:cubicBezTo>
                        <a:cubicBezTo>
                          <a:pt x="111500" y="70375"/>
                          <a:pt x="111500" y="70375"/>
                          <a:pt x="111500" y="70375"/>
                        </a:cubicBezTo>
                        <a:cubicBezTo>
                          <a:pt x="111500" y="72180"/>
                          <a:pt x="111500" y="72180"/>
                          <a:pt x="111500" y="72180"/>
                        </a:cubicBezTo>
                        <a:cubicBezTo>
                          <a:pt x="110000" y="74887"/>
                          <a:pt x="110000" y="74887"/>
                          <a:pt x="110000" y="74887"/>
                        </a:cubicBezTo>
                        <a:cubicBezTo>
                          <a:pt x="110000" y="74887"/>
                          <a:pt x="108500" y="76691"/>
                          <a:pt x="108000" y="76691"/>
                        </a:cubicBezTo>
                        <a:cubicBezTo>
                          <a:pt x="107500" y="76691"/>
                          <a:pt x="107500" y="80300"/>
                          <a:pt x="107500" y="80300"/>
                        </a:cubicBezTo>
                        <a:cubicBezTo>
                          <a:pt x="108000" y="83007"/>
                          <a:pt x="108000" y="83007"/>
                          <a:pt x="108000" y="83007"/>
                        </a:cubicBezTo>
                        <a:cubicBezTo>
                          <a:pt x="107500" y="87518"/>
                          <a:pt x="107500" y="87518"/>
                          <a:pt x="107500" y="87518"/>
                        </a:cubicBezTo>
                        <a:cubicBezTo>
                          <a:pt x="105000" y="89323"/>
                          <a:pt x="105000" y="89323"/>
                          <a:pt x="105000" y="89323"/>
                        </a:cubicBezTo>
                        <a:cubicBezTo>
                          <a:pt x="104500" y="92030"/>
                          <a:pt x="104500" y="92030"/>
                          <a:pt x="104500" y="92030"/>
                        </a:cubicBezTo>
                        <a:cubicBezTo>
                          <a:pt x="104000" y="93834"/>
                          <a:pt x="104000" y="93834"/>
                          <a:pt x="104000" y="93834"/>
                        </a:cubicBezTo>
                        <a:cubicBezTo>
                          <a:pt x="104000" y="93834"/>
                          <a:pt x="103000" y="94736"/>
                          <a:pt x="103000" y="94736"/>
                        </a:cubicBezTo>
                        <a:cubicBezTo>
                          <a:pt x="102500" y="93834"/>
                          <a:pt x="102500" y="96541"/>
                          <a:pt x="102500" y="96541"/>
                        </a:cubicBezTo>
                        <a:cubicBezTo>
                          <a:pt x="101500" y="98345"/>
                          <a:pt x="101500" y="98345"/>
                          <a:pt x="101500" y="98345"/>
                        </a:cubicBezTo>
                        <a:cubicBezTo>
                          <a:pt x="101000" y="98345"/>
                          <a:pt x="101000" y="98345"/>
                          <a:pt x="101000" y="98345"/>
                        </a:cubicBezTo>
                        <a:cubicBezTo>
                          <a:pt x="100000" y="99248"/>
                          <a:pt x="100000" y="99248"/>
                          <a:pt x="100000" y="99248"/>
                        </a:cubicBezTo>
                        <a:cubicBezTo>
                          <a:pt x="100000" y="99248"/>
                          <a:pt x="99500" y="100150"/>
                          <a:pt x="99000" y="100150"/>
                        </a:cubicBezTo>
                        <a:cubicBezTo>
                          <a:pt x="99000" y="101052"/>
                          <a:pt x="98500" y="100150"/>
                          <a:pt x="98500" y="100150"/>
                        </a:cubicBezTo>
                        <a:cubicBezTo>
                          <a:pt x="98500" y="100150"/>
                          <a:pt x="97500" y="99248"/>
                          <a:pt x="97000" y="99248"/>
                        </a:cubicBezTo>
                        <a:cubicBezTo>
                          <a:pt x="97000" y="99248"/>
                          <a:pt x="97000" y="100150"/>
                          <a:pt x="96500" y="100150"/>
                        </a:cubicBezTo>
                        <a:cubicBezTo>
                          <a:pt x="96500" y="100150"/>
                          <a:pt x="96500" y="100150"/>
                          <a:pt x="96000" y="101052"/>
                        </a:cubicBezTo>
                        <a:cubicBezTo>
                          <a:pt x="96000" y="101052"/>
                          <a:pt x="95500" y="100150"/>
                          <a:pt x="95000" y="100150"/>
                        </a:cubicBezTo>
                        <a:cubicBezTo>
                          <a:pt x="94500" y="100150"/>
                          <a:pt x="94500" y="99248"/>
                          <a:pt x="94500" y="99248"/>
                        </a:cubicBezTo>
                        <a:cubicBezTo>
                          <a:pt x="94000" y="99248"/>
                          <a:pt x="93500" y="99248"/>
                          <a:pt x="93500" y="99248"/>
                        </a:cubicBezTo>
                        <a:cubicBezTo>
                          <a:pt x="93000" y="99248"/>
                          <a:pt x="92500" y="99248"/>
                          <a:pt x="92500" y="99248"/>
                        </a:cubicBezTo>
                        <a:cubicBezTo>
                          <a:pt x="92500" y="99248"/>
                          <a:pt x="92000" y="100150"/>
                          <a:pt x="92000" y="100150"/>
                        </a:cubicBezTo>
                        <a:cubicBezTo>
                          <a:pt x="91000" y="101052"/>
                          <a:pt x="91000" y="101052"/>
                          <a:pt x="91000" y="101052"/>
                        </a:cubicBezTo>
                        <a:cubicBezTo>
                          <a:pt x="91000" y="101052"/>
                          <a:pt x="91000" y="101954"/>
                          <a:pt x="91000" y="102857"/>
                        </a:cubicBezTo>
                        <a:cubicBezTo>
                          <a:pt x="91000" y="102857"/>
                          <a:pt x="91000" y="103759"/>
                          <a:pt x="90500" y="103759"/>
                        </a:cubicBezTo>
                        <a:cubicBezTo>
                          <a:pt x="90500" y="103759"/>
                          <a:pt x="90000" y="105563"/>
                          <a:pt x="90000" y="105563"/>
                        </a:cubicBezTo>
                        <a:cubicBezTo>
                          <a:pt x="90000" y="105563"/>
                          <a:pt x="90000" y="108270"/>
                          <a:pt x="89500" y="108270"/>
                        </a:cubicBezTo>
                        <a:cubicBezTo>
                          <a:pt x="89500" y="108270"/>
                          <a:pt x="89500" y="109172"/>
                          <a:pt x="89500" y="109172"/>
                        </a:cubicBezTo>
                        <a:cubicBezTo>
                          <a:pt x="89500" y="110977"/>
                          <a:pt x="89500" y="110977"/>
                          <a:pt x="89500" y="110977"/>
                        </a:cubicBezTo>
                        <a:cubicBezTo>
                          <a:pt x="89500" y="111879"/>
                          <a:pt x="89500" y="111879"/>
                          <a:pt x="89500" y="111879"/>
                        </a:cubicBezTo>
                        <a:cubicBezTo>
                          <a:pt x="88500" y="110977"/>
                          <a:pt x="88500" y="110977"/>
                          <a:pt x="88500" y="110977"/>
                        </a:cubicBezTo>
                        <a:cubicBezTo>
                          <a:pt x="87500" y="105563"/>
                          <a:pt x="87500" y="105563"/>
                          <a:pt x="87500" y="105563"/>
                        </a:cubicBezTo>
                        <a:cubicBezTo>
                          <a:pt x="87500" y="105563"/>
                          <a:pt x="86000" y="106466"/>
                          <a:pt x="84500" y="106466"/>
                        </a:cubicBezTo>
                        <a:cubicBezTo>
                          <a:pt x="83000" y="105563"/>
                          <a:pt x="82000" y="103759"/>
                          <a:pt x="81500" y="103759"/>
                        </a:cubicBezTo>
                        <a:cubicBezTo>
                          <a:pt x="81500" y="102857"/>
                          <a:pt x="79500" y="103759"/>
                          <a:pt x="79500" y="103759"/>
                        </a:cubicBezTo>
                        <a:cubicBezTo>
                          <a:pt x="79000" y="107368"/>
                          <a:pt x="79000" y="107368"/>
                          <a:pt x="79000" y="107368"/>
                        </a:cubicBezTo>
                        <a:cubicBezTo>
                          <a:pt x="73500" y="106466"/>
                          <a:pt x="73500" y="106466"/>
                          <a:pt x="73500" y="106466"/>
                        </a:cubicBezTo>
                        <a:cubicBezTo>
                          <a:pt x="71500" y="104661"/>
                          <a:pt x="71500" y="104661"/>
                          <a:pt x="71500" y="104661"/>
                        </a:cubicBezTo>
                        <a:cubicBezTo>
                          <a:pt x="68000" y="101954"/>
                          <a:pt x="68000" y="101954"/>
                          <a:pt x="68000" y="101954"/>
                        </a:cubicBezTo>
                        <a:cubicBezTo>
                          <a:pt x="67000" y="101052"/>
                          <a:pt x="67000" y="101052"/>
                          <a:pt x="67000" y="101052"/>
                        </a:cubicBezTo>
                        <a:cubicBezTo>
                          <a:pt x="67000" y="101052"/>
                          <a:pt x="65000" y="101052"/>
                          <a:pt x="64500" y="101052"/>
                        </a:cubicBezTo>
                        <a:cubicBezTo>
                          <a:pt x="64000" y="101052"/>
                          <a:pt x="62000" y="100150"/>
                          <a:pt x="62000" y="100150"/>
                        </a:cubicBezTo>
                        <a:cubicBezTo>
                          <a:pt x="62000" y="100150"/>
                          <a:pt x="60000" y="99248"/>
                          <a:pt x="59500" y="99248"/>
                        </a:cubicBezTo>
                        <a:cubicBezTo>
                          <a:pt x="59000" y="99248"/>
                          <a:pt x="58000" y="99248"/>
                          <a:pt x="58000" y="99248"/>
                        </a:cubicBezTo>
                        <a:cubicBezTo>
                          <a:pt x="55500" y="98345"/>
                          <a:pt x="55500" y="98345"/>
                          <a:pt x="55500" y="98345"/>
                        </a:cubicBezTo>
                        <a:cubicBezTo>
                          <a:pt x="55500" y="98345"/>
                          <a:pt x="54000" y="96541"/>
                          <a:pt x="53000" y="97443"/>
                        </a:cubicBezTo>
                        <a:cubicBezTo>
                          <a:pt x="52500" y="97443"/>
                          <a:pt x="53000" y="100150"/>
                          <a:pt x="53000" y="100150"/>
                        </a:cubicBezTo>
                        <a:cubicBezTo>
                          <a:pt x="53000" y="100150"/>
                          <a:pt x="52500" y="104661"/>
                          <a:pt x="53000" y="105563"/>
                        </a:cubicBezTo>
                        <a:cubicBezTo>
                          <a:pt x="53000" y="107368"/>
                          <a:pt x="52000" y="109172"/>
                          <a:pt x="52000" y="109172"/>
                        </a:cubicBezTo>
                        <a:cubicBezTo>
                          <a:pt x="50500" y="110075"/>
                          <a:pt x="50500" y="110075"/>
                          <a:pt x="50500" y="110075"/>
                        </a:cubicBezTo>
                        <a:cubicBezTo>
                          <a:pt x="50500" y="110075"/>
                          <a:pt x="49500" y="112781"/>
                          <a:pt x="49000" y="112781"/>
                        </a:cubicBezTo>
                        <a:cubicBezTo>
                          <a:pt x="48500" y="112781"/>
                          <a:pt x="48500" y="118195"/>
                          <a:pt x="48500" y="118195"/>
                        </a:cubicBezTo>
                        <a:cubicBezTo>
                          <a:pt x="46500" y="119097"/>
                          <a:pt x="46500" y="119097"/>
                          <a:pt x="46500" y="119097"/>
                        </a:cubicBezTo>
                        <a:cubicBezTo>
                          <a:pt x="44500" y="116390"/>
                          <a:pt x="44500" y="116390"/>
                          <a:pt x="44500" y="116390"/>
                        </a:cubicBezTo>
                        <a:cubicBezTo>
                          <a:pt x="43000" y="118195"/>
                          <a:pt x="43000" y="118195"/>
                          <a:pt x="43000" y="118195"/>
                        </a:cubicBezTo>
                        <a:cubicBezTo>
                          <a:pt x="42500" y="120000"/>
                          <a:pt x="42500" y="120000"/>
                          <a:pt x="42500" y="120000"/>
                        </a:cubicBezTo>
                        <a:cubicBezTo>
                          <a:pt x="42500" y="120000"/>
                          <a:pt x="40000" y="119097"/>
                          <a:pt x="40000" y="119097"/>
                        </a:cubicBezTo>
                        <a:cubicBezTo>
                          <a:pt x="39500" y="119097"/>
                          <a:pt x="37000" y="118195"/>
                          <a:pt x="37000" y="118195"/>
                        </a:cubicBezTo>
                        <a:cubicBezTo>
                          <a:pt x="37000" y="118195"/>
                          <a:pt x="35500" y="115488"/>
                          <a:pt x="35000" y="114586"/>
                        </a:cubicBezTo>
                        <a:cubicBezTo>
                          <a:pt x="34500" y="113684"/>
                          <a:pt x="32500" y="111879"/>
                          <a:pt x="32000" y="110977"/>
                        </a:cubicBezTo>
                        <a:cubicBezTo>
                          <a:pt x="31500" y="110977"/>
                          <a:pt x="31500" y="110075"/>
                          <a:pt x="31500" y="110075"/>
                        </a:cubicBezTo>
                        <a:cubicBezTo>
                          <a:pt x="30500" y="108270"/>
                          <a:pt x="31000" y="108270"/>
                          <a:pt x="30000" y="107368"/>
                        </a:cubicBezTo>
                        <a:cubicBezTo>
                          <a:pt x="29000" y="106466"/>
                          <a:pt x="28000" y="106466"/>
                          <a:pt x="28000" y="105563"/>
                        </a:cubicBezTo>
                        <a:cubicBezTo>
                          <a:pt x="28000" y="104661"/>
                          <a:pt x="28500" y="102857"/>
                          <a:pt x="27500" y="102857"/>
                        </a:cubicBezTo>
                        <a:cubicBezTo>
                          <a:pt x="26000" y="103759"/>
                          <a:pt x="25500" y="104661"/>
                          <a:pt x="25000" y="103759"/>
                        </a:cubicBezTo>
                        <a:cubicBezTo>
                          <a:pt x="24000" y="101954"/>
                          <a:pt x="24000" y="101954"/>
                          <a:pt x="23500" y="100150"/>
                        </a:cubicBezTo>
                        <a:cubicBezTo>
                          <a:pt x="23500" y="98345"/>
                          <a:pt x="23500" y="96541"/>
                          <a:pt x="22500" y="96541"/>
                        </a:cubicBezTo>
                        <a:cubicBezTo>
                          <a:pt x="21500" y="96541"/>
                          <a:pt x="21000" y="95639"/>
                          <a:pt x="21000" y="95639"/>
                        </a:cubicBezTo>
                        <a:cubicBezTo>
                          <a:pt x="21000" y="95639"/>
                          <a:pt x="20500" y="96541"/>
                          <a:pt x="20000" y="94736"/>
                        </a:cubicBezTo>
                        <a:cubicBezTo>
                          <a:pt x="19500" y="92030"/>
                          <a:pt x="21000" y="93834"/>
                          <a:pt x="19500" y="90225"/>
                        </a:cubicBezTo>
                        <a:cubicBezTo>
                          <a:pt x="17500" y="87518"/>
                          <a:pt x="18000" y="88421"/>
                          <a:pt x="17000" y="86616"/>
                        </a:cubicBezTo>
                        <a:cubicBezTo>
                          <a:pt x="16000" y="84812"/>
                          <a:pt x="13000" y="86616"/>
                          <a:pt x="13000" y="86616"/>
                        </a:cubicBezTo>
                        <a:cubicBezTo>
                          <a:pt x="13000" y="86616"/>
                          <a:pt x="13000" y="85714"/>
                          <a:pt x="12000" y="83909"/>
                        </a:cubicBezTo>
                        <a:cubicBezTo>
                          <a:pt x="11000" y="82105"/>
                          <a:pt x="11500" y="83007"/>
                          <a:pt x="10500" y="81203"/>
                        </a:cubicBezTo>
                        <a:cubicBezTo>
                          <a:pt x="9500" y="78496"/>
                          <a:pt x="9500" y="79398"/>
                          <a:pt x="9500" y="76691"/>
                        </a:cubicBezTo>
                        <a:cubicBezTo>
                          <a:pt x="9000" y="73984"/>
                          <a:pt x="9500" y="73082"/>
                          <a:pt x="8500" y="71278"/>
                        </a:cubicBezTo>
                        <a:cubicBezTo>
                          <a:pt x="7500" y="69473"/>
                          <a:pt x="7000" y="67669"/>
                          <a:pt x="7000" y="67669"/>
                        </a:cubicBezTo>
                        <a:cubicBezTo>
                          <a:pt x="7000" y="67669"/>
                          <a:pt x="6000" y="65864"/>
                          <a:pt x="7000" y="63157"/>
                        </a:cubicBezTo>
                        <a:cubicBezTo>
                          <a:pt x="8000" y="61353"/>
                          <a:pt x="8000" y="61353"/>
                          <a:pt x="8000" y="59548"/>
                        </a:cubicBezTo>
                        <a:cubicBezTo>
                          <a:pt x="8000" y="58646"/>
                          <a:pt x="8500" y="56842"/>
                          <a:pt x="7000" y="55037"/>
                        </a:cubicBezTo>
                        <a:cubicBezTo>
                          <a:pt x="5500" y="53233"/>
                          <a:pt x="5500" y="53233"/>
                          <a:pt x="4000" y="51428"/>
                        </a:cubicBezTo>
                        <a:cubicBezTo>
                          <a:pt x="3000" y="50526"/>
                          <a:pt x="2500" y="50526"/>
                          <a:pt x="2000" y="49624"/>
                        </a:cubicBezTo>
                        <a:cubicBezTo>
                          <a:pt x="1500" y="48721"/>
                          <a:pt x="500" y="42406"/>
                          <a:pt x="500" y="42406"/>
                        </a:cubicBezTo>
                        <a:cubicBezTo>
                          <a:pt x="0" y="39699"/>
                          <a:pt x="0" y="39699"/>
                          <a:pt x="0" y="39699"/>
                        </a:cubicBezTo>
                        <a:cubicBezTo>
                          <a:pt x="2500" y="39699"/>
                          <a:pt x="2500" y="39699"/>
                          <a:pt x="2500" y="39699"/>
                        </a:cubicBezTo>
                        <a:cubicBezTo>
                          <a:pt x="3000" y="43308"/>
                          <a:pt x="3000" y="43308"/>
                          <a:pt x="3000" y="43308"/>
                        </a:cubicBezTo>
                        <a:cubicBezTo>
                          <a:pt x="3500" y="46015"/>
                          <a:pt x="3500" y="46015"/>
                          <a:pt x="3500" y="46015"/>
                        </a:cubicBezTo>
                        <a:cubicBezTo>
                          <a:pt x="5000" y="40601"/>
                          <a:pt x="5000" y="40601"/>
                          <a:pt x="5000" y="40601"/>
                        </a:cubicBezTo>
                        <a:cubicBezTo>
                          <a:pt x="7000" y="36090"/>
                          <a:pt x="7000" y="36090"/>
                          <a:pt x="7000" y="36090"/>
                        </a:cubicBezTo>
                        <a:cubicBezTo>
                          <a:pt x="7000" y="36090"/>
                          <a:pt x="7000" y="36090"/>
                          <a:pt x="8500" y="36090"/>
                        </a:cubicBezTo>
                        <a:cubicBezTo>
                          <a:pt x="9500" y="36090"/>
                          <a:pt x="11000" y="34285"/>
                          <a:pt x="11500" y="34285"/>
                        </a:cubicBezTo>
                        <a:cubicBezTo>
                          <a:pt x="12500" y="34285"/>
                          <a:pt x="14000" y="35187"/>
                          <a:pt x="14500" y="35187"/>
                        </a:cubicBezTo>
                        <a:cubicBezTo>
                          <a:pt x="15500" y="34285"/>
                          <a:pt x="16000" y="34285"/>
                          <a:pt x="16000" y="32481"/>
                        </a:cubicBezTo>
                        <a:cubicBezTo>
                          <a:pt x="16500" y="31578"/>
                          <a:pt x="15500" y="29774"/>
                          <a:pt x="17500" y="28872"/>
                        </a:cubicBezTo>
                        <a:cubicBezTo>
                          <a:pt x="19000" y="27067"/>
                          <a:pt x="19500" y="27067"/>
                          <a:pt x="19500" y="27067"/>
                        </a:cubicBezTo>
                        <a:lnTo>
                          <a:pt x="21500" y="2436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9" name="Shape 2036"/>
                  <p:cNvSpPr/>
                  <p:nvPr/>
                </p:nvSpPr>
                <p:spPr>
                  <a:xfrm>
                    <a:off x="5769180" y="1991757"/>
                    <a:ext cx="413385" cy="308971"/>
                  </a:xfrm>
                  <a:custGeom>
                    <a:avLst/>
                    <a:gdLst/>
                    <a:ahLst/>
                    <a:cxnLst/>
                    <a:rect l="0" t="0" r="0" b="0"/>
                    <a:pathLst>
                      <a:path w="120000" h="120000" extrusionOk="0">
                        <a:moveTo>
                          <a:pt x="11933" y="22285"/>
                        </a:moveTo>
                        <a:cubicBezTo>
                          <a:pt x="15911" y="18857"/>
                          <a:pt x="15911" y="18857"/>
                          <a:pt x="15911" y="18857"/>
                        </a:cubicBezTo>
                        <a:cubicBezTo>
                          <a:pt x="17900" y="16285"/>
                          <a:pt x="17900" y="16285"/>
                          <a:pt x="17900" y="16285"/>
                        </a:cubicBezTo>
                        <a:cubicBezTo>
                          <a:pt x="22541" y="17142"/>
                          <a:pt x="22541" y="17142"/>
                          <a:pt x="22541" y="17142"/>
                        </a:cubicBezTo>
                        <a:cubicBezTo>
                          <a:pt x="22541" y="17142"/>
                          <a:pt x="25856" y="15428"/>
                          <a:pt x="26519" y="15428"/>
                        </a:cubicBezTo>
                        <a:cubicBezTo>
                          <a:pt x="27182" y="15428"/>
                          <a:pt x="31823" y="14571"/>
                          <a:pt x="31823" y="14571"/>
                        </a:cubicBezTo>
                        <a:cubicBezTo>
                          <a:pt x="34475" y="12000"/>
                          <a:pt x="34475" y="12000"/>
                          <a:pt x="34475" y="12000"/>
                        </a:cubicBezTo>
                        <a:cubicBezTo>
                          <a:pt x="34475" y="12000"/>
                          <a:pt x="36464" y="12857"/>
                          <a:pt x="36464" y="13714"/>
                        </a:cubicBezTo>
                        <a:cubicBezTo>
                          <a:pt x="37127" y="14571"/>
                          <a:pt x="39116" y="17142"/>
                          <a:pt x="39779" y="17142"/>
                        </a:cubicBezTo>
                        <a:cubicBezTo>
                          <a:pt x="40441" y="16285"/>
                          <a:pt x="41104" y="12857"/>
                          <a:pt x="41104" y="12857"/>
                        </a:cubicBezTo>
                        <a:cubicBezTo>
                          <a:pt x="45082" y="12000"/>
                          <a:pt x="45082" y="12000"/>
                          <a:pt x="45082" y="12000"/>
                        </a:cubicBezTo>
                        <a:cubicBezTo>
                          <a:pt x="48397" y="11142"/>
                          <a:pt x="48397" y="11142"/>
                          <a:pt x="48397" y="11142"/>
                        </a:cubicBezTo>
                        <a:cubicBezTo>
                          <a:pt x="48397" y="11142"/>
                          <a:pt x="48397" y="10285"/>
                          <a:pt x="49060" y="10285"/>
                        </a:cubicBezTo>
                        <a:cubicBezTo>
                          <a:pt x="49723" y="11142"/>
                          <a:pt x="53701" y="11142"/>
                          <a:pt x="53701" y="11142"/>
                        </a:cubicBezTo>
                        <a:cubicBezTo>
                          <a:pt x="57679" y="11142"/>
                          <a:pt x="57679" y="11142"/>
                          <a:pt x="57679" y="11142"/>
                        </a:cubicBezTo>
                        <a:cubicBezTo>
                          <a:pt x="57679" y="11142"/>
                          <a:pt x="60331" y="12857"/>
                          <a:pt x="60994" y="12857"/>
                        </a:cubicBezTo>
                        <a:cubicBezTo>
                          <a:pt x="60994" y="12000"/>
                          <a:pt x="62983" y="8571"/>
                          <a:pt x="62983" y="8571"/>
                        </a:cubicBezTo>
                        <a:cubicBezTo>
                          <a:pt x="66961" y="10285"/>
                          <a:pt x="66961" y="10285"/>
                          <a:pt x="66961" y="10285"/>
                        </a:cubicBezTo>
                        <a:cubicBezTo>
                          <a:pt x="67624" y="6857"/>
                          <a:pt x="67624" y="6857"/>
                          <a:pt x="67624" y="6857"/>
                        </a:cubicBezTo>
                        <a:cubicBezTo>
                          <a:pt x="67624" y="6857"/>
                          <a:pt x="69613" y="2571"/>
                          <a:pt x="69613" y="2571"/>
                        </a:cubicBezTo>
                        <a:cubicBezTo>
                          <a:pt x="70276" y="2571"/>
                          <a:pt x="72928" y="0"/>
                          <a:pt x="72928" y="0"/>
                        </a:cubicBezTo>
                        <a:cubicBezTo>
                          <a:pt x="74254" y="5142"/>
                          <a:pt x="74254" y="5142"/>
                          <a:pt x="74254" y="5142"/>
                        </a:cubicBezTo>
                        <a:cubicBezTo>
                          <a:pt x="76906" y="7714"/>
                          <a:pt x="76906" y="7714"/>
                          <a:pt x="76906" y="7714"/>
                        </a:cubicBezTo>
                        <a:cubicBezTo>
                          <a:pt x="77569" y="8571"/>
                          <a:pt x="77569" y="8571"/>
                          <a:pt x="77569" y="8571"/>
                        </a:cubicBezTo>
                        <a:cubicBezTo>
                          <a:pt x="80220" y="11142"/>
                          <a:pt x="80220" y="11142"/>
                          <a:pt x="80220" y="11142"/>
                        </a:cubicBezTo>
                        <a:cubicBezTo>
                          <a:pt x="84861" y="9428"/>
                          <a:pt x="84861" y="9428"/>
                          <a:pt x="84861" y="9428"/>
                        </a:cubicBezTo>
                        <a:cubicBezTo>
                          <a:pt x="87513" y="8571"/>
                          <a:pt x="87513" y="8571"/>
                          <a:pt x="87513" y="8571"/>
                        </a:cubicBezTo>
                        <a:cubicBezTo>
                          <a:pt x="89502" y="8571"/>
                          <a:pt x="89502" y="8571"/>
                          <a:pt x="89502" y="8571"/>
                        </a:cubicBezTo>
                        <a:cubicBezTo>
                          <a:pt x="90165" y="10285"/>
                          <a:pt x="90165" y="10285"/>
                          <a:pt x="90165" y="10285"/>
                        </a:cubicBezTo>
                        <a:cubicBezTo>
                          <a:pt x="92154" y="12000"/>
                          <a:pt x="92154" y="12000"/>
                          <a:pt x="92154" y="12000"/>
                        </a:cubicBezTo>
                        <a:cubicBezTo>
                          <a:pt x="95469" y="12000"/>
                          <a:pt x="95469" y="12000"/>
                          <a:pt x="95469" y="12000"/>
                        </a:cubicBezTo>
                        <a:cubicBezTo>
                          <a:pt x="96795" y="14571"/>
                          <a:pt x="96795" y="14571"/>
                          <a:pt x="96795" y="14571"/>
                        </a:cubicBezTo>
                        <a:cubicBezTo>
                          <a:pt x="99447" y="15428"/>
                          <a:pt x="99447" y="15428"/>
                          <a:pt x="99447" y="15428"/>
                        </a:cubicBezTo>
                        <a:cubicBezTo>
                          <a:pt x="101436" y="18857"/>
                          <a:pt x="101436" y="18857"/>
                          <a:pt x="101436" y="18857"/>
                        </a:cubicBezTo>
                        <a:cubicBezTo>
                          <a:pt x="103425" y="19714"/>
                          <a:pt x="103425" y="19714"/>
                          <a:pt x="103425" y="19714"/>
                        </a:cubicBezTo>
                        <a:cubicBezTo>
                          <a:pt x="104751" y="23142"/>
                          <a:pt x="104751" y="23142"/>
                          <a:pt x="104751" y="23142"/>
                        </a:cubicBezTo>
                        <a:cubicBezTo>
                          <a:pt x="107403" y="23142"/>
                          <a:pt x="107403" y="23142"/>
                          <a:pt x="107403" y="23142"/>
                        </a:cubicBezTo>
                        <a:cubicBezTo>
                          <a:pt x="110718" y="24000"/>
                          <a:pt x="110718" y="24000"/>
                          <a:pt x="110718" y="24000"/>
                        </a:cubicBezTo>
                        <a:cubicBezTo>
                          <a:pt x="112707" y="24000"/>
                          <a:pt x="112707" y="24000"/>
                          <a:pt x="112707" y="24000"/>
                        </a:cubicBezTo>
                        <a:cubicBezTo>
                          <a:pt x="112707" y="24000"/>
                          <a:pt x="112707" y="24000"/>
                          <a:pt x="112707" y="24000"/>
                        </a:cubicBezTo>
                        <a:cubicBezTo>
                          <a:pt x="113370" y="24000"/>
                          <a:pt x="113370" y="24000"/>
                          <a:pt x="113370" y="24000"/>
                        </a:cubicBezTo>
                        <a:cubicBezTo>
                          <a:pt x="114033" y="31714"/>
                          <a:pt x="114033" y="31714"/>
                          <a:pt x="114033" y="31714"/>
                        </a:cubicBezTo>
                        <a:cubicBezTo>
                          <a:pt x="112707" y="36000"/>
                          <a:pt x="112707" y="36000"/>
                          <a:pt x="112707" y="36000"/>
                        </a:cubicBezTo>
                        <a:cubicBezTo>
                          <a:pt x="112707" y="40285"/>
                          <a:pt x="112707" y="40285"/>
                          <a:pt x="112707" y="40285"/>
                        </a:cubicBezTo>
                        <a:cubicBezTo>
                          <a:pt x="114696" y="41142"/>
                          <a:pt x="114696" y="41142"/>
                          <a:pt x="114696" y="41142"/>
                        </a:cubicBezTo>
                        <a:cubicBezTo>
                          <a:pt x="119337" y="40285"/>
                          <a:pt x="119337" y="40285"/>
                          <a:pt x="119337" y="40285"/>
                        </a:cubicBezTo>
                        <a:cubicBezTo>
                          <a:pt x="120000" y="43714"/>
                          <a:pt x="120000" y="43714"/>
                          <a:pt x="120000" y="43714"/>
                        </a:cubicBezTo>
                        <a:cubicBezTo>
                          <a:pt x="117348" y="45428"/>
                          <a:pt x="117348" y="45428"/>
                          <a:pt x="117348" y="45428"/>
                        </a:cubicBezTo>
                        <a:cubicBezTo>
                          <a:pt x="118011" y="49714"/>
                          <a:pt x="118011" y="49714"/>
                          <a:pt x="118011" y="49714"/>
                        </a:cubicBezTo>
                        <a:cubicBezTo>
                          <a:pt x="112707" y="48857"/>
                          <a:pt x="112707" y="48857"/>
                          <a:pt x="112707" y="48857"/>
                        </a:cubicBezTo>
                        <a:cubicBezTo>
                          <a:pt x="110718" y="51428"/>
                          <a:pt x="110718" y="51428"/>
                          <a:pt x="110718" y="51428"/>
                        </a:cubicBezTo>
                        <a:cubicBezTo>
                          <a:pt x="110718" y="57428"/>
                          <a:pt x="110718" y="57428"/>
                          <a:pt x="110718" y="57428"/>
                        </a:cubicBezTo>
                        <a:cubicBezTo>
                          <a:pt x="105414" y="60000"/>
                          <a:pt x="105414" y="60000"/>
                          <a:pt x="105414" y="60000"/>
                        </a:cubicBezTo>
                        <a:cubicBezTo>
                          <a:pt x="104088" y="63428"/>
                          <a:pt x="104088" y="63428"/>
                          <a:pt x="104088" y="63428"/>
                        </a:cubicBezTo>
                        <a:cubicBezTo>
                          <a:pt x="104088" y="66857"/>
                          <a:pt x="104088" y="66857"/>
                          <a:pt x="104088" y="66857"/>
                        </a:cubicBezTo>
                        <a:cubicBezTo>
                          <a:pt x="103425" y="70285"/>
                          <a:pt x="103425" y="70285"/>
                          <a:pt x="103425" y="70285"/>
                        </a:cubicBezTo>
                        <a:cubicBezTo>
                          <a:pt x="104088" y="76285"/>
                          <a:pt x="104088" y="76285"/>
                          <a:pt x="104088" y="76285"/>
                        </a:cubicBezTo>
                        <a:cubicBezTo>
                          <a:pt x="104751" y="81428"/>
                          <a:pt x="104751" y="81428"/>
                          <a:pt x="104751" y="81428"/>
                        </a:cubicBezTo>
                        <a:cubicBezTo>
                          <a:pt x="104751" y="81428"/>
                          <a:pt x="103425" y="85714"/>
                          <a:pt x="102762" y="88285"/>
                        </a:cubicBezTo>
                        <a:cubicBezTo>
                          <a:pt x="102762" y="90000"/>
                          <a:pt x="104088" y="89142"/>
                          <a:pt x="104088" y="89142"/>
                        </a:cubicBezTo>
                        <a:cubicBezTo>
                          <a:pt x="107403" y="90857"/>
                          <a:pt x="107403" y="90857"/>
                          <a:pt x="107403" y="90857"/>
                        </a:cubicBezTo>
                        <a:cubicBezTo>
                          <a:pt x="108729" y="91714"/>
                          <a:pt x="108729" y="91714"/>
                          <a:pt x="108729" y="91714"/>
                        </a:cubicBezTo>
                        <a:cubicBezTo>
                          <a:pt x="107403" y="96857"/>
                          <a:pt x="107403" y="96857"/>
                          <a:pt x="107403" y="96857"/>
                        </a:cubicBezTo>
                        <a:cubicBezTo>
                          <a:pt x="104088" y="97714"/>
                          <a:pt x="104088" y="97714"/>
                          <a:pt x="104088" y="97714"/>
                        </a:cubicBezTo>
                        <a:cubicBezTo>
                          <a:pt x="104751" y="94285"/>
                          <a:pt x="104751" y="94285"/>
                          <a:pt x="104751" y="94285"/>
                        </a:cubicBezTo>
                        <a:cubicBezTo>
                          <a:pt x="103425" y="92571"/>
                          <a:pt x="103425" y="92571"/>
                          <a:pt x="103425" y="92571"/>
                        </a:cubicBezTo>
                        <a:cubicBezTo>
                          <a:pt x="101436" y="95142"/>
                          <a:pt x="101436" y="95142"/>
                          <a:pt x="101436" y="95142"/>
                        </a:cubicBezTo>
                        <a:cubicBezTo>
                          <a:pt x="96795" y="96857"/>
                          <a:pt x="96795" y="96857"/>
                          <a:pt x="96795" y="96857"/>
                        </a:cubicBezTo>
                        <a:cubicBezTo>
                          <a:pt x="96795" y="98571"/>
                          <a:pt x="96795" y="98571"/>
                          <a:pt x="96795" y="98571"/>
                        </a:cubicBezTo>
                        <a:cubicBezTo>
                          <a:pt x="95469" y="102000"/>
                          <a:pt x="95469" y="102000"/>
                          <a:pt x="95469" y="102000"/>
                        </a:cubicBezTo>
                        <a:cubicBezTo>
                          <a:pt x="95469" y="102000"/>
                          <a:pt x="92817" y="102000"/>
                          <a:pt x="91491" y="102000"/>
                        </a:cubicBezTo>
                        <a:cubicBezTo>
                          <a:pt x="90828" y="101142"/>
                          <a:pt x="90165" y="103714"/>
                          <a:pt x="90165" y="103714"/>
                        </a:cubicBezTo>
                        <a:cubicBezTo>
                          <a:pt x="91491" y="109714"/>
                          <a:pt x="91491" y="109714"/>
                          <a:pt x="91491" y="109714"/>
                        </a:cubicBezTo>
                        <a:cubicBezTo>
                          <a:pt x="88176" y="109714"/>
                          <a:pt x="88176" y="109714"/>
                          <a:pt x="88176" y="109714"/>
                        </a:cubicBezTo>
                        <a:cubicBezTo>
                          <a:pt x="85524" y="114000"/>
                          <a:pt x="85524" y="114000"/>
                          <a:pt x="85524" y="114000"/>
                        </a:cubicBezTo>
                        <a:cubicBezTo>
                          <a:pt x="80883" y="114857"/>
                          <a:pt x="80883" y="114857"/>
                          <a:pt x="80883" y="114857"/>
                        </a:cubicBezTo>
                        <a:cubicBezTo>
                          <a:pt x="76906" y="114000"/>
                          <a:pt x="76906" y="114000"/>
                          <a:pt x="76906" y="114000"/>
                        </a:cubicBezTo>
                        <a:cubicBezTo>
                          <a:pt x="70276" y="117428"/>
                          <a:pt x="70276" y="117428"/>
                          <a:pt x="70276" y="117428"/>
                        </a:cubicBezTo>
                        <a:cubicBezTo>
                          <a:pt x="64309" y="119142"/>
                          <a:pt x="64309" y="119142"/>
                          <a:pt x="64309" y="119142"/>
                        </a:cubicBezTo>
                        <a:cubicBezTo>
                          <a:pt x="64309" y="120000"/>
                          <a:pt x="64309" y="120000"/>
                          <a:pt x="64309" y="120000"/>
                        </a:cubicBezTo>
                        <a:cubicBezTo>
                          <a:pt x="63646" y="114857"/>
                          <a:pt x="63646" y="114857"/>
                          <a:pt x="63646" y="114857"/>
                        </a:cubicBezTo>
                        <a:cubicBezTo>
                          <a:pt x="61657" y="112285"/>
                          <a:pt x="61657" y="112285"/>
                          <a:pt x="61657" y="112285"/>
                        </a:cubicBezTo>
                        <a:cubicBezTo>
                          <a:pt x="61657" y="112285"/>
                          <a:pt x="59668" y="107142"/>
                          <a:pt x="59668" y="106285"/>
                        </a:cubicBezTo>
                        <a:cubicBezTo>
                          <a:pt x="59668" y="106285"/>
                          <a:pt x="52375" y="106285"/>
                          <a:pt x="52375" y="106285"/>
                        </a:cubicBezTo>
                        <a:cubicBezTo>
                          <a:pt x="52375" y="106285"/>
                          <a:pt x="51049" y="103714"/>
                          <a:pt x="50386" y="102000"/>
                        </a:cubicBezTo>
                        <a:cubicBezTo>
                          <a:pt x="50386" y="101142"/>
                          <a:pt x="48397" y="103714"/>
                          <a:pt x="48397" y="103714"/>
                        </a:cubicBezTo>
                        <a:cubicBezTo>
                          <a:pt x="45745" y="104571"/>
                          <a:pt x="45745" y="104571"/>
                          <a:pt x="45745" y="104571"/>
                        </a:cubicBezTo>
                        <a:cubicBezTo>
                          <a:pt x="45745" y="103714"/>
                          <a:pt x="45745" y="103714"/>
                          <a:pt x="45745" y="103714"/>
                        </a:cubicBezTo>
                        <a:cubicBezTo>
                          <a:pt x="43756" y="100285"/>
                          <a:pt x="43756" y="100285"/>
                          <a:pt x="43756" y="100285"/>
                        </a:cubicBezTo>
                        <a:cubicBezTo>
                          <a:pt x="43756" y="91714"/>
                          <a:pt x="43756" y="91714"/>
                          <a:pt x="43756" y="91714"/>
                        </a:cubicBezTo>
                        <a:cubicBezTo>
                          <a:pt x="43756" y="89142"/>
                          <a:pt x="43756" y="89142"/>
                          <a:pt x="43756" y="89142"/>
                        </a:cubicBezTo>
                        <a:cubicBezTo>
                          <a:pt x="45082" y="83142"/>
                          <a:pt x="45082" y="83142"/>
                          <a:pt x="45082" y="83142"/>
                        </a:cubicBezTo>
                        <a:cubicBezTo>
                          <a:pt x="45082" y="83142"/>
                          <a:pt x="43756" y="82285"/>
                          <a:pt x="43093" y="80571"/>
                        </a:cubicBezTo>
                        <a:cubicBezTo>
                          <a:pt x="41767" y="78857"/>
                          <a:pt x="40441" y="77142"/>
                          <a:pt x="40441" y="77142"/>
                        </a:cubicBezTo>
                        <a:cubicBezTo>
                          <a:pt x="39116" y="77142"/>
                          <a:pt x="39116" y="77142"/>
                          <a:pt x="39116" y="77142"/>
                        </a:cubicBezTo>
                        <a:cubicBezTo>
                          <a:pt x="37127" y="73714"/>
                          <a:pt x="37127" y="73714"/>
                          <a:pt x="37127" y="73714"/>
                        </a:cubicBezTo>
                        <a:cubicBezTo>
                          <a:pt x="32486" y="75428"/>
                          <a:pt x="32486" y="75428"/>
                          <a:pt x="32486" y="75428"/>
                        </a:cubicBezTo>
                        <a:cubicBezTo>
                          <a:pt x="29834" y="76285"/>
                          <a:pt x="29834" y="76285"/>
                          <a:pt x="29834" y="76285"/>
                        </a:cubicBezTo>
                        <a:cubicBezTo>
                          <a:pt x="28508" y="78000"/>
                          <a:pt x="28508" y="78000"/>
                          <a:pt x="28508" y="78000"/>
                        </a:cubicBezTo>
                        <a:cubicBezTo>
                          <a:pt x="20552" y="77142"/>
                          <a:pt x="20552" y="77142"/>
                          <a:pt x="20552" y="77142"/>
                        </a:cubicBezTo>
                        <a:cubicBezTo>
                          <a:pt x="16574" y="74571"/>
                          <a:pt x="16574" y="74571"/>
                          <a:pt x="16574" y="74571"/>
                        </a:cubicBezTo>
                        <a:cubicBezTo>
                          <a:pt x="14585" y="73714"/>
                          <a:pt x="14585" y="73714"/>
                          <a:pt x="14585" y="73714"/>
                        </a:cubicBezTo>
                        <a:cubicBezTo>
                          <a:pt x="11933" y="71142"/>
                          <a:pt x="11933" y="71142"/>
                          <a:pt x="11933" y="71142"/>
                        </a:cubicBezTo>
                        <a:cubicBezTo>
                          <a:pt x="8618" y="67714"/>
                          <a:pt x="8618" y="67714"/>
                          <a:pt x="8618" y="67714"/>
                        </a:cubicBezTo>
                        <a:cubicBezTo>
                          <a:pt x="7955" y="62571"/>
                          <a:pt x="7955" y="62571"/>
                          <a:pt x="7955" y="62571"/>
                        </a:cubicBezTo>
                        <a:cubicBezTo>
                          <a:pt x="7292" y="59142"/>
                          <a:pt x="7292" y="59142"/>
                          <a:pt x="7292" y="59142"/>
                        </a:cubicBezTo>
                        <a:cubicBezTo>
                          <a:pt x="3977" y="54857"/>
                          <a:pt x="3977" y="54857"/>
                          <a:pt x="3977" y="54857"/>
                        </a:cubicBezTo>
                        <a:cubicBezTo>
                          <a:pt x="2651" y="51428"/>
                          <a:pt x="2651" y="51428"/>
                          <a:pt x="2651" y="51428"/>
                        </a:cubicBezTo>
                        <a:cubicBezTo>
                          <a:pt x="2651" y="46285"/>
                          <a:pt x="2651" y="46285"/>
                          <a:pt x="2651" y="46285"/>
                        </a:cubicBezTo>
                        <a:cubicBezTo>
                          <a:pt x="662" y="42000"/>
                          <a:pt x="662" y="42000"/>
                          <a:pt x="662" y="42000"/>
                        </a:cubicBezTo>
                        <a:cubicBezTo>
                          <a:pt x="1325" y="37714"/>
                          <a:pt x="1325" y="37714"/>
                          <a:pt x="1325" y="37714"/>
                        </a:cubicBezTo>
                        <a:cubicBezTo>
                          <a:pt x="1325" y="37714"/>
                          <a:pt x="0" y="36857"/>
                          <a:pt x="662" y="36000"/>
                        </a:cubicBezTo>
                        <a:cubicBezTo>
                          <a:pt x="1988" y="36000"/>
                          <a:pt x="3977" y="35142"/>
                          <a:pt x="3977" y="35142"/>
                        </a:cubicBezTo>
                        <a:cubicBezTo>
                          <a:pt x="4640" y="30000"/>
                          <a:pt x="4640" y="30000"/>
                          <a:pt x="4640" y="30000"/>
                        </a:cubicBezTo>
                        <a:cubicBezTo>
                          <a:pt x="5303" y="28285"/>
                          <a:pt x="5303" y="28285"/>
                          <a:pt x="5303" y="28285"/>
                        </a:cubicBezTo>
                        <a:cubicBezTo>
                          <a:pt x="7955" y="26571"/>
                          <a:pt x="7955" y="26571"/>
                          <a:pt x="7955" y="26571"/>
                        </a:cubicBezTo>
                        <a:cubicBezTo>
                          <a:pt x="9281" y="22285"/>
                          <a:pt x="9281" y="22285"/>
                          <a:pt x="9281" y="22285"/>
                        </a:cubicBezTo>
                        <a:lnTo>
                          <a:pt x="11933" y="22285"/>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0" name="Shape 2037"/>
                  <p:cNvSpPr/>
                  <p:nvPr/>
                </p:nvSpPr>
                <p:spPr>
                  <a:xfrm>
                    <a:off x="5766982" y="1595421"/>
                    <a:ext cx="401291" cy="265289"/>
                  </a:xfrm>
                  <a:custGeom>
                    <a:avLst/>
                    <a:gdLst/>
                    <a:ahLst/>
                    <a:cxnLst/>
                    <a:rect l="0" t="0" r="0" b="0"/>
                    <a:pathLst>
                      <a:path w="120000" h="120000" extrusionOk="0">
                        <a:moveTo>
                          <a:pt x="26590" y="52000"/>
                        </a:moveTo>
                        <a:cubicBezTo>
                          <a:pt x="27272" y="50000"/>
                          <a:pt x="27272" y="50000"/>
                          <a:pt x="27272" y="50000"/>
                        </a:cubicBezTo>
                        <a:cubicBezTo>
                          <a:pt x="27954" y="48000"/>
                          <a:pt x="27954" y="48000"/>
                          <a:pt x="27954" y="48000"/>
                        </a:cubicBezTo>
                        <a:cubicBezTo>
                          <a:pt x="27954" y="45000"/>
                          <a:pt x="27954" y="45000"/>
                          <a:pt x="27954" y="45000"/>
                        </a:cubicBezTo>
                        <a:cubicBezTo>
                          <a:pt x="26590" y="45000"/>
                          <a:pt x="26590" y="45000"/>
                          <a:pt x="26590" y="45000"/>
                        </a:cubicBezTo>
                        <a:cubicBezTo>
                          <a:pt x="25909" y="42000"/>
                          <a:pt x="25909" y="42000"/>
                          <a:pt x="25909" y="42000"/>
                        </a:cubicBezTo>
                        <a:cubicBezTo>
                          <a:pt x="25909" y="42000"/>
                          <a:pt x="26590" y="41000"/>
                          <a:pt x="27272" y="41000"/>
                        </a:cubicBezTo>
                        <a:cubicBezTo>
                          <a:pt x="27272" y="40000"/>
                          <a:pt x="29318" y="40000"/>
                          <a:pt x="29318" y="40000"/>
                        </a:cubicBezTo>
                        <a:cubicBezTo>
                          <a:pt x="30681" y="38000"/>
                          <a:pt x="30681" y="38000"/>
                          <a:pt x="30681" y="38000"/>
                        </a:cubicBezTo>
                        <a:cubicBezTo>
                          <a:pt x="30681" y="38000"/>
                          <a:pt x="30000" y="36000"/>
                          <a:pt x="31363" y="36000"/>
                        </a:cubicBezTo>
                        <a:cubicBezTo>
                          <a:pt x="32045" y="36000"/>
                          <a:pt x="33409" y="36000"/>
                          <a:pt x="34090" y="36000"/>
                        </a:cubicBezTo>
                        <a:cubicBezTo>
                          <a:pt x="34772" y="36000"/>
                          <a:pt x="35454" y="35000"/>
                          <a:pt x="35454" y="35000"/>
                        </a:cubicBezTo>
                        <a:cubicBezTo>
                          <a:pt x="36818" y="35000"/>
                          <a:pt x="37500" y="36000"/>
                          <a:pt x="36818" y="35000"/>
                        </a:cubicBezTo>
                        <a:cubicBezTo>
                          <a:pt x="36818" y="35000"/>
                          <a:pt x="36818" y="34000"/>
                          <a:pt x="36136" y="33000"/>
                        </a:cubicBezTo>
                        <a:cubicBezTo>
                          <a:pt x="35454" y="32000"/>
                          <a:pt x="33409" y="30000"/>
                          <a:pt x="34772" y="29000"/>
                        </a:cubicBezTo>
                        <a:cubicBezTo>
                          <a:pt x="35454" y="28000"/>
                          <a:pt x="36136" y="28000"/>
                          <a:pt x="36818" y="29000"/>
                        </a:cubicBezTo>
                        <a:cubicBezTo>
                          <a:pt x="37500" y="29000"/>
                          <a:pt x="38181" y="31000"/>
                          <a:pt x="38181" y="31000"/>
                        </a:cubicBezTo>
                        <a:cubicBezTo>
                          <a:pt x="38181" y="27000"/>
                          <a:pt x="38181" y="27000"/>
                          <a:pt x="38181" y="27000"/>
                        </a:cubicBezTo>
                        <a:cubicBezTo>
                          <a:pt x="38181" y="27000"/>
                          <a:pt x="40227" y="27000"/>
                          <a:pt x="40909" y="26000"/>
                        </a:cubicBezTo>
                        <a:cubicBezTo>
                          <a:pt x="40909" y="25000"/>
                          <a:pt x="40227" y="23000"/>
                          <a:pt x="40227" y="23000"/>
                        </a:cubicBezTo>
                        <a:cubicBezTo>
                          <a:pt x="40227" y="23000"/>
                          <a:pt x="40227" y="23000"/>
                          <a:pt x="42272" y="23000"/>
                        </a:cubicBezTo>
                        <a:cubicBezTo>
                          <a:pt x="44318" y="22000"/>
                          <a:pt x="43636" y="22000"/>
                          <a:pt x="45000" y="22000"/>
                        </a:cubicBezTo>
                        <a:cubicBezTo>
                          <a:pt x="45681" y="22000"/>
                          <a:pt x="47727" y="22000"/>
                          <a:pt x="47727" y="22000"/>
                        </a:cubicBezTo>
                        <a:cubicBezTo>
                          <a:pt x="47727" y="22000"/>
                          <a:pt x="49090" y="21000"/>
                          <a:pt x="48409" y="20000"/>
                        </a:cubicBezTo>
                        <a:cubicBezTo>
                          <a:pt x="48409" y="19000"/>
                          <a:pt x="47045" y="17000"/>
                          <a:pt x="47045" y="17000"/>
                        </a:cubicBezTo>
                        <a:cubicBezTo>
                          <a:pt x="47045" y="17000"/>
                          <a:pt x="47727" y="14000"/>
                          <a:pt x="47727" y="15000"/>
                        </a:cubicBezTo>
                        <a:cubicBezTo>
                          <a:pt x="47727" y="17000"/>
                          <a:pt x="49772" y="19000"/>
                          <a:pt x="49772" y="19000"/>
                        </a:cubicBezTo>
                        <a:cubicBezTo>
                          <a:pt x="51136" y="17000"/>
                          <a:pt x="51136" y="17000"/>
                          <a:pt x="51136" y="17000"/>
                        </a:cubicBezTo>
                        <a:cubicBezTo>
                          <a:pt x="53181" y="16000"/>
                          <a:pt x="53181" y="16000"/>
                          <a:pt x="53181" y="16000"/>
                        </a:cubicBezTo>
                        <a:cubicBezTo>
                          <a:pt x="55227" y="15000"/>
                          <a:pt x="55227" y="15000"/>
                          <a:pt x="55227" y="15000"/>
                        </a:cubicBezTo>
                        <a:cubicBezTo>
                          <a:pt x="55227" y="15000"/>
                          <a:pt x="57272" y="15000"/>
                          <a:pt x="58636" y="15000"/>
                        </a:cubicBezTo>
                        <a:cubicBezTo>
                          <a:pt x="59318" y="15000"/>
                          <a:pt x="61363" y="14000"/>
                          <a:pt x="61363" y="14000"/>
                        </a:cubicBezTo>
                        <a:cubicBezTo>
                          <a:pt x="62045" y="12000"/>
                          <a:pt x="62045" y="12000"/>
                          <a:pt x="62045" y="12000"/>
                        </a:cubicBezTo>
                        <a:cubicBezTo>
                          <a:pt x="59318" y="8000"/>
                          <a:pt x="59318" y="8000"/>
                          <a:pt x="59318" y="8000"/>
                        </a:cubicBezTo>
                        <a:cubicBezTo>
                          <a:pt x="59318" y="8000"/>
                          <a:pt x="60681" y="5000"/>
                          <a:pt x="60681" y="6000"/>
                        </a:cubicBezTo>
                        <a:cubicBezTo>
                          <a:pt x="61363" y="7000"/>
                          <a:pt x="61363" y="9000"/>
                          <a:pt x="62045" y="9000"/>
                        </a:cubicBezTo>
                        <a:cubicBezTo>
                          <a:pt x="62727" y="9000"/>
                          <a:pt x="63409" y="10000"/>
                          <a:pt x="64090" y="9000"/>
                        </a:cubicBezTo>
                        <a:cubicBezTo>
                          <a:pt x="64090" y="8000"/>
                          <a:pt x="64090" y="5000"/>
                          <a:pt x="64090" y="5000"/>
                        </a:cubicBezTo>
                        <a:cubicBezTo>
                          <a:pt x="64090" y="5000"/>
                          <a:pt x="63409" y="4000"/>
                          <a:pt x="64090" y="4000"/>
                        </a:cubicBezTo>
                        <a:cubicBezTo>
                          <a:pt x="64772" y="5000"/>
                          <a:pt x="66136" y="7000"/>
                          <a:pt x="66136" y="7000"/>
                        </a:cubicBezTo>
                        <a:cubicBezTo>
                          <a:pt x="68181" y="7000"/>
                          <a:pt x="68181" y="7000"/>
                          <a:pt x="68181" y="7000"/>
                        </a:cubicBezTo>
                        <a:cubicBezTo>
                          <a:pt x="70227" y="4000"/>
                          <a:pt x="70227" y="4000"/>
                          <a:pt x="70227" y="4000"/>
                        </a:cubicBezTo>
                        <a:cubicBezTo>
                          <a:pt x="70909" y="6000"/>
                          <a:pt x="70909" y="6000"/>
                          <a:pt x="70909" y="6000"/>
                        </a:cubicBezTo>
                        <a:cubicBezTo>
                          <a:pt x="70909" y="6000"/>
                          <a:pt x="72272" y="5000"/>
                          <a:pt x="72954" y="5000"/>
                        </a:cubicBezTo>
                        <a:cubicBezTo>
                          <a:pt x="73636" y="5000"/>
                          <a:pt x="73636" y="4000"/>
                          <a:pt x="74318" y="4000"/>
                        </a:cubicBezTo>
                        <a:cubicBezTo>
                          <a:pt x="75000" y="4000"/>
                          <a:pt x="76363" y="5000"/>
                          <a:pt x="76363" y="5000"/>
                        </a:cubicBezTo>
                        <a:cubicBezTo>
                          <a:pt x="79772" y="6000"/>
                          <a:pt x="79772" y="6000"/>
                          <a:pt x="79772" y="6000"/>
                        </a:cubicBezTo>
                        <a:cubicBezTo>
                          <a:pt x="81136" y="3000"/>
                          <a:pt x="81136" y="3000"/>
                          <a:pt x="81136" y="3000"/>
                        </a:cubicBezTo>
                        <a:cubicBezTo>
                          <a:pt x="84545" y="5000"/>
                          <a:pt x="84545" y="5000"/>
                          <a:pt x="84545" y="5000"/>
                        </a:cubicBezTo>
                        <a:cubicBezTo>
                          <a:pt x="87272" y="7000"/>
                          <a:pt x="87272" y="7000"/>
                          <a:pt x="87272" y="7000"/>
                        </a:cubicBezTo>
                        <a:cubicBezTo>
                          <a:pt x="90681" y="7000"/>
                          <a:pt x="90681" y="7000"/>
                          <a:pt x="90681" y="7000"/>
                        </a:cubicBezTo>
                        <a:cubicBezTo>
                          <a:pt x="90681" y="7000"/>
                          <a:pt x="93409" y="5000"/>
                          <a:pt x="94090" y="5000"/>
                        </a:cubicBezTo>
                        <a:cubicBezTo>
                          <a:pt x="95454" y="4000"/>
                          <a:pt x="98181" y="4000"/>
                          <a:pt x="98181" y="4000"/>
                        </a:cubicBezTo>
                        <a:cubicBezTo>
                          <a:pt x="98181" y="4000"/>
                          <a:pt x="98863" y="4000"/>
                          <a:pt x="100227" y="4000"/>
                        </a:cubicBezTo>
                        <a:cubicBezTo>
                          <a:pt x="101590" y="3000"/>
                          <a:pt x="105000" y="3000"/>
                          <a:pt x="105000" y="3000"/>
                        </a:cubicBezTo>
                        <a:cubicBezTo>
                          <a:pt x="107045" y="0"/>
                          <a:pt x="107045" y="0"/>
                          <a:pt x="107045" y="0"/>
                        </a:cubicBezTo>
                        <a:cubicBezTo>
                          <a:pt x="110454" y="2000"/>
                          <a:pt x="110454" y="2000"/>
                          <a:pt x="110454" y="2000"/>
                        </a:cubicBezTo>
                        <a:cubicBezTo>
                          <a:pt x="110454" y="4000"/>
                          <a:pt x="110454" y="4000"/>
                          <a:pt x="110454" y="4000"/>
                        </a:cubicBezTo>
                        <a:cubicBezTo>
                          <a:pt x="107045" y="8000"/>
                          <a:pt x="107045" y="8000"/>
                          <a:pt x="107045" y="8000"/>
                        </a:cubicBezTo>
                        <a:cubicBezTo>
                          <a:pt x="107045" y="15000"/>
                          <a:pt x="107045" y="15000"/>
                          <a:pt x="107045" y="15000"/>
                        </a:cubicBezTo>
                        <a:cubicBezTo>
                          <a:pt x="106363" y="25000"/>
                          <a:pt x="104318" y="30000"/>
                          <a:pt x="103636" y="36000"/>
                        </a:cubicBezTo>
                        <a:cubicBezTo>
                          <a:pt x="102954" y="39000"/>
                          <a:pt x="101590" y="40000"/>
                          <a:pt x="103636" y="45000"/>
                        </a:cubicBezTo>
                        <a:cubicBezTo>
                          <a:pt x="105000" y="47000"/>
                          <a:pt x="105000" y="54000"/>
                          <a:pt x="107727" y="58000"/>
                        </a:cubicBezTo>
                        <a:cubicBezTo>
                          <a:pt x="109090" y="60000"/>
                          <a:pt x="107727" y="65000"/>
                          <a:pt x="109772" y="67000"/>
                        </a:cubicBezTo>
                        <a:cubicBezTo>
                          <a:pt x="109772" y="67000"/>
                          <a:pt x="109772" y="68000"/>
                          <a:pt x="110454" y="70000"/>
                        </a:cubicBezTo>
                        <a:cubicBezTo>
                          <a:pt x="111818" y="72000"/>
                          <a:pt x="111818" y="71000"/>
                          <a:pt x="112500" y="72000"/>
                        </a:cubicBezTo>
                        <a:cubicBezTo>
                          <a:pt x="112500" y="72000"/>
                          <a:pt x="113863" y="73000"/>
                          <a:pt x="114545" y="74000"/>
                        </a:cubicBezTo>
                        <a:cubicBezTo>
                          <a:pt x="115227" y="75000"/>
                          <a:pt x="115227" y="77000"/>
                          <a:pt x="115227" y="78000"/>
                        </a:cubicBezTo>
                        <a:cubicBezTo>
                          <a:pt x="115227" y="79000"/>
                          <a:pt x="115909" y="80000"/>
                          <a:pt x="115909" y="80000"/>
                        </a:cubicBezTo>
                        <a:cubicBezTo>
                          <a:pt x="115909" y="80000"/>
                          <a:pt x="116590" y="79000"/>
                          <a:pt x="116590" y="80000"/>
                        </a:cubicBezTo>
                        <a:cubicBezTo>
                          <a:pt x="116590" y="81000"/>
                          <a:pt x="115909" y="79000"/>
                          <a:pt x="116590" y="81000"/>
                        </a:cubicBezTo>
                        <a:cubicBezTo>
                          <a:pt x="117954" y="83000"/>
                          <a:pt x="120000" y="83000"/>
                          <a:pt x="120000" y="83000"/>
                        </a:cubicBezTo>
                        <a:cubicBezTo>
                          <a:pt x="119318" y="87000"/>
                          <a:pt x="119318" y="87000"/>
                          <a:pt x="119318" y="87000"/>
                        </a:cubicBezTo>
                        <a:cubicBezTo>
                          <a:pt x="117954" y="88000"/>
                          <a:pt x="117954" y="88000"/>
                          <a:pt x="117954" y="88000"/>
                        </a:cubicBezTo>
                        <a:cubicBezTo>
                          <a:pt x="117954" y="88000"/>
                          <a:pt x="114545" y="88000"/>
                          <a:pt x="114545" y="90000"/>
                        </a:cubicBezTo>
                        <a:cubicBezTo>
                          <a:pt x="114545" y="91000"/>
                          <a:pt x="114545" y="95000"/>
                          <a:pt x="114545" y="95000"/>
                        </a:cubicBezTo>
                        <a:cubicBezTo>
                          <a:pt x="112500" y="98000"/>
                          <a:pt x="112500" y="98000"/>
                          <a:pt x="112500" y="98000"/>
                        </a:cubicBezTo>
                        <a:cubicBezTo>
                          <a:pt x="112500" y="98000"/>
                          <a:pt x="113863" y="102000"/>
                          <a:pt x="113863" y="103000"/>
                        </a:cubicBezTo>
                        <a:cubicBezTo>
                          <a:pt x="113863" y="104000"/>
                          <a:pt x="114545" y="104000"/>
                          <a:pt x="114545" y="104000"/>
                        </a:cubicBezTo>
                        <a:cubicBezTo>
                          <a:pt x="112500" y="105000"/>
                          <a:pt x="112500" y="105000"/>
                          <a:pt x="112500" y="105000"/>
                        </a:cubicBezTo>
                        <a:cubicBezTo>
                          <a:pt x="109772" y="105000"/>
                          <a:pt x="109772" y="105000"/>
                          <a:pt x="109772" y="105000"/>
                        </a:cubicBezTo>
                        <a:cubicBezTo>
                          <a:pt x="104318" y="103000"/>
                          <a:pt x="104318" y="103000"/>
                          <a:pt x="104318" y="103000"/>
                        </a:cubicBezTo>
                        <a:cubicBezTo>
                          <a:pt x="102954" y="106000"/>
                          <a:pt x="102954" y="106000"/>
                          <a:pt x="102954" y="106000"/>
                        </a:cubicBezTo>
                        <a:cubicBezTo>
                          <a:pt x="101590" y="106000"/>
                          <a:pt x="101590" y="106000"/>
                          <a:pt x="101590" y="106000"/>
                        </a:cubicBezTo>
                        <a:cubicBezTo>
                          <a:pt x="101590" y="106000"/>
                          <a:pt x="100909" y="108000"/>
                          <a:pt x="99545" y="109000"/>
                        </a:cubicBezTo>
                        <a:cubicBezTo>
                          <a:pt x="98863" y="110000"/>
                          <a:pt x="98181" y="111000"/>
                          <a:pt x="97500" y="111000"/>
                        </a:cubicBezTo>
                        <a:cubicBezTo>
                          <a:pt x="96136" y="112000"/>
                          <a:pt x="94772" y="110000"/>
                          <a:pt x="94772" y="110000"/>
                        </a:cubicBezTo>
                        <a:cubicBezTo>
                          <a:pt x="92727" y="109000"/>
                          <a:pt x="92727" y="109000"/>
                          <a:pt x="92727" y="109000"/>
                        </a:cubicBezTo>
                        <a:cubicBezTo>
                          <a:pt x="90681" y="105000"/>
                          <a:pt x="90681" y="105000"/>
                          <a:pt x="90681" y="105000"/>
                        </a:cubicBezTo>
                        <a:cubicBezTo>
                          <a:pt x="84545" y="99000"/>
                          <a:pt x="84545" y="99000"/>
                          <a:pt x="84545" y="99000"/>
                        </a:cubicBezTo>
                        <a:cubicBezTo>
                          <a:pt x="81136" y="97000"/>
                          <a:pt x="81136" y="97000"/>
                          <a:pt x="81136" y="97000"/>
                        </a:cubicBezTo>
                        <a:cubicBezTo>
                          <a:pt x="78409" y="96000"/>
                          <a:pt x="78409" y="96000"/>
                          <a:pt x="78409" y="96000"/>
                        </a:cubicBezTo>
                        <a:cubicBezTo>
                          <a:pt x="75000" y="96000"/>
                          <a:pt x="75000" y="96000"/>
                          <a:pt x="75000" y="96000"/>
                        </a:cubicBezTo>
                        <a:cubicBezTo>
                          <a:pt x="72272" y="94000"/>
                          <a:pt x="72272" y="94000"/>
                          <a:pt x="72272" y="94000"/>
                        </a:cubicBezTo>
                        <a:cubicBezTo>
                          <a:pt x="69545" y="94000"/>
                          <a:pt x="69545" y="94000"/>
                          <a:pt x="69545" y="94000"/>
                        </a:cubicBezTo>
                        <a:cubicBezTo>
                          <a:pt x="66136" y="92000"/>
                          <a:pt x="66136" y="92000"/>
                          <a:pt x="66136" y="92000"/>
                        </a:cubicBezTo>
                        <a:cubicBezTo>
                          <a:pt x="63409" y="95000"/>
                          <a:pt x="63409" y="95000"/>
                          <a:pt x="63409" y="95000"/>
                        </a:cubicBezTo>
                        <a:cubicBezTo>
                          <a:pt x="60000" y="98000"/>
                          <a:pt x="60000" y="98000"/>
                          <a:pt x="60000" y="98000"/>
                        </a:cubicBezTo>
                        <a:cubicBezTo>
                          <a:pt x="56590" y="103000"/>
                          <a:pt x="56590" y="103000"/>
                          <a:pt x="56590" y="103000"/>
                        </a:cubicBezTo>
                        <a:cubicBezTo>
                          <a:pt x="56590" y="103000"/>
                          <a:pt x="54545" y="106000"/>
                          <a:pt x="53181" y="107000"/>
                        </a:cubicBezTo>
                        <a:cubicBezTo>
                          <a:pt x="52500" y="106000"/>
                          <a:pt x="52500" y="106000"/>
                          <a:pt x="52500" y="106000"/>
                        </a:cubicBezTo>
                        <a:cubicBezTo>
                          <a:pt x="52500" y="106000"/>
                          <a:pt x="52500" y="103000"/>
                          <a:pt x="53181" y="101000"/>
                        </a:cubicBezTo>
                        <a:cubicBezTo>
                          <a:pt x="53863" y="100000"/>
                          <a:pt x="53863" y="98000"/>
                          <a:pt x="53863" y="97000"/>
                        </a:cubicBezTo>
                        <a:cubicBezTo>
                          <a:pt x="53863" y="96000"/>
                          <a:pt x="53863" y="94000"/>
                          <a:pt x="53181" y="92000"/>
                        </a:cubicBezTo>
                        <a:cubicBezTo>
                          <a:pt x="53181" y="90000"/>
                          <a:pt x="52500" y="87000"/>
                          <a:pt x="52500" y="87000"/>
                        </a:cubicBezTo>
                        <a:cubicBezTo>
                          <a:pt x="54545" y="85000"/>
                          <a:pt x="54545" y="85000"/>
                          <a:pt x="54545" y="85000"/>
                        </a:cubicBezTo>
                        <a:cubicBezTo>
                          <a:pt x="53181" y="80000"/>
                          <a:pt x="53181" y="80000"/>
                          <a:pt x="53181" y="80000"/>
                        </a:cubicBezTo>
                        <a:cubicBezTo>
                          <a:pt x="51818" y="80000"/>
                          <a:pt x="51818" y="80000"/>
                          <a:pt x="51818" y="80000"/>
                        </a:cubicBezTo>
                        <a:cubicBezTo>
                          <a:pt x="49772" y="80000"/>
                          <a:pt x="49772" y="80000"/>
                          <a:pt x="49772" y="80000"/>
                        </a:cubicBezTo>
                        <a:cubicBezTo>
                          <a:pt x="48409" y="83000"/>
                          <a:pt x="48409" y="83000"/>
                          <a:pt x="48409" y="83000"/>
                        </a:cubicBezTo>
                        <a:cubicBezTo>
                          <a:pt x="48409" y="83000"/>
                          <a:pt x="49090" y="85000"/>
                          <a:pt x="49090" y="86000"/>
                        </a:cubicBezTo>
                        <a:cubicBezTo>
                          <a:pt x="48409" y="87000"/>
                          <a:pt x="47045" y="87000"/>
                          <a:pt x="47045" y="87000"/>
                        </a:cubicBezTo>
                        <a:cubicBezTo>
                          <a:pt x="46363" y="88000"/>
                          <a:pt x="46363" y="91000"/>
                          <a:pt x="46363" y="91000"/>
                        </a:cubicBezTo>
                        <a:cubicBezTo>
                          <a:pt x="43636" y="87000"/>
                          <a:pt x="43636" y="87000"/>
                          <a:pt x="43636" y="87000"/>
                        </a:cubicBezTo>
                        <a:cubicBezTo>
                          <a:pt x="43636" y="87000"/>
                          <a:pt x="42272" y="87000"/>
                          <a:pt x="41590" y="86000"/>
                        </a:cubicBezTo>
                        <a:cubicBezTo>
                          <a:pt x="40909" y="86000"/>
                          <a:pt x="39545" y="86000"/>
                          <a:pt x="39545" y="86000"/>
                        </a:cubicBezTo>
                        <a:cubicBezTo>
                          <a:pt x="39545" y="86000"/>
                          <a:pt x="39545" y="86000"/>
                          <a:pt x="38863" y="86000"/>
                        </a:cubicBezTo>
                        <a:cubicBezTo>
                          <a:pt x="37500" y="86000"/>
                          <a:pt x="37500" y="86000"/>
                          <a:pt x="36818" y="84000"/>
                        </a:cubicBezTo>
                        <a:cubicBezTo>
                          <a:pt x="36136" y="82000"/>
                          <a:pt x="34090" y="77000"/>
                          <a:pt x="34090" y="77000"/>
                        </a:cubicBezTo>
                        <a:cubicBezTo>
                          <a:pt x="34090" y="77000"/>
                          <a:pt x="33409" y="75000"/>
                          <a:pt x="32727" y="75000"/>
                        </a:cubicBezTo>
                        <a:cubicBezTo>
                          <a:pt x="32727" y="75000"/>
                          <a:pt x="32045" y="77000"/>
                          <a:pt x="32045" y="77000"/>
                        </a:cubicBezTo>
                        <a:cubicBezTo>
                          <a:pt x="31363" y="77000"/>
                          <a:pt x="31363" y="75000"/>
                          <a:pt x="31363" y="74000"/>
                        </a:cubicBezTo>
                        <a:cubicBezTo>
                          <a:pt x="31363" y="73000"/>
                          <a:pt x="31363" y="72000"/>
                          <a:pt x="31363" y="70000"/>
                        </a:cubicBezTo>
                        <a:cubicBezTo>
                          <a:pt x="31363" y="68000"/>
                          <a:pt x="30681" y="66000"/>
                          <a:pt x="31363" y="66000"/>
                        </a:cubicBezTo>
                        <a:cubicBezTo>
                          <a:pt x="31363" y="66000"/>
                          <a:pt x="32045" y="67000"/>
                          <a:pt x="32727" y="67000"/>
                        </a:cubicBezTo>
                        <a:cubicBezTo>
                          <a:pt x="33409" y="67000"/>
                          <a:pt x="33409" y="65000"/>
                          <a:pt x="33409" y="65000"/>
                        </a:cubicBezTo>
                        <a:cubicBezTo>
                          <a:pt x="34090" y="65000"/>
                          <a:pt x="34772" y="66000"/>
                          <a:pt x="34772" y="66000"/>
                        </a:cubicBezTo>
                        <a:cubicBezTo>
                          <a:pt x="35454" y="66000"/>
                          <a:pt x="36136" y="66000"/>
                          <a:pt x="36136" y="66000"/>
                        </a:cubicBezTo>
                        <a:cubicBezTo>
                          <a:pt x="36818" y="65000"/>
                          <a:pt x="36818" y="65000"/>
                          <a:pt x="36818" y="64000"/>
                        </a:cubicBezTo>
                        <a:cubicBezTo>
                          <a:pt x="36818" y="63000"/>
                          <a:pt x="36136" y="62000"/>
                          <a:pt x="36136" y="62000"/>
                        </a:cubicBezTo>
                        <a:cubicBezTo>
                          <a:pt x="35454" y="62000"/>
                          <a:pt x="31363" y="65000"/>
                          <a:pt x="31363" y="65000"/>
                        </a:cubicBezTo>
                        <a:cubicBezTo>
                          <a:pt x="28636" y="65000"/>
                          <a:pt x="28636" y="65000"/>
                          <a:pt x="28636" y="65000"/>
                        </a:cubicBezTo>
                        <a:cubicBezTo>
                          <a:pt x="30000" y="63000"/>
                          <a:pt x="30000" y="63000"/>
                          <a:pt x="30000" y="63000"/>
                        </a:cubicBezTo>
                        <a:cubicBezTo>
                          <a:pt x="28636" y="61000"/>
                          <a:pt x="28636" y="61000"/>
                          <a:pt x="28636" y="61000"/>
                        </a:cubicBezTo>
                        <a:cubicBezTo>
                          <a:pt x="28636" y="59000"/>
                          <a:pt x="28636" y="59000"/>
                          <a:pt x="28636" y="59000"/>
                        </a:cubicBezTo>
                        <a:cubicBezTo>
                          <a:pt x="27272" y="58000"/>
                          <a:pt x="27272" y="58000"/>
                          <a:pt x="27272" y="58000"/>
                        </a:cubicBezTo>
                        <a:cubicBezTo>
                          <a:pt x="27954" y="56000"/>
                          <a:pt x="27954" y="56000"/>
                          <a:pt x="27954" y="56000"/>
                        </a:cubicBezTo>
                        <a:cubicBezTo>
                          <a:pt x="29318" y="56000"/>
                          <a:pt x="29318" y="56000"/>
                          <a:pt x="29318" y="56000"/>
                        </a:cubicBezTo>
                        <a:cubicBezTo>
                          <a:pt x="30681" y="55000"/>
                          <a:pt x="30681" y="55000"/>
                          <a:pt x="30681" y="55000"/>
                        </a:cubicBezTo>
                        <a:cubicBezTo>
                          <a:pt x="30681" y="51000"/>
                          <a:pt x="30681" y="51000"/>
                          <a:pt x="30681" y="51000"/>
                        </a:cubicBezTo>
                        <a:cubicBezTo>
                          <a:pt x="29318" y="52000"/>
                          <a:pt x="29318" y="52000"/>
                          <a:pt x="29318" y="52000"/>
                        </a:cubicBezTo>
                        <a:cubicBezTo>
                          <a:pt x="30000" y="54000"/>
                          <a:pt x="30000" y="54000"/>
                          <a:pt x="30000" y="54000"/>
                        </a:cubicBezTo>
                        <a:cubicBezTo>
                          <a:pt x="27272" y="54000"/>
                          <a:pt x="27272" y="54000"/>
                          <a:pt x="27272" y="54000"/>
                        </a:cubicBezTo>
                        <a:cubicBezTo>
                          <a:pt x="26590" y="52000"/>
                          <a:pt x="26590" y="52000"/>
                          <a:pt x="26590" y="52000"/>
                        </a:cubicBezTo>
                        <a:close/>
                        <a:moveTo>
                          <a:pt x="15681" y="103000"/>
                        </a:moveTo>
                        <a:cubicBezTo>
                          <a:pt x="15681" y="103000"/>
                          <a:pt x="15681" y="103000"/>
                          <a:pt x="15681" y="103000"/>
                        </a:cubicBezTo>
                        <a:cubicBezTo>
                          <a:pt x="15681" y="103000"/>
                          <a:pt x="17045" y="103000"/>
                          <a:pt x="17045" y="103000"/>
                        </a:cubicBezTo>
                        <a:cubicBezTo>
                          <a:pt x="17045" y="103000"/>
                          <a:pt x="17727" y="104000"/>
                          <a:pt x="17045" y="104000"/>
                        </a:cubicBezTo>
                        <a:cubicBezTo>
                          <a:pt x="17045" y="105000"/>
                          <a:pt x="17727" y="105000"/>
                          <a:pt x="17045" y="105000"/>
                        </a:cubicBezTo>
                        <a:cubicBezTo>
                          <a:pt x="16363" y="105000"/>
                          <a:pt x="15000" y="106000"/>
                          <a:pt x="15000" y="105000"/>
                        </a:cubicBezTo>
                        <a:cubicBezTo>
                          <a:pt x="15000" y="105000"/>
                          <a:pt x="15681" y="104000"/>
                          <a:pt x="15681" y="104000"/>
                        </a:cubicBezTo>
                        <a:cubicBezTo>
                          <a:pt x="15681" y="103000"/>
                          <a:pt x="15681" y="103000"/>
                          <a:pt x="15681" y="103000"/>
                        </a:cubicBezTo>
                        <a:close/>
                        <a:moveTo>
                          <a:pt x="43636" y="95000"/>
                        </a:moveTo>
                        <a:cubicBezTo>
                          <a:pt x="43636" y="95000"/>
                          <a:pt x="43636" y="95000"/>
                          <a:pt x="43636" y="95000"/>
                        </a:cubicBezTo>
                        <a:cubicBezTo>
                          <a:pt x="43636" y="95000"/>
                          <a:pt x="42954" y="98000"/>
                          <a:pt x="43636" y="98000"/>
                        </a:cubicBezTo>
                        <a:cubicBezTo>
                          <a:pt x="43636" y="98000"/>
                          <a:pt x="44318" y="98000"/>
                          <a:pt x="45000" y="98000"/>
                        </a:cubicBezTo>
                        <a:cubicBezTo>
                          <a:pt x="45681" y="97000"/>
                          <a:pt x="45681" y="97000"/>
                          <a:pt x="45681" y="97000"/>
                        </a:cubicBezTo>
                        <a:cubicBezTo>
                          <a:pt x="45681" y="96000"/>
                          <a:pt x="45681" y="95000"/>
                          <a:pt x="45681" y="95000"/>
                        </a:cubicBezTo>
                        <a:cubicBezTo>
                          <a:pt x="43636" y="95000"/>
                          <a:pt x="43636" y="95000"/>
                          <a:pt x="43636" y="95000"/>
                        </a:cubicBezTo>
                        <a:close/>
                        <a:moveTo>
                          <a:pt x="6136" y="91000"/>
                        </a:moveTo>
                        <a:cubicBezTo>
                          <a:pt x="6136" y="91000"/>
                          <a:pt x="6136" y="91000"/>
                          <a:pt x="6136" y="91000"/>
                        </a:cubicBezTo>
                        <a:cubicBezTo>
                          <a:pt x="5454" y="92000"/>
                          <a:pt x="5454" y="92000"/>
                          <a:pt x="5454" y="92000"/>
                        </a:cubicBezTo>
                        <a:cubicBezTo>
                          <a:pt x="5454" y="92000"/>
                          <a:pt x="4772" y="89000"/>
                          <a:pt x="4772" y="88000"/>
                        </a:cubicBezTo>
                        <a:cubicBezTo>
                          <a:pt x="4772" y="88000"/>
                          <a:pt x="3409" y="87000"/>
                          <a:pt x="3409" y="87000"/>
                        </a:cubicBezTo>
                        <a:cubicBezTo>
                          <a:pt x="3409" y="87000"/>
                          <a:pt x="2727" y="87000"/>
                          <a:pt x="2727" y="87000"/>
                        </a:cubicBezTo>
                        <a:cubicBezTo>
                          <a:pt x="2045" y="87000"/>
                          <a:pt x="2045" y="88000"/>
                          <a:pt x="2045" y="88000"/>
                        </a:cubicBezTo>
                        <a:cubicBezTo>
                          <a:pt x="1363" y="88000"/>
                          <a:pt x="1363" y="88000"/>
                          <a:pt x="1363" y="88000"/>
                        </a:cubicBezTo>
                        <a:cubicBezTo>
                          <a:pt x="1363" y="88000"/>
                          <a:pt x="681" y="88000"/>
                          <a:pt x="681" y="88000"/>
                        </a:cubicBezTo>
                        <a:cubicBezTo>
                          <a:pt x="0" y="89000"/>
                          <a:pt x="681" y="90000"/>
                          <a:pt x="681" y="90000"/>
                        </a:cubicBezTo>
                        <a:cubicBezTo>
                          <a:pt x="681" y="90000"/>
                          <a:pt x="1363" y="90000"/>
                          <a:pt x="2045" y="91000"/>
                        </a:cubicBezTo>
                        <a:cubicBezTo>
                          <a:pt x="2727" y="91000"/>
                          <a:pt x="2727" y="91000"/>
                          <a:pt x="2727" y="91000"/>
                        </a:cubicBezTo>
                        <a:cubicBezTo>
                          <a:pt x="2727" y="91000"/>
                          <a:pt x="4090" y="93000"/>
                          <a:pt x="4772" y="94000"/>
                        </a:cubicBezTo>
                        <a:cubicBezTo>
                          <a:pt x="4772" y="94000"/>
                          <a:pt x="4772" y="95000"/>
                          <a:pt x="4772" y="95000"/>
                        </a:cubicBezTo>
                        <a:cubicBezTo>
                          <a:pt x="2727" y="97000"/>
                          <a:pt x="2727" y="97000"/>
                          <a:pt x="2727" y="97000"/>
                        </a:cubicBezTo>
                        <a:cubicBezTo>
                          <a:pt x="2727" y="97000"/>
                          <a:pt x="3409" y="98000"/>
                          <a:pt x="3409" y="98000"/>
                        </a:cubicBezTo>
                        <a:cubicBezTo>
                          <a:pt x="4090" y="98000"/>
                          <a:pt x="2727" y="99000"/>
                          <a:pt x="2727" y="99000"/>
                        </a:cubicBezTo>
                        <a:cubicBezTo>
                          <a:pt x="2727" y="99000"/>
                          <a:pt x="2727" y="101000"/>
                          <a:pt x="2727" y="101000"/>
                        </a:cubicBezTo>
                        <a:cubicBezTo>
                          <a:pt x="2727" y="101000"/>
                          <a:pt x="3409" y="102000"/>
                          <a:pt x="4772" y="102000"/>
                        </a:cubicBezTo>
                        <a:cubicBezTo>
                          <a:pt x="6136" y="103000"/>
                          <a:pt x="6136" y="102000"/>
                          <a:pt x="6136" y="102000"/>
                        </a:cubicBezTo>
                        <a:cubicBezTo>
                          <a:pt x="6818" y="103000"/>
                          <a:pt x="6818" y="103000"/>
                          <a:pt x="6818" y="103000"/>
                        </a:cubicBezTo>
                        <a:cubicBezTo>
                          <a:pt x="6818" y="104000"/>
                          <a:pt x="6818" y="104000"/>
                          <a:pt x="6818" y="104000"/>
                        </a:cubicBezTo>
                        <a:cubicBezTo>
                          <a:pt x="7500" y="105000"/>
                          <a:pt x="7500" y="105000"/>
                          <a:pt x="7500" y="105000"/>
                        </a:cubicBezTo>
                        <a:cubicBezTo>
                          <a:pt x="9545" y="106000"/>
                          <a:pt x="9545" y="106000"/>
                          <a:pt x="9545" y="106000"/>
                        </a:cubicBezTo>
                        <a:cubicBezTo>
                          <a:pt x="9545" y="107000"/>
                          <a:pt x="9545" y="107000"/>
                          <a:pt x="9545" y="107000"/>
                        </a:cubicBezTo>
                        <a:cubicBezTo>
                          <a:pt x="9545" y="110000"/>
                          <a:pt x="9545" y="110000"/>
                          <a:pt x="9545" y="110000"/>
                        </a:cubicBezTo>
                        <a:cubicBezTo>
                          <a:pt x="9545" y="110000"/>
                          <a:pt x="8863" y="110000"/>
                          <a:pt x="8181" y="110000"/>
                        </a:cubicBezTo>
                        <a:cubicBezTo>
                          <a:pt x="8181" y="111000"/>
                          <a:pt x="8181" y="112000"/>
                          <a:pt x="7500" y="112000"/>
                        </a:cubicBezTo>
                        <a:cubicBezTo>
                          <a:pt x="7500" y="112000"/>
                          <a:pt x="7500" y="114000"/>
                          <a:pt x="6818" y="115000"/>
                        </a:cubicBezTo>
                        <a:cubicBezTo>
                          <a:pt x="6818" y="116000"/>
                          <a:pt x="7500" y="117000"/>
                          <a:pt x="7500" y="118000"/>
                        </a:cubicBezTo>
                        <a:cubicBezTo>
                          <a:pt x="7500" y="120000"/>
                          <a:pt x="8181" y="119000"/>
                          <a:pt x="8863" y="119000"/>
                        </a:cubicBezTo>
                        <a:cubicBezTo>
                          <a:pt x="8863" y="119000"/>
                          <a:pt x="9545" y="118000"/>
                          <a:pt x="9545" y="118000"/>
                        </a:cubicBezTo>
                        <a:cubicBezTo>
                          <a:pt x="10227" y="118000"/>
                          <a:pt x="10909" y="116000"/>
                          <a:pt x="11590" y="115000"/>
                        </a:cubicBezTo>
                        <a:cubicBezTo>
                          <a:pt x="11590" y="114000"/>
                          <a:pt x="11590" y="113000"/>
                          <a:pt x="11590" y="113000"/>
                        </a:cubicBezTo>
                        <a:cubicBezTo>
                          <a:pt x="10909" y="112000"/>
                          <a:pt x="11590" y="110000"/>
                          <a:pt x="11590" y="110000"/>
                        </a:cubicBezTo>
                        <a:cubicBezTo>
                          <a:pt x="11590" y="109000"/>
                          <a:pt x="11590" y="109000"/>
                          <a:pt x="11590" y="109000"/>
                        </a:cubicBezTo>
                        <a:cubicBezTo>
                          <a:pt x="10909" y="105000"/>
                          <a:pt x="10909" y="105000"/>
                          <a:pt x="10909" y="105000"/>
                        </a:cubicBezTo>
                        <a:cubicBezTo>
                          <a:pt x="12272" y="101000"/>
                          <a:pt x="12272" y="101000"/>
                          <a:pt x="12272" y="101000"/>
                        </a:cubicBezTo>
                        <a:cubicBezTo>
                          <a:pt x="13636" y="101000"/>
                          <a:pt x="13636" y="101000"/>
                          <a:pt x="13636" y="101000"/>
                        </a:cubicBezTo>
                        <a:cubicBezTo>
                          <a:pt x="15681" y="99000"/>
                          <a:pt x="15681" y="99000"/>
                          <a:pt x="15681" y="99000"/>
                        </a:cubicBezTo>
                        <a:cubicBezTo>
                          <a:pt x="15681" y="99000"/>
                          <a:pt x="15681" y="99000"/>
                          <a:pt x="15681" y="99000"/>
                        </a:cubicBezTo>
                        <a:cubicBezTo>
                          <a:pt x="15681" y="99000"/>
                          <a:pt x="16363" y="99000"/>
                          <a:pt x="17045" y="98000"/>
                        </a:cubicBezTo>
                        <a:cubicBezTo>
                          <a:pt x="18409" y="98000"/>
                          <a:pt x="17727" y="99000"/>
                          <a:pt x="18409" y="99000"/>
                        </a:cubicBezTo>
                        <a:cubicBezTo>
                          <a:pt x="18409" y="100000"/>
                          <a:pt x="19090" y="100000"/>
                          <a:pt x="19772" y="100000"/>
                        </a:cubicBezTo>
                        <a:cubicBezTo>
                          <a:pt x="19772" y="100000"/>
                          <a:pt x="20454" y="98000"/>
                          <a:pt x="20454" y="98000"/>
                        </a:cubicBezTo>
                        <a:cubicBezTo>
                          <a:pt x="20454" y="97000"/>
                          <a:pt x="19772" y="97000"/>
                          <a:pt x="19772" y="97000"/>
                        </a:cubicBezTo>
                        <a:cubicBezTo>
                          <a:pt x="19090" y="95000"/>
                          <a:pt x="19090" y="95000"/>
                          <a:pt x="19090" y="95000"/>
                        </a:cubicBezTo>
                        <a:cubicBezTo>
                          <a:pt x="21136" y="94000"/>
                          <a:pt x="21136" y="94000"/>
                          <a:pt x="21136" y="94000"/>
                        </a:cubicBezTo>
                        <a:cubicBezTo>
                          <a:pt x="21818" y="93000"/>
                          <a:pt x="21818" y="93000"/>
                          <a:pt x="21818" y="93000"/>
                        </a:cubicBezTo>
                        <a:cubicBezTo>
                          <a:pt x="23181" y="91000"/>
                          <a:pt x="23181" y="91000"/>
                          <a:pt x="23181" y="91000"/>
                        </a:cubicBezTo>
                        <a:cubicBezTo>
                          <a:pt x="22500" y="89000"/>
                          <a:pt x="22500" y="89000"/>
                          <a:pt x="22500" y="89000"/>
                        </a:cubicBezTo>
                        <a:cubicBezTo>
                          <a:pt x="22500" y="89000"/>
                          <a:pt x="23863" y="89000"/>
                          <a:pt x="24545" y="89000"/>
                        </a:cubicBezTo>
                        <a:cubicBezTo>
                          <a:pt x="24545" y="89000"/>
                          <a:pt x="24545" y="88000"/>
                          <a:pt x="24545" y="88000"/>
                        </a:cubicBezTo>
                        <a:cubicBezTo>
                          <a:pt x="23863" y="86000"/>
                          <a:pt x="23863" y="86000"/>
                          <a:pt x="23863" y="86000"/>
                        </a:cubicBezTo>
                        <a:cubicBezTo>
                          <a:pt x="23863" y="86000"/>
                          <a:pt x="25227" y="86000"/>
                          <a:pt x="25909" y="85000"/>
                        </a:cubicBezTo>
                        <a:cubicBezTo>
                          <a:pt x="25909" y="85000"/>
                          <a:pt x="25227" y="84000"/>
                          <a:pt x="25227" y="84000"/>
                        </a:cubicBezTo>
                        <a:cubicBezTo>
                          <a:pt x="25227" y="83000"/>
                          <a:pt x="25909" y="82000"/>
                          <a:pt x="25909" y="82000"/>
                        </a:cubicBezTo>
                        <a:cubicBezTo>
                          <a:pt x="25909" y="82000"/>
                          <a:pt x="27272" y="84000"/>
                          <a:pt x="27954" y="84000"/>
                        </a:cubicBezTo>
                        <a:cubicBezTo>
                          <a:pt x="28636" y="85000"/>
                          <a:pt x="28636" y="84000"/>
                          <a:pt x="29318" y="84000"/>
                        </a:cubicBezTo>
                        <a:cubicBezTo>
                          <a:pt x="29318" y="83000"/>
                          <a:pt x="28636" y="82000"/>
                          <a:pt x="28636" y="82000"/>
                        </a:cubicBezTo>
                        <a:cubicBezTo>
                          <a:pt x="27954" y="81000"/>
                          <a:pt x="27954" y="81000"/>
                          <a:pt x="27954" y="81000"/>
                        </a:cubicBezTo>
                        <a:cubicBezTo>
                          <a:pt x="25909" y="80000"/>
                          <a:pt x="25909" y="80000"/>
                          <a:pt x="25909" y="80000"/>
                        </a:cubicBezTo>
                        <a:cubicBezTo>
                          <a:pt x="23181" y="78000"/>
                          <a:pt x="23181" y="78000"/>
                          <a:pt x="23181" y="78000"/>
                        </a:cubicBezTo>
                        <a:cubicBezTo>
                          <a:pt x="23181" y="78000"/>
                          <a:pt x="21136" y="78000"/>
                          <a:pt x="21136" y="77000"/>
                        </a:cubicBezTo>
                        <a:cubicBezTo>
                          <a:pt x="20454" y="77000"/>
                          <a:pt x="20454" y="77000"/>
                          <a:pt x="20454" y="77000"/>
                        </a:cubicBezTo>
                        <a:cubicBezTo>
                          <a:pt x="20454" y="77000"/>
                          <a:pt x="19090" y="77000"/>
                          <a:pt x="19090" y="77000"/>
                        </a:cubicBezTo>
                        <a:cubicBezTo>
                          <a:pt x="18409" y="77000"/>
                          <a:pt x="17727" y="78000"/>
                          <a:pt x="17045" y="79000"/>
                        </a:cubicBezTo>
                        <a:cubicBezTo>
                          <a:pt x="17045" y="79000"/>
                          <a:pt x="16363" y="80000"/>
                          <a:pt x="15681" y="80000"/>
                        </a:cubicBezTo>
                        <a:cubicBezTo>
                          <a:pt x="15681" y="80000"/>
                          <a:pt x="15000" y="78000"/>
                          <a:pt x="15000" y="78000"/>
                        </a:cubicBezTo>
                        <a:cubicBezTo>
                          <a:pt x="13636" y="78000"/>
                          <a:pt x="13636" y="78000"/>
                          <a:pt x="13636" y="78000"/>
                        </a:cubicBezTo>
                        <a:cubicBezTo>
                          <a:pt x="13636" y="78000"/>
                          <a:pt x="12954" y="80000"/>
                          <a:pt x="12954" y="81000"/>
                        </a:cubicBezTo>
                        <a:cubicBezTo>
                          <a:pt x="12954" y="81000"/>
                          <a:pt x="11590" y="81000"/>
                          <a:pt x="10909" y="81000"/>
                        </a:cubicBezTo>
                        <a:cubicBezTo>
                          <a:pt x="10227" y="82000"/>
                          <a:pt x="9545" y="82000"/>
                          <a:pt x="8863" y="83000"/>
                        </a:cubicBezTo>
                        <a:cubicBezTo>
                          <a:pt x="8181" y="83000"/>
                          <a:pt x="9545" y="84000"/>
                          <a:pt x="9545" y="84000"/>
                        </a:cubicBezTo>
                        <a:cubicBezTo>
                          <a:pt x="9545" y="86000"/>
                          <a:pt x="9545" y="86000"/>
                          <a:pt x="9545" y="86000"/>
                        </a:cubicBezTo>
                        <a:cubicBezTo>
                          <a:pt x="8181" y="86000"/>
                          <a:pt x="8181" y="86000"/>
                          <a:pt x="8181" y="86000"/>
                        </a:cubicBezTo>
                        <a:cubicBezTo>
                          <a:pt x="7500" y="85000"/>
                          <a:pt x="7500" y="85000"/>
                          <a:pt x="7500" y="85000"/>
                        </a:cubicBezTo>
                        <a:cubicBezTo>
                          <a:pt x="6136" y="87000"/>
                          <a:pt x="6136" y="87000"/>
                          <a:pt x="6136" y="87000"/>
                        </a:cubicBezTo>
                        <a:cubicBezTo>
                          <a:pt x="5454" y="89000"/>
                          <a:pt x="5454" y="89000"/>
                          <a:pt x="5454" y="89000"/>
                        </a:cubicBezTo>
                        <a:cubicBezTo>
                          <a:pt x="5454" y="89000"/>
                          <a:pt x="6136" y="91000"/>
                          <a:pt x="6136" y="91000"/>
                        </a:cubicBezTo>
                        <a:close/>
                        <a:moveTo>
                          <a:pt x="23863" y="76000"/>
                        </a:moveTo>
                        <a:cubicBezTo>
                          <a:pt x="23863" y="76000"/>
                          <a:pt x="23863" y="76000"/>
                          <a:pt x="23863" y="76000"/>
                        </a:cubicBezTo>
                        <a:cubicBezTo>
                          <a:pt x="24545" y="77000"/>
                          <a:pt x="24545" y="77000"/>
                          <a:pt x="24545" y="77000"/>
                        </a:cubicBezTo>
                        <a:cubicBezTo>
                          <a:pt x="24545" y="77000"/>
                          <a:pt x="25227" y="78000"/>
                          <a:pt x="26590" y="78000"/>
                        </a:cubicBezTo>
                        <a:cubicBezTo>
                          <a:pt x="28636" y="78000"/>
                          <a:pt x="28636" y="80000"/>
                          <a:pt x="30000" y="78000"/>
                        </a:cubicBezTo>
                        <a:cubicBezTo>
                          <a:pt x="30000" y="77000"/>
                          <a:pt x="30000" y="77000"/>
                          <a:pt x="29318" y="76000"/>
                        </a:cubicBezTo>
                        <a:cubicBezTo>
                          <a:pt x="29318" y="75000"/>
                          <a:pt x="28636" y="75000"/>
                          <a:pt x="28636" y="74000"/>
                        </a:cubicBezTo>
                        <a:cubicBezTo>
                          <a:pt x="28636" y="74000"/>
                          <a:pt x="28636" y="74000"/>
                          <a:pt x="27272" y="72000"/>
                        </a:cubicBezTo>
                        <a:cubicBezTo>
                          <a:pt x="26590" y="71000"/>
                          <a:pt x="26590" y="72000"/>
                          <a:pt x="25909" y="72000"/>
                        </a:cubicBezTo>
                        <a:cubicBezTo>
                          <a:pt x="25227" y="72000"/>
                          <a:pt x="24545" y="72000"/>
                          <a:pt x="23863" y="72000"/>
                        </a:cubicBezTo>
                        <a:cubicBezTo>
                          <a:pt x="23181" y="73000"/>
                          <a:pt x="24545" y="74000"/>
                          <a:pt x="24545" y="75000"/>
                        </a:cubicBezTo>
                        <a:cubicBezTo>
                          <a:pt x="24545" y="75000"/>
                          <a:pt x="23863" y="76000"/>
                          <a:pt x="23863" y="76000"/>
                        </a:cubicBezTo>
                        <a:close/>
                        <a:moveTo>
                          <a:pt x="15000" y="57000"/>
                        </a:moveTo>
                        <a:cubicBezTo>
                          <a:pt x="15000" y="57000"/>
                          <a:pt x="15000" y="57000"/>
                          <a:pt x="15000" y="57000"/>
                        </a:cubicBezTo>
                        <a:cubicBezTo>
                          <a:pt x="15000" y="56000"/>
                          <a:pt x="16363" y="56000"/>
                          <a:pt x="17045" y="57000"/>
                        </a:cubicBezTo>
                        <a:cubicBezTo>
                          <a:pt x="17045" y="57000"/>
                          <a:pt x="18409" y="58000"/>
                          <a:pt x="18409" y="59000"/>
                        </a:cubicBezTo>
                        <a:cubicBezTo>
                          <a:pt x="18409" y="59000"/>
                          <a:pt x="19090" y="59000"/>
                          <a:pt x="19090" y="60000"/>
                        </a:cubicBezTo>
                        <a:cubicBezTo>
                          <a:pt x="19090" y="60000"/>
                          <a:pt x="19772" y="61000"/>
                          <a:pt x="19772" y="62000"/>
                        </a:cubicBezTo>
                        <a:cubicBezTo>
                          <a:pt x="20454" y="63000"/>
                          <a:pt x="21136" y="64000"/>
                          <a:pt x="21136" y="64000"/>
                        </a:cubicBezTo>
                        <a:cubicBezTo>
                          <a:pt x="21136" y="64000"/>
                          <a:pt x="21818" y="65000"/>
                          <a:pt x="21136" y="65000"/>
                        </a:cubicBezTo>
                        <a:cubicBezTo>
                          <a:pt x="20454" y="65000"/>
                          <a:pt x="18409" y="65000"/>
                          <a:pt x="18409" y="65000"/>
                        </a:cubicBezTo>
                        <a:cubicBezTo>
                          <a:pt x="18409" y="65000"/>
                          <a:pt x="17727" y="66000"/>
                          <a:pt x="17727" y="66000"/>
                        </a:cubicBezTo>
                        <a:cubicBezTo>
                          <a:pt x="17727" y="67000"/>
                          <a:pt x="19090" y="68000"/>
                          <a:pt x="18409" y="68000"/>
                        </a:cubicBezTo>
                        <a:cubicBezTo>
                          <a:pt x="17727" y="69000"/>
                          <a:pt x="17727" y="69000"/>
                          <a:pt x="17045" y="69000"/>
                        </a:cubicBezTo>
                        <a:cubicBezTo>
                          <a:pt x="16363" y="68000"/>
                          <a:pt x="15681" y="66000"/>
                          <a:pt x="15681" y="66000"/>
                        </a:cubicBezTo>
                        <a:cubicBezTo>
                          <a:pt x="15000" y="67000"/>
                          <a:pt x="15000" y="70000"/>
                          <a:pt x="15000" y="70000"/>
                        </a:cubicBezTo>
                        <a:cubicBezTo>
                          <a:pt x="15000" y="71000"/>
                          <a:pt x="15681" y="72000"/>
                          <a:pt x="15000" y="73000"/>
                        </a:cubicBezTo>
                        <a:cubicBezTo>
                          <a:pt x="15000" y="73000"/>
                          <a:pt x="12954" y="74000"/>
                          <a:pt x="12954" y="74000"/>
                        </a:cubicBezTo>
                        <a:cubicBezTo>
                          <a:pt x="12954" y="74000"/>
                          <a:pt x="12272" y="74000"/>
                          <a:pt x="12272" y="74000"/>
                        </a:cubicBezTo>
                        <a:cubicBezTo>
                          <a:pt x="11590" y="74000"/>
                          <a:pt x="10227" y="72000"/>
                          <a:pt x="9545" y="71000"/>
                        </a:cubicBezTo>
                        <a:cubicBezTo>
                          <a:pt x="9545" y="70000"/>
                          <a:pt x="9545" y="68000"/>
                          <a:pt x="9545" y="68000"/>
                        </a:cubicBezTo>
                        <a:cubicBezTo>
                          <a:pt x="8863" y="67000"/>
                          <a:pt x="8181" y="66000"/>
                          <a:pt x="8181" y="66000"/>
                        </a:cubicBezTo>
                        <a:cubicBezTo>
                          <a:pt x="8181" y="66000"/>
                          <a:pt x="8863" y="65000"/>
                          <a:pt x="7500" y="66000"/>
                        </a:cubicBezTo>
                        <a:cubicBezTo>
                          <a:pt x="5454" y="66000"/>
                          <a:pt x="6136" y="67000"/>
                          <a:pt x="5454" y="67000"/>
                        </a:cubicBezTo>
                        <a:cubicBezTo>
                          <a:pt x="4772" y="66000"/>
                          <a:pt x="4772" y="65000"/>
                          <a:pt x="3409" y="65000"/>
                        </a:cubicBezTo>
                        <a:cubicBezTo>
                          <a:pt x="2727" y="65000"/>
                          <a:pt x="2045" y="64000"/>
                          <a:pt x="2045" y="64000"/>
                        </a:cubicBezTo>
                        <a:cubicBezTo>
                          <a:pt x="2045" y="64000"/>
                          <a:pt x="4090" y="62000"/>
                          <a:pt x="4772" y="62000"/>
                        </a:cubicBezTo>
                        <a:cubicBezTo>
                          <a:pt x="5454" y="62000"/>
                          <a:pt x="4772" y="62000"/>
                          <a:pt x="6136" y="62000"/>
                        </a:cubicBezTo>
                        <a:cubicBezTo>
                          <a:pt x="8181" y="61000"/>
                          <a:pt x="8863" y="63000"/>
                          <a:pt x="8863" y="61000"/>
                        </a:cubicBezTo>
                        <a:cubicBezTo>
                          <a:pt x="9545" y="59000"/>
                          <a:pt x="9545" y="58000"/>
                          <a:pt x="10227" y="57000"/>
                        </a:cubicBezTo>
                        <a:cubicBezTo>
                          <a:pt x="10227" y="56000"/>
                          <a:pt x="10909" y="54000"/>
                          <a:pt x="10909" y="54000"/>
                        </a:cubicBezTo>
                        <a:cubicBezTo>
                          <a:pt x="10909" y="53000"/>
                          <a:pt x="12954" y="53000"/>
                          <a:pt x="12954" y="53000"/>
                        </a:cubicBezTo>
                        <a:cubicBezTo>
                          <a:pt x="13636" y="56000"/>
                          <a:pt x="13636" y="56000"/>
                          <a:pt x="13636" y="56000"/>
                        </a:cubicBezTo>
                        <a:cubicBezTo>
                          <a:pt x="13636" y="56000"/>
                          <a:pt x="13636" y="57000"/>
                          <a:pt x="14318" y="57000"/>
                        </a:cubicBezTo>
                        <a:cubicBezTo>
                          <a:pt x="15000" y="57000"/>
                          <a:pt x="15000" y="57000"/>
                          <a:pt x="15000" y="57000"/>
                        </a:cubicBezTo>
                        <a:close/>
                        <a:moveTo>
                          <a:pt x="24545" y="52000"/>
                        </a:moveTo>
                        <a:cubicBezTo>
                          <a:pt x="24545" y="52000"/>
                          <a:pt x="24545" y="52000"/>
                          <a:pt x="24545" y="52000"/>
                        </a:cubicBezTo>
                        <a:cubicBezTo>
                          <a:pt x="23863" y="53000"/>
                          <a:pt x="23863" y="53000"/>
                          <a:pt x="23863" y="53000"/>
                        </a:cubicBezTo>
                        <a:cubicBezTo>
                          <a:pt x="21136" y="53000"/>
                          <a:pt x="21136" y="53000"/>
                          <a:pt x="21136" y="53000"/>
                        </a:cubicBezTo>
                        <a:cubicBezTo>
                          <a:pt x="21136" y="55000"/>
                          <a:pt x="21136" y="55000"/>
                          <a:pt x="21136" y="55000"/>
                        </a:cubicBezTo>
                        <a:cubicBezTo>
                          <a:pt x="22500" y="57000"/>
                          <a:pt x="22500" y="57000"/>
                          <a:pt x="22500" y="57000"/>
                        </a:cubicBezTo>
                        <a:cubicBezTo>
                          <a:pt x="22500" y="57000"/>
                          <a:pt x="23181" y="56000"/>
                          <a:pt x="23863" y="56000"/>
                        </a:cubicBezTo>
                        <a:cubicBezTo>
                          <a:pt x="24545" y="56000"/>
                          <a:pt x="25909" y="56000"/>
                          <a:pt x="25909" y="56000"/>
                        </a:cubicBezTo>
                        <a:cubicBezTo>
                          <a:pt x="26590" y="55000"/>
                          <a:pt x="26590" y="55000"/>
                          <a:pt x="26590" y="55000"/>
                        </a:cubicBezTo>
                        <a:cubicBezTo>
                          <a:pt x="25909" y="52000"/>
                          <a:pt x="25909" y="52000"/>
                          <a:pt x="25909" y="52000"/>
                        </a:cubicBezTo>
                        <a:lnTo>
                          <a:pt x="24545" y="520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1" name="Shape 2038"/>
                  <p:cNvSpPr/>
                  <p:nvPr/>
                </p:nvSpPr>
                <p:spPr>
                  <a:xfrm>
                    <a:off x="6144085" y="3377866"/>
                    <a:ext cx="556312" cy="405923"/>
                  </a:xfrm>
                  <a:custGeom>
                    <a:avLst/>
                    <a:gdLst/>
                    <a:ahLst/>
                    <a:cxnLst/>
                    <a:rect l="0" t="0" r="0" b="0"/>
                    <a:pathLst>
                      <a:path w="120000" h="120000" extrusionOk="0">
                        <a:moveTo>
                          <a:pt x="3442" y="24782"/>
                        </a:moveTo>
                        <a:cubicBezTo>
                          <a:pt x="3442" y="23478"/>
                          <a:pt x="3442" y="23478"/>
                          <a:pt x="3442" y="23478"/>
                        </a:cubicBezTo>
                        <a:cubicBezTo>
                          <a:pt x="3442" y="23478"/>
                          <a:pt x="3442" y="23478"/>
                          <a:pt x="3442" y="23478"/>
                        </a:cubicBezTo>
                        <a:cubicBezTo>
                          <a:pt x="6885" y="22173"/>
                          <a:pt x="9836" y="24782"/>
                          <a:pt x="11311" y="24782"/>
                        </a:cubicBezTo>
                        <a:cubicBezTo>
                          <a:pt x="14262" y="25434"/>
                          <a:pt x="7868" y="30000"/>
                          <a:pt x="8852" y="30000"/>
                        </a:cubicBezTo>
                        <a:cubicBezTo>
                          <a:pt x="9836" y="29347"/>
                          <a:pt x="8852" y="33260"/>
                          <a:pt x="10327" y="33913"/>
                        </a:cubicBezTo>
                        <a:cubicBezTo>
                          <a:pt x="12786" y="34565"/>
                          <a:pt x="14754" y="31956"/>
                          <a:pt x="17704" y="31956"/>
                        </a:cubicBezTo>
                        <a:cubicBezTo>
                          <a:pt x="20163" y="31304"/>
                          <a:pt x="23114" y="33260"/>
                          <a:pt x="24098" y="31956"/>
                        </a:cubicBezTo>
                        <a:cubicBezTo>
                          <a:pt x="26065" y="28695"/>
                          <a:pt x="33934" y="35217"/>
                          <a:pt x="37868" y="31956"/>
                        </a:cubicBezTo>
                        <a:cubicBezTo>
                          <a:pt x="40327" y="29347"/>
                          <a:pt x="50163" y="28043"/>
                          <a:pt x="53606" y="28043"/>
                        </a:cubicBezTo>
                        <a:cubicBezTo>
                          <a:pt x="62459" y="27391"/>
                          <a:pt x="62950" y="27391"/>
                          <a:pt x="66885" y="24130"/>
                        </a:cubicBezTo>
                        <a:cubicBezTo>
                          <a:pt x="66885" y="24130"/>
                          <a:pt x="69344" y="16956"/>
                          <a:pt x="70819" y="13695"/>
                        </a:cubicBezTo>
                        <a:cubicBezTo>
                          <a:pt x="71803" y="11086"/>
                          <a:pt x="74754" y="9782"/>
                          <a:pt x="77704" y="7173"/>
                        </a:cubicBezTo>
                        <a:cubicBezTo>
                          <a:pt x="80163" y="4565"/>
                          <a:pt x="86557" y="1956"/>
                          <a:pt x="88032" y="1304"/>
                        </a:cubicBezTo>
                        <a:cubicBezTo>
                          <a:pt x="89508" y="1304"/>
                          <a:pt x="99836" y="1956"/>
                          <a:pt x="99836" y="1956"/>
                        </a:cubicBezTo>
                        <a:cubicBezTo>
                          <a:pt x="105245" y="0"/>
                          <a:pt x="105245" y="0"/>
                          <a:pt x="105245" y="0"/>
                        </a:cubicBezTo>
                        <a:cubicBezTo>
                          <a:pt x="105245" y="0"/>
                          <a:pt x="106229" y="5217"/>
                          <a:pt x="107704" y="5869"/>
                        </a:cubicBezTo>
                        <a:cubicBezTo>
                          <a:pt x="112131" y="6521"/>
                          <a:pt x="115573" y="6521"/>
                          <a:pt x="117049" y="5217"/>
                        </a:cubicBezTo>
                        <a:cubicBezTo>
                          <a:pt x="117540" y="5217"/>
                          <a:pt x="117540" y="6521"/>
                          <a:pt x="118032" y="7173"/>
                        </a:cubicBezTo>
                        <a:cubicBezTo>
                          <a:pt x="118524" y="8478"/>
                          <a:pt x="119016" y="11086"/>
                          <a:pt x="119016" y="11086"/>
                        </a:cubicBezTo>
                        <a:cubicBezTo>
                          <a:pt x="118524" y="14347"/>
                          <a:pt x="118524" y="14347"/>
                          <a:pt x="118524" y="14347"/>
                        </a:cubicBezTo>
                        <a:cubicBezTo>
                          <a:pt x="118032" y="15000"/>
                          <a:pt x="118032" y="15000"/>
                          <a:pt x="118032" y="15000"/>
                        </a:cubicBezTo>
                        <a:cubicBezTo>
                          <a:pt x="115573" y="16956"/>
                          <a:pt x="115573" y="16956"/>
                          <a:pt x="115573" y="16956"/>
                        </a:cubicBezTo>
                        <a:cubicBezTo>
                          <a:pt x="115573" y="16956"/>
                          <a:pt x="114590" y="16956"/>
                          <a:pt x="114098" y="17608"/>
                        </a:cubicBezTo>
                        <a:cubicBezTo>
                          <a:pt x="113606" y="17608"/>
                          <a:pt x="112622" y="18260"/>
                          <a:pt x="112622" y="18260"/>
                        </a:cubicBezTo>
                        <a:cubicBezTo>
                          <a:pt x="112622" y="18260"/>
                          <a:pt x="111639" y="19565"/>
                          <a:pt x="111639" y="20217"/>
                        </a:cubicBezTo>
                        <a:cubicBezTo>
                          <a:pt x="111147" y="21521"/>
                          <a:pt x="110655" y="23478"/>
                          <a:pt x="110655" y="23478"/>
                        </a:cubicBezTo>
                        <a:cubicBezTo>
                          <a:pt x="109672" y="26739"/>
                          <a:pt x="109672" y="26739"/>
                          <a:pt x="109672" y="26739"/>
                        </a:cubicBezTo>
                        <a:cubicBezTo>
                          <a:pt x="109672" y="31304"/>
                          <a:pt x="109672" y="31304"/>
                          <a:pt x="109672" y="31304"/>
                        </a:cubicBezTo>
                        <a:cubicBezTo>
                          <a:pt x="110655" y="36521"/>
                          <a:pt x="110655" y="36521"/>
                          <a:pt x="110655" y="36521"/>
                        </a:cubicBezTo>
                        <a:cubicBezTo>
                          <a:pt x="111639" y="42391"/>
                          <a:pt x="111639" y="42391"/>
                          <a:pt x="111639" y="42391"/>
                        </a:cubicBezTo>
                        <a:cubicBezTo>
                          <a:pt x="111639" y="42391"/>
                          <a:pt x="110163" y="44347"/>
                          <a:pt x="109672" y="44347"/>
                        </a:cubicBezTo>
                        <a:cubicBezTo>
                          <a:pt x="109672" y="44347"/>
                          <a:pt x="109180" y="45000"/>
                          <a:pt x="109180" y="45000"/>
                        </a:cubicBezTo>
                        <a:cubicBezTo>
                          <a:pt x="109180" y="46304"/>
                          <a:pt x="109180" y="46304"/>
                          <a:pt x="109180" y="46304"/>
                        </a:cubicBezTo>
                        <a:cubicBezTo>
                          <a:pt x="108688" y="48260"/>
                          <a:pt x="108688" y="48260"/>
                          <a:pt x="108688" y="48260"/>
                        </a:cubicBezTo>
                        <a:cubicBezTo>
                          <a:pt x="108196" y="49565"/>
                          <a:pt x="108196" y="49565"/>
                          <a:pt x="108196" y="49565"/>
                        </a:cubicBezTo>
                        <a:cubicBezTo>
                          <a:pt x="108196" y="49565"/>
                          <a:pt x="107704" y="50869"/>
                          <a:pt x="107213" y="50869"/>
                        </a:cubicBezTo>
                        <a:cubicBezTo>
                          <a:pt x="106721" y="51521"/>
                          <a:pt x="105737" y="52826"/>
                          <a:pt x="105737" y="52826"/>
                        </a:cubicBezTo>
                        <a:cubicBezTo>
                          <a:pt x="106229" y="54130"/>
                          <a:pt x="106229" y="54130"/>
                          <a:pt x="106229" y="54130"/>
                        </a:cubicBezTo>
                        <a:cubicBezTo>
                          <a:pt x="111639" y="55434"/>
                          <a:pt x="111639" y="55434"/>
                          <a:pt x="111639" y="55434"/>
                        </a:cubicBezTo>
                        <a:cubicBezTo>
                          <a:pt x="111639" y="56739"/>
                          <a:pt x="111639" y="56739"/>
                          <a:pt x="111639" y="56739"/>
                        </a:cubicBezTo>
                        <a:cubicBezTo>
                          <a:pt x="114098" y="60000"/>
                          <a:pt x="114098" y="60000"/>
                          <a:pt x="114098" y="60000"/>
                        </a:cubicBezTo>
                        <a:cubicBezTo>
                          <a:pt x="115573" y="63260"/>
                          <a:pt x="115573" y="63260"/>
                          <a:pt x="115573" y="63260"/>
                        </a:cubicBezTo>
                        <a:cubicBezTo>
                          <a:pt x="118032" y="64565"/>
                          <a:pt x="118032" y="64565"/>
                          <a:pt x="118032" y="64565"/>
                        </a:cubicBezTo>
                        <a:cubicBezTo>
                          <a:pt x="118032" y="64565"/>
                          <a:pt x="120000" y="66521"/>
                          <a:pt x="120000" y="66521"/>
                        </a:cubicBezTo>
                        <a:cubicBezTo>
                          <a:pt x="119508" y="67173"/>
                          <a:pt x="117049" y="68478"/>
                          <a:pt x="117049" y="68478"/>
                        </a:cubicBezTo>
                        <a:cubicBezTo>
                          <a:pt x="115573" y="69782"/>
                          <a:pt x="115573" y="69782"/>
                          <a:pt x="115573" y="69782"/>
                        </a:cubicBezTo>
                        <a:cubicBezTo>
                          <a:pt x="115573" y="69782"/>
                          <a:pt x="114590" y="69782"/>
                          <a:pt x="113606" y="70434"/>
                        </a:cubicBezTo>
                        <a:cubicBezTo>
                          <a:pt x="113114" y="71086"/>
                          <a:pt x="110163" y="73043"/>
                          <a:pt x="110163" y="73043"/>
                        </a:cubicBezTo>
                        <a:cubicBezTo>
                          <a:pt x="106229" y="69782"/>
                          <a:pt x="106229" y="69782"/>
                          <a:pt x="106229" y="69782"/>
                        </a:cubicBezTo>
                        <a:cubicBezTo>
                          <a:pt x="103770" y="69130"/>
                          <a:pt x="103770" y="69130"/>
                          <a:pt x="103770" y="69130"/>
                        </a:cubicBezTo>
                        <a:cubicBezTo>
                          <a:pt x="102786" y="71086"/>
                          <a:pt x="102786" y="71086"/>
                          <a:pt x="102786" y="71086"/>
                        </a:cubicBezTo>
                        <a:cubicBezTo>
                          <a:pt x="100327" y="71739"/>
                          <a:pt x="100327" y="71739"/>
                          <a:pt x="100327" y="71739"/>
                        </a:cubicBezTo>
                        <a:cubicBezTo>
                          <a:pt x="98852" y="75000"/>
                          <a:pt x="98852" y="75000"/>
                          <a:pt x="98852" y="75000"/>
                        </a:cubicBezTo>
                        <a:cubicBezTo>
                          <a:pt x="98852" y="75000"/>
                          <a:pt x="95409" y="76304"/>
                          <a:pt x="94426" y="76956"/>
                        </a:cubicBezTo>
                        <a:cubicBezTo>
                          <a:pt x="93934" y="77608"/>
                          <a:pt x="91967" y="79565"/>
                          <a:pt x="91967" y="79565"/>
                        </a:cubicBezTo>
                        <a:cubicBezTo>
                          <a:pt x="92459" y="82173"/>
                          <a:pt x="92459" y="82173"/>
                          <a:pt x="92459" y="82173"/>
                        </a:cubicBezTo>
                        <a:cubicBezTo>
                          <a:pt x="90491" y="84130"/>
                          <a:pt x="90491" y="84130"/>
                          <a:pt x="90491" y="84130"/>
                        </a:cubicBezTo>
                        <a:cubicBezTo>
                          <a:pt x="90491" y="84130"/>
                          <a:pt x="89016" y="84782"/>
                          <a:pt x="88524" y="86086"/>
                        </a:cubicBezTo>
                        <a:cubicBezTo>
                          <a:pt x="88524" y="87391"/>
                          <a:pt x="89016" y="88043"/>
                          <a:pt x="89016" y="88043"/>
                        </a:cubicBezTo>
                        <a:cubicBezTo>
                          <a:pt x="88032" y="88043"/>
                          <a:pt x="86557" y="88695"/>
                          <a:pt x="86065" y="89347"/>
                        </a:cubicBezTo>
                        <a:cubicBezTo>
                          <a:pt x="85573" y="89347"/>
                          <a:pt x="85573" y="90652"/>
                          <a:pt x="86065" y="91956"/>
                        </a:cubicBezTo>
                        <a:cubicBezTo>
                          <a:pt x="86065" y="92608"/>
                          <a:pt x="87049" y="93913"/>
                          <a:pt x="88032" y="95869"/>
                        </a:cubicBezTo>
                        <a:cubicBezTo>
                          <a:pt x="88524" y="97826"/>
                          <a:pt x="89016" y="97826"/>
                          <a:pt x="89016" y="98478"/>
                        </a:cubicBezTo>
                        <a:cubicBezTo>
                          <a:pt x="89016" y="99130"/>
                          <a:pt x="88524" y="101086"/>
                          <a:pt x="88032" y="101739"/>
                        </a:cubicBezTo>
                        <a:cubicBezTo>
                          <a:pt x="87049" y="103043"/>
                          <a:pt x="86065" y="103043"/>
                          <a:pt x="85573" y="103043"/>
                        </a:cubicBezTo>
                        <a:cubicBezTo>
                          <a:pt x="85081" y="103695"/>
                          <a:pt x="83606" y="105000"/>
                          <a:pt x="83114" y="105000"/>
                        </a:cubicBezTo>
                        <a:cubicBezTo>
                          <a:pt x="82622" y="105652"/>
                          <a:pt x="80163" y="106304"/>
                          <a:pt x="79672" y="106304"/>
                        </a:cubicBezTo>
                        <a:cubicBezTo>
                          <a:pt x="79180" y="106304"/>
                          <a:pt x="76229" y="107608"/>
                          <a:pt x="76229" y="107608"/>
                        </a:cubicBezTo>
                        <a:cubicBezTo>
                          <a:pt x="73770" y="108913"/>
                          <a:pt x="73770" y="108913"/>
                          <a:pt x="73770" y="108913"/>
                        </a:cubicBezTo>
                        <a:cubicBezTo>
                          <a:pt x="72295" y="110217"/>
                          <a:pt x="72295" y="110217"/>
                          <a:pt x="72295" y="110217"/>
                        </a:cubicBezTo>
                        <a:cubicBezTo>
                          <a:pt x="68360" y="108913"/>
                          <a:pt x="68360" y="108913"/>
                          <a:pt x="68360" y="108913"/>
                        </a:cubicBezTo>
                        <a:cubicBezTo>
                          <a:pt x="63442" y="106956"/>
                          <a:pt x="63442" y="106956"/>
                          <a:pt x="63442" y="106956"/>
                        </a:cubicBezTo>
                        <a:cubicBezTo>
                          <a:pt x="63442" y="106956"/>
                          <a:pt x="60983" y="109565"/>
                          <a:pt x="60491" y="109565"/>
                        </a:cubicBezTo>
                        <a:cubicBezTo>
                          <a:pt x="60000" y="109565"/>
                          <a:pt x="57049" y="106956"/>
                          <a:pt x="57049" y="106956"/>
                        </a:cubicBezTo>
                        <a:cubicBezTo>
                          <a:pt x="55573" y="103695"/>
                          <a:pt x="55573" y="103695"/>
                          <a:pt x="55573" y="103695"/>
                        </a:cubicBezTo>
                        <a:cubicBezTo>
                          <a:pt x="55573" y="103695"/>
                          <a:pt x="52622" y="104347"/>
                          <a:pt x="52131" y="104347"/>
                        </a:cubicBezTo>
                        <a:cubicBezTo>
                          <a:pt x="51639" y="104347"/>
                          <a:pt x="51147" y="105652"/>
                          <a:pt x="51147" y="106304"/>
                        </a:cubicBezTo>
                        <a:cubicBezTo>
                          <a:pt x="50655" y="106304"/>
                          <a:pt x="49672" y="106304"/>
                          <a:pt x="48688" y="106304"/>
                        </a:cubicBezTo>
                        <a:cubicBezTo>
                          <a:pt x="47213" y="106304"/>
                          <a:pt x="46229" y="107608"/>
                          <a:pt x="46229" y="107608"/>
                        </a:cubicBezTo>
                        <a:cubicBezTo>
                          <a:pt x="45245" y="110217"/>
                          <a:pt x="45245" y="110217"/>
                          <a:pt x="45245" y="110217"/>
                        </a:cubicBezTo>
                        <a:cubicBezTo>
                          <a:pt x="45245" y="110217"/>
                          <a:pt x="42786" y="111521"/>
                          <a:pt x="42786" y="111521"/>
                        </a:cubicBezTo>
                        <a:cubicBezTo>
                          <a:pt x="42295" y="112173"/>
                          <a:pt x="37868" y="114130"/>
                          <a:pt x="37868" y="114130"/>
                        </a:cubicBezTo>
                        <a:cubicBezTo>
                          <a:pt x="34426" y="115434"/>
                          <a:pt x="34426" y="115434"/>
                          <a:pt x="34426" y="115434"/>
                        </a:cubicBezTo>
                        <a:cubicBezTo>
                          <a:pt x="34426" y="115434"/>
                          <a:pt x="33442" y="116086"/>
                          <a:pt x="32950" y="115434"/>
                        </a:cubicBezTo>
                        <a:cubicBezTo>
                          <a:pt x="32459" y="115434"/>
                          <a:pt x="30983" y="117391"/>
                          <a:pt x="30983" y="117391"/>
                        </a:cubicBezTo>
                        <a:cubicBezTo>
                          <a:pt x="28032" y="120000"/>
                          <a:pt x="28032" y="120000"/>
                          <a:pt x="28032" y="120000"/>
                        </a:cubicBezTo>
                        <a:cubicBezTo>
                          <a:pt x="25081" y="120000"/>
                          <a:pt x="25081" y="120000"/>
                          <a:pt x="25081" y="120000"/>
                        </a:cubicBezTo>
                        <a:cubicBezTo>
                          <a:pt x="25081" y="120000"/>
                          <a:pt x="25081" y="119347"/>
                          <a:pt x="25081" y="119347"/>
                        </a:cubicBezTo>
                        <a:cubicBezTo>
                          <a:pt x="25081" y="119347"/>
                          <a:pt x="25081" y="119347"/>
                          <a:pt x="25081" y="119347"/>
                        </a:cubicBezTo>
                        <a:cubicBezTo>
                          <a:pt x="25081" y="118695"/>
                          <a:pt x="25081" y="118695"/>
                          <a:pt x="25081" y="118695"/>
                        </a:cubicBezTo>
                        <a:cubicBezTo>
                          <a:pt x="25081" y="118043"/>
                          <a:pt x="24590" y="117391"/>
                          <a:pt x="24590" y="116086"/>
                        </a:cubicBezTo>
                        <a:cubicBezTo>
                          <a:pt x="24098" y="114782"/>
                          <a:pt x="23606" y="113478"/>
                          <a:pt x="23606" y="112173"/>
                        </a:cubicBezTo>
                        <a:cubicBezTo>
                          <a:pt x="23606" y="111521"/>
                          <a:pt x="24098" y="110869"/>
                          <a:pt x="24098" y="110217"/>
                        </a:cubicBezTo>
                        <a:cubicBezTo>
                          <a:pt x="24098" y="110217"/>
                          <a:pt x="24098" y="110217"/>
                          <a:pt x="24098" y="110217"/>
                        </a:cubicBezTo>
                        <a:cubicBezTo>
                          <a:pt x="24590" y="109565"/>
                          <a:pt x="24590" y="108913"/>
                          <a:pt x="24590" y="107608"/>
                        </a:cubicBezTo>
                        <a:cubicBezTo>
                          <a:pt x="24098" y="105000"/>
                          <a:pt x="22131" y="105000"/>
                          <a:pt x="21639" y="102391"/>
                        </a:cubicBezTo>
                        <a:cubicBezTo>
                          <a:pt x="21147" y="100434"/>
                          <a:pt x="19180" y="98478"/>
                          <a:pt x="19180" y="97826"/>
                        </a:cubicBezTo>
                        <a:cubicBezTo>
                          <a:pt x="15737" y="95217"/>
                          <a:pt x="13770" y="95869"/>
                          <a:pt x="11803" y="93260"/>
                        </a:cubicBezTo>
                        <a:cubicBezTo>
                          <a:pt x="11311" y="92608"/>
                          <a:pt x="10819" y="91956"/>
                          <a:pt x="10819" y="91304"/>
                        </a:cubicBezTo>
                        <a:cubicBezTo>
                          <a:pt x="11311" y="90652"/>
                          <a:pt x="11311" y="90652"/>
                          <a:pt x="11311" y="90652"/>
                        </a:cubicBezTo>
                        <a:cubicBezTo>
                          <a:pt x="11311" y="90652"/>
                          <a:pt x="10819" y="90652"/>
                          <a:pt x="10327" y="90000"/>
                        </a:cubicBezTo>
                        <a:cubicBezTo>
                          <a:pt x="9836" y="89347"/>
                          <a:pt x="9344" y="88695"/>
                          <a:pt x="8852" y="88043"/>
                        </a:cubicBezTo>
                        <a:cubicBezTo>
                          <a:pt x="8852" y="88043"/>
                          <a:pt x="8852" y="88043"/>
                          <a:pt x="8852" y="88043"/>
                        </a:cubicBezTo>
                        <a:cubicBezTo>
                          <a:pt x="9344" y="88043"/>
                          <a:pt x="9836" y="86739"/>
                          <a:pt x="9836" y="86739"/>
                        </a:cubicBezTo>
                        <a:cubicBezTo>
                          <a:pt x="10327" y="84782"/>
                          <a:pt x="10327" y="84782"/>
                          <a:pt x="10327" y="84782"/>
                        </a:cubicBezTo>
                        <a:cubicBezTo>
                          <a:pt x="10819" y="83478"/>
                          <a:pt x="10819" y="83478"/>
                          <a:pt x="10819" y="83478"/>
                        </a:cubicBezTo>
                        <a:cubicBezTo>
                          <a:pt x="10819" y="83478"/>
                          <a:pt x="10327" y="81521"/>
                          <a:pt x="9836" y="81521"/>
                        </a:cubicBezTo>
                        <a:cubicBezTo>
                          <a:pt x="9836" y="80869"/>
                          <a:pt x="8360" y="80217"/>
                          <a:pt x="8360" y="80217"/>
                        </a:cubicBezTo>
                        <a:cubicBezTo>
                          <a:pt x="8360" y="76956"/>
                          <a:pt x="8360" y="76956"/>
                          <a:pt x="8360" y="76956"/>
                        </a:cubicBezTo>
                        <a:cubicBezTo>
                          <a:pt x="7868" y="73695"/>
                          <a:pt x="7868" y="73695"/>
                          <a:pt x="7868" y="73695"/>
                        </a:cubicBezTo>
                        <a:cubicBezTo>
                          <a:pt x="6885" y="71739"/>
                          <a:pt x="6885" y="71739"/>
                          <a:pt x="6885" y="71739"/>
                        </a:cubicBezTo>
                        <a:cubicBezTo>
                          <a:pt x="6885" y="71739"/>
                          <a:pt x="7868" y="70434"/>
                          <a:pt x="8360" y="69782"/>
                        </a:cubicBezTo>
                        <a:cubicBezTo>
                          <a:pt x="8360" y="69782"/>
                          <a:pt x="8852" y="69130"/>
                          <a:pt x="9344" y="69130"/>
                        </a:cubicBezTo>
                        <a:cubicBezTo>
                          <a:pt x="9836" y="68478"/>
                          <a:pt x="10819" y="68478"/>
                          <a:pt x="11311" y="68478"/>
                        </a:cubicBezTo>
                        <a:cubicBezTo>
                          <a:pt x="11803" y="68478"/>
                          <a:pt x="12786" y="67173"/>
                          <a:pt x="12786" y="67173"/>
                        </a:cubicBezTo>
                        <a:cubicBezTo>
                          <a:pt x="12786" y="67173"/>
                          <a:pt x="12786" y="65217"/>
                          <a:pt x="12295" y="64565"/>
                        </a:cubicBezTo>
                        <a:cubicBezTo>
                          <a:pt x="12295" y="63260"/>
                          <a:pt x="13278" y="61956"/>
                          <a:pt x="13278" y="61956"/>
                        </a:cubicBezTo>
                        <a:cubicBezTo>
                          <a:pt x="13278" y="61956"/>
                          <a:pt x="14754" y="59347"/>
                          <a:pt x="15245" y="58695"/>
                        </a:cubicBezTo>
                        <a:cubicBezTo>
                          <a:pt x="15737" y="58043"/>
                          <a:pt x="16229" y="54782"/>
                          <a:pt x="16229" y="54782"/>
                        </a:cubicBezTo>
                        <a:cubicBezTo>
                          <a:pt x="14262" y="54782"/>
                          <a:pt x="14262" y="54782"/>
                          <a:pt x="14262" y="54782"/>
                        </a:cubicBezTo>
                        <a:cubicBezTo>
                          <a:pt x="12295" y="54130"/>
                          <a:pt x="12295" y="54130"/>
                          <a:pt x="12295" y="54130"/>
                        </a:cubicBezTo>
                        <a:cubicBezTo>
                          <a:pt x="12295" y="54130"/>
                          <a:pt x="10327" y="50217"/>
                          <a:pt x="10327" y="50217"/>
                        </a:cubicBezTo>
                        <a:cubicBezTo>
                          <a:pt x="10327" y="49565"/>
                          <a:pt x="9344" y="49565"/>
                          <a:pt x="9344" y="49565"/>
                        </a:cubicBezTo>
                        <a:cubicBezTo>
                          <a:pt x="9344" y="49565"/>
                          <a:pt x="7377" y="48260"/>
                          <a:pt x="7377" y="48260"/>
                        </a:cubicBezTo>
                        <a:cubicBezTo>
                          <a:pt x="6885" y="48260"/>
                          <a:pt x="5409" y="47608"/>
                          <a:pt x="5409" y="47608"/>
                        </a:cubicBezTo>
                        <a:cubicBezTo>
                          <a:pt x="5409" y="47608"/>
                          <a:pt x="3442" y="44347"/>
                          <a:pt x="2950" y="43043"/>
                        </a:cubicBezTo>
                        <a:cubicBezTo>
                          <a:pt x="2459" y="41739"/>
                          <a:pt x="1967" y="41086"/>
                          <a:pt x="1967" y="41086"/>
                        </a:cubicBezTo>
                        <a:cubicBezTo>
                          <a:pt x="1967" y="41086"/>
                          <a:pt x="1475" y="39782"/>
                          <a:pt x="983" y="39130"/>
                        </a:cubicBezTo>
                        <a:cubicBezTo>
                          <a:pt x="491" y="38478"/>
                          <a:pt x="491" y="37173"/>
                          <a:pt x="491" y="37173"/>
                        </a:cubicBezTo>
                        <a:cubicBezTo>
                          <a:pt x="491" y="37173"/>
                          <a:pt x="983" y="35217"/>
                          <a:pt x="491" y="33913"/>
                        </a:cubicBezTo>
                        <a:cubicBezTo>
                          <a:pt x="491" y="33260"/>
                          <a:pt x="0" y="30652"/>
                          <a:pt x="491" y="30652"/>
                        </a:cubicBezTo>
                        <a:cubicBezTo>
                          <a:pt x="983" y="29347"/>
                          <a:pt x="1475" y="28043"/>
                          <a:pt x="2459" y="27391"/>
                        </a:cubicBezTo>
                        <a:cubicBezTo>
                          <a:pt x="2950" y="27391"/>
                          <a:pt x="2950" y="27391"/>
                          <a:pt x="3442" y="27391"/>
                        </a:cubicBezTo>
                        <a:cubicBezTo>
                          <a:pt x="3934" y="27391"/>
                          <a:pt x="3442" y="25434"/>
                          <a:pt x="3442" y="25434"/>
                        </a:cubicBezTo>
                        <a:lnTo>
                          <a:pt x="3442" y="24782"/>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2" name="Shape 2040"/>
                  <p:cNvSpPr/>
                  <p:nvPr/>
                </p:nvSpPr>
                <p:spPr>
                  <a:xfrm>
                    <a:off x="4983087" y="2966615"/>
                    <a:ext cx="635471" cy="313232"/>
                  </a:xfrm>
                  <a:custGeom>
                    <a:avLst/>
                    <a:gdLst/>
                    <a:ahLst/>
                    <a:cxnLst/>
                    <a:rect l="0" t="0" r="0" b="0"/>
                    <a:pathLst>
                      <a:path w="120000" h="120000" extrusionOk="0">
                        <a:moveTo>
                          <a:pt x="80430" y="20281"/>
                        </a:moveTo>
                        <a:cubicBezTo>
                          <a:pt x="80430" y="20281"/>
                          <a:pt x="80430" y="15211"/>
                          <a:pt x="80860" y="15211"/>
                        </a:cubicBezTo>
                        <a:cubicBezTo>
                          <a:pt x="81290" y="15211"/>
                          <a:pt x="82150" y="12676"/>
                          <a:pt x="82150" y="12676"/>
                        </a:cubicBezTo>
                        <a:cubicBezTo>
                          <a:pt x="83440" y="11830"/>
                          <a:pt x="83440" y="11830"/>
                          <a:pt x="83440" y="11830"/>
                        </a:cubicBezTo>
                        <a:cubicBezTo>
                          <a:pt x="83440" y="11830"/>
                          <a:pt x="84301" y="10140"/>
                          <a:pt x="84301" y="8450"/>
                        </a:cubicBezTo>
                        <a:cubicBezTo>
                          <a:pt x="83870" y="7605"/>
                          <a:pt x="84301" y="3380"/>
                          <a:pt x="84301" y="3380"/>
                        </a:cubicBezTo>
                        <a:cubicBezTo>
                          <a:pt x="84301" y="3380"/>
                          <a:pt x="83870" y="845"/>
                          <a:pt x="84301" y="845"/>
                        </a:cubicBezTo>
                        <a:cubicBezTo>
                          <a:pt x="85161" y="0"/>
                          <a:pt x="86451" y="1690"/>
                          <a:pt x="86451" y="1690"/>
                        </a:cubicBezTo>
                        <a:cubicBezTo>
                          <a:pt x="88602" y="2535"/>
                          <a:pt x="88602" y="2535"/>
                          <a:pt x="88602" y="2535"/>
                        </a:cubicBezTo>
                        <a:cubicBezTo>
                          <a:pt x="88602" y="2535"/>
                          <a:pt x="89462" y="2535"/>
                          <a:pt x="89892" y="2535"/>
                        </a:cubicBezTo>
                        <a:cubicBezTo>
                          <a:pt x="90322" y="2535"/>
                          <a:pt x="92043" y="3380"/>
                          <a:pt x="92043" y="3380"/>
                        </a:cubicBezTo>
                        <a:cubicBezTo>
                          <a:pt x="92043" y="3380"/>
                          <a:pt x="93763" y="4225"/>
                          <a:pt x="94193" y="4225"/>
                        </a:cubicBezTo>
                        <a:cubicBezTo>
                          <a:pt x="94623" y="4225"/>
                          <a:pt x="96344" y="4225"/>
                          <a:pt x="96344" y="4225"/>
                        </a:cubicBezTo>
                        <a:cubicBezTo>
                          <a:pt x="97204" y="5070"/>
                          <a:pt x="97204" y="5070"/>
                          <a:pt x="97204" y="5070"/>
                        </a:cubicBezTo>
                        <a:cubicBezTo>
                          <a:pt x="100215" y="7605"/>
                          <a:pt x="100215" y="7605"/>
                          <a:pt x="100215" y="7605"/>
                        </a:cubicBezTo>
                        <a:cubicBezTo>
                          <a:pt x="101935" y="9295"/>
                          <a:pt x="101935" y="9295"/>
                          <a:pt x="101935" y="9295"/>
                        </a:cubicBezTo>
                        <a:cubicBezTo>
                          <a:pt x="106666" y="10140"/>
                          <a:pt x="106666" y="10140"/>
                          <a:pt x="106666" y="10140"/>
                        </a:cubicBezTo>
                        <a:cubicBezTo>
                          <a:pt x="107096" y="6760"/>
                          <a:pt x="107096" y="6760"/>
                          <a:pt x="107096" y="6760"/>
                        </a:cubicBezTo>
                        <a:cubicBezTo>
                          <a:pt x="107096" y="6760"/>
                          <a:pt x="108817" y="5915"/>
                          <a:pt x="108817" y="6760"/>
                        </a:cubicBezTo>
                        <a:cubicBezTo>
                          <a:pt x="109247" y="6760"/>
                          <a:pt x="110107" y="8450"/>
                          <a:pt x="111397" y="9295"/>
                        </a:cubicBezTo>
                        <a:cubicBezTo>
                          <a:pt x="112688" y="9295"/>
                          <a:pt x="113978" y="8450"/>
                          <a:pt x="113978" y="8450"/>
                        </a:cubicBezTo>
                        <a:cubicBezTo>
                          <a:pt x="114838" y="13521"/>
                          <a:pt x="114838" y="13521"/>
                          <a:pt x="114838" y="13521"/>
                        </a:cubicBezTo>
                        <a:cubicBezTo>
                          <a:pt x="115698" y="14366"/>
                          <a:pt x="115698" y="14366"/>
                          <a:pt x="115698" y="14366"/>
                        </a:cubicBezTo>
                        <a:cubicBezTo>
                          <a:pt x="115268" y="14366"/>
                          <a:pt x="115268" y="14366"/>
                          <a:pt x="115268" y="14366"/>
                        </a:cubicBezTo>
                        <a:cubicBezTo>
                          <a:pt x="115268" y="16901"/>
                          <a:pt x="115268" y="16901"/>
                          <a:pt x="115268" y="16901"/>
                        </a:cubicBezTo>
                        <a:cubicBezTo>
                          <a:pt x="115698" y="17746"/>
                          <a:pt x="115698" y="17746"/>
                          <a:pt x="115698" y="17746"/>
                        </a:cubicBezTo>
                        <a:cubicBezTo>
                          <a:pt x="115698" y="17746"/>
                          <a:pt x="115268" y="19436"/>
                          <a:pt x="115268" y="19436"/>
                        </a:cubicBezTo>
                        <a:cubicBezTo>
                          <a:pt x="115268" y="19436"/>
                          <a:pt x="115268" y="21126"/>
                          <a:pt x="115268" y="21126"/>
                        </a:cubicBezTo>
                        <a:cubicBezTo>
                          <a:pt x="114408" y="22816"/>
                          <a:pt x="114408" y="22816"/>
                          <a:pt x="114408" y="22816"/>
                        </a:cubicBezTo>
                        <a:cubicBezTo>
                          <a:pt x="114408" y="24507"/>
                          <a:pt x="114408" y="24507"/>
                          <a:pt x="114408" y="24507"/>
                        </a:cubicBezTo>
                        <a:cubicBezTo>
                          <a:pt x="114408" y="24507"/>
                          <a:pt x="114408" y="27042"/>
                          <a:pt x="114408" y="27042"/>
                        </a:cubicBezTo>
                        <a:cubicBezTo>
                          <a:pt x="114408" y="27042"/>
                          <a:pt x="114838" y="27887"/>
                          <a:pt x="115268" y="27887"/>
                        </a:cubicBezTo>
                        <a:cubicBezTo>
                          <a:pt x="115268" y="27887"/>
                          <a:pt x="115268" y="28732"/>
                          <a:pt x="115268" y="28732"/>
                        </a:cubicBezTo>
                        <a:cubicBezTo>
                          <a:pt x="115268" y="28732"/>
                          <a:pt x="115698" y="29577"/>
                          <a:pt x="116129" y="30422"/>
                        </a:cubicBezTo>
                        <a:cubicBezTo>
                          <a:pt x="116129" y="30422"/>
                          <a:pt x="116129" y="30422"/>
                          <a:pt x="116129" y="30422"/>
                        </a:cubicBezTo>
                        <a:cubicBezTo>
                          <a:pt x="116129" y="30422"/>
                          <a:pt x="116559" y="32112"/>
                          <a:pt x="116559" y="32957"/>
                        </a:cubicBezTo>
                        <a:cubicBezTo>
                          <a:pt x="116989" y="33802"/>
                          <a:pt x="116989" y="34647"/>
                          <a:pt x="116989" y="34647"/>
                        </a:cubicBezTo>
                        <a:cubicBezTo>
                          <a:pt x="116989" y="34647"/>
                          <a:pt x="117419" y="36338"/>
                          <a:pt x="117849" y="36338"/>
                        </a:cubicBezTo>
                        <a:cubicBezTo>
                          <a:pt x="117849" y="36338"/>
                          <a:pt x="118279" y="36338"/>
                          <a:pt x="118709" y="36338"/>
                        </a:cubicBezTo>
                        <a:cubicBezTo>
                          <a:pt x="118709" y="36338"/>
                          <a:pt x="119139" y="36338"/>
                          <a:pt x="119139" y="36338"/>
                        </a:cubicBezTo>
                        <a:cubicBezTo>
                          <a:pt x="119139" y="37183"/>
                          <a:pt x="118709" y="42253"/>
                          <a:pt x="118709" y="42253"/>
                        </a:cubicBezTo>
                        <a:cubicBezTo>
                          <a:pt x="119139" y="47323"/>
                          <a:pt x="119139" y="47323"/>
                          <a:pt x="119139" y="47323"/>
                        </a:cubicBezTo>
                        <a:cubicBezTo>
                          <a:pt x="119139" y="47323"/>
                          <a:pt x="118709" y="49859"/>
                          <a:pt x="118709" y="50704"/>
                        </a:cubicBezTo>
                        <a:cubicBezTo>
                          <a:pt x="119139" y="52394"/>
                          <a:pt x="120000" y="54084"/>
                          <a:pt x="118709" y="54929"/>
                        </a:cubicBezTo>
                        <a:cubicBezTo>
                          <a:pt x="117849" y="54929"/>
                          <a:pt x="116559" y="56619"/>
                          <a:pt x="116129" y="54929"/>
                        </a:cubicBezTo>
                        <a:cubicBezTo>
                          <a:pt x="116129" y="54929"/>
                          <a:pt x="115698" y="53239"/>
                          <a:pt x="115698" y="55774"/>
                        </a:cubicBezTo>
                        <a:cubicBezTo>
                          <a:pt x="116129" y="56619"/>
                          <a:pt x="114838" y="55774"/>
                          <a:pt x="114838" y="55774"/>
                        </a:cubicBezTo>
                        <a:cubicBezTo>
                          <a:pt x="111397" y="53239"/>
                          <a:pt x="111397" y="53239"/>
                          <a:pt x="111397" y="53239"/>
                        </a:cubicBezTo>
                        <a:cubicBezTo>
                          <a:pt x="110537" y="54929"/>
                          <a:pt x="110537" y="54929"/>
                          <a:pt x="110537" y="54929"/>
                        </a:cubicBezTo>
                        <a:cubicBezTo>
                          <a:pt x="108817" y="57464"/>
                          <a:pt x="108817" y="57464"/>
                          <a:pt x="108817" y="57464"/>
                        </a:cubicBezTo>
                        <a:cubicBezTo>
                          <a:pt x="111397" y="59154"/>
                          <a:pt x="111397" y="59154"/>
                          <a:pt x="111397" y="59154"/>
                        </a:cubicBezTo>
                        <a:cubicBezTo>
                          <a:pt x="112258" y="59154"/>
                          <a:pt x="112258" y="59154"/>
                          <a:pt x="112258" y="59154"/>
                        </a:cubicBezTo>
                        <a:cubicBezTo>
                          <a:pt x="114408" y="65915"/>
                          <a:pt x="114408" y="65915"/>
                          <a:pt x="114408" y="65915"/>
                        </a:cubicBezTo>
                        <a:cubicBezTo>
                          <a:pt x="111827" y="69295"/>
                          <a:pt x="111827" y="69295"/>
                          <a:pt x="111827" y="69295"/>
                        </a:cubicBezTo>
                        <a:cubicBezTo>
                          <a:pt x="111827" y="69295"/>
                          <a:pt x="110537" y="70985"/>
                          <a:pt x="110107" y="70985"/>
                        </a:cubicBezTo>
                        <a:cubicBezTo>
                          <a:pt x="109677" y="70985"/>
                          <a:pt x="109247" y="71830"/>
                          <a:pt x="109247" y="71830"/>
                        </a:cubicBezTo>
                        <a:cubicBezTo>
                          <a:pt x="110537" y="76901"/>
                          <a:pt x="110537" y="76901"/>
                          <a:pt x="110537" y="76901"/>
                        </a:cubicBezTo>
                        <a:cubicBezTo>
                          <a:pt x="110537" y="78591"/>
                          <a:pt x="110537" y="78591"/>
                          <a:pt x="110537" y="78591"/>
                        </a:cubicBezTo>
                        <a:cubicBezTo>
                          <a:pt x="110967" y="83661"/>
                          <a:pt x="110967" y="83661"/>
                          <a:pt x="110967" y="83661"/>
                        </a:cubicBezTo>
                        <a:cubicBezTo>
                          <a:pt x="109677" y="87887"/>
                          <a:pt x="109677" y="87887"/>
                          <a:pt x="109677" y="87887"/>
                        </a:cubicBezTo>
                        <a:cubicBezTo>
                          <a:pt x="108387" y="88732"/>
                          <a:pt x="108387" y="88732"/>
                          <a:pt x="108387" y="88732"/>
                        </a:cubicBezTo>
                        <a:cubicBezTo>
                          <a:pt x="107096" y="94647"/>
                          <a:pt x="107096" y="94647"/>
                          <a:pt x="107096" y="94647"/>
                        </a:cubicBezTo>
                        <a:cubicBezTo>
                          <a:pt x="104946" y="97183"/>
                          <a:pt x="104946" y="97183"/>
                          <a:pt x="104946" y="97183"/>
                        </a:cubicBezTo>
                        <a:cubicBezTo>
                          <a:pt x="104516" y="100563"/>
                          <a:pt x="104516" y="100563"/>
                          <a:pt x="104516" y="100563"/>
                        </a:cubicBezTo>
                        <a:cubicBezTo>
                          <a:pt x="104946" y="105633"/>
                          <a:pt x="104946" y="105633"/>
                          <a:pt x="104946" y="105633"/>
                        </a:cubicBezTo>
                        <a:cubicBezTo>
                          <a:pt x="102365" y="102253"/>
                          <a:pt x="102365" y="102253"/>
                          <a:pt x="102365" y="102253"/>
                        </a:cubicBezTo>
                        <a:cubicBezTo>
                          <a:pt x="100215" y="103943"/>
                          <a:pt x="100215" y="103943"/>
                          <a:pt x="100215" y="103943"/>
                        </a:cubicBezTo>
                        <a:cubicBezTo>
                          <a:pt x="98924" y="104788"/>
                          <a:pt x="98924" y="104788"/>
                          <a:pt x="98924" y="104788"/>
                        </a:cubicBezTo>
                        <a:cubicBezTo>
                          <a:pt x="96344" y="108169"/>
                          <a:pt x="96344" y="108169"/>
                          <a:pt x="96344" y="108169"/>
                        </a:cubicBezTo>
                        <a:cubicBezTo>
                          <a:pt x="94193" y="106478"/>
                          <a:pt x="94193" y="106478"/>
                          <a:pt x="94193" y="106478"/>
                        </a:cubicBezTo>
                        <a:cubicBezTo>
                          <a:pt x="91182" y="108169"/>
                          <a:pt x="91182" y="108169"/>
                          <a:pt x="91182" y="108169"/>
                        </a:cubicBezTo>
                        <a:cubicBezTo>
                          <a:pt x="88602" y="108169"/>
                          <a:pt x="88602" y="108169"/>
                          <a:pt x="88602" y="108169"/>
                        </a:cubicBezTo>
                        <a:cubicBezTo>
                          <a:pt x="87311" y="109859"/>
                          <a:pt x="87311" y="109859"/>
                          <a:pt x="87311" y="109859"/>
                        </a:cubicBezTo>
                        <a:cubicBezTo>
                          <a:pt x="86451" y="113239"/>
                          <a:pt x="86451" y="113239"/>
                          <a:pt x="86451" y="113239"/>
                        </a:cubicBezTo>
                        <a:cubicBezTo>
                          <a:pt x="86021" y="114929"/>
                          <a:pt x="86021" y="114929"/>
                          <a:pt x="86021" y="114929"/>
                        </a:cubicBezTo>
                        <a:cubicBezTo>
                          <a:pt x="84301" y="115774"/>
                          <a:pt x="84301" y="115774"/>
                          <a:pt x="84301" y="115774"/>
                        </a:cubicBezTo>
                        <a:cubicBezTo>
                          <a:pt x="83440" y="118309"/>
                          <a:pt x="83440" y="118309"/>
                          <a:pt x="83440" y="118309"/>
                        </a:cubicBezTo>
                        <a:cubicBezTo>
                          <a:pt x="82150" y="120000"/>
                          <a:pt x="82150" y="120000"/>
                          <a:pt x="82150" y="120000"/>
                        </a:cubicBezTo>
                        <a:cubicBezTo>
                          <a:pt x="81290" y="120000"/>
                          <a:pt x="81290" y="120000"/>
                          <a:pt x="81290" y="120000"/>
                        </a:cubicBezTo>
                        <a:cubicBezTo>
                          <a:pt x="77419" y="120000"/>
                          <a:pt x="77419" y="120000"/>
                          <a:pt x="77419" y="120000"/>
                        </a:cubicBezTo>
                        <a:cubicBezTo>
                          <a:pt x="73118" y="119154"/>
                          <a:pt x="73118" y="119154"/>
                          <a:pt x="73118" y="119154"/>
                        </a:cubicBezTo>
                        <a:cubicBezTo>
                          <a:pt x="69247" y="116619"/>
                          <a:pt x="69247" y="116619"/>
                          <a:pt x="69247" y="116619"/>
                        </a:cubicBezTo>
                        <a:cubicBezTo>
                          <a:pt x="66236" y="117464"/>
                          <a:pt x="66236" y="117464"/>
                          <a:pt x="66236" y="117464"/>
                        </a:cubicBezTo>
                        <a:cubicBezTo>
                          <a:pt x="66236" y="117464"/>
                          <a:pt x="64086" y="116619"/>
                          <a:pt x="62795" y="116619"/>
                        </a:cubicBezTo>
                        <a:cubicBezTo>
                          <a:pt x="61075" y="116619"/>
                          <a:pt x="57634" y="114929"/>
                          <a:pt x="57634" y="114929"/>
                        </a:cubicBezTo>
                        <a:cubicBezTo>
                          <a:pt x="53333" y="112394"/>
                          <a:pt x="53333" y="112394"/>
                          <a:pt x="53333" y="112394"/>
                        </a:cubicBezTo>
                        <a:cubicBezTo>
                          <a:pt x="50752" y="112394"/>
                          <a:pt x="50752" y="112394"/>
                          <a:pt x="50752" y="112394"/>
                        </a:cubicBezTo>
                        <a:cubicBezTo>
                          <a:pt x="46881" y="111549"/>
                          <a:pt x="46881" y="111549"/>
                          <a:pt x="46881" y="111549"/>
                        </a:cubicBezTo>
                        <a:cubicBezTo>
                          <a:pt x="46881" y="111549"/>
                          <a:pt x="46451" y="109859"/>
                          <a:pt x="46021" y="109014"/>
                        </a:cubicBezTo>
                        <a:cubicBezTo>
                          <a:pt x="46021" y="108169"/>
                          <a:pt x="44731" y="106478"/>
                          <a:pt x="44731" y="106478"/>
                        </a:cubicBezTo>
                        <a:cubicBezTo>
                          <a:pt x="44731" y="104788"/>
                          <a:pt x="44731" y="104788"/>
                          <a:pt x="44731" y="104788"/>
                        </a:cubicBezTo>
                        <a:cubicBezTo>
                          <a:pt x="43870" y="100563"/>
                          <a:pt x="43870" y="100563"/>
                          <a:pt x="43870" y="100563"/>
                        </a:cubicBezTo>
                        <a:cubicBezTo>
                          <a:pt x="43010" y="97183"/>
                          <a:pt x="43010" y="97183"/>
                          <a:pt x="43010" y="97183"/>
                        </a:cubicBezTo>
                        <a:cubicBezTo>
                          <a:pt x="43870" y="94647"/>
                          <a:pt x="43870" y="94647"/>
                          <a:pt x="43870" y="94647"/>
                        </a:cubicBezTo>
                        <a:cubicBezTo>
                          <a:pt x="43010" y="93802"/>
                          <a:pt x="43010" y="93802"/>
                          <a:pt x="43010" y="93802"/>
                        </a:cubicBezTo>
                        <a:cubicBezTo>
                          <a:pt x="43010" y="93802"/>
                          <a:pt x="41290" y="94647"/>
                          <a:pt x="40430" y="94647"/>
                        </a:cubicBezTo>
                        <a:cubicBezTo>
                          <a:pt x="40000" y="95492"/>
                          <a:pt x="37419" y="96338"/>
                          <a:pt x="37419" y="96338"/>
                        </a:cubicBezTo>
                        <a:cubicBezTo>
                          <a:pt x="36559" y="97183"/>
                          <a:pt x="36559" y="97183"/>
                          <a:pt x="36559" y="97183"/>
                        </a:cubicBezTo>
                        <a:cubicBezTo>
                          <a:pt x="33118" y="97183"/>
                          <a:pt x="33118" y="97183"/>
                          <a:pt x="33118" y="97183"/>
                        </a:cubicBezTo>
                        <a:cubicBezTo>
                          <a:pt x="29677" y="98028"/>
                          <a:pt x="29677" y="98028"/>
                          <a:pt x="29677" y="98028"/>
                        </a:cubicBezTo>
                        <a:cubicBezTo>
                          <a:pt x="28387" y="99718"/>
                          <a:pt x="28387" y="99718"/>
                          <a:pt x="28387" y="99718"/>
                        </a:cubicBezTo>
                        <a:cubicBezTo>
                          <a:pt x="25806" y="102253"/>
                          <a:pt x="25806" y="102253"/>
                          <a:pt x="25806" y="102253"/>
                        </a:cubicBezTo>
                        <a:cubicBezTo>
                          <a:pt x="25806" y="105633"/>
                          <a:pt x="25806" y="105633"/>
                          <a:pt x="25806" y="105633"/>
                        </a:cubicBezTo>
                        <a:cubicBezTo>
                          <a:pt x="24516" y="109014"/>
                          <a:pt x="24516" y="109014"/>
                          <a:pt x="24516" y="109014"/>
                        </a:cubicBezTo>
                        <a:cubicBezTo>
                          <a:pt x="22365" y="109014"/>
                          <a:pt x="22365" y="109014"/>
                          <a:pt x="22365" y="109014"/>
                        </a:cubicBezTo>
                        <a:cubicBezTo>
                          <a:pt x="20215" y="105633"/>
                          <a:pt x="20215" y="105633"/>
                          <a:pt x="20215" y="105633"/>
                        </a:cubicBezTo>
                        <a:cubicBezTo>
                          <a:pt x="19354" y="107323"/>
                          <a:pt x="19354" y="107323"/>
                          <a:pt x="19354" y="107323"/>
                        </a:cubicBezTo>
                        <a:cubicBezTo>
                          <a:pt x="16774" y="106478"/>
                          <a:pt x="16774" y="106478"/>
                          <a:pt x="16774" y="106478"/>
                        </a:cubicBezTo>
                        <a:cubicBezTo>
                          <a:pt x="16344" y="107323"/>
                          <a:pt x="16344" y="107323"/>
                          <a:pt x="16344" y="107323"/>
                        </a:cubicBezTo>
                        <a:cubicBezTo>
                          <a:pt x="16344" y="107323"/>
                          <a:pt x="16344" y="106478"/>
                          <a:pt x="16344" y="106478"/>
                        </a:cubicBezTo>
                        <a:cubicBezTo>
                          <a:pt x="16344" y="105633"/>
                          <a:pt x="16774" y="103098"/>
                          <a:pt x="16774" y="103098"/>
                        </a:cubicBezTo>
                        <a:cubicBezTo>
                          <a:pt x="16774" y="103098"/>
                          <a:pt x="16774" y="102253"/>
                          <a:pt x="16774" y="101408"/>
                        </a:cubicBezTo>
                        <a:cubicBezTo>
                          <a:pt x="16774" y="101408"/>
                          <a:pt x="16344" y="100563"/>
                          <a:pt x="16344" y="100563"/>
                        </a:cubicBezTo>
                        <a:cubicBezTo>
                          <a:pt x="15913" y="99718"/>
                          <a:pt x="15913" y="99718"/>
                          <a:pt x="15913" y="99718"/>
                        </a:cubicBezTo>
                        <a:cubicBezTo>
                          <a:pt x="15913" y="99718"/>
                          <a:pt x="15483" y="98028"/>
                          <a:pt x="15483" y="98028"/>
                        </a:cubicBezTo>
                        <a:cubicBezTo>
                          <a:pt x="15053" y="98873"/>
                          <a:pt x="14623" y="98873"/>
                          <a:pt x="14623" y="98873"/>
                        </a:cubicBezTo>
                        <a:cubicBezTo>
                          <a:pt x="14623" y="98873"/>
                          <a:pt x="14623" y="100563"/>
                          <a:pt x="14623" y="100563"/>
                        </a:cubicBezTo>
                        <a:cubicBezTo>
                          <a:pt x="14193" y="101408"/>
                          <a:pt x="13763" y="101408"/>
                          <a:pt x="13763" y="101408"/>
                        </a:cubicBezTo>
                        <a:cubicBezTo>
                          <a:pt x="13763" y="101408"/>
                          <a:pt x="13763" y="101408"/>
                          <a:pt x="13763" y="101408"/>
                        </a:cubicBezTo>
                        <a:cubicBezTo>
                          <a:pt x="13333" y="101408"/>
                          <a:pt x="13333" y="101408"/>
                          <a:pt x="13333" y="101408"/>
                        </a:cubicBezTo>
                        <a:cubicBezTo>
                          <a:pt x="12903" y="103098"/>
                          <a:pt x="12903" y="103098"/>
                          <a:pt x="12903" y="103098"/>
                        </a:cubicBezTo>
                        <a:cubicBezTo>
                          <a:pt x="12473" y="103943"/>
                          <a:pt x="12473" y="103943"/>
                          <a:pt x="12473" y="103943"/>
                        </a:cubicBezTo>
                        <a:cubicBezTo>
                          <a:pt x="12473" y="103943"/>
                          <a:pt x="12473" y="103943"/>
                          <a:pt x="12473" y="103943"/>
                        </a:cubicBezTo>
                        <a:cubicBezTo>
                          <a:pt x="12473" y="103943"/>
                          <a:pt x="12473" y="103943"/>
                          <a:pt x="12473" y="103943"/>
                        </a:cubicBezTo>
                        <a:cubicBezTo>
                          <a:pt x="12473" y="103943"/>
                          <a:pt x="12043" y="103943"/>
                          <a:pt x="12043" y="104788"/>
                        </a:cubicBezTo>
                        <a:cubicBezTo>
                          <a:pt x="12043" y="104788"/>
                          <a:pt x="11612" y="104788"/>
                          <a:pt x="11182" y="104788"/>
                        </a:cubicBezTo>
                        <a:cubicBezTo>
                          <a:pt x="11182" y="104788"/>
                          <a:pt x="10322" y="104788"/>
                          <a:pt x="10322" y="104788"/>
                        </a:cubicBezTo>
                        <a:cubicBezTo>
                          <a:pt x="9892" y="103943"/>
                          <a:pt x="9892" y="103943"/>
                          <a:pt x="9892" y="103943"/>
                        </a:cubicBezTo>
                        <a:cubicBezTo>
                          <a:pt x="8602" y="103098"/>
                          <a:pt x="8602" y="103098"/>
                          <a:pt x="8602" y="103098"/>
                        </a:cubicBezTo>
                        <a:cubicBezTo>
                          <a:pt x="8602" y="103098"/>
                          <a:pt x="8602" y="103098"/>
                          <a:pt x="8602" y="103098"/>
                        </a:cubicBezTo>
                        <a:cubicBezTo>
                          <a:pt x="7741" y="102253"/>
                          <a:pt x="7741" y="102253"/>
                          <a:pt x="7741" y="102253"/>
                        </a:cubicBezTo>
                        <a:cubicBezTo>
                          <a:pt x="7311" y="101408"/>
                          <a:pt x="7311" y="101408"/>
                          <a:pt x="7311" y="101408"/>
                        </a:cubicBezTo>
                        <a:cubicBezTo>
                          <a:pt x="7311" y="99718"/>
                          <a:pt x="7311" y="99718"/>
                          <a:pt x="7311" y="99718"/>
                        </a:cubicBezTo>
                        <a:cubicBezTo>
                          <a:pt x="6451" y="98028"/>
                          <a:pt x="6451" y="98028"/>
                          <a:pt x="6451" y="98028"/>
                        </a:cubicBezTo>
                        <a:cubicBezTo>
                          <a:pt x="4731" y="97183"/>
                          <a:pt x="4731" y="97183"/>
                          <a:pt x="4731" y="97183"/>
                        </a:cubicBezTo>
                        <a:cubicBezTo>
                          <a:pt x="3440" y="96338"/>
                          <a:pt x="3440" y="96338"/>
                          <a:pt x="3440" y="96338"/>
                        </a:cubicBezTo>
                        <a:cubicBezTo>
                          <a:pt x="2580" y="96338"/>
                          <a:pt x="2580" y="96338"/>
                          <a:pt x="2580" y="96338"/>
                        </a:cubicBezTo>
                        <a:cubicBezTo>
                          <a:pt x="2580" y="96338"/>
                          <a:pt x="860" y="96338"/>
                          <a:pt x="860" y="96338"/>
                        </a:cubicBezTo>
                        <a:cubicBezTo>
                          <a:pt x="860" y="96338"/>
                          <a:pt x="430" y="96338"/>
                          <a:pt x="430" y="96338"/>
                        </a:cubicBezTo>
                        <a:cubicBezTo>
                          <a:pt x="430" y="96338"/>
                          <a:pt x="430" y="96338"/>
                          <a:pt x="430" y="96338"/>
                        </a:cubicBezTo>
                        <a:cubicBezTo>
                          <a:pt x="430" y="96338"/>
                          <a:pt x="430" y="96338"/>
                          <a:pt x="430" y="96338"/>
                        </a:cubicBezTo>
                        <a:cubicBezTo>
                          <a:pt x="430" y="96338"/>
                          <a:pt x="430" y="96338"/>
                          <a:pt x="430" y="96338"/>
                        </a:cubicBezTo>
                        <a:cubicBezTo>
                          <a:pt x="860" y="96338"/>
                          <a:pt x="860" y="96338"/>
                          <a:pt x="860" y="96338"/>
                        </a:cubicBezTo>
                        <a:cubicBezTo>
                          <a:pt x="860" y="96338"/>
                          <a:pt x="860" y="95492"/>
                          <a:pt x="860" y="95492"/>
                        </a:cubicBezTo>
                        <a:cubicBezTo>
                          <a:pt x="860" y="95492"/>
                          <a:pt x="860" y="95492"/>
                          <a:pt x="860" y="95492"/>
                        </a:cubicBezTo>
                        <a:cubicBezTo>
                          <a:pt x="860" y="95492"/>
                          <a:pt x="1290" y="96338"/>
                          <a:pt x="1290" y="96338"/>
                        </a:cubicBezTo>
                        <a:cubicBezTo>
                          <a:pt x="1290" y="96338"/>
                          <a:pt x="1290" y="96338"/>
                          <a:pt x="1290" y="96338"/>
                        </a:cubicBezTo>
                        <a:cubicBezTo>
                          <a:pt x="1290" y="96338"/>
                          <a:pt x="1290" y="96338"/>
                          <a:pt x="1290" y="96338"/>
                        </a:cubicBezTo>
                        <a:cubicBezTo>
                          <a:pt x="1290" y="96338"/>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2150" y="95492"/>
                        </a:cubicBezTo>
                        <a:cubicBezTo>
                          <a:pt x="2150" y="95492"/>
                          <a:pt x="2150" y="95492"/>
                          <a:pt x="2150" y="94647"/>
                        </a:cubicBezTo>
                        <a:cubicBezTo>
                          <a:pt x="2150" y="94647"/>
                          <a:pt x="2150" y="94647"/>
                          <a:pt x="2150" y="94647"/>
                        </a:cubicBezTo>
                        <a:cubicBezTo>
                          <a:pt x="2150" y="94647"/>
                          <a:pt x="2150" y="94647"/>
                          <a:pt x="1720" y="94647"/>
                        </a:cubicBezTo>
                        <a:cubicBezTo>
                          <a:pt x="1720" y="94647"/>
                          <a:pt x="1720" y="94647"/>
                          <a:pt x="1720" y="94647"/>
                        </a:cubicBezTo>
                        <a:cubicBezTo>
                          <a:pt x="1720" y="94647"/>
                          <a:pt x="1720" y="94647"/>
                          <a:pt x="1720" y="93802"/>
                        </a:cubicBezTo>
                        <a:cubicBezTo>
                          <a:pt x="1720" y="93802"/>
                          <a:pt x="2150" y="93802"/>
                          <a:pt x="2150" y="93802"/>
                        </a:cubicBezTo>
                        <a:cubicBezTo>
                          <a:pt x="2150" y="93802"/>
                          <a:pt x="2150" y="93802"/>
                          <a:pt x="1720" y="93802"/>
                        </a:cubicBezTo>
                        <a:cubicBezTo>
                          <a:pt x="1720" y="93802"/>
                          <a:pt x="1720" y="93802"/>
                          <a:pt x="1720" y="93802"/>
                        </a:cubicBezTo>
                        <a:cubicBezTo>
                          <a:pt x="1720" y="92957"/>
                          <a:pt x="1720" y="93802"/>
                          <a:pt x="1720" y="93802"/>
                        </a:cubicBezTo>
                        <a:cubicBezTo>
                          <a:pt x="1720" y="92957"/>
                          <a:pt x="1720" y="92957"/>
                          <a:pt x="1720" y="92957"/>
                        </a:cubicBezTo>
                        <a:cubicBezTo>
                          <a:pt x="1720" y="92957"/>
                          <a:pt x="1720" y="92957"/>
                          <a:pt x="1720" y="92957"/>
                        </a:cubicBezTo>
                        <a:cubicBezTo>
                          <a:pt x="1720" y="92957"/>
                          <a:pt x="1720" y="92957"/>
                          <a:pt x="1720" y="92957"/>
                        </a:cubicBezTo>
                        <a:cubicBezTo>
                          <a:pt x="1720" y="92957"/>
                          <a:pt x="1720" y="92957"/>
                          <a:pt x="1720" y="92957"/>
                        </a:cubicBezTo>
                        <a:cubicBezTo>
                          <a:pt x="1720" y="92957"/>
                          <a:pt x="1720" y="92957"/>
                          <a:pt x="1720" y="92957"/>
                        </a:cubicBezTo>
                        <a:cubicBezTo>
                          <a:pt x="1290" y="92957"/>
                          <a:pt x="1290" y="92957"/>
                          <a:pt x="1290" y="92957"/>
                        </a:cubicBezTo>
                        <a:cubicBezTo>
                          <a:pt x="1290" y="92957"/>
                          <a:pt x="1290" y="92957"/>
                          <a:pt x="1290" y="92957"/>
                        </a:cubicBezTo>
                        <a:cubicBezTo>
                          <a:pt x="1290" y="92112"/>
                          <a:pt x="1290" y="92112"/>
                          <a:pt x="1290" y="92112"/>
                        </a:cubicBezTo>
                        <a:cubicBezTo>
                          <a:pt x="1290" y="92112"/>
                          <a:pt x="1290" y="92112"/>
                          <a:pt x="1290" y="92112"/>
                        </a:cubicBezTo>
                        <a:cubicBezTo>
                          <a:pt x="1290" y="92112"/>
                          <a:pt x="1290" y="92112"/>
                          <a:pt x="1290" y="92112"/>
                        </a:cubicBezTo>
                        <a:cubicBezTo>
                          <a:pt x="1290" y="92112"/>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0422"/>
                          <a:pt x="1290" y="91267"/>
                          <a:pt x="1290" y="90422"/>
                        </a:cubicBezTo>
                        <a:cubicBezTo>
                          <a:pt x="1290" y="90422"/>
                          <a:pt x="1290" y="90422"/>
                          <a:pt x="1290" y="90422"/>
                        </a:cubicBezTo>
                        <a:cubicBezTo>
                          <a:pt x="1290" y="90422"/>
                          <a:pt x="1290" y="90422"/>
                          <a:pt x="1290" y="90422"/>
                        </a:cubicBezTo>
                        <a:cubicBezTo>
                          <a:pt x="1290" y="90422"/>
                          <a:pt x="860" y="90422"/>
                          <a:pt x="860" y="89577"/>
                        </a:cubicBezTo>
                        <a:cubicBezTo>
                          <a:pt x="860" y="89577"/>
                          <a:pt x="860" y="89577"/>
                          <a:pt x="860" y="89577"/>
                        </a:cubicBezTo>
                        <a:cubicBezTo>
                          <a:pt x="860" y="89577"/>
                          <a:pt x="860" y="89577"/>
                          <a:pt x="860" y="89577"/>
                        </a:cubicBezTo>
                        <a:cubicBezTo>
                          <a:pt x="860" y="89577"/>
                          <a:pt x="860" y="89577"/>
                          <a:pt x="860" y="89577"/>
                        </a:cubicBezTo>
                        <a:cubicBezTo>
                          <a:pt x="860" y="90422"/>
                          <a:pt x="860" y="90422"/>
                          <a:pt x="860" y="90422"/>
                        </a:cubicBezTo>
                        <a:cubicBezTo>
                          <a:pt x="860" y="91267"/>
                          <a:pt x="860" y="91267"/>
                          <a:pt x="860" y="91267"/>
                        </a:cubicBezTo>
                        <a:cubicBezTo>
                          <a:pt x="430" y="91267"/>
                          <a:pt x="430" y="91267"/>
                          <a:pt x="430" y="91267"/>
                        </a:cubicBezTo>
                        <a:cubicBezTo>
                          <a:pt x="430" y="90422"/>
                          <a:pt x="430" y="90422"/>
                          <a:pt x="430" y="90422"/>
                        </a:cubicBezTo>
                        <a:cubicBezTo>
                          <a:pt x="860" y="87887"/>
                          <a:pt x="860" y="87887"/>
                          <a:pt x="860" y="87887"/>
                        </a:cubicBezTo>
                        <a:cubicBezTo>
                          <a:pt x="1720" y="86197"/>
                          <a:pt x="1720" y="86197"/>
                          <a:pt x="1720" y="86197"/>
                        </a:cubicBezTo>
                        <a:cubicBezTo>
                          <a:pt x="1720" y="86197"/>
                          <a:pt x="1720" y="84507"/>
                          <a:pt x="2150" y="84507"/>
                        </a:cubicBezTo>
                        <a:cubicBezTo>
                          <a:pt x="2150" y="83661"/>
                          <a:pt x="2150" y="82816"/>
                          <a:pt x="2150" y="82816"/>
                        </a:cubicBezTo>
                        <a:cubicBezTo>
                          <a:pt x="3010" y="81971"/>
                          <a:pt x="3010" y="81971"/>
                          <a:pt x="3010" y="81971"/>
                        </a:cubicBezTo>
                        <a:cubicBezTo>
                          <a:pt x="3010" y="81971"/>
                          <a:pt x="3440" y="81126"/>
                          <a:pt x="3440" y="81126"/>
                        </a:cubicBezTo>
                        <a:cubicBezTo>
                          <a:pt x="3440" y="80281"/>
                          <a:pt x="3010" y="79436"/>
                          <a:pt x="3010" y="79436"/>
                        </a:cubicBezTo>
                        <a:cubicBezTo>
                          <a:pt x="3010" y="78591"/>
                          <a:pt x="3440" y="77746"/>
                          <a:pt x="3440" y="77746"/>
                        </a:cubicBezTo>
                        <a:cubicBezTo>
                          <a:pt x="3010" y="77746"/>
                          <a:pt x="301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3440" y="74366"/>
                          <a:pt x="4301" y="72676"/>
                          <a:pt x="4301" y="72676"/>
                        </a:cubicBezTo>
                        <a:cubicBezTo>
                          <a:pt x="4301" y="72676"/>
                          <a:pt x="5161" y="71830"/>
                          <a:pt x="6021" y="72676"/>
                        </a:cubicBezTo>
                        <a:cubicBezTo>
                          <a:pt x="6451" y="73521"/>
                          <a:pt x="7311" y="75211"/>
                          <a:pt x="7741" y="76056"/>
                        </a:cubicBezTo>
                        <a:cubicBezTo>
                          <a:pt x="7741" y="76056"/>
                          <a:pt x="8172" y="76901"/>
                          <a:pt x="8602" y="76901"/>
                        </a:cubicBezTo>
                        <a:cubicBezTo>
                          <a:pt x="9032" y="76901"/>
                          <a:pt x="9462" y="77746"/>
                          <a:pt x="9462" y="77746"/>
                        </a:cubicBezTo>
                        <a:cubicBezTo>
                          <a:pt x="9462" y="78591"/>
                          <a:pt x="9892" y="77746"/>
                          <a:pt x="9892" y="79436"/>
                        </a:cubicBezTo>
                        <a:cubicBezTo>
                          <a:pt x="9462" y="81126"/>
                          <a:pt x="9462" y="82816"/>
                          <a:pt x="9892" y="82816"/>
                        </a:cubicBezTo>
                        <a:cubicBezTo>
                          <a:pt x="10752" y="81971"/>
                          <a:pt x="11182" y="81126"/>
                          <a:pt x="11182" y="81971"/>
                        </a:cubicBezTo>
                        <a:cubicBezTo>
                          <a:pt x="11182" y="82816"/>
                          <a:pt x="11612" y="81971"/>
                          <a:pt x="11182" y="83661"/>
                        </a:cubicBezTo>
                        <a:cubicBezTo>
                          <a:pt x="11182" y="85352"/>
                          <a:pt x="10752" y="86197"/>
                          <a:pt x="11182" y="86197"/>
                        </a:cubicBezTo>
                        <a:cubicBezTo>
                          <a:pt x="12043" y="87042"/>
                          <a:pt x="12903" y="87887"/>
                          <a:pt x="13333" y="87042"/>
                        </a:cubicBezTo>
                        <a:cubicBezTo>
                          <a:pt x="13763" y="85352"/>
                          <a:pt x="13333" y="87042"/>
                          <a:pt x="13763" y="85352"/>
                        </a:cubicBezTo>
                        <a:cubicBezTo>
                          <a:pt x="14193" y="82816"/>
                          <a:pt x="14193" y="83661"/>
                          <a:pt x="14623" y="82816"/>
                        </a:cubicBezTo>
                        <a:cubicBezTo>
                          <a:pt x="14623" y="81126"/>
                          <a:pt x="14623" y="81971"/>
                          <a:pt x="15053" y="80281"/>
                        </a:cubicBezTo>
                        <a:cubicBezTo>
                          <a:pt x="15053" y="78591"/>
                          <a:pt x="15483" y="79436"/>
                          <a:pt x="15053" y="78591"/>
                        </a:cubicBezTo>
                        <a:cubicBezTo>
                          <a:pt x="15053" y="78591"/>
                          <a:pt x="15053" y="77746"/>
                          <a:pt x="14623" y="76901"/>
                        </a:cubicBezTo>
                        <a:cubicBezTo>
                          <a:pt x="14623" y="75211"/>
                          <a:pt x="13763" y="76056"/>
                          <a:pt x="15053" y="75211"/>
                        </a:cubicBezTo>
                        <a:cubicBezTo>
                          <a:pt x="15913" y="74366"/>
                          <a:pt x="16344" y="74366"/>
                          <a:pt x="16344" y="74366"/>
                        </a:cubicBezTo>
                        <a:cubicBezTo>
                          <a:pt x="16344" y="73521"/>
                          <a:pt x="17634" y="73521"/>
                          <a:pt x="17634" y="73521"/>
                        </a:cubicBezTo>
                        <a:cubicBezTo>
                          <a:pt x="17634" y="73521"/>
                          <a:pt x="18924" y="73521"/>
                          <a:pt x="18924" y="73521"/>
                        </a:cubicBezTo>
                        <a:cubicBezTo>
                          <a:pt x="19354" y="73521"/>
                          <a:pt x="21075" y="73521"/>
                          <a:pt x="21075" y="74366"/>
                        </a:cubicBezTo>
                        <a:cubicBezTo>
                          <a:pt x="21075" y="75211"/>
                          <a:pt x="21935" y="75211"/>
                          <a:pt x="21935" y="75211"/>
                        </a:cubicBezTo>
                        <a:cubicBezTo>
                          <a:pt x="21935" y="75211"/>
                          <a:pt x="22795" y="75211"/>
                          <a:pt x="23225" y="76901"/>
                        </a:cubicBezTo>
                        <a:cubicBezTo>
                          <a:pt x="23225" y="79436"/>
                          <a:pt x="23225" y="81126"/>
                          <a:pt x="23655" y="80281"/>
                        </a:cubicBezTo>
                        <a:cubicBezTo>
                          <a:pt x="24086" y="80281"/>
                          <a:pt x="24946" y="81971"/>
                          <a:pt x="24946" y="81126"/>
                        </a:cubicBezTo>
                        <a:cubicBezTo>
                          <a:pt x="25376" y="80281"/>
                          <a:pt x="25806" y="79436"/>
                          <a:pt x="26236" y="79436"/>
                        </a:cubicBezTo>
                        <a:cubicBezTo>
                          <a:pt x="26666" y="79436"/>
                          <a:pt x="25806" y="78591"/>
                          <a:pt x="27096" y="78591"/>
                        </a:cubicBezTo>
                        <a:cubicBezTo>
                          <a:pt x="28817" y="79436"/>
                          <a:pt x="28387" y="80281"/>
                          <a:pt x="29247" y="78591"/>
                        </a:cubicBezTo>
                        <a:cubicBezTo>
                          <a:pt x="29677" y="76901"/>
                          <a:pt x="29677" y="76901"/>
                          <a:pt x="30537" y="76056"/>
                        </a:cubicBezTo>
                        <a:cubicBezTo>
                          <a:pt x="30967" y="75211"/>
                          <a:pt x="30967" y="75211"/>
                          <a:pt x="31397" y="74366"/>
                        </a:cubicBezTo>
                        <a:cubicBezTo>
                          <a:pt x="31397" y="74366"/>
                          <a:pt x="33118" y="74366"/>
                          <a:pt x="33118" y="74366"/>
                        </a:cubicBezTo>
                        <a:cubicBezTo>
                          <a:pt x="33548" y="73521"/>
                          <a:pt x="33978" y="71830"/>
                          <a:pt x="34408" y="71830"/>
                        </a:cubicBezTo>
                        <a:cubicBezTo>
                          <a:pt x="34408" y="71830"/>
                          <a:pt x="36129" y="71830"/>
                          <a:pt x="36559" y="71830"/>
                        </a:cubicBezTo>
                        <a:cubicBezTo>
                          <a:pt x="36989" y="71830"/>
                          <a:pt x="37849" y="71830"/>
                          <a:pt x="38279" y="70985"/>
                        </a:cubicBezTo>
                        <a:cubicBezTo>
                          <a:pt x="38279" y="70140"/>
                          <a:pt x="38279" y="70140"/>
                          <a:pt x="38709" y="69295"/>
                        </a:cubicBezTo>
                        <a:cubicBezTo>
                          <a:pt x="39569" y="69295"/>
                          <a:pt x="40000" y="69295"/>
                          <a:pt x="40860" y="69295"/>
                        </a:cubicBezTo>
                        <a:cubicBezTo>
                          <a:pt x="41720" y="69295"/>
                          <a:pt x="41720" y="69295"/>
                          <a:pt x="42150" y="69295"/>
                        </a:cubicBezTo>
                        <a:cubicBezTo>
                          <a:pt x="42580" y="69295"/>
                          <a:pt x="43010" y="70985"/>
                          <a:pt x="43010" y="68450"/>
                        </a:cubicBezTo>
                        <a:cubicBezTo>
                          <a:pt x="42580" y="65915"/>
                          <a:pt x="42150" y="65915"/>
                          <a:pt x="42580" y="65070"/>
                        </a:cubicBezTo>
                        <a:cubicBezTo>
                          <a:pt x="43440" y="65070"/>
                          <a:pt x="44301" y="65070"/>
                          <a:pt x="44301" y="65070"/>
                        </a:cubicBezTo>
                        <a:cubicBezTo>
                          <a:pt x="44731" y="65070"/>
                          <a:pt x="46451" y="65915"/>
                          <a:pt x="46881" y="65915"/>
                        </a:cubicBezTo>
                        <a:cubicBezTo>
                          <a:pt x="46881" y="65915"/>
                          <a:pt x="47311" y="67605"/>
                          <a:pt x="47311" y="67605"/>
                        </a:cubicBezTo>
                        <a:cubicBezTo>
                          <a:pt x="47741" y="67605"/>
                          <a:pt x="48172" y="68450"/>
                          <a:pt x="48602" y="67605"/>
                        </a:cubicBezTo>
                        <a:cubicBezTo>
                          <a:pt x="48602" y="67605"/>
                          <a:pt x="49032" y="65915"/>
                          <a:pt x="49462" y="65915"/>
                        </a:cubicBezTo>
                        <a:cubicBezTo>
                          <a:pt x="49892" y="65915"/>
                          <a:pt x="51182" y="65915"/>
                          <a:pt x="51182" y="65915"/>
                        </a:cubicBezTo>
                        <a:cubicBezTo>
                          <a:pt x="51182" y="65915"/>
                          <a:pt x="52903" y="66760"/>
                          <a:pt x="52903" y="66760"/>
                        </a:cubicBezTo>
                        <a:cubicBezTo>
                          <a:pt x="52903" y="66760"/>
                          <a:pt x="52473" y="68450"/>
                          <a:pt x="52473" y="69295"/>
                        </a:cubicBezTo>
                        <a:cubicBezTo>
                          <a:pt x="52473" y="70140"/>
                          <a:pt x="52473" y="70985"/>
                          <a:pt x="52903" y="71830"/>
                        </a:cubicBezTo>
                        <a:cubicBezTo>
                          <a:pt x="52903" y="71830"/>
                          <a:pt x="53763" y="73521"/>
                          <a:pt x="53763" y="73521"/>
                        </a:cubicBezTo>
                        <a:cubicBezTo>
                          <a:pt x="53763" y="73521"/>
                          <a:pt x="55913" y="75211"/>
                          <a:pt x="55913" y="75211"/>
                        </a:cubicBezTo>
                        <a:cubicBezTo>
                          <a:pt x="55913" y="75211"/>
                          <a:pt x="56344" y="76056"/>
                          <a:pt x="56344" y="72676"/>
                        </a:cubicBezTo>
                        <a:cubicBezTo>
                          <a:pt x="56344" y="69295"/>
                          <a:pt x="56344" y="68450"/>
                          <a:pt x="56344" y="68450"/>
                        </a:cubicBezTo>
                        <a:cubicBezTo>
                          <a:pt x="56344" y="65070"/>
                          <a:pt x="56344" y="65070"/>
                          <a:pt x="56344" y="65070"/>
                        </a:cubicBezTo>
                        <a:cubicBezTo>
                          <a:pt x="56344" y="65070"/>
                          <a:pt x="56344" y="64225"/>
                          <a:pt x="55913" y="64225"/>
                        </a:cubicBezTo>
                        <a:cubicBezTo>
                          <a:pt x="55913" y="64225"/>
                          <a:pt x="55483" y="64225"/>
                          <a:pt x="55483" y="64225"/>
                        </a:cubicBezTo>
                        <a:cubicBezTo>
                          <a:pt x="55483" y="64225"/>
                          <a:pt x="53763" y="63380"/>
                          <a:pt x="53333" y="63380"/>
                        </a:cubicBezTo>
                        <a:cubicBezTo>
                          <a:pt x="52903" y="63380"/>
                          <a:pt x="53333" y="61690"/>
                          <a:pt x="53333" y="60845"/>
                        </a:cubicBezTo>
                        <a:cubicBezTo>
                          <a:pt x="53333" y="60845"/>
                          <a:pt x="54193" y="59154"/>
                          <a:pt x="54193" y="59154"/>
                        </a:cubicBezTo>
                        <a:cubicBezTo>
                          <a:pt x="54193" y="56619"/>
                          <a:pt x="54193" y="56619"/>
                          <a:pt x="54193" y="56619"/>
                        </a:cubicBezTo>
                        <a:cubicBezTo>
                          <a:pt x="52903" y="52394"/>
                          <a:pt x="52903" y="52394"/>
                          <a:pt x="52903" y="52394"/>
                        </a:cubicBezTo>
                        <a:cubicBezTo>
                          <a:pt x="51612" y="49859"/>
                          <a:pt x="51612" y="49859"/>
                          <a:pt x="51612" y="49859"/>
                        </a:cubicBezTo>
                        <a:cubicBezTo>
                          <a:pt x="50752" y="45633"/>
                          <a:pt x="50752" y="45633"/>
                          <a:pt x="50752" y="45633"/>
                        </a:cubicBezTo>
                        <a:cubicBezTo>
                          <a:pt x="50752" y="45633"/>
                          <a:pt x="50752" y="45633"/>
                          <a:pt x="50752" y="45633"/>
                        </a:cubicBezTo>
                        <a:cubicBezTo>
                          <a:pt x="50752" y="45633"/>
                          <a:pt x="50752" y="45633"/>
                          <a:pt x="50752" y="45633"/>
                        </a:cubicBezTo>
                        <a:cubicBezTo>
                          <a:pt x="52043" y="43943"/>
                          <a:pt x="52043" y="43943"/>
                          <a:pt x="52043" y="43943"/>
                        </a:cubicBezTo>
                        <a:cubicBezTo>
                          <a:pt x="52903" y="42253"/>
                          <a:pt x="54193" y="40563"/>
                          <a:pt x="54193" y="40563"/>
                        </a:cubicBezTo>
                        <a:cubicBezTo>
                          <a:pt x="54193" y="40563"/>
                          <a:pt x="54193" y="40563"/>
                          <a:pt x="54623" y="40563"/>
                        </a:cubicBezTo>
                        <a:cubicBezTo>
                          <a:pt x="55483" y="38873"/>
                          <a:pt x="55483" y="38873"/>
                          <a:pt x="55483" y="38873"/>
                        </a:cubicBezTo>
                        <a:cubicBezTo>
                          <a:pt x="55483" y="38873"/>
                          <a:pt x="57634" y="37183"/>
                          <a:pt x="57634" y="37183"/>
                        </a:cubicBezTo>
                        <a:cubicBezTo>
                          <a:pt x="57634" y="37183"/>
                          <a:pt x="58064" y="36338"/>
                          <a:pt x="58064" y="36338"/>
                        </a:cubicBezTo>
                        <a:cubicBezTo>
                          <a:pt x="58494" y="36338"/>
                          <a:pt x="58494" y="36338"/>
                          <a:pt x="58494" y="36338"/>
                        </a:cubicBezTo>
                        <a:cubicBezTo>
                          <a:pt x="60645" y="32112"/>
                          <a:pt x="60645" y="32112"/>
                          <a:pt x="60645" y="32112"/>
                        </a:cubicBezTo>
                        <a:cubicBezTo>
                          <a:pt x="60645" y="27887"/>
                          <a:pt x="60645" y="27887"/>
                          <a:pt x="60645" y="27887"/>
                        </a:cubicBezTo>
                        <a:cubicBezTo>
                          <a:pt x="61075" y="26197"/>
                          <a:pt x="61075" y="26197"/>
                          <a:pt x="61075" y="26197"/>
                        </a:cubicBezTo>
                        <a:cubicBezTo>
                          <a:pt x="61075" y="25352"/>
                          <a:pt x="61075" y="23661"/>
                          <a:pt x="61075" y="23661"/>
                        </a:cubicBezTo>
                        <a:cubicBezTo>
                          <a:pt x="63655" y="23661"/>
                          <a:pt x="63655" y="23661"/>
                          <a:pt x="63655" y="23661"/>
                        </a:cubicBezTo>
                        <a:cubicBezTo>
                          <a:pt x="63655" y="23661"/>
                          <a:pt x="64086" y="24507"/>
                          <a:pt x="64516" y="25352"/>
                        </a:cubicBezTo>
                        <a:cubicBezTo>
                          <a:pt x="64946" y="25352"/>
                          <a:pt x="65376" y="24507"/>
                          <a:pt x="65376" y="24507"/>
                        </a:cubicBezTo>
                        <a:cubicBezTo>
                          <a:pt x="65806" y="24507"/>
                          <a:pt x="66236" y="22816"/>
                          <a:pt x="66236" y="22816"/>
                        </a:cubicBezTo>
                        <a:cubicBezTo>
                          <a:pt x="66236" y="20281"/>
                          <a:pt x="66236" y="20281"/>
                          <a:pt x="66236" y="20281"/>
                        </a:cubicBezTo>
                        <a:cubicBezTo>
                          <a:pt x="65806" y="16056"/>
                          <a:pt x="65806" y="16056"/>
                          <a:pt x="65806" y="16056"/>
                        </a:cubicBezTo>
                        <a:cubicBezTo>
                          <a:pt x="65806" y="13521"/>
                          <a:pt x="65806" y="13521"/>
                          <a:pt x="65806" y="13521"/>
                        </a:cubicBezTo>
                        <a:cubicBezTo>
                          <a:pt x="65806" y="13521"/>
                          <a:pt x="65806" y="13521"/>
                          <a:pt x="65806" y="13521"/>
                        </a:cubicBezTo>
                        <a:cubicBezTo>
                          <a:pt x="66236" y="13521"/>
                          <a:pt x="67956" y="16056"/>
                          <a:pt x="68817" y="16901"/>
                        </a:cubicBezTo>
                        <a:cubicBezTo>
                          <a:pt x="69247" y="17746"/>
                          <a:pt x="70537" y="20281"/>
                          <a:pt x="70537" y="20281"/>
                        </a:cubicBezTo>
                        <a:cubicBezTo>
                          <a:pt x="70537" y="20281"/>
                          <a:pt x="72688" y="21126"/>
                          <a:pt x="73118" y="21126"/>
                        </a:cubicBezTo>
                        <a:cubicBezTo>
                          <a:pt x="73118" y="21126"/>
                          <a:pt x="75268" y="21971"/>
                          <a:pt x="75268" y="21971"/>
                        </a:cubicBezTo>
                        <a:cubicBezTo>
                          <a:pt x="75698" y="20281"/>
                          <a:pt x="75698" y="20281"/>
                          <a:pt x="75698" y="20281"/>
                        </a:cubicBezTo>
                        <a:cubicBezTo>
                          <a:pt x="76989" y="18591"/>
                          <a:pt x="76989" y="18591"/>
                          <a:pt x="76989" y="18591"/>
                        </a:cubicBezTo>
                        <a:cubicBezTo>
                          <a:pt x="78709" y="21126"/>
                          <a:pt x="78709" y="21126"/>
                          <a:pt x="78709" y="21126"/>
                        </a:cubicBezTo>
                        <a:cubicBezTo>
                          <a:pt x="80430" y="20281"/>
                          <a:pt x="80430" y="20281"/>
                          <a:pt x="80430" y="20281"/>
                        </a:cubicBezTo>
                        <a:close/>
                        <a:moveTo>
                          <a:pt x="2150" y="76901"/>
                        </a:moveTo>
                        <a:cubicBezTo>
                          <a:pt x="2150" y="76901"/>
                          <a:pt x="2150" y="76901"/>
                          <a:pt x="2150" y="76901"/>
                        </a:cubicBezTo>
                        <a:cubicBezTo>
                          <a:pt x="2150" y="76901"/>
                          <a:pt x="2150" y="76901"/>
                          <a:pt x="2150" y="76901"/>
                        </a:cubicBezTo>
                        <a:cubicBezTo>
                          <a:pt x="2150" y="76901"/>
                          <a:pt x="2150" y="76901"/>
                          <a:pt x="2150" y="76901"/>
                        </a:cubicBezTo>
                        <a:close/>
                        <a:moveTo>
                          <a:pt x="430" y="96338"/>
                        </a:moveTo>
                        <a:cubicBezTo>
                          <a:pt x="430" y="96338"/>
                          <a:pt x="430" y="96338"/>
                          <a:pt x="430" y="96338"/>
                        </a:cubicBezTo>
                        <a:cubicBezTo>
                          <a:pt x="430" y="96338"/>
                          <a:pt x="430" y="96338"/>
                          <a:pt x="430" y="96338"/>
                        </a:cubicBezTo>
                        <a:cubicBezTo>
                          <a:pt x="430" y="96338"/>
                          <a:pt x="430" y="96338"/>
                          <a:pt x="430" y="96338"/>
                        </a:cubicBezTo>
                        <a:cubicBezTo>
                          <a:pt x="430" y="96338"/>
                          <a:pt x="430" y="96338"/>
                          <a:pt x="430" y="96338"/>
                        </a:cubicBezTo>
                        <a:close/>
                        <a:moveTo>
                          <a:pt x="430" y="96338"/>
                        </a:moveTo>
                        <a:cubicBezTo>
                          <a:pt x="430" y="96338"/>
                          <a:pt x="430" y="96338"/>
                          <a:pt x="430" y="96338"/>
                        </a:cubicBezTo>
                        <a:cubicBezTo>
                          <a:pt x="430" y="96338"/>
                          <a:pt x="430" y="95492"/>
                          <a:pt x="430" y="95492"/>
                        </a:cubicBezTo>
                        <a:cubicBezTo>
                          <a:pt x="430" y="95492"/>
                          <a:pt x="430" y="95492"/>
                          <a:pt x="430" y="95492"/>
                        </a:cubicBezTo>
                        <a:cubicBezTo>
                          <a:pt x="430" y="95492"/>
                          <a:pt x="860" y="95492"/>
                          <a:pt x="860" y="94647"/>
                        </a:cubicBezTo>
                        <a:cubicBezTo>
                          <a:pt x="860" y="94647"/>
                          <a:pt x="860" y="94647"/>
                          <a:pt x="860" y="94647"/>
                        </a:cubicBezTo>
                        <a:cubicBezTo>
                          <a:pt x="860" y="94647"/>
                          <a:pt x="860" y="94647"/>
                          <a:pt x="860" y="94647"/>
                        </a:cubicBezTo>
                        <a:cubicBezTo>
                          <a:pt x="860" y="94647"/>
                          <a:pt x="860" y="94647"/>
                          <a:pt x="860" y="94647"/>
                        </a:cubicBezTo>
                        <a:cubicBezTo>
                          <a:pt x="430" y="94647"/>
                          <a:pt x="430" y="94647"/>
                          <a:pt x="430" y="94647"/>
                        </a:cubicBezTo>
                        <a:cubicBezTo>
                          <a:pt x="0" y="96338"/>
                          <a:pt x="0" y="96338"/>
                          <a:pt x="0" y="96338"/>
                        </a:cubicBezTo>
                        <a:lnTo>
                          <a:pt x="430" y="96338"/>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3" name="Shape 2041"/>
                  <p:cNvSpPr/>
                  <p:nvPr/>
                </p:nvSpPr>
                <p:spPr>
                  <a:xfrm>
                    <a:off x="3808896" y="2714110"/>
                    <a:ext cx="1185185" cy="1190072"/>
                  </a:xfrm>
                  <a:custGeom>
                    <a:avLst/>
                    <a:gdLst/>
                    <a:ahLst/>
                    <a:cxnLst/>
                    <a:rect l="0" t="0" r="0" b="0"/>
                    <a:pathLst>
                      <a:path w="120000" h="120000" extrusionOk="0">
                        <a:moveTo>
                          <a:pt x="59769" y="105055"/>
                        </a:moveTo>
                        <a:cubicBezTo>
                          <a:pt x="60230" y="104386"/>
                          <a:pt x="60230" y="104386"/>
                          <a:pt x="60230" y="104386"/>
                        </a:cubicBezTo>
                        <a:cubicBezTo>
                          <a:pt x="60230" y="104386"/>
                          <a:pt x="60230" y="103048"/>
                          <a:pt x="59769" y="102825"/>
                        </a:cubicBezTo>
                        <a:cubicBezTo>
                          <a:pt x="59538" y="102602"/>
                          <a:pt x="59307" y="102379"/>
                          <a:pt x="59307" y="102379"/>
                        </a:cubicBezTo>
                        <a:cubicBezTo>
                          <a:pt x="59307" y="102379"/>
                          <a:pt x="59307" y="101486"/>
                          <a:pt x="59307" y="101040"/>
                        </a:cubicBezTo>
                        <a:cubicBezTo>
                          <a:pt x="59307" y="100817"/>
                          <a:pt x="59307" y="99925"/>
                          <a:pt x="59307" y="99702"/>
                        </a:cubicBezTo>
                        <a:cubicBezTo>
                          <a:pt x="59307" y="99479"/>
                          <a:pt x="59538" y="98587"/>
                          <a:pt x="59538" y="98364"/>
                        </a:cubicBezTo>
                        <a:cubicBezTo>
                          <a:pt x="59538" y="98364"/>
                          <a:pt x="59307" y="98364"/>
                          <a:pt x="59769" y="97918"/>
                        </a:cubicBezTo>
                        <a:cubicBezTo>
                          <a:pt x="60230" y="97249"/>
                          <a:pt x="60230" y="96802"/>
                          <a:pt x="60230" y="96802"/>
                        </a:cubicBezTo>
                        <a:cubicBezTo>
                          <a:pt x="61153" y="95687"/>
                          <a:pt x="61153" y="95687"/>
                          <a:pt x="61153" y="95687"/>
                        </a:cubicBezTo>
                        <a:cubicBezTo>
                          <a:pt x="61153" y="95687"/>
                          <a:pt x="61846" y="94572"/>
                          <a:pt x="62076" y="94572"/>
                        </a:cubicBezTo>
                        <a:cubicBezTo>
                          <a:pt x="62307" y="94795"/>
                          <a:pt x="63230" y="94572"/>
                          <a:pt x="63461" y="94572"/>
                        </a:cubicBezTo>
                        <a:cubicBezTo>
                          <a:pt x="63692" y="94572"/>
                          <a:pt x="64615" y="95464"/>
                          <a:pt x="65076" y="94572"/>
                        </a:cubicBezTo>
                        <a:cubicBezTo>
                          <a:pt x="65538" y="93903"/>
                          <a:pt x="65769" y="93457"/>
                          <a:pt x="65769" y="93234"/>
                        </a:cubicBezTo>
                        <a:cubicBezTo>
                          <a:pt x="66000" y="93011"/>
                          <a:pt x="66230" y="92342"/>
                          <a:pt x="66923" y="92342"/>
                        </a:cubicBezTo>
                        <a:cubicBezTo>
                          <a:pt x="67615" y="92118"/>
                          <a:pt x="69230" y="92118"/>
                          <a:pt x="69230" y="92118"/>
                        </a:cubicBezTo>
                        <a:cubicBezTo>
                          <a:pt x="69923" y="92342"/>
                          <a:pt x="69923" y="92342"/>
                          <a:pt x="69923" y="92342"/>
                        </a:cubicBezTo>
                        <a:cubicBezTo>
                          <a:pt x="71769" y="93011"/>
                          <a:pt x="71769" y="93011"/>
                          <a:pt x="71769" y="93011"/>
                        </a:cubicBezTo>
                        <a:cubicBezTo>
                          <a:pt x="71769" y="93011"/>
                          <a:pt x="72461" y="93011"/>
                          <a:pt x="72923" y="93011"/>
                        </a:cubicBezTo>
                        <a:cubicBezTo>
                          <a:pt x="73153" y="93011"/>
                          <a:pt x="73384" y="93011"/>
                          <a:pt x="73384" y="93011"/>
                        </a:cubicBezTo>
                        <a:cubicBezTo>
                          <a:pt x="74076" y="93903"/>
                          <a:pt x="74076" y="93903"/>
                          <a:pt x="74076" y="93903"/>
                        </a:cubicBezTo>
                        <a:cubicBezTo>
                          <a:pt x="74076" y="93903"/>
                          <a:pt x="75000" y="94349"/>
                          <a:pt x="75230" y="94349"/>
                        </a:cubicBezTo>
                        <a:cubicBezTo>
                          <a:pt x="75461" y="94349"/>
                          <a:pt x="77307" y="93903"/>
                          <a:pt x="77307" y="93903"/>
                        </a:cubicBezTo>
                        <a:cubicBezTo>
                          <a:pt x="77307" y="93903"/>
                          <a:pt x="78000" y="93680"/>
                          <a:pt x="78230" y="93903"/>
                        </a:cubicBezTo>
                        <a:cubicBezTo>
                          <a:pt x="78461" y="94126"/>
                          <a:pt x="79153" y="94349"/>
                          <a:pt x="79384" y="94572"/>
                        </a:cubicBezTo>
                        <a:cubicBezTo>
                          <a:pt x="79384" y="94795"/>
                          <a:pt x="81230" y="95687"/>
                          <a:pt x="81692" y="95910"/>
                        </a:cubicBezTo>
                        <a:cubicBezTo>
                          <a:pt x="81923" y="96133"/>
                          <a:pt x="82846" y="95910"/>
                          <a:pt x="82846" y="95910"/>
                        </a:cubicBezTo>
                        <a:cubicBezTo>
                          <a:pt x="83307" y="97026"/>
                          <a:pt x="83307" y="97026"/>
                          <a:pt x="83307" y="97026"/>
                        </a:cubicBezTo>
                        <a:cubicBezTo>
                          <a:pt x="85615" y="97695"/>
                          <a:pt x="85615" y="97695"/>
                          <a:pt x="85615" y="97695"/>
                        </a:cubicBezTo>
                        <a:cubicBezTo>
                          <a:pt x="86538" y="97695"/>
                          <a:pt x="86538" y="97695"/>
                          <a:pt x="86538" y="97695"/>
                        </a:cubicBezTo>
                        <a:cubicBezTo>
                          <a:pt x="89769" y="98810"/>
                          <a:pt x="89769" y="98810"/>
                          <a:pt x="89769" y="98810"/>
                        </a:cubicBezTo>
                        <a:cubicBezTo>
                          <a:pt x="91846" y="97249"/>
                          <a:pt x="91846" y="97249"/>
                          <a:pt x="91846" y="97249"/>
                        </a:cubicBezTo>
                        <a:cubicBezTo>
                          <a:pt x="91846" y="97249"/>
                          <a:pt x="92307" y="97472"/>
                          <a:pt x="92538" y="97472"/>
                        </a:cubicBezTo>
                        <a:cubicBezTo>
                          <a:pt x="92769" y="97472"/>
                          <a:pt x="93230" y="95687"/>
                          <a:pt x="93230" y="95687"/>
                        </a:cubicBezTo>
                        <a:cubicBezTo>
                          <a:pt x="93230" y="95687"/>
                          <a:pt x="93230" y="95241"/>
                          <a:pt x="93461" y="95241"/>
                        </a:cubicBezTo>
                        <a:cubicBezTo>
                          <a:pt x="93923" y="95241"/>
                          <a:pt x="95538" y="94572"/>
                          <a:pt x="95538" y="94572"/>
                        </a:cubicBezTo>
                        <a:cubicBezTo>
                          <a:pt x="95538" y="94349"/>
                          <a:pt x="95307" y="93457"/>
                          <a:pt x="96000" y="93234"/>
                        </a:cubicBezTo>
                        <a:cubicBezTo>
                          <a:pt x="96461" y="93011"/>
                          <a:pt x="97384" y="92342"/>
                          <a:pt x="97384" y="92342"/>
                        </a:cubicBezTo>
                        <a:cubicBezTo>
                          <a:pt x="97615" y="92118"/>
                          <a:pt x="97153" y="91672"/>
                          <a:pt x="97846" y="91449"/>
                        </a:cubicBezTo>
                        <a:cubicBezTo>
                          <a:pt x="98307" y="91449"/>
                          <a:pt x="99000" y="91226"/>
                          <a:pt x="99461" y="91226"/>
                        </a:cubicBezTo>
                        <a:cubicBezTo>
                          <a:pt x="99461" y="91226"/>
                          <a:pt x="99461" y="91226"/>
                          <a:pt x="99461" y="91226"/>
                        </a:cubicBezTo>
                        <a:cubicBezTo>
                          <a:pt x="99461" y="91003"/>
                          <a:pt x="99461" y="91003"/>
                          <a:pt x="99461" y="91003"/>
                        </a:cubicBezTo>
                        <a:cubicBezTo>
                          <a:pt x="99461" y="91003"/>
                          <a:pt x="99461" y="91003"/>
                          <a:pt x="99461"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923" y="90780"/>
                          <a:pt x="99923" y="90780"/>
                          <a:pt x="99923" y="90780"/>
                        </a:cubicBezTo>
                        <a:cubicBezTo>
                          <a:pt x="99923" y="90780"/>
                          <a:pt x="99923" y="90780"/>
                          <a:pt x="99923" y="90780"/>
                        </a:cubicBezTo>
                        <a:cubicBezTo>
                          <a:pt x="99923" y="90780"/>
                          <a:pt x="99923" y="90780"/>
                          <a:pt x="9992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384" y="90780"/>
                          <a:pt x="100384" y="90780"/>
                          <a:pt x="100384" y="90780"/>
                        </a:cubicBezTo>
                        <a:cubicBezTo>
                          <a:pt x="100384" y="90780"/>
                          <a:pt x="100384" y="90780"/>
                          <a:pt x="100384" y="90780"/>
                        </a:cubicBezTo>
                        <a:cubicBezTo>
                          <a:pt x="100384" y="90780"/>
                          <a:pt x="100384" y="90780"/>
                          <a:pt x="100384" y="90780"/>
                        </a:cubicBezTo>
                        <a:cubicBezTo>
                          <a:pt x="100384" y="90780"/>
                          <a:pt x="100384" y="90780"/>
                          <a:pt x="100384" y="90780"/>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846" y="90334"/>
                          <a:pt x="101076" y="90334"/>
                          <a:pt x="101076" y="90334"/>
                        </a:cubicBezTo>
                        <a:cubicBezTo>
                          <a:pt x="102461" y="89219"/>
                          <a:pt x="102461" y="89219"/>
                          <a:pt x="102461" y="89219"/>
                        </a:cubicBezTo>
                        <a:cubicBezTo>
                          <a:pt x="103153" y="86765"/>
                          <a:pt x="103153" y="86765"/>
                          <a:pt x="103153" y="86765"/>
                        </a:cubicBezTo>
                        <a:cubicBezTo>
                          <a:pt x="102230" y="86096"/>
                          <a:pt x="102230" y="86096"/>
                          <a:pt x="102230" y="86096"/>
                        </a:cubicBezTo>
                        <a:cubicBezTo>
                          <a:pt x="100153" y="86096"/>
                          <a:pt x="100153" y="86096"/>
                          <a:pt x="100153" y="86096"/>
                        </a:cubicBezTo>
                        <a:cubicBezTo>
                          <a:pt x="97846" y="85204"/>
                          <a:pt x="97846" y="85204"/>
                          <a:pt x="97846" y="85204"/>
                        </a:cubicBezTo>
                        <a:cubicBezTo>
                          <a:pt x="96692" y="83420"/>
                          <a:pt x="96692" y="83420"/>
                          <a:pt x="96692" y="83420"/>
                        </a:cubicBezTo>
                        <a:cubicBezTo>
                          <a:pt x="96000" y="83420"/>
                          <a:pt x="96000" y="83420"/>
                          <a:pt x="96000" y="83420"/>
                        </a:cubicBezTo>
                        <a:cubicBezTo>
                          <a:pt x="95769" y="81858"/>
                          <a:pt x="95307" y="82527"/>
                          <a:pt x="96230" y="81412"/>
                        </a:cubicBezTo>
                        <a:cubicBezTo>
                          <a:pt x="97153" y="80074"/>
                          <a:pt x="97153" y="80074"/>
                          <a:pt x="97153" y="80074"/>
                        </a:cubicBezTo>
                        <a:cubicBezTo>
                          <a:pt x="96923" y="77843"/>
                          <a:pt x="96923" y="77843"/>
                          <a:pt x="96923" y="77843"/>
                        </a:cubicBezTo>
                        <a:cubicBezTo>
                          <a:pt x="96230" y="77174"/>
                          <a:pt x="96230" y="77174"/>
                          <a:pt x="96230" y="77174"/>
                        </a:cubicBezTo>
                        <a:cubicBezTo>
                          <a:pt x="95076" y="76505"/>
                          <a:pt x="95076" y="76505"/>
                          <a:pt x="95076" y="76505"/>
                        </a:cubicBezTo>
                        <a:cubicBezTo>
                          <a:pt x="95076" y="76505"/>
                          <a:pt x="94384" y="75613"/>
                          <a:pt x="94153" y="75390"/>
                        </a:cubicBezTo>
                        <a:cubicBezTo>
                          <a:pt x="94153" y="75390"/>
                          <a:pt x="94153" y="74944"/>
                          <a:pt x="94153" y="74944"/>
                        </a:cubicBezTo>
                        <a:cubicBezTo>
                          <a:pt x="93923" y="74721"/>
                          <a:pt x="94846" y="74721"/>
                          <a:pt x="94846" y="74721"/>
                        </a:cubicBezTo>
                        <a:cubicBezTo>
                          <a:pt x="95076" y="74721"/>
                          <a:pt x="95769" y="74498"/>
                          <a:pt x="96000" y="74498"/>
                        </a:cubicBezTo>
                        <a:cubicBezTo>
                          <a:pt x="96230" y="74498"/>
                          <a:pt x="97153" y="73605"/>
                          <a:pt x="97153" y="73605"/>
                        </a:cubicBezTo>
                        <a:cubicBezTo>
                          <a:pt x="97153" y="73605"/>
                          <a:pt x="97615" y="72713"/>
                          <a:pt x="98076" y="72490"/>
                        </a:cubicBezTo>
                        <a:cubicBezTo>
                          <a:pt x="98307" y="72267"/>
                          <a:pt x="98769" y="70483"/>
                          <a:pt x="98769" y="70260"/>
                        </a:cubicBezTo>
                        <a:cubicBezTo>
                          <a:pt x="98769" y="70260"/>
                          <a:pt x="98307" y="69144"/>
                          <a:pt x="98076" y="69144"/>
                        </a:cubicBezTo>
                        <a:cubicBezTo>
                          <a:pt x="96000" y="68252"/>
                          <a:pt x="96461" y="67806"/>
                          <a:pt x="95538" y="67360"/>
                        </a:cubicBezTo>
                        <a:cubicBezTo>
                          <a:pt x="95538" y="66245"/>
                          <a:pt x="95538" y="66245"/>
                          <a:pt x="95538" y="66245"/>
                        </a:cubicBezTo>
                        <a:cubicBezTo>
                          <a:pt x="96692" y="65353"/>
                          <a:pt x="96692" y="65353"/>
                          <a:pt x="96692" y="65353"/>
                        </a:cubicBezTo>
                        <a:cubicBezTo>
                          <a:pt x="96923" y="65130"/>
                          <a:pt x="97384" y="64907"/>
                          <a:pt x="97615" y="64907"/>
                        </a:cubicBezTo>
                        <a:cubicBezTo>
                          <a:pt x="97846" y="64460"/>
                          <a:pt x="97846" y="64460"/>
                          <a:pt x="97846" y="64460"/>
                        </a:cubicBezTo>
                        <a:cubicBezTo>
                          <a:pt x="97846" y="64460"/>
                          <a:pt x="97384" y="64014"/>
                          <a:pt x="97384" y="64014"/>
                        </a:cubicBezTo>
                        <a:cubicBezTo>
                          <a:pt x="97384" y="64014"/>
                          <a:pt x="97153" y="63791"/>
                          <a:pt x="96923" y="63791"/>
                        </a:cubicBezTo>
                        <a:cubicBezTo>
                          <a:pt x="96923" y="63791"/>
                          <a:pt x="96692" y="63568"/>
                          <a:pt x="96692" y="63568"/>
                        </a:cubicBezTo>
                        <a:cubicBezTo>
                          <a:pt x="96692" y="63568"/>
                          <a:pt x="96461" y="63345"/>
                          <a:pt x="96230" y="63345"/>
                        </a:cubicBezTo>
                        <a:cubicBezTo>
                          <a:pt x="96000" y="63345"/>
                          <a:pt x="96230" y="62899"/>
                          <a:pt x="96461" y="62899"/>
                        </a:cubicBezTo>
                        <a:cubicBezTo>
                          <a:pt x="96461" y="62676"/>
                          <a:pt x="96461" y="62230"/>
                          <a:pt x="96461" y="62230"/>
                        </a:cubicBezTo>
                        <a:cubicBezTo>
                          <a:pt x="96461" y="62230"/>
                          <a:pt x="95769" y="62230"/>
                          <a:pt x="95538" y="62230"/>
                        </a:cubicBezTo>
                        <a:cubicBezTo>
                          <a:pt x="95538" y="62007"/>
                          <a:pt x="95538" y="62007"/>
                          <a:pt x="95538" y="62007"/>
                        </a:cubicBezTo>
                        <a:cubicBezTo>
                          <a:pt x="95538" y="62007"/>
                          <a:pt x="95769" y="61338"/>
                          <a:pt x="96000" y="61338"/>
                        </a:cubicBezTo>
                        <a:cubicBezTo>
                          <a:pt x="96000" y="61115"/>
                          <a:pt x="96000" y="60892"/>
                          <a:pt x="96000" y="60892"/>
                        </a:cubicBezTo>
                        <a:cubicBezTo>
                          <a:pt x="96000" y="60892"/>
                          <a:pt x="96000" y="60669"/>
                          <a:pt x="96000" y="60223"/>
                        </a:cubicBezTo>
                        <a:cubicBezTo>
                          <a:pt x="96230" y="60000"/>
                          <a:pt x="96000" y="60000"/>
                          <a:pt x="96000" y="60000"/>
                        </a:cubicBezTo>
                        <a:cubicBezTo>
                          <a:pt x="96000" y="60000"/>
                          <a:pt x="95769" y="59776"/>
                          <a:pt x="95538" y="59776"/>
                        </a:cubicBezTo>
                        <a:cubicBezTo>
                          <a:pt x="95538" y="59776"/>
                          <a:pt x="95538" y="59776"/>
                          <a:pt x="95769" y="59553"/>
                        </a:cubicBezTo>
                        <a:cubicBezTo>
                          <a:pt x="96000" y="59107"/>
                          <a:pt x="96000" y="59330"/>
                          <a:pt x="96000" y="59330"/>
                        </a:cubicBezTo>
                        <a:cubicBezTo>
                          <a:pt x="96000" y="58884"/>
                          <a:pt x="96000" y="58884"/>
                          <a:pt x="96000" y="58884"/>
                        </a:cubicBezTo>
                        <a:cubicBezTo>
                          <a:pt x="95538" y="58661"/>
                          <a:pt x="95538" y="58661"/>
                          <a:pt x="95538" y="58661"/>
                        </a:cubicBezTo>
                        <a:cubicBezTo>
                          <a:pt x="94846" y="58215"/>
                          <a:pt x="94846" y="58215"/>
                          <a:pt x="94846" y="58215"/>
                        </a:cubicBezTo>
                        <a:cubicBezTo>
                          <a:pt x="94846" y="58215"/>
                          <a:pt x="93923" y="58215"/>
                          <a:pt x="93923" y="58215"/>
                        </a:cubicBezTo>
                        <a:cubicBezTo>
                          <a:pt x="93923" y="58215"/>
                          <a:pt x="93230" y="58215"/>
                          <a:pt x="93230" y="58215"/>
                        </a:cubicBezTo>
                        <a:cubicBezTo>
                          <a:pt x="92769" y="58438"/>
                          <a:pt x="92769" y="58438"/>
                          <a:pt x="92769" y="58438"/>
                        </a:cubicBezTo>
                        <a:cubicBezTo>
                          <a:pt x="92538" y="58661"/>
                          <a:pt x="92538" y="58661"/>
                          <a:pt x="92538" y="58661"/>
                        </a:cubicBezTo>
                        <a:cubicBezTo>
                          <a:pt x="91846" y="58884"/>
                          <a:pt x="91846" y="58884"/>
                          <a:pt x="91846" y="58884"/>
                        </a:cubicBezTo>
                        <a:cubicBezTo>
                          <a:pt x="91153" y="59107"/>
                          <a:pt x="91153" y="59107"/>
                          <a:pt x="91153" y="59107"/>
                        </a:cubicBezTo>
                        <a:cubicBezTo>
                          <a:pt x="91153" y="59107"/>
                          <a:pt x="90923" y="59553"/>
                          <a:pt x="90692" y="59776"/>
                        </a:cubicBezTo>
                        <a:cubicBezTo>
                          <a:pt x="90692" y="59776"/>
                          <a:pt x="90692" y="60000"/>
                          <a:pt x="90692" y="60000"/>
                        </a:cubicBezTo>
                        <a:cubicBezTo>
                          <a:pt x="91153" y="60223"/>
                          <a:pt x="91153" y="60223"/>
                          <a:pt x="91153" y="60223"/>
                        </a:cubicBezTo>
                        <a:cubicBezTo>
                          <a:pt x="91153" y="60669"/>
                          <a:pt x="91153" y="60669"/>
                          <a:pt x="91153" y="60669"/>
                        </a:cubicBezTo>
                        <a:cubicBezTo>
                          <a:pt x="91384" y="60669"/>
                          <a:pt x="91384" y="60669"/>
                          <a:pt x="91384" y="60669"/>
                        </a:cubicBezTo>
                        <a:cubicBezTo>
                          <a:pt x="91153" y="61115"/>
                          <a:pt x="91153" y="61115"/>
                          <a:pt x="91153" y="61115"/>
                        </a:cubicBezTo>
                        <a:cubicBezTo>
                          <a:pt x="91153" y="61115"/>
                          <a:pt x="90923" y="61115"/>
                          <a:pt x="90692" y="61338"/>
                        </a:cubicBezTo>
                        <a:cubicBezTo>
                          <a:pt x="90461" y="61561"/>
                          <a:pt x="90461" y="61784"/>
                          <a:pt x="90461" y="61784"/>
                        </a:cubicBezTo>
                        <a:cubicBezTo>
                          <a:pt x="89769" y="62007"/>
                          <a:pt x="89769" y="62007"/>
                          <a:pt x="89769" y="62007"/>
                        </a:cubicBezTo>
                        <a:cubicBezTo>
                          <a:pt x="89307" y="61784"/>
                          <a:pt x="89307" y="61784"/>
                          <a:pt x="89307" y="61784"/>
                        </a:cubicBezTo>
                        <a:cubicBezTo>
                          <a:pt x="88846" y="62007"/>
                          <a:pt x="88846" y="62007"/>
                          <a:pt x="88846" y="62007"/>
                        </a:cubicBezTo>
                        <a:cubicBezTo>
                          <a:pt x="88615" y="62007"/>
                          <a:pt x="88615" y="62007"/>
                          <a:pt x="88615" y="62007"/>
                        </a:cubicBezTo>
                        <a:cubicBezTo>
                          <a:pt x="88615" y="61561"/>
                          <a:pt x="88615" y="61561"/>
                          <a:pt x="88615" y="61561"/>
                        </a:cubicBezTo>
                        <a:cubicBezTo>
                          <a:pt x="88384" y="61338"/>
                          <a:pt x="88384" y="61338"/>
                          <a:pt x="88384" y="61338"/>
                        </a:cubicBezTo>
                        <a:cubicBezTo>
                          <a:pt x="88615" y="61115"/>
                          <a:pt x="88615" y="61115"/>
                          <a:pt x="88615" y="61115"/>
                        </a:cubicBezTo>
                        <a:cubicBezTo>
                          <a:pt x="88615" y="61115"/>
                          <a:pt x="88846" y="60892"/>
                          <a:pt x="88846" y="60892"/>
                        </a:cubicBezTo>
                        <a:cubicBezTo>
                          <a:pt x="89076" y="60892"/>
                          <a:pt x="89307" y="60669"/>
                          <a:pt x="89307" y="60669"/>
                        </a:cubicBezTo>
                        <a:cubicBezTo>
                          <a:pt x="89769" y="60669"/>
                          <a:pt x="89769" y="60669"/>
                          <a:pt x="89769" y="60669"/>
                        </a:cubicBezTo>
                        <a:cubicBezTo>
                          <a:pt x="89769" y="60223"/>
                          <a:pt x="89769" y="60223"/>
                          <a:pt x="89769" y="60223"/>
                        </a:cubicBezTo>
                        <a:cubicBezTo>
                          <a:pt x="90000" y="59776"/>
                          <a:pt x="90000" y="59776"/>
                          <a:pt x="90000" y="59776"/>
                        </a:cubicBezTo>
                        <a:cubicBezTo>
                          <a:pt x="90000" y="59107"/>
                          <a:pt x="90000" y="59107"/>
                          <a:pt x="90000" y="59107"/>
                        </a:cubicBezTo>
                        <a:cubicBezTo>
                          <a:pt x="89769" y="58884"/>
                          <a:pt x="89769" y="58884"/>
                          <a:pt x="89769" y="58884"/>
                        </a:cubicBezTo>
                        <a:cubicBezTo>
                          <a:pt x="89538" y="58661"/>
                          <a:pt x="89538" y="58661"/>
                          <a:pt x="89538" y="58661"/>
                        </a:cubicBezTo>
                        <a:cubicBezTo>
                          <a:pt x="89538" y="58438"/>
                          <a:pt x="89538" y="58438"/>
                          <a:pt x="89538" y="58438"/>
                        </a:cubicBezTo>
                        <a:cubicBezTo>
                          <a:pt x="89538" y="57992"/>
                          <a:pt x="89538" y="57992"/>
                          <a:pt x="89538" y="57992"/>
                        </a:cubicBezTo>
                        <a:cubicBezTo>
                          <a:pt x="89769" y="57769"/>
                          <a:pt x="89769" y="57769"/>
                          <a:pt x="89769" y="57769"/>
                        </a:cubicBezTo>
                        <a:cubicBezTo>
                          <a:pt x="89769" y="57769"/>
                          <a:pt x="90000" y="57546"/>
                          <a:pt x="90000" y="57323"/>
                        </a:cubicBezTo>
                        <a:cubicBezTo>
                          <a:pt x="90000" y="57323"/>
                          <a:pt x="90000" y="56877"/>
                          <a:pt x="90000" y="56877"/>
                        </a:cubicBezTo>
                        <a:cubicBezTo>
                          <a:pt x="90000" y="56877"/>
                          <a:pt x="90000" y="56654"/>
                          <a:pt x="90000" y="56654"/>
                        </a:cubicBezTo>
                        <a:cubicBezTo>
                          <a:pt x="90923" y="55762"/>
                          <a:pt x="90923" y="55762"/>
                          <a:pt x="90923" y="55762"/>
                        </a:cubicBezTo>
                        <a:cubicBezTo>
                          <a:pt x="91384" y="55315"/>
                          <a:pt x="91384" y="55315"/>
                          <a:pt x="91384" y="55315"/>
                        </a:cubicBezTo>
                        <a:cubicBezTo>
                          <a:pt x="91384" y="55315"/>
                          <a:pt x="91846" y="55315"/>
                          <a:pt x="91846" y="55092"/>
                        </a:cubicBezTo>
                        <a:cubicBezTo>
                          <a:pt x="91846" y="55092"/>
                          <a:pt x="92307" y="55092"/>
                          <a:pt x="92307" y="55092"/>
                        </a:cubicBezTo>
                        <a:cubicBezTo>
                          <a:pt x="92307" y="55092"/>
                          <a:pt x="92538" y="54869"/>
                          <a:pt x="92538" y="54869"/>
                        </a:cubicBezTo>
                        <a:cubicBezTo>
                          <a:pt x="92769" y="54646"/>
                          <a:pt x="92769" y="54423"/>
                          <a:pt x="92769" y="54423"/>
                        </a:cubicBezTo>
                        <a:cubicBezTo>
                          <a:pt x="92769" y="54423"/>
                          <a:pt x="92769" y="54200"/>
                          <a:pt x="92769" y="54200"/>
                        </a:cubicBezTo>
                        <a:cubicBezTo>
                          <a:pt x="92769" y="54200"/>
                          <a:pt x="92769" y="53977"/>
                          <a:pt x="92769" y="53977"/>
                        </a:cubicBezTo>
                        <a:cubicBezTo>
                          <a:pt x="92769" y="53977"/>
                          <a:pt x="92769" y="53754"/>
                          <a:pt x="92769" y="53754"/>
                        </a:cubicBezTo>
                        <a:cubicBezTo>
                          <a:pt x="92769" y="53531"/>
                          <a:pt x="93000" y="53531"/>
                          <a:pt x="93000" y="53531"/>
                        </a:cubicBezTo>
                        <a:cubicBezTo>
                          <a:pt x="93000" y="53085"/>
                          <a:pt x="93000" y="53085"/>
                          <a:pt x="93000" y="53085"/>
                        </a:cubicBezTo>
                        <a:cubicBezTo>
                          <a:pt x="93000" y="53085"/>
                          <a:pt x="92769" y="52862"/>
                          <a:pt x="92769" y="52639"/>
                        </a:cubicBezTo>
                        <a:cubicBezTo>
                          <a:pt x="92769" y="52639"/>
                          <a:pt x="92769" y="52639"/>
                          <a:pt x="92769" y="52416"/>
                        </a:cubicBezTo>
                        <a:cubicBezTo>
                          <a:pt x="93000" y="52193"/>
                          <a:pt x="93230" y="52193"/>
                          <a:pt x="93230" y="52193"/>
                        </a:cubicBezTo>
                        <a:cubicBezTo>
                          <a:pt x="93692" y="52193"/>
                          <a:pt x="93692" y="52193"/>
                          <a:pt x="93692" y="52193"/>
                        </a:cubicBezTo>
                        <a:cubicBezTo>
                          <a:pt x="93692" y="52193"/>
                          <a:pt x="93923" y="51970"/>
                          <a:pt x="94153" y="51970"/>
                        </a:cubicBezTo>
                        <a:cubicBezTo>
                          <a:pt x="94153" y="51970"/>
                          <a:pt x="94384" y="51747"/>
                          <a:pt x="94384" y="51747"/>
                        </a:cubicBezTo>
                        <a:cubicBezTo>
                          <a:pt x="94615" y="51301"/>
                          <a:pt x="94615" y="51301"/>
                          <a:pt x="94615" y="51301"/>
                        </a:cubicBezTo>
                        <a:cubicBezTo>
                          <a:pt x="94846" y="51301"/>
                          <a:pt x="94846" y="51301"/>
                          <a:pt x="94846" y="51301"/>
                        </a:cubicBezTo>
                        <a:cubicBezTo>
                          <a:pt x="95076" y="51078"/>
                          <a:pt x="95076" y="51078"/>
                          <a:pt x="95076" y="51078"/>
                        </a:cubicBezTo>
                        <a:cubicBezTo>
                          <a:pt x="95076" y="50631"/>
                          <a:pt x="95076" y="50631"/>
                          <a:pt x="95076" y="50631"/>
                        </a:cubicBezTo>
                        <a:cubicBezTo>
                          <a:pt x="95538" y="50408"/>
                          <a:pt x="95538" y="50408"/>
                          <a:pt x="95538" y="50408"/>
                        </a:cubicBezTo>
                        <a:cubicBezTo>
                          <a:pt x="95538" y="50185"/>
                          <a:pt x="95538" y="50185"/>
                          <a:pt x="95538" y="50185"/>
                        </a:cubicBezTo>
                        <a:cubicBezTo>
                          <a:pt x="95769" y="49962"/>
                          <a:pt x="95769" y="49962"/>
                          <a:pt x="95769" y="49962"/>
                        </a:cubicBezTo>
                        <a:cubicBezTo>
                          <a:pt x="96000" y="49962"/>
                          <a:pt x="96000" y="49962"/>
                          <a:pt x="96000" y="49962"/>
                        </a:cubicBezTo>
                        <a:cubicBezTo>
                          <a:pt x="96461" y="49516"/>
                          <a:pt x="96461" y="49516"/>
                          <a:pt x="96461" y="49516"/>
                        </a:cubicBezTo>
                        <a:cubicBezTo>
                          <a:pt x="96923" y="49293"/>
                          <a:pt x="96923" y="49293"/>
                          <a:pt x="96923" y="49293"/>
                        </a:cubicBezTo>
                        <a:cubicBezTo>
                          <a:pt x="96923" y="49293"/>
                          <a:pt x="97153" y="48847"/>
                          <a:pt x="97153" y="48624"/>
                        </a:cubicBezTo>
                        <a:cubicBezTo>
                          <a:pt x="97153" y="48401"/>
                          <a:pt x="97153" y="48401"/>
                          <a:pt x="97384" y="48178"/>
                        </a:cubicBezTo>
                        <a:cubicBezTo>
                          <a:pt x="97384" y="48178"/>
                          <a:pt x="97615" y="48178"/>
                          <a:pt x="97846" y="47955"/>
                        </a:cubicBezTo>
                        <a:cubicBezTo>
                          <a:pt x="97846" y="47955"/>
                          <a:pt x="97846" y="47732"/>
                          <a:pt x="97846" y="47732"/>
                        </a:cubicBezTo>
                        <a:cubicBezTo>
                          <a:pt x="98076" y="47732"/>
                          <a:pt x="98076" y="47732"/>
                          <a:pt x="98076" y="47732"/>
                        </a:cubicBezTo>
                        <a:cubicBezTo>
                          <a:pt x="98076" y="47286"/>
                          <a:pt x="98076" y="47286"/>
                          <a:pt x="98076" y="47286"/>
                        </a:cubicBezTo>
                        <a:cubicBezTo>
                          <a:pt x="98076" y="47063"/>
                          <a:pt x="98076" y="47063"/>
                          <a:pt x="98076" y="47063"/>
                        </a:cubicBezTo>
                        <a:cubicBezTo>
                          <a:pt x="98076" y="47063"/>
                          <a:pt x="97615" y="47286"/>
                          <a:pt x="97615" y="47286"/>
                        </a:cubicBezTo>
                        <a:cubicBezTo>
                          <a:pt x="97615" y="47286"/>
                          <a:pt x="97384" y="47286"/>
                          <a:pt x="97153" y="47286"/>
                        </a:cubicBezTo>
                        <a:cubicBezTo>
                          <a:pt x="97153" y="47286"/>
                          <a:pt x="96923" y="47286"/>
                          <a:pt x="96692" y="47286"/>
                        </a:cubicBezTo>
                        <a:cubicBezTo>
                          <a:pt x="96461" y="47063"/>
                          <a:pt x="96692" y="47063"/>
                          <a:pt x="96692" y="47063"/>
                        </a:cubicBezTo>
                        <a:cubicBezTo>
                          <a:pt x="96692" y="47063"/>
                          <a:pt x="96923" y="47063"/>
                          <a:pt x="96923" y="46840"/>
                        </a:cubicBezTo>
                        <a:cubicBezTo>
                          <a:pt x="96923" y="46840"/>
                          <a:pt x="97153" y="46394"/>
                          <a:pt x="97153" y="46394"/>
                        </a:cubicBezTo>
                        <a:cubicBezTo>
                          <a:pt x="97384" y="46394"/>
                          <a:pt x="97384" y="46394"/>
                          <a:pt x="97384" y="46394"/>
                        </a:cubicBezTo>
                        <a:cubicBezTo>
                          <a:pt x="97615" y="46171"/>
                          <a:pt x="97615" y="46171"/>
                          <a:pt x="97615" y="46171"/>
                        </a:cubicBezTo>
                        <a:cubicBezTo>
                          <a:pt x="97615" y="46171"/>
                          <a:pt x="97846" y="46171"/>
                          <a:pt x="97846" y="46171"/>
                        </a:cubicBezTo>
                        <a:cubicBezTo>
                          <a:pt x="97846" y="46171"/>
                          <a:pt x="97615" y="45947"/>
                          <a:pt x="97615" y="45947"/>
                        </a:cubicBezTo>
                        <a:cubicBezTo>
                          <a:pt x="97615" y="45501"/>
                          <a:pt x="97615" y="45501"/>
                          <a:pt x="97615" y="45501"/>
                        </a:cubicBezTo>
                        <a:cubicBezTo>
                          <a:pt x="98076" y="45724"/>
                          <a:pt x="98076" y="45724"/>
                          <a:pt x="98076" y="45724"/>
                        </a:cubicBezTo>
                        <a:cubicBezTo>
                          <a:pt x="98769" y="45724"/>
                          <a:pt x="98769" y="45724"/>
                          <a:pt x="98769" y="45724"/>
                        </a:cubicBezTo>
                        <a:cubicBezTo>
                          <a:pt x="99000" y="45501"/>
                          <a:pt x="99000" y="45501"/>
                          <a:pt x="99000" y="45501"/>
                        </a:cubicBezTo>
                        <a:cubicBezTo>
                          <a:pt x="99000" y="45501"/>
                          <a:pt x="99230" y="45947"/>
                          <a:pt x="99230" y="45947"/>
                        </a:cubicBezTo>
                        <a:cubicBezTo>
                          <a:pt x="99230" y="46171"/>
                          <a:pt x="99230" y="46394"/>
                          <a:pt x="99461" y="46394"/>
                        </a:cubicBezTo>
                        <a:cubicBezTo>
                          <a:pt x="99461" y="46394"/>
                          <a:pt x="99923" y="46617"/>
                          <a:pt x="99923" y="46617"/>
                        </a:cubicBezTo>
                        <a:cubicBezTo>
                          <a:pt x="99923" y="46617"/>
                          <a:pt x="99923" y="46394"/>
                          <a:pt x="100153" y="46394"/>
                        </a:cubicBezTo>
                        <a:cubicBezTo>
                          <a:pt x="100153" y="46394"/>
                          <a:pt x="100384" y="46394"/>
                          <a:pt x="100384" y="46394"/>
                        </a:cubicBezTo>
                        <a:cubicBezTo>
                          <a:pt x="100615" y="46394"/>
                          <a:pt x="100846" y="46394"/>
                          <a:pt x="100846" y="46394"/>
                        </a:cubicBezTo>
                        <a:cubicBezTo>
                          <a:pt x="100846" y="46394"/>
                          <a:pt x="101076" y="46394"/>
                          <a:pt x="101307" y="46394"/>
                        </a:cubicBezTo>
                        <a:cubicBezTo>
                          <a:pt x="101307" y="46171"/>
                          <a:pt x="101307" y="46171"/>
                          <a:pt x="101307" y="46171"/>
                        </a:cubicBezTo>
                        <a:cubicBezTo>
                          <a:pt x="101307" y="46171"/>
                          <a:pt x="101307" y="45947"/>
                          <a:pt x="101307" y="45947"/>
                        </a:cubicBezTo>
                        <a:cubicBezTo>
                          <a:pt x="101307" y="45947"/>
                          <a:pt x="101538" y="45501"/>
                          <a:pt x="101538" y="45501"/>
                        </a:cubicBezTo>
                        <a:cubicBezTo>
                          <a:pt x="101538" y="45501"/>
                          <a:pt x="101769" y="45501"/>
                          <a:pt x="101769" y="45501"/>
                        </a:cubicBezTo>
                        <a:cubicBezTo>
                          <a:pt x="101769" y="45501"/>
                          <a:pt x="102000" y="45501"/>
                          <a:pt x="102000" y="45501"/>
                        </a:cubicBezTo>
                        <a:cubicBezTo>
                          <a:pt x="102000" y="45501"/>
                          <a:pt x="102000" y="45278"/>
                          <a:pt x="102000" y="45278"/>
                        </a:cubicBezTo>
                        <a:cubicBezTo>
                          <a:pt x="102000" y="45278"/>
                          <a:pt x="102000" y="45055"/>
                          <a:pt x="102000" y="45055"/>
                        </a:cubicBezTo>
                        <a:cubicBezTo>
                          <a:pt x="102000" y="45055"/>
                          <a:pt x="102230" y="45055"/>
                          <a:pt x="102230" y="45055"/>
                        </a:cubicBezTo>
                        <a:cubicBezTo>
                          <a:pt x="102230" y="44609"/>
                          <a:pt x="102230" y="44609"/>
                          <a:pt x="102230" y="44609"/>
                        </a:cubicBezTo>
                        <a:cubicBezTo>
                          <a:pt x="102230" y="44609"/>
                          <a:pt x="102692" y="44609"/>
                          <a:pt x="102692" y="44609"/>
                        </a:cubicBezTo>
                        <a:cubicBezTo>
                          <a:pt x="102923" y="44609"/>
                          <a:pt x="102692" y="44609"/>
                          <a:pt x="102692" y="44609"/>
                        </a:cubicBezTo>
                        <a:cubicBezTo>
                          <a:pt x="103384" y="44386"/>
                          <a:pt x="103384" y="44386"/>
                          <a:pt x="103384" y="44386"/>
                        </a:cubicBezTo>
                        <a:cubicBezTo>
                          <a:pt x="103384" y="44386"/>
                          <a:pt x="103384" y="44386"/>
                          <a:pt x="103384" y="44609"/>
                        </a:cubicBezTo>
                        <a:cubicBezTo>
                          <a:pt x="102923" y="43940"/>
                          <a:pt x="102230" y="43048"/>
                          <a:pt x="102230" y="43048"/>
                        </a:cubicBezTo>
                        <a:cubicBezTo>
                          <a:pt x="102692" y="42156"/>
                          <a:pt x="102692" y="42156"/>
                          <a:pt x="102692" y="42156"/>
                        </a:cubicBezTo>
                        <a:cubicBezTo>
                          <a:pt x="102692" y="42156"/>
                          <a:pt x="102923" y="40594"/>
                          <a:pt x="102923" y="40148"/>
                        </a:cubicBezTo>
                        <a:cubicBezTo>
                          <a:pt x="102923" y="39925"/>
                          <a:pt x="102923" y="38587"/>
                          <a:pt x="102923" y="38587"/>
                        </a:cubicBezTo>
                        <a:cubicBezTo>
                          <a:pt x="102923" y="38587"/>
                          <a:pt x="102000" y="38364"/>
                          <a:pt x="102692" y="37695"/>
                        </a:cubicBezTo>
                        <a:cubicBezTo>
                          <a:pt x="103384" y="36802"/>
                          <a:pt x="104076" y="35687"/>
                          <a:pt x="104076" y="35687"/>
                        </a:cubicBezTo>
                        <a:cubicBezTo>
                          <a:pt x="104076" y="33457"/>
                          <a:pt x="104076" y="33457"/>
                          <a:pt x="104076" y="33457"/>
                        </a:cubicBezTo>
                        <a:cubicBezTo>
                          <a:pt x="104076" y="33457"/>
                          <a:pt x="103384" y="32788"/>
                          <a:pt x="104307" y="32342"/>
                        </a:cubicBezTo>
                        <a:cubicBezTo>
                          <a:pt x="105230" y="31672"/>
                          <a:pt x="106846" y="29665"/>
                          <a:pt x="106846" y="29665"/>
                        </a:cubicBezTo>
                        <a:cubicBezTo>
                          <a:pt x="108461" y="27881"/>
                          <a:pt x="108461" y="27881"/>
                          <a:pt x="108461" y="27881"/>
                        </a:cubicBezTo>
                        <a:cubicBezTo>
                          <a:pt x="105692" y="27211"/>
                          <a:pt x="105692" y="27211"/>
                          <a:pt x="105692" y="27211"/>
                        </a:cubicBezTo>
                        <a:cubicBezTo>
                          <a:pt x="104076" y="26988"/>
                          <a:pt x="104076" y="26988"/>
                          <a:pt x="104076" y="26988"/>
                        </a:cubicBezTo>
                        <a:cubicBezTo>
                          <a:pt x="102923" y="26319"/>
                          <a:pt x="102923" y="26319"/>
                          <a:pt x="102923" y="26319"/>
                        </a:cubicBezTo>
                        <a:cubicBezTo>
                          <a:pt x="102230" y="25204"/>
                          <a:pt x="102230" y="25204"/>
                          <a:pt x="102230" y="25204"/>
                        </a:cubicBezTo>
                        <a:cubicBezTo>
                          <a:pt x="101538" y="25650"/>
                          <a:pt x="101538" y="25650"/>
                          <a:pt x="101538" y="25650"/>
                        </a:cubicBezTo>
                        <a:cubicBezTo>
                          <a:pt x="100846" y="26096"/>
                          <a:pt x="100846" y="26096"/>
                          <a:pt x="100846" y="26096"/>
                        </a:cubicBezTo>
                        <a:cubicBezTo>
                          <a:pt x="99230" y="25873"/>
                          <a:pt x="99230" y="25873"/>
                          <a:pt x="99230" y="25873"/>
                        </a:cubicBezTo>
                        <a:cubicBezTo>
                          <a:pt x="98076" y="24758"/>
                          <a:pt x="98076" y="24758"/>
                          <a:pt x="98076" y="24758"/>
                        </a:cubicBezTo>
                        <a:cubicBezTo>
                          <a:pt x="97153" y="25427"/>
                          <a:pt x="97153" y="25427"/>
                          <a:pt x="97153" y="25427"/>
                        </a:cubicBezTo>
                        <a:cubicBezTo>
                          <a:pt x="96230" y="24758"/>
                          <a:pt x="96230" y="24758"/>
                          <a:pt x="96230" y="24758"/>
                        </a:cubicBezTo>
                        <a:cubicBezTo>
                          <a:pt x="95538" y="23643"/>
                          <a:pt x="95538" y="23643"/>
                          <a:pt x="95538" y="23643"/>
                        </a:cubicBezTo>
                        <a:cubicBezTo>
                          <a:pt x="95307" y="22750"/>
                          <a:pt x="95307" y="22750"/>
                          <a:pt x="95307" y="22750"/>
                        </a:cubicBezTo>
                        <a:cubicBezTo>
                          <a:pt x="94153" y="21635"/>
                          <a:pt x="94153" y="21635"/>
                          <a:pt x="94153" y="21635"/>
                        </a:cubicBezTo>
                        <a:cubicBezTo>
                          <a:pt x="93692" y="21635"/>
                          <a:pt x="93692" y="21635"/>
                          <a:pt x="93692" y="21635"/>
                        </a:cubicBezTo>
                        <a:cubicBezTo>
                          <a:pt x="93692" y="21858"/>
                          <a:pt x="93461" y="21858"/>
                          <a:pt x="93461" y="21858"/>
                        </a:cubicBezTo>
                        <a:cubicBezTo>
                          <a:pt x="93461" y="21858"/>
                          <a:pt x="92769" y="21635"/>
                          <a:pt x="92769" y="21635"/>
                        </a:cubicBezTo>
                        <a:cubicBezTo>
                          <a:pt x="92769" y="21189"/>
                          <a:pt x="92769" y="21189"/>
                          <a:pt x="92769" y="21189"/>
                        </a:cubicBezTo>
                        <a:cubicBezTo>
                          <a:pt x="92538" y="20966"/>
                          <a:pt x="92538" y="20966"/>
                          <a:pt x="92538" y="20966"/>
                        </a:cubicBezTo>
                        <a:cubicBezTo>
                          <a:pt x="92076" y="20966"/>
                          <a:pt x="92076" y="20966"/>
                          <a:pt x="92076" y="20966"/>
                        </a:cubicBezTo>
                        <a:cubicBezTo>
                          <a:pt x="91615" y="21189"/>
                          <a:pt x="91615" y="21189"/>
                          <a:pt x="91615" y="21189"/>
                        </a:cubicBezTo>
                        <a:cubicBezTo>
                          <a:pt x="91384" y="21412"/>
                          <a:pt x="91384" y="21412"/>
                          <a:pt x="91384" y="21412"/>
                        </a:cubicBezTo>
                        <a:cubicBezTo>
                          <a:pt x="91384" y="21412"/>
                          <a:pt x="91384" y="21412"/>
                          <a:pt x="91384" y="21412"/>
                        </a:cubicBezTo>
                        <a:cubicBezTo>
                          <a:pt x="91153" y="21635"/>
                          <a:pt x="91153" y="21635"/>
                          <a:pt x="91153" y="21635"/>
                        </a:cubicBezTo>
                        <a:cubicBezTo>
                          <a:pt x="90923" y="21635"/>
                          <a:pt x="90923" y="21635"/>
                          <a:pt x="90923" y="21635"/>
                        </a:cubicBezTo>
                        <a:cubicBezTo>
                          <a:pt x="90923" y="21635"/>
                          <a:pt x="90923" y="21635"/>
                          <a:pt x="90923" y="21635"/>
                        </a:cubicBezTo>
                        <a:cubicBezTo>
                          <a:pt x="90923" y="21635"/>
                          <a:pt x="90692" y="21635"/>
                          <a:pt x="90692" y="21635"/>
                        </a:cubicBezTo>
                        <a:cubicBezTo>
                          <a:pt x="90230" y="21635"/>
                          <a:pt x="90230" y="21635"/>
                          <a:pt x="90230" y="21635"/>
                        </a:cubicBezTo>
                        <a:cubicBezTo>
                          <a:pt x="90230" y="21412"/>
                          <a:pt x="90230" y="21412"/>
                          <a:pt x="90230" y="21412"/>
                        </a:cubicBezTo>
                        <a:cubicBezTo>
                          <a:pt x="90230" y="21189"/>
                          <a:pt x="90230" y="21189"/>
                          <a:pt x="90230" y="21189"/>
                        </a:cubicBezTo>
                        <a:cubicBezTo>
                          <a:pt x="89769" y="20966"/>
                          <a:pt x="89769" y="20966"/>
                          <a:pt x="89769" y="20966"/>
                        </a:cubicBezTo>
                        <a:cubicBezTo>
                          <a:pt x="89538" y="20966"/>
                          <a:pt x="89538" y="20966"/>
                          <a:pt x="89538" y="20966"/>
                        </a:cubicBezTo>
                        <a:cubicBezTo>
                          <a:pt x="89538" y="20966"/>
                          <a:pt x="89307" y="20743"/>
                          <a:pt x="89307" y="20743"/>
                        </a:cubicBezTo>
                        <a:cubicBezTo>
                          <a:pt x="89076" y="20743"/>
                          <a:pt x="89076" y="20520"/>
                          <a:pt x="89076" y="20520"/>
                        </a:cubicBezTo>
                        <a:cubicBezTo>
                          <a:pt x="88846" y="20297"/>
                          <a:pt x="88846" y="20297"/>
                          <a:pt x="88846" y="20297"/>
                        </a:cubicBezTo>
                        <a:cubicBezTo>
                          <a:pt x="89307" y="20297"/>
                          <a:pt x="89307" y="20297"/>
                          <a:pt x="89307" y="20297"/>
                        </a:cubicBezTo>
                        <a:cubicBezTo>
                          <a:pt x="89307" y="20297"/>
                          <a:pt x="89307" y="20074"/>
                          <a:pt x="89307" y="20074"/>
                        </a:cubicBezTo>
                        <a:cubicBezTo>
                          <a:pt x="89307" y="20074"/>
                          <a:pt x="89307" y="20074"/>
                          <a:pt x="89307" y="20074"/>
                        </a:cubicBezTo>
                        <a:cubicBezTo>
                          <a:pt x="89307" y="20074"/>
                          <a:pt x="89076" y="20074"/>
                          <a:pt x="89076" y="20074"/>
                        </a:cubicBezTo>
                        <a:cubicBezTo>
                          <a:pt x="88615" y="20074"/>
                          <a:pt x="88615" y="20074"/>
                          <a:pt x="88615" y="20074"/>
                        </a:cubicBezTo>
                        <a:cubicBezTo>
                          <a:pt x="88384" y="20297"/>
                          <a:pt x="88384" y="20297"/>
                          <a:pt x="88384" y="20297"/>
                        </a:cubicBezTo>
                        <a:cubicBezTo>
                          <a:pt x="87923" y="20297"/>
                          <a:pt x="87923" y="20297"/>
                          <a:pt x="87923" y="20297"/>
                        </a:cubicBezTo>
                        <a:cubicBezTo>
                          <a:pt x="87461" y="20520"/>
                          <a:pt x="87461" y="20520"/>
                          <a:pt x="87461" y="20520"/>
                        </a:cubicBezTo>
                        <a:cubicBezTo>
                          <a:pt x="86769" y="20520"/>
                          <a:pt x="86769" y="20520"/>
                          <a:pt x="86769" y="20520"/>
                        </a:cubicBezTo>
                        <a:cubicBezTo>
                          <a:pt x="86538" y="20074"/>
                          <a:pt x="86538" y="20074"/>
                          <a:pt x="86538" y="20074"/>
                        </a:cubicBezTo>
                        <a:cubicBezTo>
                          <a:pt x="86307" y="19628"/>
                          <a:pt x="86307" y="19628"/>
                          <a:pt x="86307" y="19628"/>
                        </a:cubicBezTo>
                        <a:cubicBezTo>
                          <a:pt x="86076" y="19405"/>
                          <a:pt x="86076" y="19405"/>
                          <a:pt x="86076" y="19405"/>
                        </a:cubicBezTo>
                        <a:cubicBezTo>
                          <a:pt x="85846" y="19405"/>
                          <a:pt x="85846" y="19405"/>
                          <a:pt x="85846" y="19405"/>
                        </a:cubicBezTo>
                        <a:cubicBezTo>
                          <a:pt x="85153" y="19182"/>
                          <a:pt x="85153" y="19182"/>
                          <a:pt x="85153" y="19182"/>
                        </a:cubicBezTo>
                        <a:cubicBezTo>
                          <a:pt x="85384" y="18736"/>
                          <a:pt x="85384" y="18736"/>
                          <a:pt x="85384" y="18736"/>
                        </a:cubicBezTo>
                        <a:cubicBezTo>
                          <a:pt x="85384" y="18736"/>
                          <a:pt x="85153" y="18289"/>
                          <a:pt x="85153" y="18289"/>
                        </a:cubicBezTo>
                        <a:cubicBezTo>
                          <a:pt x="84923" y="18289"/>
                          <a:pt x="84692" y="18289"/>
                          <a:pt x="84692" y="18289"/>
                        </a:cubicBezTo>
                        <a:cubicBezTo>
                          <a:pt x="84230" y="17843"/>
                          <a:pt x="84230" y="17843"/>
                          <a:pt x="84230" y="17843"/>
                        </a:cubicBezTo>
                        <a:cubicBezTo>
                          <a:pt x="84230" y="17843"/>
                          <a:pt x="84230" y="17620"/>
                          <a:pt x="84000" y="17397"/>
                        </a:cubicBezTo>
                        <a:cubicBezTo>
                          <a:pt x="83769" y="17397"/>
                          <a:pt x="83769" y="17174"/>
                          <a:pt x="83538" y="17174"/>
                        </a:cubicBezTo>
                        <a:cubicBezTo>
                          <a:pt x="83307" y="17174"/>
                          <a:pt x="82846" y="17174"/>
                          <a:pt x="82846" y="17174"/>
                        </a:cubicBezTo>
                        <a:cubicBezTo>
                          <a:pt x="82846" y="17174"/>
                          <a:pt x="82615" y="16728"/>
                          <a:pt x="82384" y="16728"/>
                        </a:cubicBezTo>
                        <a:cubicBezTo>
                          <a:pt x="82384" y="16728"/>
                          <a:pt x="81461" y="16728"/>
                          <a:pt x="81461" y="16728"/>
                        </a:cubicBezTo>
                        <a:cubicBezTo>
                          <a:pt x="81461" y="16728"/>
                          <a:pt x="81692" y="16059"/>
                          <a:pt x="81692" y="16059"/>
                        </a:cubicBezTo>
                        <a:cubicBezTo>
                          <a:pt x="81692" y="15836"/>
                          <a:pt x="81692" y="15167"/>
                          <a:pt x="81692" y="15167"/>
                        </a:cubicBezTo>
                        <a:cubicBezTo>
                          <a:pt x="81692" y="14944"/>
                          <a:pt x="81692" y="14944"/>
                          <a:pt x="81692" y="14944"/>
                        </a:cubicBezTo>
                        <a:cubicBezTo>
                          <a:pt x="81692" y="14944"/>
                          <a:pt x="81461" y="14721"/>
                          <a:pt x="81692" y="14275"/>
                        </a:cubicBezTo>
                        <a:cubicBezTo>
                          <a:pt x="81923" y="13828"/>
                          <a:pt x="81692" y="14052"/>
                          <a:pt x="81923" y="13605"/>
                        </a:cubicBezTo>
                        <a:cubicBezTo>
                          <a:pt x="82153" y="12936"/>
                          <a:pt x="82153" y="12713"/>
                          <a:pt x="82153" y="12713"/>
                        </a:cubicBezTo>
                        <a:cubicBezTo>
                          <a:pt x="81692" y="12490"/>
                          <a:pt x="81692" y="12490"/>
                          <a:pt x="81692" y="12490"/>
                        </a:cubicBezTo>
                        <a:cubicBezTo>
                          <a:pt x="81692" y="12490"/>
                          <a:pt x="81461" y="12267"/>
                          <a:pt x="81230" y="12490"/>
                        </a:cubicBezTo>
                        <a:cubicBezTo>
                          <a:pt x="81230" y="12936"/>
                          <a:pt x="81000" y="12936"/>
                          <a:pt x="81000" y="12936"/>
                        </a:cubicBezTo>
                        <a:cubicBezTo>
                          <a:pt x="80538" y="13605"/>
                          <a:pt x="80538" y="13605"/>
                          <a:pt x="80538" y="13605"/>
                        </a:cubicBezTo>
                        <a:cubicBezTo>
                          <a:pt x="80538" y="14275"/>
                          <a:pt x="80538" y="14275"/>
                          <a:pt x="80538" y="14275"/>
                        </a:cubicBezTo>
                        <a:cubicBezTo>
                          <a:pt x="80538" y="14275"/>
                          <a:pt x="80769" y="14498"/>
                          <a:pt x="80076" y="14498"/>
                        </a:cubicBezTo>
                        <a:cubicBezTo>
                          <a:pt x="79615" y="14498"/>
                          <a:pt x="79153" y="14498"/>
                          <a:pt x="79153" y="14498"/>
                        </a:cubicBezTo>
                        <a:cubicBezTo>
                          <a:pt x="79153" y="14498"/>
                          <a:pt x="79615" y="14944"/>
                          <a:pt x="78923" y="14944"/>
                        </a:cubicBezTo>
                        <a:cubicBezTo>
                          <a:pt x="78461" y="14944"/>
                          <a:pt x="77769" y="14944"/>
                          <a:pt x="77769" y="14944"/>
                        </a:cubicBezTo>
                        <a:cubicBezTo>
                          <a:pt x="77307" y="14498"/>
                          <a:pt x="77307" y="14498"/>
                          <a:pt x="77307" y="14498"/>
                        </a:cubicBezTo>
                        <a:cubicBezTo>
                          <a:pt x="76384" y="14721"/>
                          <a:pt x="76384" y="14721"/>
                          <a:pt x="76384" y="14721"/>
                        </a:cubicBezTo>
                        <a:cubicBezTo>
                          <a:pt x="76384" y="14721"/>
                          <a:pt x="76384" y="14498"/>
                          <a:pt x="76384" y="14052"/>
                        </a:cubicBezTo>
                        <a:cubicBezTo>
                          <a:pt x="76384" y="13828"/>
                          <a:pt x="76153" y="13382"/>
                          <a:pt x="76384" y="13382"/>
                        </a:cubicBezTo>
                        <a:cubicBezTo>
                          <a:pt x="76615" y="13382"/>
                          <a:pt x="76846" y="13159"/>
                          <a:pt x="76846" y="13159"/>
                        </a:cubicBezTo>
                        <a:cubicBezTo>
                          <a:pt x="76615" y="12490"/>
                          <a:pt x="76615" y="12490"/>
                          <a:pt x="76615" y="12490"/>
                        </a:cubicBezTo>
                        <a:cubicBezTo>
                          <a:pt x="76615" y="12490"/>
                          <a:pt x="76615" y="12490"/>
                          <a:pt x="76615" y="12490"/>
                        </a:cubicBezTo>
                        <a:cubicBezTo>
                          <a:pt x="76615" y="12490"/>
                          <a:pt x="76384" y="12490"/>
                          <a:pt x="76384" y="12267"/>
                        </a:cubicBezTo>
                        <a:cubicBezTo>
                          <a:pt x="76384" y="12044"/>
                          <a:pt x="76615" y="11598"/>
                          <a:pt x="76615" y="11598"/>
                        </a:cubicBezTo>
                        <a:cubicBezTo>
                          <a:pt x="76846" y="11375"/>
                          <a:pt x="76846" y="10929"/>
                          <a:pt x="76846" y="10929"/>
                        </a:cubicBezTo>
                        <a:cubicBezTo>
                          <a:pt x="76615" y="10929"/>
                          <a:pt x="76615" y="10929"/>
                          <a:pt x="76615" y="10929"/>
                        </a:cubicBezTo>
                        <a:cubicBezTo>
                          <a:pt x="76615" y="10929"/>
                          <a:pt x="76153" y="11152"/>
                          <a:pt x="76153" y="10706"/>
                        </a:cubicBezTo>
                        <a:cubicBezTo>
                          <a:pt x="76153" y="10483"/>
                          <a:pt x="75923" y="10037"/>
                          <a:pt x="75923" y="10037"/>
                        </a:cubicBezTo>
                        <a:cubicBezTo>
                          <a:pt x="75923" y="10037"/>
                          <a:pt x="75461" y="9814"/>
                          <a:pt x="75461" y="9814"/>
                        </a:cubicBezTo>
                        <a:cubicBezTo>
                          <a:pt x="75230" y="9814"/>
                          <a:pt x="75230" y="9814"/>
                          <a:pt x="75000" y="10037"/>
                        </a:cubicBezTo>
                        <a:cubicBezTo>
                          <a:pt x="75000" y="10037"/>
                          <a:pt x="74307" y="9814"/>
                          <a:pt x="74307" y="9814"/>
                        </a:cubicBezTo>
                        <a:cubicBezTo>
                          <a:pt x="74307" y="9814"/>
                          <a:pt x="73615" y="9814"/>
                          <a:pt x="73615" y="9814"/>
                        </a:cubicBezTo>
                        <a:cubicBezTo>
                          <a:pt x="73384" y="9814"/>
                          <a:pt x="73153" y="10260"/>
                          <a:pt x="73153" y="10260"/>
                        </a:cubicBezTo>
                        <a:cubicBezTo>
                          <a:pt x="72692" y="9591"/>
                          <a:pt x="72692" y="9591"/>
                          <a:pt x="72692" y="9591"/>
                        </a:cubicBezTo>
                        <a:cubicBezTo>
                          <a:pt x="72923" y="8921"/>
                          <a:pt x="72923" y="8921"/>
                          <a:pt x="72923" y="8921"/>
                        </a:cubicBezTo>
                        <a:cubicBezTo>
                          <a:pt x="72923" y="8921"/>
                          <a:pt x="72461" y="8475"/>
                          <a:pt x="72461" y="8252"/>
                        </a:cubicBezTo>
                        <a:cubicBezTo>
                          <a:pt x="72461" y="8252"/>
                          <a:pt x="72230" y="7806"/>
                          <a:pt x="72230" y="7806"/>
                        </a:cubicBezTo>
                        <a:cubicBezTo>
                          <a:pt x="71769" y="7806"/>
                          <a:pt x="71769" y="7806"/>
                          <a:pt x="71769" y="7806"/>
                        </a:cubicBezTo>
                        <a:cubicBezTo>
                          <a:pt x="71538" y="7583"/>
                          <a:pt x="71538" y="7583"/>
                          <a:pt x="71538" y="7583"/>
                        </a:cubicBezTo>
                        <a:cubicBezTo>
                          <a:pt x="71538" y="7583"/>
                          <a:pt x="71076" y="7583"/>
                          <a:pt x="70846" y="7583"/>
                        </a:cubicBezTo>
                        <a:cubicBezTo>
                          <a:pt x="70615" y="7583"/>
                          <a:pt x="70615" y="7583"/>
                          <a:pt x="70384" y="7583"/>
                        </a:cubicBezTo>
                        <a:cubicBezTo>
                          <a:pt x="70384" y="7583"/>
                          <a:pt x="69923" y="7137"/>
                          <a:pt x="69923" y="7137"/>
                        </a:cubicBezTo>
                        <a:cubicBezTo>
                          <a:pt x="69923" y="6914"/>
                          <a:pt x="69923" y="6691"/>
                          <a:pt x="69923" y="6468"/>
                        </a:cubicBezTo>
                        <a:cubicBezTo>
                          <a:pt x="69692" y="6245"/>
                          <a:pt x="69461" y="5799"/>
                          <a:pt x="69461" y="5576"/>
                        </a:cubicBezTo>
                        <a:cubicBezTo>
                          <a:pt x="69461" y="5576"/>
                          <a:pt x="69692" y="5130"/>
                          <a:pt x="69692" y="5130"/>
                        </a:cubicBezTo>
                        <a:cubicBezTo>
                          <a:pt x="69461" y="4907"/>
                          <a:pt x="69000" y="4460"/>
                          <a:pt x="69000" y="4460"/>
                        </a:cubicBezTo>
                        <a:cubicBezTo>
                          <a:pt x="68769" y="4014"/>
                          <a:pt x="68769" y="4014"/>
                          <a:pt x="68769" y="4014"/>
                        </a:cubicBezTo>
                        <a:cubicBezTo>
                          <a:pt x="68769" y="4014"/>
                          <a:pt x="68076" y="4460"/>
                          <a:pt x="67846" y="4460"/>
                        </a:cubicBezTo>
                        <a:cubicBezTo>
                          <a:pt x="67615" y="4460"/>
                          <a:pt x="67153" y="4237"/>
                          <a:pt x="67153" y="4460"/>
                        </a:cubicBezTo>
                        <a:cubicBezTo>
                          <a:pt x="67153" y="4460"/>
                          <a:pt x="67384" y="4907"/>
                          <a:pt x="67153" y="4907"/>
                        </a:cubicBezTo>
                        <a:cubicBezTo>
                          <a:pt x="66923" y="4907"/>
                          <a:pt x="66461" y="4907"/>
                          <a:pt x="66230" y="4684"/>
                        </a:cubicBezTo>
                        <a:cubicBezTo>
                          <a:pt x="66000" y="4460"/>
                          <a:pt x="66000" y="4237"/>
                          <a:pt x="66000" y="4014"/>
                        </a:cubicBezTo>
                        <a:cubicBezTo>
                          <a:pt x="65769" y="4014"/>
                          <a:pt x="65769" y="3568"/>
                          <a:pt x="65538" y="3568"/>
                        </a:cubicBezTo>
                        <a:cubicBezTo>
                          <a:pt x="65307" y="3568"/>
                          <a:pt x="65076" y="3568"/>
                          <a:pt x="65076" y="3345"/>
                        </a:cubicBezTo>
                        <a:cubicBezTo>
                          <a:pt x="65076" y="3345"/>
                          <a:pt x="65076" y="2676"/>
                          <a:pt x="65076" y="2676"/>
                        </a:cubicBezTo>
                        <a:cubicBezTo>
                          <a:pt x="65076" y="2230"/>
                          <a:pt x="65076" y="2230"/>
                          <a:pt x="65076" y="2230"/>
                        </a:cubicBezTo>
                        <a:cubicBezTo>
                          <a:pt x="65076" y="2230"/>
                          <a:pt x="65076" y="1561"/>
                          <a:pt x="64846" y="1561"/>
                        </a:cubicBezTo>
                        <a:cubicBezTo>
                          <a:pt x="64846" y="1338"/>
                          <a:pt x="64615" y="1115"/>
                          <a:pt x="64615" y="1115"/>
                        </a:cubicBezTo>
                        <a:cubicBezTo>
                          <a:pt x="64615" y="446"/>
                          <a:pt x="64615" y="446"/>
                          <a:pt x="64615" y="446"/>
                        </a:cubicBezTo>
                        <a:cubicBezTo>
                          <a:pt x="64846" y="223"/>
                          <a:pt x="64846" y="223"/>
                          <a:pt x="64846" y="223"/>
                        </a:cubicBezTo>
                        <a:cubicBezTo>
                          <a:pt x="64846" y="223"/>
                          <a:pt x="64846" y="0"/>
                          <a:pt x="65076" y="0"/>
                        </a:cubicBezTo>
                        <a:cubicBezTo>
                          <a:pt x="59769" y="892"/>
                          <a:pt x="59769" y="892"/>
                          <a:pt x="59769" y="892"/>
                        </a:cubicBezTo>
                        <a:cubicBezTo>
                          <a:pt x="57461" y="1115"/>
                          <a:pt x="57461" y="1115"/>
                          <a:pt x="57461" y="1115"/>
                        </a:cubicBezTo>
                        <a:cubicBezTo>
                          <a:pt x="56538" y="2230"/>
                          <a:pt x="56538" y="2230"/>
                          <a:pt x="56538" y="2230"/>
                        </a:cubicBezTo>
                        <a:cubicBezTo>
                          <a:pt x="56076" y="3345"/>
                          <a:pt x="56076" y="3345"/>
                          <a:pt x="56076" y="3345"/>
                        </a:cubicBezTo>
                        <a:cubicBezTo>
                          <a:pt x="56307" y="5130"/>
                          <a:pt x="56307" y="5130"/>
                          <a:pt x="56307" y="5130"/>
                        </a:cubicBezTo>
                        <a:cubicBezTo>
                          <a:pt x="55615" y="6245"/>
                          <a:pt x="55615" y="6245"/>
                          <a:pt x="55615" y="6245"/>
                        </a:cubicBezTo>
                        <a:cubicBezTo>
                          <a:pt x="55615" y="7583"/>
                          <a:pt x="55615" y="7583"/>
                          <a:pt x="55615" y="7583"/>
                        </a:cubicBezTo>
                        <a:cubicBezTo>
                          <a:pt x="55615" y="9591"/>
                          <a:pt x="55615" y="9591"/>
                          <a:pt x="55615" y="9591"/>
                        </a:cubicBezTo>
                        <a:cubicBezTo>
                          <a:pt x="54461" y="10260"/>
                          <a:pt x="54461" y="10260"/>
                          <a:pt x="54461" y="10260"/>
                        </a:cubicBezTo>
                        <a:cubicBezTo>
                          <a:pt x="52846" y="11821"/>
                          <a:pt x="52846" y="11821"/>
                          <a:pt x="52846" y="11821"/>
                        </a:cubicBezTo>
                        <a:cubicBezTo>
                          <a:pt x="50538" y="12713"/>
                          <a:pt x="50538" y="12713"/>
                          <a:pt x="50538" y="12713"/>
                        </a:cubicBezTo>
                        <a:cubicBezTo>
                          <a:pt x="47538" y="13382"/>
                          <a:pt x="47538" y="13382"/>
                          <a:pt x="47538" y="13382"/>
                        </a:cubicBezTo>
                        <a:cubicBezTo>
                          <a:pt x="45230" y="14052"/>
                          <a:pt x="45230" y="14052"/>
                          <a:pt x="45230" y="14052"/>
                        </a:cubicBezTo>
                        <a:cubicBezTo>
                          <a:pt x="43153" y="15167"/>
                          <a:pt x="43153" y="15167"/>
                          <a:pt x="43153" y="15167"/>
                        </a:cubicBezTo>
                        <a:cubicBezTo>
                          <a:pt x="42692" y="16728"/>
                          <a:pt x="42692" y="16728"/>
                          <a:pt x="42692" y="16728"/>
                        </a:cubicBezTo>
                        <a:cubicBezTo>
                          <a:pt x="42461" y="18736"/>
                          <a:pt x="42461" y="18736"/>
                          <a:pt x="42461" y="18736"/>
                        </a:cubicBezTo>
                        <a:cubicBezTo>
                          <a:pt x="40846" y="19405"/>
                          <a:pt x="40846" y="19405"/>
                          <a:pt x="40846" y="19405"/>
                        </a:cubicBezTo>
                        <a:cubicBezTo>
                          <a:pt x="40846" y="19405"/>
                          <a:pt x="40153" y="19851"/>
                          <a:pt x="39692" y="19628"/>
                        </a:cubicBezTo>
                        <a:cubicBezTo>
                          <a:pt x="39000" y="19628"/>
                          <a:pt x="37615" y="19182"/>
                          <a:pt x="37615" y="19182"/>
                        </a:cubicBezTo>
                        <a:cubicBezTo>
                          <a:pt x="37615" y="19182"/>
                          <a:pt x="36000" y="18289"/>
                          <a:pt x="35307" y="18289"/>
                        </a:cubicBezTo>
                        <a:cubicBezTo>
                          <a:pt x="34615" y="18066"/>
                          <a:pt x="33461" y="16951"/>
                          <a:pt x="33461" y="16951"/>
                        </a:cubicBezTo>
                        <a:cubicBezTo>
                          <a:pt x="32307" y="17843"/>
                          <a:pt x="32307" y="17843"/>
                          <a:pt x="32307" y="17843"/>
                        </a:cubicBezTo>
                        <a:cubicBezTo>
                          <a:pt x="32307" y="17843"/>
                          <a:pt x="31615" y="17174"/>
                          <a:pt x="31615" y="16728"/>
                        </a:cubicBezTo>
                        <a:cubicBezTo>
                          <a:pt x="31615" y="16505"/>
                          <a:pt x="31615" y="16505"/>
                          <a:pt x="31615" y="16059"/>
                        </a:cubicBezTo>
                        <a:cubicBezTo>
                          <a:pt x="31615" y="15390"/>
                          <a:pt x="31615" y="14275"/>
                          <a:pt x="31615" y="14275"/>
                        </a:cubicBezTo>
                        <a:cubicBezTo>
                          <a:pt x="30000" y="13605"/>
                          <a:pt x="30000" y="13605"/>
                          <a:pt x="30000" y="13605"/>
                        </a:cubicBezTo>
                        <a:cubicBezTo>
                          <a:pt x="28384" y="13382"/>
                          <a:pt x="28384" y="13382"/>
                          <a:pt x="28384" y="13382"/>
                        </a:cubicBezTo>
                        <a:cubicBezTo>
                          <a:pt x="28384" y="13382"/>
                          <a:pt x="28384" y="13828"/>
                          <a:pt x="27923" y="13382"/>
                        </a:cubicBezTo>
                        <a:cubicBezTo>
                          <a:pt x="27230" y="12936"/>
                          <a:pt x="27230" y="12044"/>
                          <a:pt x="27230" y="12044"/>
                        </a:cubicBezTo>
                        <a:cubicBezTo>
                          <a:pt x="25846" y="11375"/>
                          <a:pt x="25846" y="11375"/>
                          <a:pt x="25846" y="11375"/>
                        </a:cubicBezTo>
                        <a:cubicBezTo>
                          <a:pt x="25384" y="13159"/>
                          <a:pt x="25384" y="13159"/>
                          <a:pt x="25384" y="13159"/>
                        </a:cubicBezTo>
                        <a:cubicBezTo>
                          <a:pt x="27000" y="14498"/>
                          <a:pt x="27000" y="14498"/>
                          <a:pt x="27000" y="14498"/>
                        </a:cubicBezTo>
                        <a:cubicBezTo>
                          <a:pt x="27461" y="15390"/>
                          <a:pt x="27461" y="15390"/>
                          <a:pt x="27461" y="15390"/>
                        </a:cubicBezTo>
                        <a:cubicBezTo>
                          <a:pt x="27000" y="16728"/>
                          <a:pt x="27000" y="16728"/>
                          <a:pt x="27000" y="16728"/>
                        </a:cubicBezTo>
                        <a:cubicBezTo>
                          <a:pt x="27461" y="17843"/>
                          <a:pt x="27461" y="17843"/>
                          <a:pt x="27461" y="17843"/>
                        </a:cubicBezTo>
                        <a:cubicBezTo>
                          <a:pt x="27692" y="18736"/>
                          <a:pt x="27692" y="18736"/>
                          <a:pt x="27692" y="18736"/>
                        </a:cubicBezTo>
                        <a:cubicBezTo>
                          <a:pt x="27692" y="18736"/>
                          <a:pt x="27923" y="18736"/>
                          <a:pt x="27923" y="19405"/>
                        </a:cubicBezTo>
                        <a:cubicBezTo>
                          <a:pt x="27923" y="19851"/>
                          <a:pt x="27692" y="22081"/>
                          <a:pt x="27692" y="22081"/>
                        </a:cubicBezTo>
                        <a:cubicBezTo>
                          <a:pt x="27692" y="23866"/>
                          <a:pt x="27692" y="23866"/>
                          <a:pt x="27692" y="23866"/>
                        </a:cubicBezTo>
                        <a:cubicBezTo>
                          <a:pt x="28384" y="25650"/>
                          <a:pt x="28384" y="25650"/>
                          <a:pt x="28384" y="25650"/>
                        </a:cubicBezTo>
                        <a:cubicBezTo>
                          <a:pt x="28384" y="25650"/>
                          <a:pt x="27230" y="26319"/>
                          <a:pt x="26769" y="26319"/>
                        </a:cubicBezTo>
                        <a:cubicBezTo>
                          <a:pt x="26307" y="26319"/>
                          <a:pt x="25153" y="25873"/>
                          <a:pt x="25153" y="25873"/>
                        </a:cubicBezTo>
                        <a:cubicBezTo>
                          <a:pt x="24692" y="24758"/>
                          <a:pt x="24692" y="24758"/>
                          <a:pt x="24692" y="24758"/>
                        </a:cubicBezTo>
                        <a:cubicBezTo>
                          <a:pt x="21923" y="24981"/>
                          <a:pt x="21923" y="24981"/>
                          <a:pt x="21923" y="24981"/>
                        </a:cubicBezTo>
                        <a:cubicBezTo>
                          <a:pt x="20307" y="24758"/>
                          <a:pt x="20307" y="24758"/>
                          <a:pt x="20307" y="24758"/>
                        </a:cubicBezTo>
                        <a:cubicBezTo>
                          <a:pt x="18923" y="25650"/>
                          <a:pt x="18923" y="25650"/>
                          <a:pt x="18923" y="25650"/>
                        </a:cubicBezTo>
                        <a:cubicBezTo>
                          <a:pt x="18000" y="25427"/>
                          <a:pt x="18000" y="25427"/>
                          <a:pt x="18000" y="25427"/>
                        </a:cubicBezTo>
                        <a:cubicBezTo>
                          <a:pt x="17076" y="24535"/>
                          <a:pt x="17076" y="24535"/>
                          <a:pt x="17076" y="24535"/>
                        </a:cubicBezTo>
                        <a:cubicBezTo>
                          <a:pt x="16846" y="23197"/>
                          <a:pt x="16846" y="23197"/>
                          <a:pt x="16846" y="23197"/>
                        </a:cubicBezTo>
                        <a:cubicBezTo>
                          <a:pt x="16384" y="22081"/>
                          <a:pt x="16384" y="22081"/>
                          <a:pt x="16384" y="22081"/>
                        </a:cubicBezTo>
                        <a:cubicBezTo>
                          <a:pt x="15461" y="20966"/>
                          <a:pt x="15461" y="20966"/>
                          <a:pt x="15461" y="20966"/>
                        </a:cubicBezTo>
                        <a:cubicBezTo>
                          <a:pt x="12461" y="21189"/>
                          <a:pt x="12461" y="21189"/>
                          <a:pt x="12461" y="21189"/>
                        </a:cubicBezTo>
                        <a:cubicBezTo>
                          <a:pt x="11307" y="21412"/>
                          <a:pt x="11307" y="21412"/>
                          <a:pt x="11307" y="21412"/>
                        </a:cubicBezTo>
                        <a:cubicBezTo>
                          <a:pt x="10615" y="22081"/>
                          <a:pt x="10615" y="22081"/>
                          <a:pt x="10615" y="22081"/>
                        </a:cubicBezTo>
                        <a:cubicBezTo>
                          <a:pt x="9230" y="21858"/>
                          <a:pt x="9230" y="21858"/>
                          <a:pt x="9230" y="21858"/>
                        </a:cubicBezTo>
                        <a:cubicBezTo>
                          <a:pt x="8769" y="22527"/>
                          <a:pt x="8769" y="22527"/>
                          <a:pt x="8769" y="22527"/>
                        </a:cubicBezTo>
                        <a:cubicBezTo>
                          <a:pt x="7153" y="22081"/>
                          <a:pt x="7153" y="22081"/>
                          <a:pt x="7153" y="22081"/>
                        </a:cubicBezTo>
                        <a:cubicBezTo>
                          <a:pt x="5538" y="22304"/>
                          <a:pt x="5538" y="22304"/>
                          <a:pt x="5538" y="22304"/>
                        </a:cubicBezTo>
                        <a:cubicBezTo>
                          <a:pt x="4384" y="22081"/>
                          <a:pt x="4384" y="22081"/>
                          <a:pt x="4384" y="22081"/>
                        </a:cubicBezTo>
                        <a:cubicBezTo>
                          <a:pt x="2307" y="22527"/>
                          <a:pt x="2307" y="22527"/>
                          <a:pt x="2307" y="22527"/>
                        </a:cubicBezTo>
                        <a:cubicBezTo>
                          <a:pt x="1153" y="23420"/>
                          <a:pt x="1153" y="23420"/>
                          <a:pt x="1153" y="23420"/>
                        </a:cubicBezTo>
                        <a:cubicBezTo>
                          <a:pt x="0" y="25204"/>
                          <a:pt x="0" y="25204"/>
                          <a:pt x="0" y="25204"/>
                        </a:cubicBezTo>
                        <a:cubicBezTo>
                          <a:pt x="0" y="25204"/>
                          <a:pt x="461" y="25204"/>
                          <a:pt x="923" y="25204"/>
                        </a:cubicBezTo>
                        <a:cubicBezTo>
                          <a:pt x="1153" y="25204"/>
                          <a:pt x="3230" y="25427"/>
                          <a:pt x="3230" y="25427"/>
                        </a:cubicBezTo>
                        <a:cubicBezTo>
                          <a:pt x="3692" y="26096"/>
                          <a:pt x="3692" y="26096"/>
                          <a:pt x="3692" y="26096"/>
                        </a:cubicBezTo>
                        <a:cubicBezTo>
                          <a:pt x="2307" y="26765"/>
                          <a:pt x="2307" y="26765"/>
                          <a:pt x="2307" y="26765"/>
                        </a:cubicBezTo>
                        <a:cubicBezTo>
                          <a:pt x="3461" y="27211"/>
                          <a:pt x="3461" y="27211"/>
                          <a:pt x="3461" y="27211"/>
                        </a:cubicBezTo>
                        <a:cubicBezTo>
                          <a:pt x="3692" y="27657"/>
                          <a:pt x="3692" y="27657"/>
                          <a:pt x="3692" y="27657"/>
                        </a:cubicBezTo>
                        <a:cubicBezTo>
                          <a:pt x="3692" y="28327"/>
                          <a:pt x="3692" y="28327"/>
                          <a:pt x="3692" y="28327"/>
                        </a:cubicBezTo>
                        <a:cubicBezTo>
                          <a:pt x="1153" y="28550"/>
                          <a:pt x="1153" y="28550"/>
                          <a:pt x="1153" y="28550"/>
                        </a:cubicBezTo>
                        <a:cubicBezTo>
                          <a:pt x="1153" y="28550"/>
                          <a:pt x="461" y="28327"/>
                          <a:pt x="461" y="28773"/>
                        </a:cubicBezTo>
                        <a:cubicBezTo>
                          <a:pt x="230" y="29219"/>
                          <a:pt x="1153" y="29442"/>
                          <a:pt x="1153" y="29442"/>
                        </a:cubicBezTo>
                        <a:cubicBezTo>
                          <a:pt x="2307" y="30111"/>
                          <a:pt x="2307" y="30111"/>
                          <a:pt x="2307" y="30111"/>
                        </a:cubicBezTo>
                        <a:cubicBezTo>
                          <a:pt x="2076" y="32342"/>
                          <a:pt x="2076" y="32342"/>
                          <a:pt x="2076" y="32342"/>
                        </a:cubicBezTo>
                        <a:cubicBezTo>
                          <a:pt x="3000" y="32342"/>
                          <a:pt x="3000" y="32342"/>
                          <a:pt x="3000" y="32342"/>
                        </a:cubicBezTo>
                        <a:cubicBezTo>
                          <a:pt x="4384" y="32342"/>
                          <a:pt x="4384" y="32342"/>
                          <a:pt x="4384" y="32342"/>
                        </a:cubicBezTo>
                        <a:cubicBezTo>
                          <a:pt x="4384" y="32342"/>
                          <a:pt x="4615" y="31895"/>
                          <a:pt x="5307" y="31672"/>
                        </a:cubicBezTo>
                        <a:cubicBezTo>
                          <a:pt x="5769" y="31672"/>
                          <a:pt x="6461" y="31672"/>
                          <a:pt x="6461" y="31672"/>
                        </a:cubicBezTo>
                        <a:cubicBezTo>
                          <a:pt x="6461" y="31672"/>
                          <a:pt x="6461" y="31449"/>
                          <a:pt x="6923" y="32565"/>
                        </a:cubicBezTo>
                        <a:cubicBezTo>
                          <a:pt x="7153" y="33457"/>
                          <a:pt x="7153" y="33457"/>
                          <a:pt x="7153" y="33457"/>
                        </a:cubicBezTo>
                        <a:cubicBezTo>
                          <a:pt x="8076" y="33680"/>
                          <a:pt x="8076" y="33680"/>
                          <a:pt x="8076" y="33680"/>
                        </a:cubicBezTo>
                        <a:cubicBezTo>
                          <a:pt x="8538" y="33903"/>
                          <a:pt x="8538" y="33903"/>
                          <a:pt x="8538" y="33903"/>
                        </a:cubicBezTo>
                        <a:cubicBezTo>
                          <a:pt x="8538" y="33903"/>
                          <a:pt x="9461" y="34349"/>
                          <a:pt x="9923" y="34572"/>
                        </a:cubicBezTo>
                        <a:cubicBezTo>
                          <a:pt x="10384" y="34795"/>
                          <a:pt x="11307" y="35687"/>
                          <a:pt x="11307" y="35687"/>
                        </a:cubicBezTo>
                        <a:cubicBezTo>
                          <a:pt x="11769" y="35910"/>
                          <a:pt x="11769" y="35910"/>
                          <a:pt x="11769" y="35910"/>
                        </a:cubicBezTo>
                        <a:cubicBezTo>
                          <a:pt x="11769" y="37026"/>
                          <a:pt x="11769" y="37026"/>
                          <a:pt x="11769" y="37026"/>
                        </a:cubicBezTo>
                        <a:cubicBezTo>
                          <a:pt x="11769" y="37026"/>
                          <a:pt x="12692" y="37249"/>
                          <a:pt x="13384" y="37249"/>
                        </a:cubicBezTo>
                        <a:cubicBezTo>
                          <a:pt x="14076" y="37249"/>
                          <a:pt x="15692" y="37026"/>
                          <a:pt x="15692" y="37026"/>
                        </a:cubicBezTo>
                        <a:cubicBezTo>
                          <a:pt x="16153" y="37918"/>
                          <a:pt x="16153" y="37918"/>
                          <a:pt x="16153" y="37918"/>
                        </a:cubicBezTo>
                        <a:cubicBezTo>
                          <a:pt x="16615" y="37918"/>
                          <a:pt x="18692" y="38587"/>
                          <a:pt x="18692" y="38587"/>
                        </a:cubicBezTo>
                        <a:cubicBezTo>
                          <a:pt x="18000" y="39479"/>
                          <a:pt x="18000" y="39479"/>
                          <a:pt x="18000" y="39479"/>
                        </a:cubicBezTo>
                        <a:cubicBezTo>
                          <a:pt x="17307" y="40148"/>
                          <a:pt x="17307" y="40148"/>
                          <a:pt x="17307" y="40148"/>
                        </a:cubicBezTo>
                        <a:cubicBezTo>
                          <a:pt x="17076" y="40817"/>
                          <a:pt x="17076" y="40817"/>
                          <a:pt x="17076" y="40817"/>
                        </a:cubicBezTo>
                        <a:cubicBezTo>
                          <a:pt x="17076" y="40817"/>
                          <a:pt x="17307" y="40817"/>
                          <a:pt x="18230" y="41040"/>
                        </a:cubicBezTo>
                        <a:cubicBezTo>
                          <a:pt x="19153" y="41263"/>
                          <a:pt x="19846" y="41710"/>
                          <a:pt x="19846" y="41710"/>
                        </a:cubicBezTo>
                        <a:cubicBezTo>
                          <a:pt x="19384" y="42825"/>
                          <a:pt x="19384" y="42825"/>
                          <a:pt x="19384" y="42825"/>
                        </a:cubicBezTo>
                        <a:cubicBezTo>
                          <a:pt x="20538" y="43717"/>
                          <a:pt x="20538" y="43717"/>
                          <a:pt x="20538" y="43717"/>
                        </a:cubicBezTo>
                        <a:cubicBezTo>
                          <a:pt x="20538" y="43717"/>
                          <a:pt x="21000" y="44386"/>
                          <a:pt x="21000" y="44609"/>
                        </a:cubicBezTo>
                        <a:cubicBezTo>
                          <a:pt x="20769" y="44832"/>
                          <a:pt x="20769" y="45278"/>
                          <a:pt x="20769" y="45278"/>
                        </a:cubicBezTo>
                        <a:cubicBezTo>
                          <a:pt x="20076" y="45055"/>
                          <a:pt x="20076" y="45055"/>
                          <a:pt x="20076" y="45055"/>
                        </a:cubicBezTo>
                        <a:cubicBezTo>
                          <a:pt x="20076" y="45055"/>
                          <a:pt x="20076" y="45501"/>
                          <a:pt x="19846" y="45055"/>
                        </a:cubicBezTo>
                        <a:cubicBezTo>
                          <a:pt x="19384" y="44609"/>
                          <a:pt x="19153" y="44163"/>
                          <a:pt x="19153" y="44163"/>
                        </a:cubicBezTo>
                        <a:cubicBezTo>
                          <a:pt x="18923" y="45055"/>
                          <a:pt x="18923" y="45055"/>
                          <a:pt x="18923" y="45055"/>
                        </a:cubicBezTo>
                        <a:cubicBezTo>
                          <a:pt x="18923" y="45055"/>
                          <a:pt x="19153" y="45947"/>
                          <a:pt x="19384" y="46171"/>
                        </a:cubicBezTo>
                        <a:cubicBezTo>
                          <a:pt x="19846" y="46171"/>
                          <a:pt x="19846" y="45947"/>
                          <a:pt x="19846" y="46617"/>
                        </a:cubicBezTo>
                        <a:cubicBezTo>
                          <a:pt x="19846" y="47063"/>
                          <a:pt x="20076" y="48178"/>
                          <a:pt x="20307" y="48401"/>
                        </a:cubicBezTo>
                        <a:cubicBezTo>
                          <a:pt x="20538" y="48847"/>
                          <a:pt x="20538" y="49962"/>
                          <a:pt x="20769" y="50185"/>
                        </a:cubicBezTo>
                        <a:cubicBezTo>
                          <a:pt x="21230" y="50185"/>
                          <a:pt x="21461" y="50408"/>
                          <a:pt x="21461" y="50408"/>
                        </a:cubicBezTo>
                        <a:cubicBezTo>
                          <a:pt x="21923" y="50855"/>
                          <a:pt x="21923" y="50855"/>
                          <a:pt x="21923" y="50855"/>
                        </a:cubicBezTo>
                        <a:cubicBezTo>
                          <a:pt x="23307" y="51970"/>
                          <a:pt x="23307" y="51970"/>
                          <a:pt x="23307" y="51970"/>
                        </a:cubicBezTo>
                        <a:cubicBezTo>
                          <a:pt x="23307" y="51970"/>
                          <a:pt x="24230" y="52639"/>
                          <a:pt x="24692" y="52862"/>
                        </a:cubicBezTo>
                        <a:cubicBezTo>
                          <a:pt x="25153" y="53085"/>
                          <a:pt x="25384" y="53085"/>
                          <a:pt x="25384" y="53085"/>
                        </a:cubicBezTo>
                        <a:cubicBezTo>
                          <a:pt x="26538" y="54200"/>
                          <a:pt x="26538" y="54200"/>
                          <a:pt x="26538" y="54200"/>
                        </a:cubicBezTo>
                        <a:cubicBezTo>
                          <a:pt x="26538" y="54200"/>
                          <a:pt x="27230" y="55315"/>
                          <a:pt x="27000" y="55315"/>
                        </a:cubicBezTo>
                        <a:cubicBezTo>
                          <a:pt x="26769" y="55315"/>
                          <a:pt x="27000" y="55539"/>
                          <a:pt x="26538" y="55539"/>
                        </a:cubicBezTo>
                        <a:cubicBezTo>
                          <a:pt x="25846" y="55539"/>
                          <a:pt x="26076" y="55985"/>
                          <a:pt x="25615" y="55539"/>
                        </a:cubicBezTo>
                        <a:cubicBezTo>
                          <a:pt x="24923" y="55092"/>
                          <a:pt x="24461" y="54423"/>
                          <a:pt x="23769" y="54423"/>
                        </a:cubicBezTo>
                        <a:cubicBezTo>
                          <a:pt x="23076" y="54423"/>
                          <a:pt x="23076" y="54423"/>
                          <a:pt x="23076" y="54423"/>
                        </a:cubicBezTo>
                        <a:cubicBezTo>
                          <a:pt x="24461" y="55539"/>
                          <a:pt x="24461" y="55539"/>
                          <a:pt x="24461" y="55539"/>
                        </a:cubicBezTo>
                        <a:cubicBezTo>
                          <a:pt x="25153" y="55762"/>
                          <a:pt x="25153" y="55762"/>
                          <a:pt x="25153" y="55762"/>
                        </a:cubicBezTo>
                        <a:cubicBezTo>
                          <a:pt x="26076" y="56654"/>
                          <a:pt x="26076" y="56654"/>
                          <a:pt x="26076" y="56654"/>
                        </a:cubicBezTo>
                        <a:cubicBezTo>
                          <a:pt x="26307" y="56654"/>
                          <a:pt x="26307" y="56654"/>
                          <a:pt x="26307" y="56654"/>
                        </a:cubicBezTo>
                        <a:cubicBezTo>
                          <a:pt x="26307" y="56654"/>
                          <a:pt x="26538" y="57100"/>
                          <a:pt x="26538" y="57323"/>
                        </a:cubicBezTo>
                        <a:cubicBezTo>
                          <a:pt x="26538" y="57546"/>
                          <a:pt x="26307" y="58215"/>
                          <a:pt x="26076" y="58438"/>
                        </a:cubicBezTo>
                        <a:cubicBezTo>
                          <a:pt x="26076" y="58884"/>
                          <a:pt x="26076" y="59330"/>
                          <a:pt x="26076" y="59330"/>
                        </a:cubicBezTo>
                        <a:cubicBezTo>
                          <a:pt x="25384" y="57769"/>
                          <a:pt x="25384" y="57769"/>
                          <a:pt x="25384" y="57769"/>
                        </a:cubicBezTo>
                        <a:cubicBezTo>
                          <a:pt x="25384" y="57769"/>
                          <a:pt x="25615" y="57323"/>
                          <a:pt x="25153" y="57100"/>
                        </a:cubicBezTo>
                        <a:cubicBezTo>
                          <a:pt x="24692" y="57100"/>
                          <a:pt x="24230" y="57323"/>
                          <a:pt x="24230" y="57323"/>
                        </a:cubicBezTo>
                        <a:cubicBezTo>
                          <a:pt x="24230" y="57323"/>
                          <a:pt x="24000" y="57769"/>
                          <a:pt x="24230" y="57992"/>
                        </a:cubicBezTo>
                        <a:cubicBezTo>
                          <a:pt x="24692" y="58215"/>
                          <a:pt x="24923" y="58438"/>
                          <a:pt x="24923" y="58661"/>
                        </a:cubicBezTo>
                        <a:cubicBezTo>
                          <a:pt x="25153" y="58884"/>
                          <a:pt x="25153" y="59107"/>
                          <a:pt x="25153" y="59107"/>
                        </a:cubicBezTo>
                        <a:cubicBezTo>
                          <a:pt x="25153" y="59107"/>
                          <a:pt x="25615" y="59107"/>
                          <a:pt x="25615" y="59553"/>
                        </a:cubicBezTo>
                        <a:cubicBezTo>
                          <a:pt x="25615" y="60223"/>
                          <a:pt x="25384" y="60892"/>
                          <a:pt x="25384" y="60892"/>
                        </a:cubicBezTo>
                        <a:cubicBezTo>
                          <a:pt x="25384" y="60892"/>
                          <a:pt x="24923" y="60892"/>
                          <a:pt x="25615" y="61338"/>
                        </a:cubicBezTo>
                        <a:cubicBezTo>
                          <a:pt x="26307" y="61784"/>
                          <a:pt x="26538" y="62007"/>
                          <a:pt x="26769" y="62230"/>
                        </a:cubicBezTo>
                        <a:cubicBezTo>
                          <a:pt x="27000" y="62453"/>
                          <a:pt x="27923" y="63568"/>
                          <a:pt x="27923" y="63568"/>
                        </a:cubicBezTo>
                        <a:cubicBezTo>
                          <a:pt x="28615" y="64460"/>
                          <a:pt x="28615" y="64460"/>
                          <a:pt x="28615" y="64460"/>
                        </a:cubicBezTo>
                        <a:cubicBezTo>
                          <a:pt x="28615" y="64460"/>
                          <a:pt x="28615" y="64907"/>
                          <a:pt x="28615" y="64907"/>
                        </a:cubicBezTo>
                        <a:cubicBezTo>
                          <a:pt x="28384" y="64907"/>
                          <a:pt x="27923" y="64907"/>
                          <a:pt x="27923" y="64907"/>
                        </a:cubicBezTo>
                        <a:cubicBezTo>
                          <a:pt x="27923" y="64907"/>
                          <a:pt x="27692" y="64907"/>
                          <a:pt x="27461" y="64684"/>
                        </a:cubicBezTo>
                        <a:cubicBezTo>
                          <a:pt x="27230" y="64237"/>
                          <a:pt x="26769" y="63568"/>
                          <a:pt x="26769" y="63568"/>
                        </a:cubicBezTo>
                        <a:cubicBezTo>
                          <a:pt x="26307" y="63345"/>
                          <a:pt x="26307" y="63345"/>
                          <a:pt x="26307" y="63345"/>
                        </a:cubicBezTo>
                        <a:cubicBezTo>
                          <a:pt x="25846" y="63568"/>
                          <a:pt x="25846" y="63568"/>
                          <a:pt x="25846" y="63568"/>
                        </a:cubicBezTo>
                        <a:cubicBezTo>
                          <a:pt x="25846" y="63568"/>
                          <a:pt x="25384" y="64460"/>
                          <a:pt x="25384" y="64460"/>
                        </a:cubicBezTo>
                        <a:cubicBezTo>
                          <a:pt x="25384" y="64684"/>
                          <a:pt x="24692" y="66022"/>
                          <a:pt x="24692" y="66022"/>
                        </a:cubicBezTo>
                        <a:cubicBezTo>
                          <a:pt x="24230" y="68698"/>
                          <a:pt x="24230" y="68698"/>
                          <a:pt x="24230" y="68698"/>
                        </a:cubicBezTo>
                        <a:cubicBezTo>
                          <a:pt x="24230" y="68698"/>
                          <a:pt x="24230" y="71821"/>
                          <a:pt x="24000" y="72044"/>
                        </a:cubicBezTo>
                        <a:cubicBezTo>
                          <a:pt x="24000" y="72267"/>
                          <a:pt x="23076" y="74498"/>
                          <a:pt x="23076" y="74498"/>
                        </a:cubicBezTo>
                        <a:cubicBezTo>
                          <a:pt x="23076" y="74498"/>
                          <a:pt x="23076" y="74721"/>
                          <a:pt x="23076" y="75390"/>
                        </a:cubicBezTo>
                        <a:cubicBezTo>
                          <a:pt x="22846" y="76059"/>
                          <a:pt x="22615" y="77174"/>
                          <a:pt x="22615" y="77174"/>
                        </a:cubicBezTo>
                        <a:cubicBezTo>
                          <a:pt x="22615" y="77174"/>
                          <a:pt x="22384" y="78066"/>
                          <a:pt x="22384" y="78513"/>
                        </a:cubicBezTo>
                        <a:cubicBezTo>
                          <a:pt x="22153" y="78959"/>
                          <a:pt x="21461" y="80743"/>
                          <a:pt x="21461" y="80743"/>
                        </a:cubicBezTo>
                        <a:cubicBezTo>
                          <a:pt x="21230" y="82750"/>
                          <a:pt x="21230" y="82750"/>
                          <a:pt x="21230" y="82750"/>
                        </a:cubicBezTo>
                        <a:cubicBezTo>
                          <a:pt x="19384" y="86542"/>
                          <a:pt x="19384" y="86542"/>
                          <a:pt x="19384" y="86542"/>
                        </a:cubicBezTo>
                        <a:cubicBezTo>
                          <a:pt x="18000" y="87657"/>
                          <a:pt x="18000" y="87657"/>
                          <a:pt x="18000" y="87657"/>
                        </a:cubicBezTo>
                        <a:cubicBezTo>
                          <a:pt x="17307" y="88104"/>
                          <a:pt x="17307" y="88104"/>
                          <a:pt x="17307" y="88104"/>
                        </a:cubicBezTo>
                        <a:cubicBezTo>
                          <a:pt x="18000" y="88327"/>
                          <a:pt x="18461" y="88550"/>
                          <a:pt x="18692" y="89219"/>
                        </a:cubicBezTo>
                        <a:cubicBezTo>
                          <a:pt x="19153" y="90334"/>
                          <a:pt x="20076" y="92118"/>
                          <a:pt x="20076" y="92118"/>
                        </a:cubicBezTo>
                        <a:cubicBezTo>
                          <a:pt x="23076" y="93234"/>
                          <a:pt x="23076" y="93234"/>
                          <a:pt x="23076" y="93234"/>
                        </a:cubicBezTo>
                        <a:cubicBezTo>
                          <a:pt x="23076" y="93234"/>
                          <a:pt x="24692" y="94572"/>
                          <a:pt x="24923" y="95018"/>
                        </a:cubicBezTo>
                        <a:cubicBezTo>
                          <a:pt x="25153" y="95241"/>
                          <a:pt x="28615" y="96356"/>
                          <a:pt x="28615" y="96356"/>
                        </a:cubicBezTo>
                        <a:cubicBezTo>
                          <a:pt x="30923" y="98364"/>
                          <a:pt x="30923" y="98364"/>
                          <a:pt x="30923" y="98364"/>
                        </a:cubicBezTo>
                        <a:cubicBezTo>
                          <a:pt x="34384" y="98364"/>
                          <a:pt x="34384" y="98364"/>
                          <a:pt x="34384" y="98364"/>
                        </a:cubicBezTo>
                        <a:cubicBezTo>
                          <a:pt x="36692" y="98810"/>
                          <a:pt x="36692" y="98810"/>
                          <a:pt x="36692" y="98810"/>
                        </a:cubicBezTo>
                        <a:cubicBezTo>
                          <a:pt x="37846" y="97472"/>
                          <a:pt x="37846" y="97472"/>
                          <a:pt x="37846" y="97472"/>
                        </a:cubicBezTo>
                        <a:cubicBezTo>
                          <a:pt x="37846" y="97472"/>
                          <a:pt x="43615" y="100148"/>
                          <a:pt x="43846" y="100148"/>
                        </a:cubicBezTo>
                        <a:cubicBezTo>
                          <a:pt x="44076" y="100148"/>
                          <a:pt x="44076" y="100817"/>
                          <a:pt x="44307" y="101486"/>
                        </a:cubicBezTo>
                        <a:cubicBezTo>
                          <a:pt x="44307" y="101486"/>
                          <a:pt x="44307" y="101486"/>
                          <a:pt x="44307" y="101486"/>
                        </a:cubicBezTo>
                        <a:cubicBezTo>
                          <a:pt x="44307" y="101486"/>
                          <a:pt x="44307" y="101486"/>
                          <a:pt x="44307" y="101486"/>
                        </a:cubicBezTo>
                        <a:cubicBezTo>
                          <a:pt x="44538" y="101486"/>
                          <a:pt x="44538" y="101486"/>
                          <a:pt x="44538" y="101486"/>
                        </a:cubicBezTo>
                        <a:cubicBezTo>
                          <a:pt x="44538" y="101486"/>
                          <a:pt x="44307" y="101263"/>
                          <a:pt x="44307" y="101263"/>
                        </a:cubicBezTo>
                        <a:cubicBezTo>
                          <a:pt x="44307" y="101040"/>
                          <a:pt x="44307" y="101040"/>
                          <a:pt x="44307" y="101040"/>
                        </a:cubicBezTo>
                        <a:cubicBezTo>
                          <a:pt x="44538" y="101040"/>
                          <a:pt x="44538" y="101040"/>
                          <a:pt x="44538" y="101040"/>
                        </a:cubicBezTo>
                        <a:cubicBezTo>
                          <a:pt x="44538" y="101040"/>
                          <a:pt x="44538" y="101040"/>
                          <a:pt x="44538" y="101040"/>
                        </a:cubicBezTo>
                        <a:cubicBezTo>
                          <a:pt x="44538" y="101040"/>
                          <a:pt x="44538" y="101040"/>
                          <a:pt x="44538" y="101040"/>
                        </a:cubicBezTo>
                        <a:cubicBezTo>
                          <a:pt x="44769" y="101040"/>
                          <a:pt x="44769" y="101040"/>
                          <a:pt x="44769" y="101040"/>
                        </a:cubicBezTo>
                        <a:cubicBezTo>
                          <a:pt x="45000" y="100817"/>
                          <a:pt x="45000" y="100817"/>
                          <a:pt x="45000" y="100817"/>
                        </a:cubicBezTo>
                        <a:cubicBezTo>
                          <a:pt x="45000" y="100817"/>
                          <a:pt x="45000" y="100817"/>
                          <a:pt x="45000" y="100817"/>
                        </a:cubicBezTo>
                        <a:cubicBezTo>
                          <a:pt x="45000" y="100594"/>
                          <a:pt x="44769" y="100594"/>
                          <a:pt x="44769" y="100594"/>
                        </a:cubicBezTo>
                        <a:cubicBezTo>
                          <a:pt x="44769" y="100594"/>
                          <a:pt x="45000" y="100594"/>
                          <a:pt x="45000" y="100371"/>
                        </a:cubicBezTo>
                        <a:cubicBezTo>
                          <a:pt x="45000" y="100371"/>
                          <a:pt x="45000" y="100371"/>
                          <a:pt x="45000" y="100371"/>
                        </a:cubicBezTo>
                        <a:cubicBezTo>
                          <a:pt x="45230" y="100371"/>
                          <a:pt x="45230" y="100371"/>
                          <a:pt x="45230" y="100371"/>
                        </a:cubicBezTo>
                        <a:cubicBezTo>
                          <a:pt x="45230" y="100371"/>
                          <a:pt x="45230" y="100371"/>
                          <a:pt x="45230" y="100371"/>
                        </a:cubicBezTo>
                        <a:cubicBezTo>
                          <a:pt x="45230" y="100371"/>
                          <a:pt x="45230" y="100371"/>
                          <a:pt x="45230" y="100371"/>
                        </a:cubicBezTo>
                        <a:cubicBezTo>
                          <a:pt x="45461" y="100371"/>
                          <a:pt x="45461" y="100371"/>
                          <a:pt x="45461" y="100371"/>
                        </a:cubicBezTo>
                        <a:cubicBezTo>
                          <a:pt x="45461" y="100371"/>
                          <a:pt x="45461" y="100371"/>
                          <a:pt x="45461" y="100371"/>
                        </a:cubicBezTo>
                        <a:cubicBezTo>
                          <a:pt x="45692" y="100371"/>
                          <a:pt x="45692" y="100371"/>
                          <a:pt x="45692" y="100371"/>
                        </a:cubicBezTo>
                        <a:cubicBezTo>
                          <a:pt x="45692" y="100371"/>
                          <a:pt x="45692" y="100371"/>
                          <a:pt x="45692" y="100371"/>
                        </a:cubicBezTo>
                        <a:cubicBezTo>
                          <a:pt x="45692" y="100371"/>
                          <a:pt x="45923" y="100371"/>
                          <a:pt x="45923" y="100371"/>
                        </a:cubicBezTo>
                        <a:cubicBezTo>
                          <a:pt x="45923" y="100371"/>
                          <a:pt x="45923" y="100594"/>
                          <a:pt x="45923" y="100594"/>
                        </a:cubicBezTo>
                        <a:cubicBezTo>
                          <a:pt x="45923" y="100594"/>
                          <a:pt x="45923" y="100594"/>
                          <a:pt x="45923" y="100594"/>
                        </a:cubicBezTo>
                        <a:cubicBezTo>
                          <a:pt x="45923" y="100594"/>
                          <a:pt x="46153" y="100594"/>
                          <a:pt x="46153" y="100594"/>
                        </a:cubicBezTo>
                        <a:cubicBezTo>
                          <a:pt x="46153" y="100594"/>
                          <a:pt x="46153" y="100817"/>
                          <a:pt x="46153" y="100817"/>
                        </a:cubicBezTo>
                        <a:cubicBezTo>
                          <a:pt x="46153" y="100817"/>
                          <a:pt x="46384" y="100817"/>
                          <a:pt x="46384" y="100817"/>
                        </a:cubicBezTo>
                        <a:cubicBezTo>
                          <a:pt x="46384" y="100817"/>
                          <a:pt x="46615" y="100817"/>
                          <a:pt x="46615" y="100817"/>
                        </a:cubicBezTo>
                        <a:cubicBezTo>
                          <a:pt x="46615" y="100817"/>
                          <a:pt x="46615" y="100817"/>
                          <a:pt x="46615" y="101040"/>
                        </a:cubicBezTo>
                        <a:cubicBezTo>
                          <a:pt x="46846" y="101040"/>
                          <a:pt x="46846" y="101040"/>
                          <a:pt x="46846" y="101040"/>
                        </a:cubicBezTo>
                        <a:cubicBezTo>
                          <a:pt x="46846" y="100817"/>
                          <a:pt x="47076" y="100817"/>
                          <a:pt x="47076" y="100817"/>
                        </a:cubicBezTo>
                        <a:cubicBezTo>
                          <a:pt x="47076" y="101040"/>
                          <a:pt x="47076" y="101040"/>
                          <a:pt x="47076" y="101040"/>
                        </a:cubicBezTo>
                        <a:cubicBezTo>
                          <a:pt x="47307" y="101040"/>
                          <a:pt x="47307" y="101040"/>
                          <a:pt x="47307" y="101040"/>
                        </a:cubicBezTo>
                        <a:cubicBezTo>
                          <a:pt x="47538" y="101040"/>
                          <a:pt x="47538" y="101040"/>
                          <a:pt x="47538" y="101040"/>
                        </a:cubicBezTo>
                        <a:cubicBezTo>
                          <a:pt x="47538" y="101263"/>
                          <a:pt x="47538" y="101263"/>
                          <a:pt x="47538" y="101263"/>
                        </a:cubicBezTo>
                        <a:cubicBezTo>
                          <a:pt x="47307" y="101263"/>
                          <a:pt x="47307" y="101263"/>
                          <a:pt x="47307" y="101263"/>
                        </a:cubicBezTo>
                        <a:cubicBezTo>
                          <a:pt x="47307" y="101263"/>
                          <a:pt x="47307" y="101263"/>
                          <a:pt x="47307" y="101263"/>
                        </a:cubicBezTo>
                        <a:cubicBezTo>
                          <a:pt x="47307" y="101486"/>
                          <a:pt x="47307" y="101486"/>
                          <a:pt x="47307" y="101486"/>
                        </a:cubicBezTo>
                        <a:cubicBezTo>
                          <a:pt x="47538" y="101486"/>
                          <a:pt x="47538" y="101486"/>
                          <a:pt x="47538" y="101486"/>
                        </a:cubicBezTo>
                        <a:cubicBezTo>
                          <a:pt x="47538" y="101486"/>
                          <a:pt x="47538" y="101486"/>
                          <a:pt x="47538" y="101486"/>
                        </a:cubicBezTo>
                        <a:cubicBezTo>
                          <a:pt x="48000" y="101710"/>
                          <a:pt x="48000" y="101710"/>
                          <a:pt x="48000" y="101710"/>
                        </a:cubicBezTo>
                        <a:cubicBezTo>
                          <a:pt x="47769" y="101710"/>
                          <a:pt x="47769" y="101710"/>
                          <a:pt x="47769" y="101710"/>
                        </a:cubicBezTo>
                        <a:cubicBezTo>
                          <a:pt x="47769" y="101710"/>
                          <a:pt x="47769" y="101710"/>
                          <a:pt x="47769" y="101710"/>
                        </a:cubicBezTo>
                        <a:cubicBezTo>
                          <a:pt x="47769" y="101710"/>
                          <a:pt x="47538" y="101710"/>
                          <a:pt x="47538" y="101710"/>
                        </a:cubicBezTo>
                        <a:cubicBezTo>
                          <a:pt x="47538" y="101710"/>
                          <a:pt x="47307" y="101710"/>
                          <a:pt x="47307" y="101710"/>
                        </a:cubicBezTo>
                        <a:cubicBezTo>
                          <a:pt x="47307" y="101933"/>
                          <a:pt x="47307" y="101933"/>
                          <a:pt x="47307" y="101933"/>
                        </a:cubicBezTo>
                        <a:cubicBezTo>
                          <a:pt x="47307" y="102379"/>
                          <a:pt x="47307" y="102379"/>
                          <a:pt x="47307" y="102379"/>
                        </a:cubicBezTo>
                        <a:cubicBezTo>
                          <a:pt x="47076" y="102379"/>
                          <a:pt x="47076" y="102379"/>
                          <a:pt x="47076" y="102379"/>
                        </a:cubicBezTo>
                        <a:cubicBezTo>
                          <a:pt x="47076" y="102602"/>
                          <a:pt x="47076" y="102602"/>
                          <a:pt x="47076" y="102602"/>
                        </a:cubicBezTo>
                        <a:cubicBezTo>
                          <a:pt x="47076" y="102602"/>
                          <a:pt x="47076" y="102602"/>
                          <a:pt x="47076" y="102602"/>
                        </a:cubicBezTo>
                        <a:cubicBezTo>
                          <a:pt x="47076" y="102602"/>
                          <a:pt x="47076" y="102602"/>
                          <a:pt x="47076" y="102602"/>
                        </a:cubicBezTo>
                        <a:cubicBezTo>
                          <a:pt x="47076" y="102602"/>
                          <a:pt x="47076" y="102602"/>
                          <a:pt x="46846" y="102602"/>
                        </a:cubicBezTo>
                        <a:cubicBezTo>
                          <a:pt x="46846" y="102602"/>
                          <a:pt x="46846" y="102602"/>
                          <a:pt x="46846" y="102602"/>
                        </a:cubicBezTo>
                        <a:cubicBezTo>
                          <a:pt x="46615" y="102379"/>
                          <a:pt x="46615" y="102379"/>
                          <a:pt x="46615" y="102379"/>
                        </a:cubicBezTo>
                        <a:cubicBezTo>
                          <a:pt x="46615" y="102602"/>
                          <a:pt x="46615" y="102602"/>
                          <a:pt x="46615" y="102602"/>
                        </a:cubicBezTo>
                        <a:cubicBezTo>
                          <a:pt x="46615" y="102825"/>
                          <a:pt x="46615" y="102825"/>
                          <a:pt x="46615" y="102825"/>
                        </a:cubicBezTo>
                        <a:cubicBezTo>
                          <a:pt x="46615" y="102825"/>
                          <a:pt x="46615" y="102825"/>
                          <a:pt x="46615" y="102825"/>
                        </a:cubicBezTo>
                        <a:cubicBezTo>
                          <a:pt x="46384" y="102825"/>
                          <a:pt x="46384" y="102825"/>
                          <a:pt x="46384" y="102825"/>
                        </a:cubicBezTo>
                        <a:cubicBezTo>
                          <a:pt x="46153" y="102825"/>
                          <a:pt x="46153" y="102825"/>
                          <a:pt x="46153" y="102825"/>
                        </a:cubicBezTo>
                        <a:cubicBezTo>
                          <a:pt x="45923" y="102825"/>
                          <a:pt x="45923" y="102825"/>
                          <a:pt x="45923" y="102825"/>
                        </a:cubicBezTo>
                        <a:cubicBezTo>
                          <a:pt x="45923" y="102825"/>
                          <a:pt x="45923" y="102825"/>
                          <a:pt x="45923" y="102825"/>
                        </a:cubicBezTo>
                        <a:cubicBezTo>
                          <a:pt x="45692" y="103048"/>
                          <a:pt x="45692" y="103048"/>
                          <a:pt x="45692" y="103048"/>
                        </a:cubicBezTo>
                        <a:cubicBezTo>
                          <a:pt x="45692" y="103048"/>
                          <a:pt x="45692" y="103048"/>
                          <a:pt x="45692" y="103048"/>
                        </a:cubicBezTo>
                        <a:cubicBezTo>
                          <a:pt x="45692" y="103048"/>
                          <a:pt x="45692" y="103048"/>
                          <a:pt x="45692" y="103048"/>
                        </a:cubicBezTo>
                        <a:cubicBezTo>
                          <a:pt x="45692" y="103048"/>
                          <a:pt x="45692" y="103048"/>
                          <a:pt x="45692" y="103048"/>
                        </a:cubicBezTo>
                        <a:cubicBezTo>
                          <a:pt x="45461" y="102825"/>
                          <a:pt x="45461" y="102825"/>
                          <a:pt x="45461" y="102825"/>
                        </a:cubicBezTo>
                        <a:cubicBezTo>
                          <a:pt x="45461" y="103048"/>
                          <a:pt x="45461" y="103048"/>
                          <a:pt x="45461" y="103048"/>
                        </a:cubicBezTo>
                        <a:cubicBezTo>
                          <a:pt x="45461" y="103048"/>
                          <a:pt x="45461" y="103048"/>
                          <a:pt x="45461" y="103048"/>
                        </a:cubicBezTo>
                        <a:cubicBezTo>
                          <a:pt x="45461" y="103048"/>
                          <a:pt x="45461" y="103048"/>
                          <a:pt x="45461" y="103048"/>
                        </a:cubicBezTo>
                        <a:cubicBezTo>
                          <a:pt x="48461" y="103717"/>
                          <a:pt x="48461" y="103717"/>
                          <a:pt x="48461" y="103717"/>
                        </a:cubicBezTo>
                        <a:cubicBezTo>
                          <a:pt x="49153" y="103940"/>
                          <a:pt x="49153" y="104386"/>
                          <a:pt x="49846" y="104832"/>
                        </a:cubicBezTo>
                        <a:cubicBezTo>
                          <a:pt x="51692" y="104163"/>
                          <a:pt x="51692" y="104163"/>
                          <a:pt x="51692" y="104163"/>
                        </a:cubicBezTo>
                        <a:cubicBezTo>
                          <a:pt x="54000" y="105724"/>
                          <a:pt x="54000" y="105724"/>
                          <a:pt x="54000" y="105724"/>
                        </a:cubicBezTo>
                        <a:cubicBezTo>
                          <a:pt x="56076" y="105055"/>
                          <a:pt x="56076" y="105055"/>
                          <a:pt x="56076" y="105055"/>
                        </a:cubicBezTo>
                        <a:cubicBezTo>
                          <a:pt x="58153" y="105055"/>
                          <a:pt x="58153" y="105055"/>
                          <a:pt x="58153" y="105055"/>
                        </a:cubicBezTo>
                        <a:cubicBezTo>
                          <a:pt x="58153" y="104832"/>
                          <a:pt x="59076" y="104832"/>
                          <a:pt x="59769" y="105055"/>
                        </a:cubicBezTo>
                        <a:cubicBezTo>
                          <a:pt x="59769" y="105055"/>
                          <a:pt x="59769" y="105055"/>
                          <a:pt x="59769" y="105055"/>
                        </a:cubicBezTo>
                        <a:close/>
                        <a:moveTo>
                          <a:pt x="44307" y="101710"/>
                        </a:moveTo>
                        <a:cubicBezTo>
                          <a:pt x="44307" y="101710"/>
                          <a:pt x="44307" y="101710"/>
                          <a:pt x="44307" y="101710"/>
                        </a:cubicBezTo>
                        <a:cubicBezTo>
                          <a:pt x="44307" y="101710"/>
                          <a:pt x="44307" y="101710"/>
                          <a:pt x="44307" y="101710"/>
                        </a:cubicBezTo>
                        <a:cubicBezTo>
                          <a:pt x="44307" y="101710"/>
                          <a:pt x="44538" y="101710"/>
                          <a:pt x="44538" y="101710"/>
                        </a:cubicBezTo>
                        <a:cubicBezTo>
                          <a:pt x="44538" y="101710"/>
                          <a:pt x="44538" y="101933"/>
                          <a:pt x="44538" y="101933"/>
                        </a:cubicBezTo>
                        <a:cubicBezTo>
                          <a:pt x="44538" y="101933"/>
                          <a:pt x="44538" y="101933"/>
                          <a:pt x="44538" y="101933"/>
                        </a:cubicBezTo>
                        <a:cubicBezTo>
                          <a:pt x="44538" y="101933"/>
                          <a:pt x="44538" y="101933"/>
                          <a:pt x="44769" y="102156"/>
                        </a:cubicBezTo>
                        <a:cubicBezTo>
                          <a:pt x="44769" y="102156"/>
                          <a:pt x="44538" y="102156"/>
                          <a:pt x="44538" y="102156"/>
                        </a:cubicBezTo>
                        <a:cubicBezTo>
                          <a:pt x="44538" y="102156"/>
                          <a:pt x="44538" y="102156"/>
                          <a:pt x="44538" y="102156"/>
                        </a:cubicBezTo>
                        <a:cubicBezTo>
                          <a:pt x="44307" y="102156"/>
                          <a:pt x="44307" y="102156"/>
                          <a:pt x="44307" y="102156"/>
                        </a:cubicBezTo>
                        <a:cubicBezTo>
                          <a:pt x="44307" y="102156"/>
                          <a:pt x="44307" y="102156"/>
                          <a:pt x="44307" y="102156"/>
                        </a:cubicBezTo>
                        <a:cubicBezTo>
                          <a:pt x="44307" y="101710"/>
                          <a:pt x="44307" y="101710"/>
                          <a:pt x="44307" y="101710"/>
                        </a:cubicBezTo>
                        <a:close/>
                        <a:moveTo>
                          <a:pt x="103846" y="45055"/>
                        </a:moveTo>
                        <a:cubicBezTo>
                          <a:pt x="103846" y="45055"/>
                          <a:pt x="103846" y="45055"/>
                          <a:pt x="103846" y="45055"/>
                        </a:cubicBezTo>
                        <a:cubicBezTo>
                          <a:pt x="103615" y="45055"/>
                          <a:pt x="103615" y="45055"/>
                          <a:pt x="103615" y="45055"/>
                        </a:cubicBezTo>
                        <a:cubicBezTo>
                          <a:pt x="103384" y="44832"/>
                          <a:pt x="103384" y="44832"/>
                          <a:pt x="103384" y="44832"/>
                        </a:cubicBezTo>
                        <a:cubicBezTo>
                          <a:pt x="103384" y="44832"/>
                          <a:pt x="103384" y="44832"/>
                          <a:pt x="103384" y="44832"/>
                        </a:cubicBezTo>
                        <a:cubicBezTo>
                          <a:pt x="103384" y="44832"/>
                          <a:pt x="103384" y="44832"/>
                          <a:pt x="103384" y="44832"/>
                        </a:cubicBezTo>
                        <a:cubicBezTo>
                          <a:pt x="103615" y="44832"/>
                          <a:pt x="103615" y="44609"/>
                          <a:pt x="103615" y="44609"/>
                        </a:cubicBezTo>
                        <a:cubicBezTo>
                          <a:pt x="103615" y="44832"/>
                          <a:pt x="103846" y="44832"/>
                          <a:pt x="103846" y="45055"/>
                        </a:cubicBezTo>
                        <a:close/>
                        <a:moveTo>
                          <a:pt x="113769" y="115985"/>
                        </a:moveTo>
                        <a:cubicBezTo>
                          <a:pt x="113769" y="115985"/>
                          <a:pt x="113769" y="115985"/>
                          <a:pt x="113769" y="115985"/>
                        </a:cubicBezTo>
                        <a:cubicBezTo>
                          <a:pt x="113307" y="116877"/>
                          <a:pt x="113307" y="116877"/>
                          <a:pt x="113307" y="116877"/>
                        </a:cubicBezTo>
                        <a:cubicBezTo>
                          <a:pt x="112846" y="117546"/>
                          <a:pt x="112846" y="117546"/>
                          <a:pt x="112846" y="117546"/>
                        </a:cubicBezTo>
                        <a:cubicBezTo>
                          <a:pt x="114000" y="117992"/>
                          <a:pt x="114000" y="117992"/>
                          <a:pt x="114000" y="117992"/>
                        </a:cubicBezTo>
                        <a:cubicBezTo>
                          <a:pt x="114692" y="118884"/>
                          <a:pt x="114692" y="118884"/>
                          <a:pt x="114692" y="118884"/>
                        </a:cubicBezTo>
                        <a:cubicBezTo>
                          <a:pt x="114692" y="118884"/>
                          <a:pt x="115153" y="119553"/>
                          <a:pt x="115615" y="119553"/>
                        </a:cubicBezTo>
                        <a:cubicBezTo>
                          <a:pt x="116076" y="119553"/>
                          <a:pt x="116769" y="120000"/>
                          <a:pt x="116769" y="120000"/>
                        </a:cubicBezTo>
                        <a:cubicBezTo>
                          <a:pt x="116769" y="120000"/>
                          <a:pt x="117230" y="119330"/>
                          <a:pt x="117230" y="118438"/>
                        </a:cubicBezTo>
                        <a:cubicBezTo>
                          <a:pt x="117461" y="117769"/>
                          <a:pt x="116538" y="116877"/>
                          <a:pt x="117923" y="116654"/>
                        </a:cubicBezTo>
                        <a:cubicBezTo>
                          <a:pt x="119307" y="116654"/>
                          <a:pt x="118384" y="115092"/>
                          <a:pt x="118384" y="115092"/>
                        </a:cubicBezTo>
                        <a:cubicBezTo>
                          <a:pt x="118384" y="113977"/>
                          <a:pt x="118384" y="113977"/>
                          <a:pt x="118384" y="113977"/>
                        </a:cubicBezTo>
                        <a:cubicBezTo>
                          <a:pt x="118153" y="112639"/>
                          <a:pt x="118153" y="112639"/>
                          <a:pt x="118153" y="112639"/>
                        </a:cubicBezTo>
                        <a:cubicBezTo>
                          <a:pt x="118384" y="112193"/>
                          <a:pt x="118384" y="112193"/>
                          <a:pt x="118384" y="112193"/>
                        </a:cubicBezTo>
                        <a:cubicBezTo>
                          <a:pt x="119076" y="111301"/>
                          <a:pt x="119076" y="111301"/>
                          <a:pt x="119076" y="111301"/>
                        </a:cubicBezTo>
                        <a:cubicBezTo>
                          <a:pt x="119769" y="110631"/>
                          <a:pt x="119769" y="110631"/>
                          <a:pt x="119769" y="110631"/>
                        </a:cubicBezTo>
                        <a:cubicBezTo>
                          <a:pt x="119769" y="110631"/>
                          <a:pt x="120000" y="109962"/>
                          <a:pt x="120000" y="109516"/>
                        </a:cubicBezTo>
                        <a:cubicBezTo>
                          <a:pt x="119769" y="109293"/>
                          <a:pt x="119076" y="108178"/>
                          <a:pt x="119076" y="108178"/>
                        </a:cubicBezTo>
                        <a:cubicBezTo>
                          <a:pt x="119769" y="105501"/>
                          <a:pt x="119769" y="105501"/>
                          <a:pt x="119769" y="105501"/>
                        </a:cubicBezTo>
                        <a:cubicBezTo>
                          <a:pt x="119538" y="105055"/>
                          <a:pt x="119538" y="105055"/>
                          <a:pt x="119538" y="105055"/>
                        </a:cubicBezTo>
                        <a:cubicBezTo>
                          <a:pt x="119307" y="104386"/>
                          <a:pt x="119307" y="104386"/>
                          <a:pt x="119307" y="104386"/>
                        </a:cubicBezTo>
                        <a:cubicBezTo>
                          <a:pt x="118846" y="102379"/>
                          <a:pt x="118846" y="102379"/>
                          <a:pt x="118846" y="102379"/>
                        </a:cubicBezTo>
                        <a:cubicBezTo>
                          <a:pt x="118846" y="99702"/>
                          <a:pt x="118846" y="99702"/>
                          <a:pt x="118846" y="99702"/>
                        </a:cubicBezTo>
                        <a:cubicBezTo>
                          <a:pt x="117461" y="100148"/>
                          <a:pt x="117461" y="100148"/>
                          <a:pt x="117461" y="100148"/>
                        </a:cubicBezTo>
                        <a:cubicBezTo>
                          <a:pt x="117923" y="101263"/>
                          <a:pt x="117923" y="101263"/>
                          <a:pt x="117923" y="101263"/>
                        </a:cubicBezTo>
                        <a:cubicBezTo>
                          <a:pt x="117461" y="103271"/>
                          <a:pt x="117461" y="103271"/>
                          <a:pt x="117461" y="103271"/>
                        </a:cubicBezTo>
                        <a:cubicBezTo>
                          <a:pt x="116307" y="103494"/>
                          <a:pt x="116307" y="103494"/>
                          <a:pt x="116307" y="103494"/>
                        </a:cubicBezTo>
                        <a:cubicBezTo>
                          <a:pt x="115846" y="103717"/>
                          <a:pt x="115846" y="103717"/>
                          <a:pt x="115846" y="103717"/>
                        </a:cubicBezTo>
                        <a:cubicBezTo>
                          <a:pt x="115153" y="104386"/>
                          <a:pt x="115153" y="104386"/>
                          <a:pt x="115153" y="104386"/>
                        </a:cubicBezTo>
                        <a:cubicBezTo>
                          <a:pt x="114000" y="104609"/>
                          <a:pt x="114000" y="104609"/>
                          <a:pt x="114000" y="104609"/>
                        </a:cubicBezTo>
                        <a:cubicBezTo>
                          <a:pt x="112846" y="105501"/>
                          <a:pt x="112846" y="105501"/>
                          <a:pt x="112846" y="105501"/>
                        </a:cubicBezTo>
                        <a:cubicBezTo>
                          <a:pt x="111923" y="106617"/>
                          <a:pt x="111923" y="106617"/>
                          <a:pt x="111923" y="106617"/>
                        </a:cubicBezTo>
                        <a:cubicBezTo>
                          <a:pt x="111230" y="107286"/>
                          <a:pt x="111230" y="107286"/>
                          <a:pt x="111230" y="107286"/>
                        </a:cubicBezTo>
                        <a:cubicBezTo>
                          <a:pt x="111230" y="107286"/>
                          <a:pt x="111230" y="107732"/>
                          <a:pt x="111692" y="108178"/>
                        </a:cubicBezTo>
                        <a:cubicBezTo>
                          <a:pt x="112153" y="108847"/>
                          <a:pt x="111000" y="111078"/>
                          <a:pt x="111000" y="111078"/>
                        </a:cubicBezTo>
                        <a:cubicBezTo>
                          <a:pt x="111923" y="111078"/>
                          <a:pt x="111923" y="111078"/>
                          <a:pt x="111923" y="111078"/>
                        </a:cubicBezTo>
                        <a:cubicBezTo>
                          <a:pt x="112153" y="112193"/>
                          <a:pt x="112153" y="112193"/>
                          <a:pt x="112153" y="112193"/>
                        </a:cubicBezTo>
                        <a:cubicBezTo>
                          <a:pt x="111461" y="113308"/>
                          <a:pt x="111461" y="113308"/>
                          <a:pt x="111461" y="113308"/>
                        </a:cubicBezTo>
                        <a:cubicBezTo>
                          <a:pt x="112153" y="113754"/>
                          <a:pt x="112153" y="113754"/>
                          <a:pt x="112153" y="113754"/>
                        </a:cubicBezTo>
                        <a:cubicBezTo>
                          <a:pt x="112846" y="113754"/>
                          <a:pt x="112846" y="113754"/>
                          <a:pt x="112846" y="113754"/>
                        </a:cubicBezTo>
                        <a:cubicBezTo>
                          <a:pt x="112153" y="115092"/>
                          <a:pt x="112153" y="115092"/>
                          <a:pt x="112153" y="115092"/>
                        </a:cubicBezTo>
                        <a:cubicBezTo>
                          <a:pt x="112153" y="115539"/>
                          <a:pt x="112153" y="115539"/>
                          <a:pt x="112153" y="115539"/>
                        </a:cubicBezTo>
                        <a:lnTo>
                          <a:pt x="113769" y="115985"/>
                        </a:lnTo>
                        <a:close/>
                      </a:path>
                    </a:pathLst>
                  </a:custGeom>
                  <a:solidFill>
                    <a:sysClr val="window" lastClr="FFFFFF">
                      <a:lumMod val="75000"/>
                    </a:sys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4" name="Shape 2043"/>
                  <p:cNvSpPr/>
                  <p:nvPr/>
                </p:nvSpPr>
                <p:spPr>
                  <a:xfrm>
                    <a:off x="5322812" y="2251718"/>
                    <a:ext cx="802583" cy="653100"/>
                  </a:xfrm>
                  <a:custGeom>
                    <a:avLst/>
                    <a:gdLst/>
                    <a:ahLst/>
                    <a:cxnLst/>
                    <a:rect l="0" t="0" r="0" b="0"/>
                    <a:pathLst>
                      <a:path w="120000" h="120000" extrusionOk="0">
                        <a:moveTo>
                          <a:pt x="52840" y="9355"/>
                        </a:moveTo>
                        <a:cubicBezTo>
                          <a:pt x="53522" y="9355"/>
                          <a:pt x="56590" y="6508"/>
                          <a:pt x="56590" y="6508"/>
                        </a:cubicBezTo>
                        <a:cubicBezTo>
                          <a:pt x="56590" y="6508"/>
                          <a:pt x="58295" y="7322"/>
                          <a:pt x="59318" y="6915"/>
                        </a:cubicBezTo>
                        <a:cubicBezTo>
                          <a:pt x="60340" y="6915"/>
                          <a:pt x="63750" y="6508"/>
                          <a:pt x="63750" y="6508"/>
                        </a:cubicBezTo>
                        <a:cubicBezTo>
                          <a:pt x="63750" y="6508"/>
                          <a:pt x="65454" y="6508"/>
                          <a:pt x="66136" y="6508"/>
                        </a:cubicBezTo>
                        <a:cubicBezTo>
                          <a:pt x="66818" y="6508"/>
                          <a:pt x="69886" y="6101"/>
                          <a:pt x="70568" y="6101"/>
                        </a:cubicBezTo>
                        <a:cubicBezTo>
                          <a:pt x="71250" y="6101"/>
                          <a:pt x="73295" y="5694"/>
                          <a:pt x="73636" y="5288"/>
                        </a:cubicBezTo>
                        <a:cubicBezTo>
                          <a:pt x="74318" y="5288"/>
                          <a:pt x="78409" y="4881"/>
                          <a:pt x="78750" y="4881"/>
                        </a:cubicBezTo>
                        <a:cubicBezTo>
                          <a:pt x="79431" y="4881"/>
                          <a:pt x="85909" y="4067"/>
                          <a:pt x="85909" y="4067"/>
                        </a:cubicBezTo>
                        <a:cubicBezTo>
                          <a:pt x="88636" y="2033"/>
                          <a:pt x="88636" y="2033"/>
                          <a:pt x="88636" y="2033"/>
                        </a:cubicBezTo>
                        <a:cubicBezTo>
                          <a:pt x="91704" y="1220"/>
                          <a:pt x="91704" y="1220"/>
                          <a:pt x="91704" y="1220"/>
                        </a:cubicBezTo>
                        <a:cubicBezTo>
                          <a:pt x="91704" y="1220"/>
                          <a:pt x="92727" y="0"/>
                          <a:pt x="92727" y="406"/>
                        </a:cubicBezTo>
                        <a:cubicBezTo>
                          <a:pt x="93068" y="1220"/>
                          <a:pt x="93750" y="2440"/>
                          <a:pt x="93750" y="2440"/>
                        </a:cubicBezTo>
                        <a:cubicBezTo>
                          <a:pt x="93750" y="2440"/>
                          <a:pt x="97500" y="2440"/>
                          <a:pt x="97500" y="2440"/>
                        </a:cubicBezTo>
                        <a:cubicBezTo>
                          <a:pt x="97500" y="2847"/>
                          <a:pt x="98522" y="5288"/>
                          <a:pt x="98522" y="5288"/>
                        </a:cubicBezTo>
                        <a:cubicBezTo>
                          <a:pt x="99545" y="6508"/>
                          <a:pt x="99545" y="6508"/>
                          <a:pt x="99545" y="6508"/>
                        </a:cubicBezTo>
                        <a:cubicBezTo>
                          <a:pt x="99545" y="6508"/>
                          <a:pt x="99886" y="8542"/>
                          <a:pt x="99886" y="9762"/>
                        </a:cubicBezTo>
                        <a:cubicBezTo>
                          <a:pt x="100227" y="10576"/>
                          <a:pt x="102613" y="15457"/>
                          <a:pt x="102613" y="15457"/>
                        </a:cubicBezTo>
                        <a:cubicBezTo>
                          <a:pt x="104318" y="19932"/>
                          <a:pt x="104318" y="19932"/>
                          <a:pt x="104318" y="19932"/>
                        </a:cubicBezTo>
                        <a:cubicBezTo>
                          <a:pt x="107045" y="24406"/>
                          <a:pt x="107045" y="24406"/>
                          <a:pt x="107045" y="24406"/>
                        </a:cubicBezTo>
                        <a:cubicBezTo>
                          <a:pt x="107386" y="27661"/>
                          <a:pt x="107386" y="27661"/>
                          <a:pt x="107386" y="27661"/>
                        </a:cubicBezTo>
                        <a:cubicBezTo>
                          <a:pt x="107386" y="27661"/>
                          <a:pt x="108409" y="28881"/>
                          <a:pt x="108409" y="29694"/>
                        </a:cubicBezTo>
                        <a:cubicBezTo>
                          <a:pt x="108409" y="30101"/>
                          <a:pt x="108409" y="31322"/>
                          <a:pt x="108409" y="31728"/>
                        </a:cubicBezTo>
                        <a:cubicBezTo>
                          <a:pt x="108750" y="31728"/>
                          <a:pt x="109090" y="33762"/>
                          <a:pt x="108750" y="33762"/>
                        </a:cubicBezTo>
                        <a:cubicBezTo>
                          <a:pt x="108409" y="34169"/>
                          <a:pt x="107045" y="36610"/>
                          <a:pt x="107045" y="36610"/>
                        </a:cubicBezTo>
                        <a:cubicBezTo>
                          <a:pt x="105681" y="37423"/>
                          <a:pt x="105681" y="37423"/>
                          <a:pt x="105681" y="37423"/>
                        </a:cubicBezTo>
                        <a:cubicBezTo>
                          <a:pt x="103977" y="40271"/>
                          <a:pt x="103977" y="40271"/>
                          <a:pt x="103977" y="40271"/>
                        </a:cubicBezTo>
                        <a:cubicBezTo>
                          <a:pt x="102954" y="43932"/>
                          <a:pt x="102954" y="43932"/>
                          <a:pt x="102954" y="43932"/>
                        </a:cubicBezTo>
                        <a:cubicBezTo>
                          <a:pt x="102613" y="45152"/>
                          <a:pt x="102613" y="45152"/>
                          <a:pt x="102613" y="45152"/>
                        </a:cubicBezTo>
                        <a:cubicBezTo>
                          <a:pt x="102613" y="45152"/>
                          <a:pt x="102954" y="46372"/>
                          <a:pt x="103295" y="46372"/>
                        </a:cubicBezTo>
                        <a:cubicBezTo>
                          <a:pt x="103977" y="46372"/>
                          <a:pt x="106363" y="46779"/>
                          <a:pt x="106363" y="46779"/>
                        </a:cubicBezTo>
                        <a:cubicBezTo>
                          <a:pt x="108409" y="48406"/>
                          <a:pt x="108409" y="48406"/>
                          <a:pt x="108409" y="48406"/>
                        </a:cubicBezTo>
                        <a:cubicBezTo>
                          <a:pt x="108409" y="50033"/>
                          <a:pt x="108409" y="50033"/>
                          <a:pt x="108409" y="50033"/>
                        </a:cubicBezTo>
                        <a:cubicBezTo>
                          <a:pt x="108409" y="50033"/>
                          <a:pt x="108750" y="53288"/>
                          <a:pt x="108750" y="53694"/>
                        </a:cubicBezTo>
                        <a:cubicBezTo>
                          <a:pt x="108750" y="53694"/>
                          <a:pt x="108409" y="56542"/>
                          <a:pt x="108409" y="56542"/>
                        </a:cubicBezTo>
                        <a:cubicBezTo>
                          <a:pt x="108409" y="56542"/>
                          <a:pt x="109090" y="58169"/>
                          <a:pt x="109090" y="58576"/>
                        </a:cubicBezTo>
                        <a:cubicBezTo>
                          <a:pt x="109431" y="58983"/>
                          <a:pt x="110113" y="59796"/>
                          <a:pt x="110113" y="60203"/>
                        </a:cubicBezTo>
                        <a:cubicBezTo>
                          <a:pt x="110454" y="60203"/>
                          <a:pt x="110454" y="60610"/>
                          <a:pt x="110454" y="60610"/>
                        </a:cubicBezTo>
                        <a:cubicBezTo>
                          <a:pt x="111136" y="62644"/>
                          <a:pt x="111136" y="62644"/>
                          <a:pt x="111136" y="62644"/>
                        </a:cubicBezTo>
                        <a:cubicBezTo>
                          <a:pt x="111136" y="64271"/>
                          <a:pt x="111136" y="64271"/>
                          <a:pt x="111136" y="64271"/>
                        </a:cubicBezTo>
                        <a:cubicBezTo>
                          <a:pt x="111136" y="64271"/>
                          <a:pt x="111136" y="65491"/>
                          <a:pt x="111818" y="65491"/>
                        </a:cubicBezTo>
                        <a:cubicBezTo>
                          <a:pt x="112500" y="65491"/>
                          <a:pt x="112840" y="65898"/>
                          <a:pt x="112840" y="66711"/>
                        </a:cubicBezTo>
                        <a:cubicBezTo>
                          <a:pt x="112840" y="67525"/>
                          <a:pt x="114545" y="68338"/>
                          <a:pt x="114545" y="68338"/>
                        </a:cubicBezTo>
                        <a:cubicBezTo>
                          <a:pt x="114545" y="68338"/>
                          <a:pt x="114545" y="69966"/>
                          <a:pt x="114886" y="70372"/>
                        </a:cubicBezTo>
                        <a:cubicBezTo>
                          <a:pt x="115568" y="70779"/>
                          <a:pt x="116250" y="71186"/>
                          <a:pt x="117272" y="71186"/>
                        </a:cubicBezTo>
                        <a:cubicBezTo>
                          <a:pt x="118295" y="71593"/>
                          <a:pt x="117954" y="73220"/>
                          <a:pt x="118636" y="73627"/>
                        </a:cubicBezTo>
                        <a:cubicBezTo>
                          <a:pt x="119318" y="74033"/>
                          <a:pt x="120000" y="74847"/>
                          <a:pt x="119318" y="74847"/>
                        </a:cubicBezTo>
                        <a:cubicBezTo>
                          <a:pt x="118977" y="75254"/>
                          <a:pt x="117954" y="75254"/>
                          <a:pt x="117954" y="75254"/>
                        </a:cubicBezTo>
                        <a:cubicBezTo>
                          <a:pt x="117954" y="75254"/>
                          <a:pt x="117613" y="75661"/>
                          <a:pt x="117613" y="76474"/>
                        </a:cubicBezTo>
                        <a:cubicBezTo>
                          <a:pt x="117954" y="76881"/>
                          <a:pt x="117954" y="76881"/>
                          <a:pt x="117954" y="76881"/>
                        </a:cubicBezTo>
                        <a:cubicBezTo>
                          <a:pt x="119318" y="78915"/>
                          <a:pt x="119318" y="78915"/>
                          <a:pt x="119318" y="78915"/>
                        </a:cubicBezTo>
                        <a:cubicBezTo>
                          <a:pt x="119318" y="81355"/>
                          <a:pt x="119318" y="81355"/>
                          <a:pt x="119318" y="81355"/>
                        </a:cubicBezTo>
                        <a:cubicBezTo>
                          <a:pt x="119318" y="81355"/>
                          <a:pt x="119318" y="82169"/>
                          <a:pt x="119318" y="82983"/>
                        </a:cubicBezTo>
                        <a:cubicBezTo>
                          <a:pt x="119318" y="83389"/>
                          <a:pt x="118977" y="84203"/>
                          <a:pt x="118295" y="84203"/>
                        </a:cubicBezTo>
                        <a:cubicBezTo>
                          <a:pt x="117613" y="84203"/>
                          <a:pt x="117613" y="85423"/>
                          <a:pt x="117272" y="85423"/>
                        </a:cubicBezTo>
                        <a:cubicBezTo>
                          <a:pt x="116931" y="85830"/>
                          <a:pt x="116250" y="84610"/>
                          <a:pt x="115909" y="85830"/>
                        </a:cubicBezTo>
                        <a:cubicBezTo>
                          <a:pt x="115568" y="87457"/>
                          <a:pt x="114886" y="88677"/>
                          <a:pt x="114886" y="89084"/>
                        </a:cubicBezTo>
                        <a:cubicBezTo>
                          <a:pt x="114545" y="89491"/>
                          <a:pt x="113522" y="89898"/>
                          <a:pt x="113522" y="90711"/>
                        </a:cubicBezTo>
                        <a:cubicBezTo>
                          <a:pt x="113181" y="91525"/>
                          <a:pt x="113181" y="90711"/>
                          <a:pt x="112500" y="92745"/>
                        </a:cubicBezTo>
                        <a:cubicBezTo>
                          <a:pt x="111818" y="94779"/>
                          <a:pt x="111477" y="95593"/>
                          <a:pt x="111477" y="95593"/>
                        </a:cubicBezTo>
                        <a:cubicBezTo>
                          <a:pt x="108409" y="100474"/>
                          <a:pt x="108409" y="100474"/>
                          <a:pt x="108409" y="100474"/>
                        </a:cubicBezTo>
                        <a:cubicBezTo>
                          <a:pt x="108409" y="100474"/>
                          <a:pt x="106704" y="103728"/>
                          <a:pt x="106704" y="104135"/>
                        </a:cubicBezTo>
                        <a:cubicBezTo>
                          <a:pt x="106704" y="104542"/>
                          <a:pt x="106704" y="106169"/>
                          <a:pt x="106704" y="106169"/>
                        </a:cubicBezTo>
                        <a:cubicBezTo>
                          <a:pt x="108068" y="107796"/>
                          <a:pt x="108068" y="107796"/>
                          <a:pt x="108068" y="107796"/>
                        </a:cubicBezTo>
                        <a:cubicBezTo>
                          <a:pt x="108068" y="109423"/>
                          <a:pt x="108068" y="109423"/>
                          <a:pt x="108068" y="109423"/>
                        </a:cubicBezTo>
                        <a:cubicBezTo>
                          <a:pt x="108068" y="109423"/>
                          <a:pt x="108068" y="110644"/>
                          <a:pt x="108409" y="111050"/>
                        </a:cubicBezTo>
                        <a:cubicBezTo>
                          <a:pt x="108750" y="111050"/>
                          <a:pt x="108750" y="111050"/>
                          <a:pt x="108750" y="111050"/>
                        </a:cubicBezTo>
                        <a:cubicBezTo>
                          <a:pt x="108409" y="112271"/>
                          <a:pt x="108409" y="112271"/>
                          <a:pt x="108409" y="112271"/>
                        </a:cubicBezTo>
                        <a:cubicBezTo>
                          <a:pt x="108409" y="112271"/>
                          <a:pt x="108750" y="113491"/>
                          <a:pt x="109090" y="113491"/>
                        </a:cubicBezTo>
                        <a:cubicBezTo>
                          <a:pt x="109090" y="113491"/>
                          <a:pt x="109772" y="113898"/>
                          <a:pt x="109772" y="113898"/>
                        </a:cubicBezTo>
                        <a:cubicBezTo>
                          <a:pt x="109772" y="113898"/>
                          <a:pt x="110454" y="114711"/>
                          <a:pt x="110454" y="114711"/>
                        </a:cubicBezTo>
                        <a:cubicBezTo>
                          <a:pt x="110795" y="115118"/>
                          <a:pt x="110454" y="115932"/>
                          <a:pt x="110454" y="115932"/>
                        </a:cubicBezTo>
                        <a:cubicBezTo>
                          <a:pt x="110454" y="115932"/>
                          <a:pt x="110454" y="116338"/>
                          <a:pt x="110113" y="116338"/>
                        </a:cubicBezTo>
                        <a:cubicBezTo>
                          <a:pt x="109772" y="116338"/>
                          <a:pt x="109772" y="116338"/>
                          <a:pt x="109090" y="116338"/>
                        </a:cubicBezTo>
                        <a:cubicBezTo>
                          <a:pt x="108750" y="115932"/>
                          <a:pt x="107727" y="115932"/>
                          <a:pt x="107386" y="115932"/>
                        </a:cubicBezTo>
                        <a:cubicBezTo>
                          <a:pt x="107045" y="115932"/>
                          <a:pt x="107045" y="115932"/>
                          <a:pt x="107045" y="115932"/>
                        </a:cubicBezTo>
                        <a:cubicBezTo>
                          <a:pt x="106704" y="115932"/>
                          <a:pt x="106704" y="115932"/>
                          <a:pt x="106363" y="116338"/>
                        </a:cubicBezTo>
                        <a:cubicBezTo>
                          <a:pt x="106363" y="115932"/>
                          <a:pt x="106363" y="115932"/>
                          <a:pt x="106363" y="115932"/>
                        </a:cubicBezTo>
                        <a:cubicBezTo>
                          <a:pt x="106363" y="115525"/>
                          <a:pt x="106363" y="115118"/>
                          <a:pt x="106363" y="115118"/>
                        </a:cubicBezTo>
                        <a:cubicBezTo>
                          <a:pt x="106363" y="115118"/>
                          <a:pt x="105340" y="115118"/>
                          <a:pt x="105340" y="115118"/>
                        </a:cubicBezTo>
                        <a:cubicBezTo>
                          <a:pt x="105000" y="115118"/>
                          <a:pt x="104659" y="115118"/>
                          <a:pt x="104659" y="115118"/>
                        </a:cubicBezTo>
                        <a:cubicBezTo>
                          <a:pt x="104659" y="115118"/>
                          <a:pt x="103977" y="114711"/>
                          <a:pt x="103977" y="114711"/>
                        </a:cubicBezTo>
                        <a:cubicBezTo>
                          <a:pt x="103977" y="114711"/>
                          <a:pt x="103636" y="114711"/>
                          <a:pt x="103636" y="114711"/>
                        </a:cubicBezTo>
                        <a:cubicBezTo>
                          <a:pt x="103636" y="114305"/>
                          <a:pt x="103295" y="114711"/>
                          <a:pt x="103295" y="114711"/>
                        </a:cubicBezTo>
                        <a:cubicBezTo>
                          <a:pt x="102954" y="114711"/>
                          <a:pt x="102954" y="114711"/>
                          <a:pt x="102954" y="114711"/>
                        </a:cubicBezTo>
                        <a:cubicBezTo>
                          <a:pt x="102272" y="114711"/>
                          <a:pt x="102272" y="114711"/>
                          <a:pt x="102272" y="114711"/>
                        </a:cubicBezTo>
                        <a:cubicBezTo>
                          <a:pt x="102272" y="114711"/>
                          <a:pt x="102272" y="114305"/>
                          <a:pt x="102272" y="114305"/>
                        </a:cubicBezTo>
                        <a:cubicBezTo>
                          <a:pt x="102272" y="113898"/>
                          <a:pt x="101931" y="114305"/>
                          <a:pt x="101931" y="114305"/>
                        </a:cubicBezTo>
                        <a:cubicBezTo>
                          <a:pt x="101931" y="114305"/>
                          <a:pt x="101250" y="114305"/>
                          <a:pt x="101250" y="114305"/>
                        </a:cubicBezTo>
                        <a:cubicBezTo>
                          <a:pt x="101250" y="113898"/>
                          <a:pt x="100909" y="113898"/>
                          <a:pt x="100909" y="113898"/>
                        </a:cubicBezTo>
                        <a:cubicBezTo>
                          <a:pt x="100909" y="113898"/>
                          <a:pt x="99886" y="113898"/>
                          <a:pt x="99545" y="113898"/>
                        </a:cubicBezTo>
                        <a:cubicBezTo>
                          <a:pt x="99545" y="113491"/>
                          <a:pt x="99545" y="113491"/>
                          <a:pt x="99545" y="113491"/>
                        </a:cubicBezTo>
                        <a:cubicBezTo>
                          <a:pt x="99545" y="113491"/>
                          <a:pt x="99545" y="113084"/>
                          <a:pt x="99545" y="112677"/>
                        </a:cubicBezTo>
                        <a:cubicBezTo>
                          <a:pt x="99545" y="112677"/>
                          <a:pt x="99204" y="112677"/>
                          <a:pt x="99204" y="112271"/>
                        </a:cubicBezTo>
                        <a:cubicBezTo>
                          <a:pt x="99204" y="112271"/>
                          <a:pt x="98863" y="111864"/>
                          <a:pt x="98863" y="111864"/>
                        </a:cubicBezTo>
                        <a:cubicBezTo>
                          <a:pt x="98863" y="111457"/>
                          <a:pt x="98522" y="111457"/>
                          <a:pt x="98522" y="111050"/>
                        </a:cubicBezTo>
                        <a:cubicBezTo>
                          <a:pt x="98522" y="111050"/>
                          <a:pt x="98181" y="111457"/>
                          <a:pt x="98181" y="111457"/>
                        </a:cubicBezTo>
                        <a:cubicBezTo>
                          <a:pt x="97840" y="111457"/>
                          <a:pt x="97500" y="111050"/>
                          <a:pt x="97500" y="111050"/>
                        </a:cubicBezTo>
                        <a:cubicBezTo>
                          <a:pt x="97159" y="110644"/>
                          <a:pt x="97159" y="110644"/>
                          <a:pt x="97159" y="110644"/>
                        </a:cubicBezTo>
                        <a:cubicBezTo>
                          <a:pt x="97159" y="110644"/>
                          <a:pt x="96818" y="110644"/>
                          <a:pt x="96477" y="110644"/>
                        </a:cubicBezTo>
                        <a:cubicBezTo>
                          <a:pt x="96477" y="110644"/>
                          <a:pt x="96477" y="111457"/>
                          <a:pt x="96477" y="111457"/>
                        </a:cubicBezTo>
                        <a:cubicBezTo>
                          <a:pt x="96477" y="111457"/>
                          <a:pt x="96136" y="111457"/>
                          <a:pt x="95795" y="111050"/>
                        </a:cubicBezTo>
                        <a:cubicBezTo>
                          <a:pt x="95795" y="111050"/>
                          <a:pt x="95454" y="110644"/>
                          <a:pt x="95113" y="110644"/>
                        </a:cubicBezTo>
                        <a:cubicBezTo>
                          <a:pt x="95113" y="110644"/>
                          <a:pt x="94772" y="110644"/>
                          <a:pt x="94431" y="110237"/>
                        </a:cubicBezTo>
                        <a:cubicBezTo>
                          <a:pt x="94431" y="110237"/>
                          <a:pt x="94090" y="110237"/>
                          <a:pt x="94090" y="110237"/>
                        </a:cubicBezTo>
                        <a:cubicBezTo>
                          <a:pt x="94090" y="110237"/>
                          <a:pt x="92727" y="110644"/>
                          <a:pt x="92727" y="110644"/>
                        </a:cubicBezTo>
                        <a:cubicBezTo>
                          <a:pt x="92727" y="110644"/>
                          <a:pt x="92727" y="111050"/>
                          <a:pt x="92386" y="111050"/>
                        </a:cubicBezTo>
                        <a:cubicBezTo>
                          <a:pt x="92386" y="111457"/>
                          <a:pt x="92045" y="111050"/>
                          <a:pt x="92045" y="111050"/>
                        </a:cubicBezTo>
                        <a:cubicBezTo>
                          <a:pt x="92045" y="111050"/>
                          <a:pt x="91704" y="111050"/>
                          <a:pt x="91363" y="111050"/>
                        </a:cubicBezTo>
                        <a:cubicBezTo>
                          <a:pt x="91363" y="111050"/>
                          <a:pt x="91022" y="111050"/>
                          <a:pt x="91022" y="111050"/>
                        </a:cubicBezTo>
                        <a:cubicBezTo>
                          <a:pt x="91022" y="111050"/>
                          <a:pt x="90681" y="110644"/>
                          <a:pt x="90340" y="110644"/>
                        </a:cubicBezTo>
                        <a:cubicBezTo>
                          <a:pt x="90340" y="110644"/>
                          <a:pt x="90000" y="110644"/>
                          <a:pt x="90000" y="110644"/>
                        </a:cubicBezTo>
                        <a:cubicBezTo>
                          <a:pt x="90000" y="110644"/>
                          <a:pt x="89659" y="111050"/>
                          <a:pt x="89659" y="111050"/>
                        </a:cubicBezTo>
                        <a:cubicBezTo>
                          <a:pt x="89318" y="111457"/>
                          <a:pt x="89318" y="111457"/>
                          <a:pt x="89318" y="111457"/>
                        </a:cubicBezTo>
                        <a:cubicBezTo>
                          <a:pt x="89318" y="111864"/>
                          <a:pt x="89318" y="111864"/>
                          <a:pt x="89318" y="111864"/>
                        </a:cubicBezTo>
                        <a:cubicBezTo>
                          <a:pt x="88636" y="111457"/>
                          <a:pt x="88636" y="111457"/>
                          <a:pt x="88636" y="111457"/>
                        </a:cubicBezTo>
                        <a:cubicBezTo>
                          <a:pt x="88636" y="111457"/>
                          <a:pt x="88295" y="111457"/>
                          <a:pt x="87954" y="111457"/>
                        </a:cubicBezTo>
                        <a:cubicBezTo>
                          <a:pt x="87272" y="111864"/>
                          <a:pt x="87613" y="112271"/>
                          <a:pt x="87613" y="112271"/>
                        </a:cubicBezTo>
                        <a:cubicBezTo>
                          <a:pt x="87954" y="112271"/>
                          <a:pt x="88295" y="113084"/>
                          <a:pt x="88295" y="113084"/>
                        </a:cubicBezTo>
                        <a:cubicBezTo>
                          <a:pt x="88295" y="113084"/>
                          <a:pt x="87272" y="113491"/>
                          <a:pt x="87272" y="113491"/>
                        </a:cubicBezTo>
                        <a:cubicBezTo>
                          <a:pt x="86931" y="113898"/>
                          <a:pt x="86931" y="113898"/>
                          <a:pt x="86931" y="114305"/>
                        </a:cubicBezTo>
                        <a:cubicBezTo>
                          <a:pt x="86931" y="114305"/>
                          <a:pt x="86590" y="114711"/>
                          <a:pt x="86590" y="115118"/>
                        </a:cubicBezTo>
                        <a:cubicBezTo>
                          <a:pt x="86590" y="115118"/>
                          <a:pt x="86250" y="114711"/>
                          <a:pt x="85909" y="114711"/>
                        </a:cubicBezTo>
                        <a:cubicBezTo>
                          <a:pt x="85568" y="114711"/>
                          <a:pt x="85568" y="114305"/>
                          <a:pt x="85568" y="114305"/>
                        </a:cubicBezTo>
                        <a:cubicBezTo>
                          <a:pt x="85227" y="114711"/>
                          <a:pt x="85227" y="114711"/>
                          <a:pt x="85227" y="114711"/>
                        </a:cubicBezTo>
                        <a:cubicBezTo>
                          <a:pt x="84886" y="114711"/>
                          <a:pt x="84886" y="114711"/>
                          <a:pt x="84886" y="114711"/>
                        </a:cubicBezTo>
                        <a:cubicBezTo>
                          <a:pt x="84886" y="114711"/>
                          <a:pt x="84545" y="114305"/>
                          <a:pt x="84545" y="113898"/>
                        </a:cubicBezTo>
                        <a:cubicBezTo>
                          <a:pt x="84545" y="113898"/>
                          <a:pt x="84545" y="113898"/>
                          <a:pt x="84545" y="113898"/>
                        </a:cubicBezTo>
                        <a:cubicBezTo>
                          <a:pt x="84204" y="113898"/>
                          <a:pt x="83863" y="113898"/>
                          <a:pt x="83863" y="113491"/>
                        </a:cubicBezTo>
                        <a:cubicBezTo>
                          <a:pt x="83522" y="112677"/>
                          <a:pt x="83522" y="112677"/>
                          <a:pt x="83522" y="112677"/>
                        </a:cubicBezTo>
                        <a:cubicBezTo>
                          <a:pt x="83522" y="112677"/>
                          <a:pt x="82840" y="113084"/>
                          <a:pt x="82840" y="113491"/>
                        </a:cubicBezTo>
                        <a:cubicBezTo>
                          <a:pt x="82500" y="113491"/>
                          <a:pt x="82840" y="113491"/>
                          <a:pt x="82500" y="113084"/>
                        </a:cubicBezTo>
                        <a:cubicBezTo>
                          <a:pt x="82159" y="113084"/>
                          <a:pt x="82159" y="113491"/>
                          <a:pt x="82159" y="113491"/>
                        </a:cubicBezTo>
                        <a:cubicBezTo>
                          <a:pt x="82159" y="113491"/>
                          <a:pt x="82159" y="113491"/>
                          <a:pt x="82159" y="113491"/>
                        </a:cubicBezTo>
                        <a:cubicBezTo>
                          <a:pt x="82159" y="113898"/>
                          <a:pt x="81818" y="113898"/>
                          <a:pt x="81818" y="113898"/>
                        </a:cubicBezTo>
                        <a:cubicBezTo>
                          <a:pt x="81818" y="114305"/>
                          <a:pt x="81477" y="113898"/>
                          <a:pt x="81477" y="113898"/>
                        </a:cubicBezTo>
                        <a:cubicBezTo>
                          <a:pt x="81136" y="113898"/>
                          <a:pt x="80795" y="113898"/>
                          <a:pt x="80795" y="113898"/>
                        </a:cubicBezTo>
                        <a:cubicBezTo>
                          <a:pt x="80795" y="113898"/>
                          <a:pt x="80795" y="113491"/>
                          <a:pt x="80795" y="113491"/>
                        </a:cubicBezTo>
                        <a:cubicBezTo>
                          <a:pt x="80113" y="113898"/>
                          <a:pt x="80113" y="113898"/>
                          <a:pt x="80113" y="113898"/>
                        </a:cubicBezTo>
                        <a:cubicBezTo>
                          <a:pt x="80113" y="113898"/>
                          <a:pt x="80113" y="114305"/>
                          <a:pt x="80113" y="114305"/>
                        </a:cubicBezTo>
                        <a:cubicBezTo>
                          <a:pt x="80113" y="114305"/>
                          <a:pt x="79772" y="114305"/>
                          <a:pt x="79431" y="114711"/>
                        </a:cubicBezTo>
                        <a:cubicBezTo>
                          <a:pt x="78750" y="114711"/>
                          <a:pt x="79090" y="114305"/>
                          <a:pt x="78750" y="114711"/>
                        </a:cubicBezTo>
                        <a:cubicBezTo>
                          <a:pt x="78750" y="114711"/>
                          <a:pt x="78750" y="114711"/>
                          <a:pt x="78750" y="115118"/>
                        </a:cubicBezTo>
                        <a:cubicBezTo>
                          <a:pt x="78750" y="115118"/>
                          <a:pt x="79090" y="115118"/>
                          <a:pt x="78750" y="115525"/>
                        </a:cubicBezTo>
                        <a:cubicBezTo>
                          <a:pt x="78409" y="115932"/>
                          <a:pt x="78409" y="115525"/>
                          <a:pt x="78409" y="115525"/>
                        </a:cubicBezTo>
                        <a:cubicBezTo>
                          <a:pt x="78068" y="115525"/>
                          <a:pt x="77727" y="115932"/>
                          <a:pt x="77727" y="115932"/>
                        </a:cubicBezTo>
                        <a:cubicBezTo>
                          <a:pt x="77727" y="115932"/>
                          <a:pt x="77727" y="116338"/>
                          <a:pt x="77727" y="116338"/>
                        </a:cubicBezTo>
                        <a:cubicBezTo>
                          <a:pt x="77727" y="116338"/>
                          <a:pt x="77386" y="116338"/>
                          <a:pt x="77045" y="116338"/>
                        </a:cubicBezTo>
                        <a:cubicBezTo>
                          <a:pt x="76704" y="116338"/>
                          <a:pt x="77045" y="116745"/>
                          <a:pt x="77045" y="116745"/>
                        </a:cubicBezTo>
                        <a:cubicBezTo>
                          <a:pt x="77045" y="116745"/>
                          <a:pt x="77045" y="117152"/>
                          <a:pt x="76704" y="117559"/>
                        </a:cubicBezTo>
                        <a:cubicBezTo>
                          <a:pt x="76704" y="117559"/>
                          <a:pt x="76704" y="117966"/>
                          <a:pt x="76704" y="118372"/>
                        </a:cubicBezTo>
                        <a:cubicBezTo>
                          <a:pt x="76704" y="118372"/>
                          <a:pt x="76704" y="118372"/>
                          <a:pt x="76704" y="119186"/>
                        </a:cubicBezTo>
                        <a:cubicBezTo>
                          <a:pt x="76704" y="119593"/>
                          <a:pt x="76704" y="119593"/>
                          <a:pt x="76704" y="119593"/>
                        </a:cubicBezTo>
                        <a:cubicBezTo>
                          <a:pt x="76704" y="119593"/>
                          <a:pt x="76363" y="119593"/>
                          <a:pt x="76363" y="119593"/>
                        </a:cubicBezTo>
                        <a:cubicBezTo>
                          <a:pt x="76363" y="119186"/>
                          <a:pt x="76022" y="119593"/>
                          <a:pt x="76022" y="119593"/>
                        </a:cubicBezTo>
                        <a:cubicBezTo>
                          <a:pt x="76022" y="119593"/>
                          <a:pt x="75681" y="119186"/>
                          <a:pt x="75681" y="118779"/>
                        </a:cubicBezTo>
                        <a:cubicBezTo>
                          <a:pt x="75681" y="118779"/>
                          <a:pt x="75340" y="118779"/>
                          <a:pt x="75340" y="118779"/>
                        </a:cubicBezTo>
                        <a:cubicBezTo>
                          <a:pt x="75340" y="118779"/>
                          <a:pt x="74659" y="119186"/>
                          <a:pt x="74659" y="119186"/>
                        </a:cubicBezTo>
                        <a:cubicBezTo>
                          <a:pt x="74659" y="119186"/>
                          <a:pt x="74659" y="119593"/>
                          <a:pt x="74659" y="119593"/>
                        </a:cubicBezTo>
                        <a:cubicBezTo>
                          <a:pt x="74318" y="119593"/>
                          <a:pt x="73636" y="120000"/>
                          <a:pt x="73636" y="120000"/>
                        </a:cubicBezTo>
                        <a:cubicBezTo>
                          <a:pt x="73636" y="120000"/>
                          <a:pt x="73295" y="120000"/>
                          <a:pt x="73295" y="120000"/>
                        </a:cubicBezTo>
                        <a:cubicBezTo>
                          <a:pt x="72954" y="119593"/>
                          <a:pt x="72954" y="119593"/>
                          <a:pt x="72954" y="119593"/>
                        </a:cubicBezTo>
                        <a:cubicBezTo>
                          <a:pt x="72954" y="119186"/>
                          <a:pt x="72954" y="119186"/>
                          <a:pt x="72954" y="119186"/>
                        </a:cubicBezTo>
                        <a:cubicBezTo>
                          <a:pt x="73636" y="118372"/>
                          <a:pt x="73636" y="118372"/>
                          <a:pt x="73636" y="118372"/>
                        </a:cubicBezTo>
                        <a:cubicBezTo>
                          <a:pt x="73295" y="117152"/>
                          <a:pt x="73295" y="117152"/>
                          <a:pt x="73295" y="117152"/>
                        </a:cubicBezTo>
                        <a:cubicBezTo>
                          <a:pt x="72613" y="116338"/>
                          <a:pt x="72613" y="116338"/>
                          <a:pt x="72613" y="116338"/>
                        </a:cubicBezTo>
                        <a:cubicBezTo>
                          <a:pt x="72613" y="115932"/>
                          <a:pt x="72613" y="115932"/>
                          <a:pt x="72613" y="115932"/>
                        </a:cubicBezTo>
                        <a:cubicBezTo>
                          <a:pt x="71590" y="115932"/>
                          <a:pt x="71590" y="115932"/>
                          <a:pt x="71590" y="115932"/>
                        </a:cubicBezTo>
                        <a:cubicBezTo>
                          <a:pt x="70909" y="115525"/>
                          <a:pt x="70909" y="115525"/>
                          <a:pt x="70909" y="115525"/>
                        </a:cubicBezTo>
                        <a:cubicBezTo>
                          <a:pt x="70568" y="115118"/>
                          <a:pt x="70568" y="115118"/>
                          <a:pt x="70568" y="115118"/>
                        </a:cubicBezTo>
                        <a:cubicBezTo>
                          <a:pt x="69545" y="114305"/>
                          <a:pt x="69545" y="114305"/>
                          <a:pt x="69545" y="114305"/>
                        </a:cubicBezTo>
                        <a:cubicBezTo>
                          <a:pt x="68863" y="111864"/>
                          <a:pt x="68863" y="111864"/>
                          <a:pt x="68863" y="111864"/>
                        </a:cubicBezTo>
                        <a:cubicBezTo>
                          <a:pt x="67840" y="111864"/>
                          <a:pt x="67840" y="111864"/>
                          <a:pt x="67840" y="111864"/>
                        </a:cubicBezTo>
                        <a:cubicBezTo>
                          <a:pt x="67840" y="111864"/>
                          <a:pt x="67159" y="112677"/>
                          <a:pt x="67159" y="113084"/>
                        </a:cubicBezTo>
                        <a:cubicBezTo>
                          <a:pt x="67159" y="113491"/>
                          <a:pt x="66477" y="113491"/>
                          <a:pt x="66477" y="113491"/>
                        </a:cubicBezTo>
                        <a:cubicBezTo>
                          <a:pt x="65795" y="114711"/>
                          <a:pt x="65795" y="114711"/>
                          <a:pt x="65795" y="114711"/>
                        </a:cubicBezTo>
                        <a:cubicBezTo>
                          <a:pt x="65795" y="114711"/>
                          <a:pt x="65795" y="116338"/>
                          <a:pt x="65795" y="116745"/>
                        </a:cubicBezTo>
                        <a:cubicBezTo>
                          <a:pt x="65795" y="117152"/>
                          <a:pt x="65113" y="116338"/>
                          <a:pt x="65113" y="116338"/>
                        </a:cubicBezTo>
                        <a:cubicBezTo>
                          <a:pt x="65113" y="116338"/>
                          <a:pt x="64431" y="116745"/>
                          <a:pt x="64090" y="117152"/>
                        </a:cubicBezTo>
                        <a:cubicBezTo>
                          <a:pt x="63750" y="117559"/>
                          <a:pt x="63068" y="117559"/>
                          <a:pt x="63068" y="117559"/>
                        </a:cubicBezTo>
                        <a:cubicBezTo>
                          <a:pt x="63068" y="117559"/>
                          <a:pt x="62727" y="116745"/>
                          <a:pt x="62386" y="116338"/>
                        </a:cubicBezTo>
                        <a:cubicBezTo>
                          <a:pt x="62386" y="116338"/>
                          <a:pt x="62386" y="115932"/>
                          <a:pt x="62386" y="115118"/>
                        </a:cubicBezTo>
                        <a:cubicBezTo>
                          <a:pt x="62386" y="114711"/>
                          <a:pt x="61704" y="115525"/>
                          <a:pt x="61704" y="115525"/>
                        </a:cubicBezTo>
                        <a:cubicBezTo>
                          <a:pt x="61704" y="115525"/>
                          <a:pt x="61704" y="115525"/>
                          <a:pt x="61704" y="115525"/>
                        </a:cubicBezTo>
                        <a:cubicBezTo>
                          <a:pt x="61704" y="115118"/>
                          <a:pt x="61704" y="115118"/>
                          <a:pt x="61704" y="115118"/>
                        </a:cubicBezTo>
                        <a:cubicBezTo>
                          <a:pt x="61363" y="114305"/>
                          <a:pt x="61022" y="113898"/>
                          <a:pt x="61022" y="113898"/>
                        </a:cubicBezTo>
                        <a:cubicBezTo>
                          <a:pt x="61022" y="113898"/>
                          <a:pt x="60681" y="113084"/>
                          <a:pt x="60681" y="112271"/>
                        </a:cubicBezTo>
                        <a:cubicBezTo>
                          <a:pt x="60681" y="111864"/>
                          <a:pt x="59318" y="111050"/>
                          <a:pt x="59318" y="111050"/>
                        </a:cubicBezTo>
                        <a:cubicBezTo>
                          <a:pt x="59318" y="111050"/>
                          <a:pt x="59659" y="111864"/>
                          <a:pt x="58977" y="111050"/>
                        </a:cubicBezTo>
                        <a:cubicBezTo>
                          <a:pt x="58295" y="109830"/>
                          <a:pt x="57613" y="109830"/>
                          <a:pt x="57613" y="109830"/>
                        </a:cubicBezTo>
                        <a:cubicBezTo>
                          <a:pt x="57272" y="106576"/>
                          <a:pt x="57272" y="106576"/>
                          <a:pt x="57272" y="106576"/>
                        </a:cubicBezTo>
                        <a:cubicBezTo>
                          <a:pt x="54545" y="107389"/>
                          <a:pt x="54545" y="107389"/>
                          <a:pt x="54545" y="107389"/>
                        </a:cubicBezTo>
                        <a:cubicBezTo>
                          <a:pt x="54545" y="107389"/>
                          <a:pt x="52840" y="106576"/>
                          <a:pt x="52500" y="106169"/>
                        </a:cubicBezTo>
                        <a:cubicBezTo>
                          <a:pt x="52159" y="105762"/>
                          <a:pt x="51136" y="105355"/>
                          <a:pt x="51136" y="105355"/>
                        </a:cubicBezTo>
                        <a:cubicBezTo>
                          <a:pt x="50113" y="106576"/>
                          <a:pt x="50113" y="106576"/>
                          <a:pt x="50113" y="106576"/>
                        </a:cubicBezTo>
                        <a:cubicBezTo>
                          <a:pt x="49090" y="106576"/>
                          <a:pt x="49090" y="106576"/>
                          <a:pt x="49090" y="106576"/>
                        </a:cubicBezTo>
                        <a:cubicBezTo>
                          <a:pt x="49090" y="106576"/>
                          <a:pt x="47727" y="106169"/>
                          <a:pt x="47386" y="105762"/>
                        </a:cubicBezTo>
                        <a:cubicBezTo>
                          <a:pt x="46704" y="104949"/>
                          <a:pt x="47045" y="104542"/>
                          <a:pt x="46704" y="104542"/>
                        </a:cubicBezTo>
                        <a:cubicBezTo>
                          <a:pt x="46022" y="104542"/>
                          <a:pt x="45681" y="103728"/>
                          <a:pt x="45681" y="103728"/>
                        </a:cubicBezTo>
                        <a:cubicBezTo>
                          <a:pt x="45681" y="103728"/>
                          <a:pt x="46363" y="102508"/>
                          <a:pt x="46704" y="102101"/>
                        </a:cubicBezTo>
                        <a:cubicBezTo>
                          <a:pt x="46704" y="101694"/>
                          <a:pt x="47386" y="102101"/>
                          <a:pt x="47045" y="100881"/>
                        </a:cubicBezTo>
                        <a:cubicBezTo>
                          <a:pt x="46363" y="100067"/>
                          <a:pt x="46022" y="99661"/>
                          <a:pt x="46022" y="99661"/>
                        </a:cubicBezTo>
                        <a:cubicBezTo>
                          <a:pt x="46022" y="99661"/>
                          <a:pt x="46022" y="100474"/>
                          <a:pt x="45340" y="100881"/>
                        </a:cubicBezTo>
                        <a:cubicBezTo>
                          <a:pt x="44659" y="100881"/>
                          <a:pt x="43636" y="101288"/>
                          <a:pt x="43636" y="101288"/>
                        </a:cubicBezTo>
                        <a:cubicBezTo>
                          <a:pt x="39886" y="99254"/>
                          <a:pt x="39886" y="99254"/>
                          <a:pt x="39886" y="99254"/>
                        </a:cubicBezTo>
                        <a:cubicBezTo>
                          <a:pt x="39886" y="99254"/>
                          <a:pt x="38863" y="98847"/>
                          <a:pt x="38522" y="98847"/>
                        </a:cubicBezTo>
                        <a:cubicBezTo>
                          <a:pt x="38181" y="99254"/>
                          <a:pt x="36818" y="98847"/>
                          <a:pt x="36818" y="98847"/>
                        </a:cubicBezTo>
                        <a:cubicBezTo>
                          <a:pt x="37500" y="100474"/>
                          <a:pt x="37500" y="100474"/>
                          <a:pt x="37500" y="100474"/>
                        </a:cubicBezTo>
                        <a:cubicBezTo>
                          <a:pt x="38181" y="102915"/>
                          <a:pt x="38181" y="102915"/>
                          <a:pt x="38181" y="102915"/>
                        </a:cubicBezTo>
                        <a:cubicBezTo>
                          <a:pt x="36136" y="103728"/>
                          <a:pt x="36136" y="103728"/>
                          <a:pt x="36136" y="103728"/>
                        </a:cubicBezTo>
                        <a:cubicBezTo>
                          <a:pt x="35795" y="105762"/>
                          <a:pt x="35795" y="105762"/>
                          <a:pt x="35795" y="105762"/>
                        </a:cubicBezTo>
                        <a:cubicBezTo>
                          <a:pt x="35795" y="105762"/>
                          <a:pt x="33750" y="107389"/>
                          <a:pt x="33750" y="106576"/>
                        </a:cubicBezTo>
                        <a:cubicBezTo>
                          <a:pt x="33409" y="106169"/>
                          <a:pt x="33068" y="104542"/>
                          <a:pt x="33068" y="104542"/>
                        </a:cubicBezTo>
                        <a:cubicBezTo>
                          <a:pt x="33068" y="104542"/>
                          <a:pt x="32727" y="103728"/>
                          <a:pt x="32386" y="103322"/>
                        </a:cubicBezTo>
                        <a:cubicBezTo>
                          <a:pt x="31704" y="102915"/>
                          <a:pt x="31363" y="102508"/>
                          <a:pt x="31363" y="102508"/>
                        </a:cubicBezTo>
                        <a:cubicBezTo>
                          <a:pt x="30340" y="102101"/>
                          <a:pt x="30340" y="102101"/>
                          <a:pt x="30340" y="102101"/>
                        </a:cubicBezTo>
                        <a:cubicBezTo>
                          <a:pt x="30340" y="102101"/>
                          <a:pt x="30000" y="100474"/>
                          <a:pt x="29659" y="100474"/>
                        </a:cubicBezTo>
                        <a:cubicBezTo>
                          <a:pt x="29318" y="100474"/>
                          <a:pt x="28977" y="100474"/>
                          <a:pt x="28977" y="100474"/>
                        </a:cubicBezTo>
                        <a:cubicBezTo>
                          <a:pt x="28977" y="99254"/>
                          <a:pt x="28977" y="99254"/>
                          <a:pt x="28977" y="99254"/>
                        </a:cubicBezTo>
                        <a:cubicBezTo>
                          <a:pt x="29659" y="98033"/>
                          <a:pt x="29659" y="98033"/>
                          <a:pt x="29659" y="98033"/>
                        </a:cubicBezTo>
                        <a:cubicBezTo>
                          <a:pt x="29659" y="98033"/>
                          <a:pt x="30000" y="98440"/>
                          <a:pt x="30000" y="96813"/>
                        </a:cubicBezTo>
                        <a:cubicBezTo>
                          <a:pt x="30340" y="94779"/>
                          <a:pt x="29318" y="94779"/>
                          <a:pt x="29318" y="94779"/>
                        </a:cubicBezTo>
                        <a:cubicBezTo>
                          <a:pt x="28295" y="95186"/>
                          <a:pt x="28295" y="95186"/>
                          <a:pt x="28295" y="95186"/>
                        </a:cubicBezTo>
                        <a:cubicBezTo>
                          <a:pt x="26931" y="96000"/>
                          <a:pt x="26931" y="96000"/>
                          <a:pt x="26931" y="96000"/>
                        </a:cubicBezTo>
                        <a:cubicBezTo>
                          <a:pt x="26250" y="96000"/>
                          <a:pt x="26250" y="96000"/>
                          <a:pt x="26250" y="96000"/>
                        </a:cubicBezTo>
                        <a:cubicBezTo>
                          <a:pt x="25909" y="96000"/>
                          <a:pt x="25227" y="94779"/>
                          <a:pt x="25227" y="94779"/>
                        </a:cubicBezTo>
                        <a:cubicBezTo>
                          <a:pt x="25227" y="94779"/>
                          <a:pt x="25909" y="93559"/>
                          <a:pt x="24886" y="94779"/>
                        </a:cubicBezTo>
                        <a:cubicBezTo>
                          <a:pt x="23863" y="96000"/>
                          <a:pt x="23181" y="94372"/>
                          <a:pt x="23181" y="94372"/>
                        </a:cubicBezTo>
                        <a:cubicBezTo>
                          <a:pt x="22840" y="93966"/>
                          <a:pt x="22840" y="93966"/>
                          <a:pt x="22840" y="93966"/>
                        </a:cubicBezTo>
                        <a:cubicBezTo>
                          <a:pt x="22840" y="93966"/>
                          <a:pt x="22840" y="93966"/>
                          <a:pt x="22500" y="93966"/>
                        </a:cubicBezTo>
                        <a:cubicBezTo>
                          <a:pt x="22159" y="94372"/>
                          <a:pt x="21136" y="94372"/>
                          <a:pt x="21136" y="93966"/>
                        </a:cubicBezTo>
                        <a:cubicBezTo>
                          <a:pt x="20795" y="93152"/>
                          <a:pt x="20113" y="92745"/>
                          <a:pt x="20113" y="92745"/>
                        </a:cubicBezTo>
                        <a:cubicBezTo>
                          <a:pt x="19090" y="93152"/>
                          <a:pt x="19090" y="93152"/>
                          <a:pt x="19090" y="93152"/>
                        </a:cubicBezTo>
                        <a:cubicBezTo>
                          <a:pt x="19090" y="93152"/>
                          <a:pt x="18409" y="93152"/>
                          <a:pt x="18068" y="93152"/>
                        </a:cubicBezTo>
                        <a:cubicBezTo>
                          <a:pt x="18068" y="92745"/>
                          <a:pt x="18068" y="92338"/>
                          <a:pt x="17386" y="91932"/>
                        </a:cubicBezTo>
                        <a:cubicBezTo>
                          <a:pt x="16704" y="91525"/>
                          <a:pt x="16363" y="90305"/>
                          <a:pt x="16363" y="90305"/>
                        </a:cubicBezTo>
                        <a:cubicBezTo>
                          <a:pt x="16363" y="90305"/>
                          <a:pt x="16704" y="89491"/>
                          <a:pt x="16022" y="89491"/>
                        </a:cubicBezTo>
                        <a:cubicBezTo>
                          <a:pt x="15681" y="89491"/>
                          <a:pt x="15000" y="89084"/>
                          <a:pt x="15000" y="89084"/>
                        </a:cubicBezTo>
                        <a:cubicBezTo>
                          <a:pt x="15000" y="89084"/>
                          <a:pt x="13977" y="88271"/>
                          <a:pt x="13977" y="88677"/>
                        </a:cubicBezTo>
                        <a:cubicBezTo>
                          <a:pt x="13636" y="89084"/>
                          <a:pt x="13636" y="89898"/>
                          <a:pt x="13636" y="90305"/>
                        </a:cubicBezTo>
                        <a:cubicBezTo>
                          <a:pt x="13636" y="90305"/>
                          <a:pt x="13977" y="91525"/>
                          <a:pt x="13977" y="91525"/>
                        </a:cubicBezTo>
                        <a:cubicBezTo>
                          <a:pt x="13977" y="91525"/>
                          <a:pt x="12613" y="92338"/>
                          <a:pt x="12272" y="92338"/>
                        </a:cubicBezTo>
                        <a:cubicBezTo>
                          <a:pt x="11931" y="92338"/>
                          <a:pt x="11590" y="92745"/>
                          <a:pt x="11590" y="91932"/>
                        </a:cubicBezTo>
                        <a:cubicBezTo>
                          <a:pt x="11590" y="91525"/>
                          <a:pt x="12272" y="89491"/>
                          <a:pt x="12272" y="89491"/>
                        </a:cubicBezTo>
                        <a:cubicBezTo>
                          <a:pt x="12613" y="89084"/>
                          <a:pt x="12954" y="88677"/>
                          <a:pt x="12954" y="88677"/>
                        </a:cubicBezTo>
                        <a:cubicBezTo>
                          <a:pt x="12954" y="88677"/>
                          <a:pt x="12613" y="87864"/>
                          <a:pt x="12613" y="87457"/>
                        </a:cubicBezTo>
                        <a:cubicBezTo>
                          <a:pt x="12613" y="87050"/>
                          <a:pt x="12272" y="87050"/>
                          <a:pt x="12954" y="85830"/>
                        </a:cubicBezTo>
                        <a:cubicBezTo>
                          <a:pt x="13977" y="84610"/>
                          <a:pt x="13977" y="83796"/>
                          <a:pt x="13977" y="83796"/>
                        </a:cubicBezTo>
                        <a:cubicBezTo>
                          <a:pt x="13977" y="83796"/>
                          <a:pt x="13295" y="82576"/>
                          <a:pt x="12954" y="82169"/>
                        </a:cubicBezTo>
                        <a:cubicBezTo>
                          <a:pt x="12954" y="82169"/>
                          <a:pt x="11931" y="80542"/>
                          <a:pt x="11931" y="80542"/>
                        </a:cubicBezTo>
                        <a:cubicBezTo>
                          <a:pt x="11931" y="80135"/>
                          <a:pt x="11931" y="79322"/>
                          <a:pt x="11931" y="79322"/>
                        </a:cubicBezTo>
                        <a:cubicBezTo>
                          <a:pt x="11931" y="79322"/>
                          <a:pt x="11250" y="78508"/>
                          <a:pt x="10909" y="78508"/>
                        </a:cubicBezTo>
                        <a:cubicBezTo>
                          <a:pt x="10568" y="78508"/>
                          <a:pt x="9545" y="78101"/>
                          <a:pt x="9545" y="78101"/>
                        </a:cubicBezTo>
                        <a:cubicBezTo>
                          <a:pt x="9545" y="76881"/>
                          <a:pt x="9545" y="76881"/>
                          <a:pt x="9545" y="76881"/>
                        </a:cubicBezTo>
                        <a:cubicBezTo>
                          <a:pt x="9545" y="74847"/>
                          <a:pt x="9545" y="74847"/>
                          <a:pt x="9545" y="74847"/>
                        </a:cubicBezTo>
                        <a:cubicBezTo>
                          <a:pt x="8181" y="72813"/>
                          <a:pt x="8181" y="72813"/>
                          <a:pt x="8181" y="72813"/>
                        </a:cubicBezTo>
                        <a:cubicBezTo>
                          <a:pt x="7840" y="71593"/>
                          <a:pt x="7840" y="71593"/>
                          <a:pt x="7840" y="71593"/>
                        </a:cubicBezTo>
                        <a:cubicBezTo>
                          <a:pt x="7840" y="71593"/>
                          <a:pt x="8181" y="70779"/>
                          <a:pt x="8181" y="69966"/>
                        </a:cubicBezTo>
                        <a:cubicBezTo>
                          <a:pt x="8522" y="69559"/>
                          <a:pt x="8863" y="68338"/>
                          <a:pt x="8863" y="68338"/>
                        </a:cubicBezTo>
                        <a:cubicBezTo>
                          <a:pt x="8181" y="66711"/>
                          <a:pt x="8181" y="66711"/>
                          <a:pt x="8181" y="66711"/>
                        </a:cubicBezTo>
                        <a:cubicBezTo>
                          <a:pt x="8181" y="66711"/>
                          <a:pt x="7840" y="66305"/>
                          <a:pt x="8181" y="65898"/>
                        </a:cubicBezTo>
                        <a:cubicBezTo>
                          <a:pt x="8181" y="65491"/>
                          <a:pt x="7840" y="63050"/>
                          <a:pt x="7840" y="63050"/>
                        </a:cubicBezTo>
                        <a:cubicBezTo>
                          <a:pt x="7840" y="63050"/>
                          <a:pt x="7500" y="60610"/>
                          <a:pt x="7159" y="61016"/>
                        </a:cubicBezTo>
                        <a:cubicBezTo>
                          <a:pt x="6477" y="61016"/>
                          <a:pt x="6136" y="59389"/>
                          <a:pt x="6136" y="59389"/>
                        </a:cubicBezTo>
                        <a:cubicBezTo>
                          <a:pt x="6818" y="56542"/>
                          <a:pt x="6818" y="56542"/>
                          <a:pt x="6818" y="56542"/>
                        </a:cubicBezTo>
                        <a:cubicBezTo>
                          <a:pt x="6818" y="56542"/>
                          <a:pt x="7159" y="54508"/>
                          <a:pt x="6136" y="53694"/>
                        </a:cubicBezTo>
                        <a:cubicBezTo>
                          <a:pt x="5113" y="53288"/>
                          <a:pt x="3068" y="52067"/>
                          <a:pt x="2727" y="51661"/>
                        </a:cubicBezTo>
                        <a:cubicBezTo>
                          <a:pt x="2727" y="51661"/>
                          <a:pt x="1704" y="50440"/>
                          <a:pt x="1363" y="50033"/>
                        </a:cubicBezTo>
                        <a:cubicBezTo>
                          <a:pt x="1022" y="50033"/>
                          <a:pt x="681" y="49627"/>
                          <a:pt x="681" y="49627"/>
                        </a:cubicBezTo>
                        <a:cubicBezTo>
                          <a:pt x="1363" y="45966"/>
                          <a:pt x="1363" y="45966"/>
                          <a:pt x="1363" y="45966"/>
                        </a:cubicBezTo>
                        <a:cubicBezTo>
                          <a:pt x="3068" y="44338"/>
                          <a:pt x="3068" y="44338"/>
                          <a:pt x="3068" y="44338"/>
                        </a:cubicBezTo>
                        <a:cubicBezTo>
                          <a:pt x="3068" y="41084"/>
                          <a:pt x="3068" y="41084"/>
                          <a:pt x="3068" y="41084"/>
                        </a:cubicBezTo>
                        <a:cubicBezTo>
                          <a:pt x="3068" y="37423"/>
                          <a:pt x="3068" y="37423"/>
                          <a:pt x="3068" y="37423"/>
                        </a:cubicBezTo>
                        <a:cubicBezTo>
                          <a:pt x="3068" y="37423"/>
                          <a:pt x="3409" y="37016"/>
                          <a:pt x="2386" y="35389"/>
                        </a:cubicBezTo>
                        <a:cubicBezTo>
                          <a:pt x="1704" y="34169"/>
                          <a:pt x="1363" y="32542"/>
                          <a:pt x="1363" y="32542"/>
                        </a:cubicBezTo>
                        <a:cubicBezTo>
                          <a:pt x="1363" y="32135"/>
                          <a:pt x="1022" y="30508"/>
                          <a:pt x="681" y="30101"/>
                        </a:cubicBezTo>
                        <a:cubicBezTo>
                          <a:pt x="681" y="29694"/>
                          <a:pt x="681" y="29288"/>
                          <a:pt x="681" y="28474"/>
                        </a:cubicBezTo>
                        <a:cubicBezTo>
                          <a:pt x="1022" y="28067"/>
                          <a:pt x="0" y="26847"/>
                          <a:pt x="0" y="26847"/>
                        </a:cubicBezTo>
                        <a:cubicBezTo>
                          <a:pt x="0" y="26847"/>
                          <a:pt x="340" y="26033"/>
                          <a:pt x="681" y="26033"/>
                        </a:cubicBezTo>
                        <a:cubicBezTo>
                          <a:pt x="1022" y="26033"/>
                          <a:pt x="1363" y="25627"/>
                          <a:pt x="2045" y="25627"/>
                        </a:cubicBezTo>
                        <a:cubicBezTo>
                          <a:pt x="2727" y="25627"/>
                          <a:pt x="3068" y="24813"/>
                          <a:pt x="3750" y="24813"/>
                        </a:cubicBezTo>
                        <a:cubicBezTo>
                          <a:pt x="4090" y="24406"/>
                          <a:pt x="4090" y="23593"/>
                          <a:pt x="4431" y="23593"/>
                        </a:cubicBezTo>
                        <a:cubicBezTo>
                          <a:pt x="5113" y="23186"/>
                          <a:pt x="5795" y="23593"/>
                          <a:pt x="6818" y="22779"/>
                        </a:cubicBezTo>
                        <a:cubicBezTo>
                          <a:pt x="7840" y="22372"/>
                          <a:pt x="7840" y="21966"/>
                          <a:pt x="8522" y="21152"/>
                        </a:cubicBezTo>
                        <a:cubicBezTo>
                          <a:pt x="8863" y="20745"/>
                          <a:pt x="15340" y="18305"/>
                          <a:pt x="15340" y="18305"/>
                        </a:cubicBezTo>
                        <a:cubicBezTo>
                          <a:pt x="15340" y="18305"/>
                          <a:pt x="17045" y="17084"/>
                          <a:pt x="17727" y="17084"/>
                        </a:cubicBezTo>
                        <a:cubicBezTo>
                          <a:pt x="18068" y="16677"/>
                          <a:pt x="18068" y="16271"/>
                          <a:pt x="18750" y="16271"/>
                        </a:cubicBezTo>
                        <a:cubicBezTo>
                          <a:pt x="19090" y="16677"/>
                          <a:pt x="20454" y="16677"/>
                          <a:pt x="20454" y="16677"/>
                        </a:cubicBezTo>
                        <a:cubicBezTo>
                          <a:pt x="20454" y="16677"/>
                          <a:pt x="20795" y="15457"/>
                          <a:pt x="21136" y="15050"/>
                        </a:cubicBezTo>
                        <a:cubicBezTo>
                          <a:pt x="21477" y="14237"/>
                          <a:pt x="21818" y="13423"/>
                          <a:pt x="21818" y="13016"/>
                        </a:cubicBezTo>
                        <a:cubicBezTo>
                          <a:pt x="22159" y="12203"/>
                          <a:pt x="22500" y="11796"/>
                          <a:pt x="22840" y="11389"/>
                        </a:cubicBezTo>
                        <a:cubicBezTo>
                          <a:pt x="23181" y="10576"/>
                          <a:pt x="23522" y="10169"/>
                          <a:pt x="23522" y="10169"/>
                        </a:cubicBezTo>
                        <a:cubicBezTo>
                          <a:pt x="23863" y="10169"/>
                          <a:pt x="25909" y="8949"/>
                          <a:pt x="26250" y="8949"/>
                        </a:cubicBezTo>
                        <a:cubicBezTo>
                          <a:pt x="26590" y="8542"/>
                          <a:pt x="29318" y="7322"/>
                          <a:pt x="29318" y="6915"/>
                        </a:cubicBezTo>
                        <a:cubicBezTo>
                          <a:pt x="29318" y="6915"/>
                          <a:pt x="30340" y="5288"/>
                          <a:pt x="30340" y="4881"/>
                        </a:cubicBezTo>
                        <a:cubicBezTo>
                          <a:pt x="30340" y="4474"/>
                          <a:pt x="31704" y="4067"/>
                          <a:pt x="31704" y="4067"/>
                        </a:cubicBezTo>
                        <a:cubicBezTo>
                          <a:pt x="32045" y="4067"/>
                          <a:pt x="32045" y="4067"/>
                          <a:pt x="32386" y="3661"/>
                        </a:cubicBezTo>
                        <a:cubicBezTo>
                          <a:pt x="33068" y="3661"/>
                          <a:pt x="36136" y="2033"/>
                          <a:pt x="36136" y="2033"/>
                        </a:cubicBezTo>
                        <a:cubicBezTo>
                          <a:pt x="36136" y="2033"/>
                          <a:pt x="38863" y="813"/>
                          <a:pt x="38863" y="813"/>
                        </a:cubicBezTo>
                        <a:cubicBezTo>
                          <a:pt x="39204" y="1220"/>
                          <a:pt x="40909" y="813"/>
                          <a:pt x="41250" y="813"/>
                        </a:cubicBezTo>
                        <a:cubicBezTo>
                          <a:pt x="41250" y="1220"/>
                          <a:pt x="43295" y="813"/>
                          <a:pt x="43295" y="813"/>
                        </a:cubicBezTo>
                        <a:cubicBezTo>
                          <a:pt x="43295" y="813"/>
                          <a:pt x="43977" y="1220"/>
                          <a:pt x="43977" y="1627"/>
                        </a:cubicBezTo>
                        <a:cubicBezTo>
                          <a:pt x="43977" y="2033"/>
                          <a:pt x="43295" y="2440"/>
                          <a:pt x="43636" y="2847"/>
                        </a:cubicBezTo>
                        <a:cubicBezTo>
                          <a:pt x="43977" y="3254"/>
                          <a:pt x="45340" y="4474"/>
                          <a:pt x="45340" y="4474"/>
                        </a:cubicBezTo>
                        <a:cubicBezTo>
                          <a:pt x="45340" y="4474"/>
                          <a:pt x="45000" y="5694"/>
                          <a:pt x="45000" y="5694"/>
                        </a:cubicBezTo>
                        <a:cubicBezTo>
                          <a:pt x="45000" y="6101"/>
                          <a:pt x="45340" y="6508"/>
                          <a:pt x="45681" y="7322"/>
                        </a:cubicBezTo>
                        <a:cubicBezTo>
                          <a:pt x="46022" y="7728"/>
                          <a:pt x="46704" y="8542"/>
                          <a:pt x="46704" y="8542"/>
                        </a:cubicBezTo>
                        <a:cubicBezTo>
                          <a:pt x="46704" y="8542"/>
                          <a:pt x="46363" y="8949"/>
                          <a:pt x="47727" y="9762"/>
                        </a:cubicBezTo>
                        <a:cubicBezTo>
                          <a:pt x="49090" y="10576"/>
                          <a:pt x="50113" y="9762"/>
                          <a:pt x="50113" y="9762"/>
                        </a:cubicBezTo>
                        <a:cubicBezTo>
                          <a:pt x="50113" y="9762"/>
                          <a:pt x="51136" y="9762"/>
                          <a:pt x="51477" y="9762"/>
                        </a:cubicBezTo>
                        <a:cubicBezTo>
                          <a:pt x="51818" y="9762"/>
                          <a:pt x="52840" y="9355"/>
                          <a:pt x="52840" y="9355"/>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5" name="Shape 2044"/>
                  <p:cNvSpPr/>
                  <p:nvPr/>
                </p:nvSpPr>
                <p:spPr>
                  <a:xfrm>
                    <a:off x="3482366" y="2092972"/>
                    <a:ext cx="378203" cy="415512"/>
                  </a:xfrm>
                  <a:custGeom>
                    <a:avLst/>
                    <a:gdLst/>
                    <a:ahLst/>
                    <a:cxnLst/>
                    <a:rect l="0" t="0" r="0" b="0"/>
                    <a:pathLst>
                      <a:path w="120000" h="120000" extrusionOk="0">
                        <a:moveTo>
                          <a:pt x="95421" y="111063"/>
                        </a:moveTo>
                        <a:cubicBezTo>
                          <a:pt x="92530" y="111063"/>
                          <a:pt x="92530" y="111063"/>
                          <a:pt x="92530" y="111063"/>
                        </a:cubicBezTo>
                        <a:cubicBezTo>
                          <a:pt x="92530" y="111063"/>
                          <a:pt x="91084" y="109148"/>
                          <a:pt x="90361" y="109148"/>
                        </a:cubicBezTo>
                        <a:cubicBezTo>
                          <a:pt x="89638" y="109148"/>
                          <a:pt x="88192" y="108510"/>
                          <a:pt x="88192" y="108510"/>
                        </a:cubicBezTo>
                        <a:cubicBezTo>
                          <a:pt x="87469" y="109787"/>
                          <a:pt x="87469" y="109787"/>
                          <a:pt x="87469" y="109787"/>
                        </a:cubicBezTo>
                        <a:cubicBezTo>
                          <a:pt x="87469" y="109787"/>
                          <a:pt x="86746" y="110425"/>
                          <a:pt x="86024" y="110425"/>
                        </a:cubicBezTo>
                        <a:cubicBezTo>
                          <a:pt x="86024" y="110425"/>
                          <a:pt x="85301" y="109787"/>
                          <a:pt x="85301" y="109787"/>
                        </a:cubicBezTo>
                        <a:cubicBezTo>
                          <a:pt x="85301" y="108510"/>
                          <a:pt x="85301" y="108510"/>
                          <a:pt x="85301" y="108510"/>
                        </a:cubicBezTo>
                        <a:cubicBezTo>
                          <a:pt x="83132" y="108510"/>
                          <a:pt x="83132" y="108510"/>
                          <a:pt x="83132" y="108510"/>
                        </a:cubicBezTo>
                        <a:cubicBezTo>
                          <a:pt x="83132" y="108510"/>
                          <a:pt x="83132" y="110425"/>
                          <a:pt x="82409" y="110425"/>
                        </a:cubicBezTo>
                        <a:cubicBezTo>
                          <a:pt x="81686" y="109787"/>
                          <a:pt x="80963" y="109787"/>
                          <a:pt x="79518" y="109787"/>
                        </a:cubicBezTo>
                        <a:cubicBezTo>
                          <a:pt x="78072" y="109148"/>
                          <a:pt x="75180" y="109787"/>
                          <a:pt x="75180" y="109787"/>
                        </a:cubicBezTo>
                        <a:cubicBezTo>
                          <a:pt x="73734" y="109148"/>
                          <a:pt x="73734" y="109148"/>
                          <a:pt x="73734" y="109148"/>
                        </a:cubicBezTo>
                        <a:cubicBezTo>
                          <a:pt x="71566" y="109148"/>
                          <a:pt x="71566" y="109148"/>
                          <a:pt x="71566" y="109148"/>
                        </a:cubicBezTo>
                        <a:cubicBezTo>
                          <a:pt x="68674" y="109148"/>
                          <a:pt x="68674" y="109148"/>
                          <a:pt x="68674" y="109148"/>
                        </a:cubicBezTo>
                        <a:cubicBezTo>
                          <a:pt x="67951" y="110425"/>
                          <a:pt x="67951" y="110425"/>
                          <a:pt x="67951" y="110425"/>
                        </a:cubicBezTo>
                        <a:cubicBezTo>
                          <a:pt x="68674" y="111063"/>
                          <a:pt x="68674" y="111063"/>
                          <a:pt x="68674" y="111063"/>
                        </a:cubicBezTo>
                        <a:cubicBezTo>
                          <a:pt x="66506" y="112340"/>
                          <a:pt x="66506" y="112340"/>
                          <a:pt x="66506" y="112340"/>
                        </a:cubicBezTo>
                        <a:cubicBezTo>
                          <a:pt x="63614" y="111702"/>
                          <a:pt x="63614" y="111702"/>
                          <a:pt x="63614" y="111702"/>
                        </a:cubicBezTo>
                        <a:cubicBezTo>
                          <a:pt x="62168" y="112978"/>
                          <a:pt x="62168" y="112978"/>
                          <a:pt x="62168" y="112978"/>
                        </a:cubicBezTo>
                        <a:cubicBezTo>
                          <a:pt x="61445" y="111702"/>
                          <a:pt x="61445" y="111702"/>
                          <a:pt x="61445" y="111702"/>
                        </a:cubicBezTo>
                        <a:cubicBezTo>
                          <a:pt x="57108" y="114255"/>
                          <a:pt x="57108" y="114255"/>
                          <a:pt x="57108" y="114255"/>
                        </a:cubicBezTo>
                        <a:cubicBezTo>
                          <a:pt x="57831" y="115531"/>
                          <a:pt x="57831" y="115531"/>
                          <a:pt x="57831" y="115531"/>
                        </a:cubicBezTo>
                        <a:cubicBezTo>
                          <a:pt x="54216" y="116170"/>
                          <a:pt x="54216" y="116170"/>
                          <a:pt x="54216" y="116170"/>
                        </a:cubicBezTo>
                        <a:cubicBezTo>
                          <a:pt x="52048" y="115531"/>
                          <a:pt x="52048" y="115531"/>
                          <a:pt x="52048" y="115531"/>
                        </a:cubicBezTo>
                        <a:cubicBezTo>
                          <a:pt x="52048" y="115531"/>
                          <a:pt x="50602" y="114893"/>
                          <a:pt x="50602" y="114255"/>
                        </a:cubicBezTo>
                        <a:cubicBezTo>
                          <a:pt x="51325" y="113617"/>
                          <a:pt x="51325" y="112978"/>
                          <a:pt x="51325" y="112978"/>
                        </a:cubicBezTo>
                        <a:cubicBezTo>
                          <a:pt x="51325" y="112978"/>
                          <a:pt x="49879" y="112340"/>
                          <a:pt x="49879" y="112978"/>
                        </a:cubicBezTo>
                        <a:cubicBezTo>
                          <a:pt x="49879" y="114255"/>
                          <a:pt x="49156" y="115531"/>
                          <a:pt x="49156" y="115531"/>
                        </a:cubicBezTo>
                        <a:cubicBezTo>
                          <a:pt x="46987" y="116808"/>
                          <a:pt x="46987" y="116808"/>
                          <a:pt x="46987" y="116808"/>
                        </a:cubicBezTo>
                        <a:cubicBezTo>
                          <a:pt x="44096" y="117446"/>
                          <a:pt x="44096" y="117446"/>
                          <a:pt x="44096" y="117446"/>
                        </a:cubicBezTo>
                        <a:cubicBezTo>
                          <a:pt x="43373" y="116808"/>
                          <a:pt x="43373" y="116808"/>
                          <a:pt x="43373" y="116808"/>
                        </a:cubicBezTo>
                        <a:cubicBezTo>
                          <a:pt x="43373" y="118723"/>
                          <a:pt x="43373" y="118723"/>
                          <a:pt x="43373" y="118723"/>
                        </a:cubicBezTo>
                        <a:cubicBezTo>
                          <a:pt x="39759" y="118723"/>
                          <a:pt x="39759" y="118723"/>
                          <a:pt x="39759" y="118723"/>
                        </a:cubicBezTo>
                        <a:cubicBezTo>
                          <a:pt x="37590" y="118723"/>
                          <a:pt x="37590" y="118723"/>
                          <a:pt x="37590" y="118723"/>
                        </a:cubicBezTo>
                        <a:cubicBezTo>
                          <a:pt x="36144" y="120000"/>
                          <a:pt x="36144" y="120000"/>
                          <a:pt x="36144" y="120000"/>
                        </a:cubicBezTo>
                        <a:cubicBezTo>
                          <a:pt x="33975" y="119361"/>
                          <a:pt x="33975" y="119361"/>
                          <a:pt x="33975" y="119361"/>
                        </a:cubicBezTo>
                        <a:cubicBezTo>
                          <a:pt x="30361" y="120000"/>
                          <a:pt x="30361" y="120000"/>
                          <a:pt x="30361" y="120000"/>
                        </a:cubicBezTo>
                        <a:cubicBezTo>
                          <a:pt x="29638" y="118723"/>
                          <a:pt x="29638" y="118723"/>
                          <a:pt x="29638" y="118723"/>
                        </a:cubicBezTo>
                        <a:cubicBezTo>
                          <a:pt x="24578" y="118723"/>
                          <a:pt x="24578" y="118723"/>
                          <a:pt x="24578" y="118723"/>
                        </a:cubicBezTo>
                        <a:cubicBezTo>
                          <a:pt x="22409" y="119361"/>
                          <a:pt x="22409" y="119361"/>
                          <a:pt x="22409" y="119361"/>
                        </a:cubicBezTo>
                        <a:cubicBezTo>
                          <a:pt x="21686" y="118085"/>
                          <a:pt x="21686" y="118085"/>
                          <a:pt x="21686" y="118085"/>
                        </a:cubicBezTo>
                        <a:cubicBezTo>
                          <a:pt x="20963" y="118085"/>
                          <a:pt x="20963" y="118085"/>
                          <a:pt x="20963" y="118085"/>
                        </a:cubicBezTo>
                        <a:cubicBezTo>
                          <a:pt x="20963" y="118085"/>
                          <a:pt x="19518" y="118085"/>
                          <a:pt x="18795" y="118085"/>
                        </a:cubicBezTo>
                        <a:cubicBezTo>
                          <a:pt x="18072" y="118085"/>
                          <a:pt x="13734" y="116808"/>
                          <a:pt x="13734" y="116808"/>
                        </a:cubicBezTo>
                        <a:cubicBezTo>
                          <a:pt x="12289" y="118085"/>
                          <a:pt x="12289" y="118085"/>
                          <a:pt x="12289" y="118085"/>
                        </a:cubicBezTo>
                        <a:cubicBezTo>
                          <a:pt x="12289" y="118085"/>
                          <a:pt x="10120" y="118085"/>
                          <a:pt x="10120" y="117446"/>
                        </a:cubicBezTo>
                        <a:cubicBezTo>
                          <a:pt x="10120" y="117446"/>
                          <a:pt x="10120" y="116808"/>
                          <a:pt x="10843" y="116170"/>
                        </a:cubicBezTo>
                        <a:cubicBezTo>
                          <a:pt x="11566" y="116170"/>
                          <a:pt x="12289" y="116170"/>
                          <a:pt x="13734" y="115531"/>
                        </a:cubicBezTo>
                        <a:cubicBezTo>
                          <a:pt x="15180" y="115531"/>
                          <a:pt x="15903" y="115531"/>
                          <a:pt x="15903" y="115531"/>
                        </a:cubicBezTo>
                        <a:cubicBezTo>
                          <a:pt x="16626" y="114893"/>
                          <a:pt x="16626" y="114893"/>
                          <a:pt x="16626" y="114893"/>
                        </a:cubicBezTo>
                        <a:cubicBezTo>
                          <a:pt x="16626" y="114255"/>
                          <a:pt x="17349" y="113617"/>
                          <a:pt x="15903" y="114255"/>
                        </a:cubicBezTo>
                        <a:cubicBezTo>
                          <a:pt x="15180" y="114255"/>
                          <a:pt x="15180" y="114255"/>
                          <a:pt x="15180" y="114255"/>
                        </a:cubicBezTo>
                        <a:cubicBezTo>
                          <a:pt x="14457" y="114893"/>
                          <a:pt x="13734" y="114893"/>
                          <a:pt x="13012" y="114893"/>
                        </a:cubicBezTo>
                        <a:cubicBezTo>
                          <a:pt x="13012" y="114893"/>
                          <a:pt x="11566" y="114893"/>
                          <a:pt x="11566" y="114893"/>
                        </a:cubicBezTo>
                        <a:cubicBezTo>
                          <a:pt x="11566" y="114893"/>
                          <a:pt x="10843" y="114255"/>
                          <a:pt x="11566" y="114255"/>
                        </a:cubicBezTo>
                        <a:cubicBezTo>
                          <a:pt x="12289" y="113617"/>
                          <a:pt x="12289" y="113617"/>
                          <a:pt x="13012" y="113617"/>
                        </a:cubicBezTo>
                        <a:cubicBezTo>
                          <a:pt x="14457" y="113617"/>
                          <a:pt x="15180" y="112978"/>
                          <a:pt x="16626" y="112978"/>
                        </a:cubicBezTo>
                        <a:cubicBezTo>
                          <a:pt x="18072" y="112978"/>
                          <a:pt x="18795" y="112978"/>
                          <a:pt x="18795" y="112978"/>
                        </a:cubicBezTo>
                        <a:cubicBezTo>
                          <a:pt x="19518" y="112340"/>
                          <a:pt x="20240" y="112340"/>
                          <a:pt x="20240" y="111702"/>
                        </a:cubicBezTo>
                        <a:cubicBezTo>
                          <a:pt x="20240" y="111063"/>
                          <a:pt x="19518" y="110425"/>
                          <a:pt x="19518" y="110425"/>
                        </a:cubicBezTo>
                        <a:cubicBezTo>
                          <a:pt x="19518" y="110425"/>
                          <a:pt x="18795" y="110425"/>
                          <a:pt x="18072" y="111063"/>
                        </a:cubicBezTo>
                        <a:cubicBezTo>
                          <a:pt x="17349" y="111063"/>
                          <a:pt x="16626" y="111702"/>
                          <a:pt x="15903" y="111702"/>
                        </a:cubicBezTo>
                        <a:cubicBezTo>
                          <a:pt x="15903" y="111702"/>
                          <a:pt x="15903" y="111702"/>
                          <a:pt x="15180" y="111702"/>
                        </a:cubicBezTo>
                        <a:cubicBezTo>
                          <a:pt x="14457" y="111702"/>
                          <a:pt x="13012" y="111063"/>
                          <a:pt x="13012" y="111063"/>
                        </a:cubicBezTo>
                        <a:cubicBezTo>
                          <a:pt x="12289" y="111063"/>
                          <a:pt x="11566" y="111063"/>
                          <a:pt x="10843" y="111063"/>
                        </a:cubicBezTo>
                        <a:cubicBezTo>
                          <a:pt x="10120" y="111063"/>
                          <a:pt x="10843" y="111063"/>
                          <a:pt x="9397" y="111063"/>
                        </a:cubicBezTo>
                        <a:cubicBezTo>
                          <a:pt x="7951" y="111702"/>
                          <a:pt x="8674" y="111702"/>
                          <a:pt x="6506" y="111702"/>
                        </a:cubicBezTo>
                        <a:cubicBezTo>
                          <a:pt x="5060" y="111702"/>
                          <a:pt x="2891" y="111063"/>
                          <a:pt x="2891" y="111063"/>
                        </a:cubicBezTo>
                        <a:cubicBezTo>
                          <a:pt x="2891" y="111063"/>
                          <a:pt x="1445" y="111702"/>
                          <a:pt x="2168" y="111063"/>
                        </a:cubicBezTo>
                        <a:cubicBezTo>
                          <a:pt x="3614" y="110425"/>
                          <a:pt x="5060" y="110425"/>
                          <a:pt x="5783" y="109787"/>
                        </a:cubicBezTo>
                        <a:cubicBezTo>
                          <a:pt x="6506" y="109787"/>
                          <a:pt x="7228" y="109787"/>
                          <a:pt x="6506" y="109148"/>
                        </a:cubicBezTo>
                        <a:cubicBezTo>
                          <a:pt x="6506" y="109148"/>
                          <a:pt x="6506" y="109148"/>
                          <a:pt x="6506" y="109148"/>
                        </a:cubicBezTo>
                        <a:cubicBezTo>
                          <a:pt x="7228" y="109148"/>
                          <a:pt x="8674" y="108510"/>
                          <a:pt x="8674" y="108510"/>
                        </a:cubicBezTo>
                        <a:cubicBezTo>
                          <a:pt x="10120" y="107872"/>
                          <a:pt x="10120" y="107872"/>
                          <a:pt x="10120" y="107872"/>
                        </a:cubicBezTo>
                        <a:cubicBezTo>
                          <a:pt x="10120" y="107872"/>
                          <a:pt x="10120" y="107234"/>
                          <a:pt x="11566" y="107234"/>
                        </a:cubicBezTo>
                        <a:cubicBezTo>
                          <a:pt x="13012" y="107234"/>
                          <a:pt x="13012" y="107234"/>
                          <a:pt x="13012" y="106595"/>
                        </a:cubicBezTo>
                        <a:cubicBezTo>
                          <a:pt x="13734" y="106595"/>
                          <a:pt x="13012" y="106595"/>
                          <a:pt x="13734" y="106595"/>
                        </a:cubicBezTo>
                        <a:cubicBezTo>
                          <a:pt x="15180" y="106595"/>
                          <a:pt x="15180" y="105957"/>
                          <a:pt x="15903" y="105957"/>
                        </a:cubicBezTo>
                        <a:cubicBezTo>
                          <a:pt x="17349" y="105957"/>
                          <a:pt x="18072" y="105319"/>
                          <a:pt x="17349" y="105319"/>
                        </a:cubicBezTo>
                        <a:cubicBezTo>
                          <a:pt x="16626" y="105319"/>
                          <a:pt x="16626" y="105319"/>
                          <a:pt x="15180" y="105319"/>
                        </a:cubicBezTo>
                        <a:cubicBezTo>
                          <a:pt x="14457" y="105957"/>
                          <a:pt x="13734" y="105319"/>
                          <a:pt x="13734" y="105957"/>
                        </a:cubicBezTo>
                        <a:cubicBezTo>
                          <a:pt x="13012" y="105957"/>
                          <a:pt x="11566" y="105957"/>
                          <a:pt x="11566" y="105957"/>
                        </a:cubicBezTo>
                        <a:cubicBezTo>
                          <a:pt x="10843" y="105319"/>
                          <a:pt x="10843" y="105319"/>
                          <a:pt x="10120" y="105957"/>
                        </a:cubicBezTo>
                        <a:cubicBezTo>
                          <a:pt x="9397" y="105957"/>
                          <a:pt x="10120" y="106595"/>
                          <a:pt x="8674" y="106595"/>
                        </a:cubicBezTo>
                        <a:cubicBezTo>
                          <a:pt x="7951" y="106595"/>
                          <a:pt x="7228" y="105957"/>
                          <a:pt x="7228" y="105957"/>
                        </a:cubicBezTo>
                        <a:cubicBezTo>
                          <a:pt x="7228" y="105957"/>
                          <a:pt x="5060" y="105957"/>
                          <a:pt x="5060" y="105319"/>
                        </a:cubicBezTo>
                        <a:cubicBezTo>
                          <a:pt x="5060" y="105319"/>
                          <a:pt x="5060" y="104042"/>
                          <a:pt x="5060" y="104042"/>
                        </a:cubicBezTo>
                        <a:cubicBezTo>
                          <a:pt x="5060" y="103404"/>
                          <a:pt x="5783" y="103404"/>
                          <a:pt x="5783" y="103404"/>
                        </a:cubicBezTo>
                        <a:cubicBezTo>
                          <a:pt x="5060" y="102765"/>
                          <a:pt x="5060" y="102765"/>
                          <a:pt x="5060" y="102765"/>
                        </a:cubicBezTo>
                        <a:cubicBezTo>
                          <a:pt x="5060" y="102765"/>
                          <a:pt x="5060" y="102765"/>
                          <a:pt x="4337" y="102765"/>
                        </a:cubicBezTo>
                        <a:cubicBezTo>
                          <a:pt x="4337" y="102765"/>
                          <a:pt x="2891" y="103404"/>
                          <a:pt x="2891" y="103404"/>
                        </a:cubicBezTo>
                        <a:cubicBezTo>
                          <a:pt x="2891" y="103404"/>
                          <a:pt x="2891" y="103404"/>
                          <a:pt x="2168" y="103404"/>
                        </a:cubicBezTo>
                        <a:cubicBezTo>
                          <a:pt x="2168" y="103404"/>
                          <a:pt x="1445" y="103404"/>
                          <a:pt x="1445" y="103404"/>
                        </a:cubicBezTo>
                        <a:cubicBezTo>
                          <a:pt x="1445" y="103404"/>
                          <a:pt x="1445" y="102765"/>
                          <a:pt x="1445" y="102127"/>
                        </a:cubicBezTo>
                        <a:cubicBezTo>
                          <a:pt x="1445" y="102127"/>
                          <a:pt x="1445" y="101489"/>
                          <a:pt x="1445" y="101489"/>
                        </a:cubicBezTo>
                        <a:cubicBezTo>
                          <a:pt x="1445" y="101489"/>
                          <a:pt x="1445" y="101489"/>
                          <a:pt x="1445" y="101489"/>
                        </a:cubicBezTo>
                        <a:cubicBezTo>
                          <a:pt x="1445" y="100851"/>
                          <a:pt x="0" y="100851"/>
                          <a:pt x="1445" y="100212"/>
                        </a:cubicBezTo>
                        <a:cubicBezTo>
                          <a:pt x="2891" y="100212"/>
                          <a:pt x="2891" y="100212"/>
                          <a:pt x="3614" y="100212"/>
                        </a:cubicBezTo>
                        <a:cubicBezTo>
                          <a:pt x="3614" y="100212"/>
                          <a:pt x="4337" y="100212"/>
                          <a:pt x="4337" y="100212"/>
                        </a:cubicBezTo>
                        <a:cubicBezTo>
                          <a:pt x="4337" y="100212"/>
                          <a:pt x="5060" y="99574"/>
                          <a:pt x="5060" y="99574"/>
                        </a:cubicBezTo>
                        <a:cubicBezTo>
                          <a:pt x="4337" y="98936"/>
                          <a:pt x="4337" y="98936"/>
                          <a:pt x="4337" y="98936"/>
                        </a:cubicBezTo>
                        <a:cubicBezTo>
                          <a:pt x="4337" y="98297"/>
                          <a:pt x="4337" y="98297"/>
                          <a:pt x="5060" y="98297"/>
                        </a:cubicBezTo>
                        <a:cubicBezTo>
                          <a:pt x="5783" y="98297"/>
                          <a:pt x="5783" y="97659"/>
                          <a:pt x="6506" y="97659"/>
                        </a:cubicBezTo>
                        <a:cubicBezTo>
                          <a:pt x="6506" y="97659"/>
                          <a:pt x="7228" y="97659"/>
                          <a:pt x="7951" y="97659"/>
                        </a:cubicBezTo>
                        <a:cubicBezTo>
                          <a:pt x="7951" y="97659"/>
                          <a:pt x="7951" y="97021"/>
                          <a:pt x="9397" y="97021"/>
                        </a:cubicBezTo>
                        <a:cubicBezTo>
                          <a:pt x="10120" y="97021"/>
                          <a:pt x="10843" y="97021"/>
                          <a:pt x="11566" y="97021"/>
                        </a:cubicBezTo>
                        <a:cubicBezTo>
                          <a:pt x="11566" y="97021"/>
                          <a:pt x="13012" y="97021"/>
                          <a:pt x="13012" y="97021"/>
                        </a:cubicBezTo>
                        <a:cubicBezTo>
                          <a:pt x="13012" y="97021"/>
                          <a:pt x="14457" y="96382"/>
                          <a:pt x="14457" y="96382"/>
                        </a:cubicBezTo>
                        <a:cubicBezTo>
                          <a:pt x="15180" y="95744"/>
                          <a:pt x="15180" y="95744"/>
                          <a:pt x="15180" y="95744"/>
                        </a:cubicBezTo>
                        <a:cubicBezTo>
                          <a:pt x="15180" y="95744"/>
                          <a:pt x="15180" y="95744"/>
                          <a:pt x="15903" y="95744"/>
                        </a:cubicBezTo>
                        <a:cubicBezTo>
                          <a:pt x="16626" y="95744"/>
                          <a:pt x="16626" y="95744"/>
                          <a:pt x="17349" y="95744"/>
                        </a:cubicBezTo>
                        <a:cubicBezTo>
                          <a:pt x="17349" y="95744"/>
                          <a:pt x="18072" y="95744"/>
                          <a:pt x="18072" y="95744"/>
                        </a:cubicBezTo>
                        <a:cubicBezTo>
                          <a:pt x="18072" y="95106"/>
                          <a:pt x="18072" y="95106"/>
                          <a:pt x="18072" y="94468"/>
                        </a:cubicBezTo>
                        <a:cubicBezTo>
                          <a:pt x="17349" y="94468"/>
                          <a:pt x="17349" y="94468"/>
                          <a:pt x="16626" y="94468"/>
                        </a:cubicBezTo>
                        <a:cubicBezTo>
                          <a:pt x="15903" y="95106"/>
                          <a:pt x="15180" y="95106"/>
                          <a:pt x="15180" y="94468"/>
                        </a:cubicBezTo>
                        <a:cubicBezTo>
                          <a:pt x="15180" y="94468"/>
                          <a:pt x="15180" y="94468"/>
                          <a:pt x="14457" y="94468"/>
                        </a:cubicBezTo>
                        <a:cubicBezTo>
                          <a:pt x="13734" y="94468"/>
                          <a:pt x="13012" y="94468"/>
                          <a:pt x="13012" y="94468"/>
                        </a:cubicBezTo>
                        <a:cubicBezTo>
                          <a:pt x="13012" y="94468"/>
                          <a:pt x="12289" y="94468"/>
                          <a:pt x="11566" y="94468"/>
                        </a:cubicBezTo>
                        <a:cubicBezTo>
                          <a:pt x="10120" y="93829"/>
                          <a:pt x="10120" y="93829"/>
                          <a:pt x="9397" y="93829"/>
                        </a:cubicBezTo>
                        <a:cubicBezTo>
                          <a:pt x="8674" y="93829"/>
                          <a:pt x="7951" y="93829"/>
                          <a:pt x="7951" y="93829"/>
                        </a:cubicBezTo>
                        <a:cubicBezTo>
                          <a:pt x="7951" y="93829"/>
                          <a:pt x="9397" y="93829"/>
                          <a:pt x="7228" y="93191"/>
                        </a:cubicBezTo>
                        <a:cubicBezTo>
                          <a:pt x="5060" y="92553"/>
                          <a:pt x="5060" y="92553"/>
                          <a:pt x="5060" y="92553"/>
                        </a:cubicBezTo>
                        <a:cubicBezTo>
                          <a:pt x="4337" y="92553"/>
                          <a:pt x="4337" y="92553"/>
                          <a:pt x="4337" y="92553"/>
                        </a:cubicBezTo>
                        <a:cubicBezTo>
                          <a:pt x="3614" y="92553"/>
                          <a:pt x="3614" y="93191"/>
                          <a:pt x="2891" y="92553"/>
                        </a:cubicBezTo>
                        <a:cubicBezTo>
                          <a:pt x="2891" y="92553"/>
                          <a:pt x="2168" y="91914"/>
                          <a:pt x="2168" y="91914"/>
                        </a:cubicBezTo>
                        <a:cubicBezTo>
                          <a:pt x="2168" y="91276"/>
                          <a:pt x="2168" y="91276"/>
                          <a:pt x="2891" y="90638"/>
                        </a:cubicBezTo>
                        <a:cubicBezTo>
                          <a:pt x="2891" y="90638"/>
                          <a:pt x="4337" y="90000"/>
                          <a:pt x="4337" y="90000"/>
                        </a:cubicBezTo>
                        <a:cubicBezTo>
                          <a:pt x="4337" y="90638"/>
                          <a:pt x="4337" y="90638"/>
                          <a:pt x="4337" y="90638"/>
                        </a:cubicBezTo>
                        <a:cubicBezTo>
                          <a:pt x="4337" y="90638"/>
                          <a:pt x="4337" y="91276"/>
                          <a:pt x="5060" y="90638"/>
                        </a:cubicBezTo>
                        <a:cubicBezTo>
                          <a:pt x="5060" y="90638"/>
                          <a:pt x="5783" y="89361"/>
                          <a:pt x="5783" y="89361"/>
                        </a:cubicBezTo>
                        <a:cubicBezTo>
                          <a:pt x="5783" y="89361"/>
                          <a:pt x="5060" y="89361"/>
                          <a:pt x="5783" y="88723"/>
                        </a:cubicBezTo>
                        <a:cubicBezTo>
                          <a:pt x="6506" y="88723"/>
                          <a:pt x="6506" y="88723"/>
                          <a:pt x="7228" y="88723"/>
                        </a:cubicBezTo>
                        <a:cubicBezTo>
                          <a:pt x="7228" y="88723"/>
                          <a:pt x="8674" y="88723"/>
                          <a:pt x="9397" y="88723"/>
                        </a:cubicBezTo>
                        <a:cubicBezTo>
                          <a:pt x="9397" y="88085"/>
                          <a:pt x="10843" y="88085"/>
                          <a:pt x="10843" y="88085"/>
                        </a:cubicBezTo>
                        <a:cubicBezTo>
                          <a:pt x="10843" y="88085"/>
                          <a:pt x="11566" y="88723"/>
                          <a:pt x="10843" y="89361"/>
                        </a:cubicBezTo>
                        <a:cubicBezTo>
                          <a:pt x="10843" y="89361"/>
                          <a:pt x="10120" y="89361"/>
                          <a:pt x="10843" y="90000"/>
                        </a:cubicBezTo>
                        <a:cubicBezTo>
                          <a:pt x="11566" y="90000"/>
                          <a:pt x="12289" y="90000"/>
                          <a:pt x="12289" y="90000"/>
                        </a:cubicBezTo>
                        <a:cubicBezTo>
                          <a:pt x="12289" y="90000"/>
                          <a:pt x="13012" y="89361"/>
                          <a:pt x="13012" y="89361"/>
                        </a:cubicBezTo>
                        <a:cubicBezTo>
                          <a:pt x="13734" y="89361"/>
                          <a:pt x="13012" y="88723"/>
                          <a:pt x="13734" y="88723"/>
                        </a:cubicBezTo>
                        <a:cubicBezTo>
                          <a:pt x="14457" y="89361"/>
                          <a:pt x="14457" y="90000"/>
                          <a:pt x="14457" y="90000"/>
                        </a:cubicBezTo>
                        <a:cubicBezTo>
                          <a:pt x="14457" y="90000"/>
                          <a:pt x="14457" y="90000"/>
                          <a:pt x="14457" y="90638"/>
                        </a:cubicBezTo>
                        <a:cubicBezTo>
                          <a:pt x="15180" y="90638"/>
                          <a:pt x="15903" y="90638"/>
                          <a:pt x="15903" y="91276"/>
                        </a:cubicBezTo>
                        <a:cubicBezTo>
                          <a:pt x="15903" y="91276"/>
                          <a:pt x="15180" y="91276"/>
                          <a:pt x="16626" y="91914"/>
                        </a:cubicBezTo>
                        <a:cubicBezTo>
                          <a:pt x="17349" y="91914"/>
                          <a:pt x="18072" y="91914"/>
                          <a:pt x="18072" y="91914"/>
                        </a:cubicBezTo>
                        <a:cubicBezTo>
                          <a:pt x="18072" y="91914"/>
                          <a:pt x="18795" y="91914"/>
                          <a:pt x="18795" y="91276"/>
                        </a:cubicBezTo>
                        <a:cubicBezTo>
                          <a:pt x="18072" y="90638"/>
                          <a:pt x="18072" y="90000"/>
                          <a:pt x="18072" y="90000"/>
                        </a:cubicBezTo>
                        <a:cubicBezTo>
                          <a:pt x="18072" y="90000"/>
                          <a:pt x="18795" y="89361"/>
                          <a:pt x="18795" y="89361"/>
                        </a:cubicBezTo>
                        <a:cubicBezTo>
                          <a:pt x="18795" y="88723"/>
                          <a:pt x="18795" y="87446"/>
                          <a:pt x="18795" y="87446"/>
                        </a:cubicBezTo>
                        <a:cubicBezTo>
                          <a:pt x="18795" y="87446"/>
                          <a:pt x="19518" y="86808"/>
                          <a:pt x="18795" y="86808"/>
                        </a:cubicBezTo>
                        <a:cubicBezTo>
                          <a:pt x="18072" y="86808"/>
                          <a:pt x="18072" y="86170"/>
                          <a:pt x="18072" y="86170"/>
                        </a:cubicBezTo>
                        <a:cubicBezTo>
                          <a:pt x="17349" y="86170"/>
                          <a:pt x="17349" y="85531"/>
                          <a:pt x="17349" y="85531"/>
                        </a:cubicBezTo>
                        <a:cubicBezTo>
                          <a:pt x="19518" y="85531"/>
                          <a:pt x="19518" y="85531"/>
                          <a:pt x="19518" y="85531"/>
                        </a:cubicBezTo>
                        <a:cubicBezTo>
                          <a:pt x="20963" y="85531"/>
                          <a:pt x="20963" y="85531"/>
                          <a:pt x="20963" y="85531"/>
                        </a:cubicBezTo>
                        <a:cubicBezTo>
                          <a:pt x="22409" y="84893"/>
                          <a:pt x="22409" y="84893"/>
                          <a:pt x="22409" y="84893"/>
                        </a:cubicBezTo>
                        <a:cubicBezTo>
                          <a:pt x="22409" y="84893"/>
                          <a:pt x="23132" y="85531"/>
                          <a:pt x="23132" y="84893"/>
                        </a:cubicBezTo>
                        <a:cubicBezTo>
                          <a:pt x="23132" y="84893"/>
                          <a:pt x="23855" y="84255"/>
                          <a:pt x="23855" y="84255"/>
                        </a:cubicBezTo>
                        <a:cubicBezTo>
                          <a:pt x="25301" y="84255"/>
                          <a:pt x="25301" y="84255"/>
                          <a:pt x="25301" y="84255"/>
                        </a:cubicBezTo>
                        <a:cubicBezTo>
                          <a:pt x="25301" y="84255"/>
                          <a:pt x="24578" y="83617"/>
                          <a:pt x="24578" y="83617"/>
                        </a:cubicBezTo>
                        <a:cubicBezTo>
                          <a:pt x="25301" y="83617"/>
                          <a:pt x="25301" y="82340"/>
                          <a:pt x="25301" y="82340"/>
                        </a:cubicBezTo>
                        <a:cubicBezTo>
                          <a:pt x="25301" y="82340"/>
                          <a:pt x="26024" y="81702"/>
                          <a:pt x="26746" y="82340"/>
                        </a:cubicBezTo>
                        <a:cubicBezTo>
                          <a:pt x="26746" y="82340"/>
                          <a:pt x="28192" y="82340"/>
                          <a:pt x="28915" y="82978"/>
                        </a:cubicBezTo>
                        <a:cubicBezTo>
                          <a:pt x="28915" y="82978"/>
                          <a:pt x="29638" y="82978"/>
                          <a:pt x="29638" y="82978"/>
                        </a:cubicBezTo>
                        <a:cubicBezTo>
                          <a:pt x="31084" y="82978"/>
                          <a:pt x="31084" y="82978"/>
                          <a:pt x="31084" y="82978"/>
                        </a:cubicBezTo>
                        <a:cubicBezTo>
                          <a:pt x="31084" y="82978"/>
                          <a:pt x="32530" y="83617"/>
                          <a:pt x="32530" y="83617"/>
                        </a:cubicBezTo>
                        <a:cubicBezTo>
                          <a:pt x="32530" y="83617"/>
                          <a:pt x="33975" y="84255"/>
                          <a:pt x="34698" y="84255"/>
                        </a:cubicBezTo>
                        <a:cubicBezTo>
                          <a:pt x="34698" y="84255"/>
                          <a:pt x="35421" y="83617"/>
                          <a:pt x="35421" y="83617"/>
                        </a:cubicBezTo>
                        <a:cubicBezTo>
                          <a:pt x="35421" y="83617"/>
                          <a:pt x="35421" y="82978"/>
                          <a:pt x="36144" y="83617"/>
                        </a:cubicBezTo>
                        <a:cubicBezTo>
                          <a:pt x="36867" y="83617"/>
                          <a:pt x="37590" y="83617"/>
                          <a:pt x="38313" y="83617"/>
                        </a:cubicBezTo>
                        <a:cubicBezTo>
                          <a:pt x="38313" y="82978"/>
                          <a:pt x="38313" y="82978"/>
                          <a:pt x="39036" y="82978"/>
                        </a:cubicBezTo>
                        <a:cubicBezTo>
                          <a:pt x="39759" y="83617"/>
                          <a:pt x="40481" y="83617"/>
                          <a:pt x="40481" y="83617"/>
                        </a:cubicBezTo>
                        <a:cubicBezTo>
                          <a:pt x="41204" y="83617"/>
                          <a:pt x="42650" y="82978"/>
                          <a:pt x="42650" y="82978"/>
                        </a:cubicBezTo>
                        <a:cubicBezTo>
                          <a:pt x="42650" y="82978"/>
                          <a:pt x="41927" y="82340"/>
                          <a:pt x="42650" y="82978"/>
                        </a:cubicBezTo>
                        <a:cubicBezTo>
                          <a:pt x="43373" y="82978"/>
                          <a:pt x="44096" y="82340"/>
                          <a:pt x="44096" y="82340"/>
                        </a:cubicBezTo>
                        <a:cubicBezTo>
                          <a:pt x="42650" y="81702"/>
                          <a:pt x="42650" y="81702"/>
                          <a:pt x="42650" y="81702"/>
                        </a:cubicBezTo>
                        <a:cubicBezTo>
                          <a:pt x="42650" y="81702"/>
                          <a:pt x="43373" y="80425"/>
                          <a:pt x="43373" y="80425"/>
                        </a:cubicBezTo>
                        <a:cubicBezTo>
                          <a:pt x="43373" y="80425"/>
                          <a:pt x="42650" y="79787"/>
                          <a:pt x="42650" y="79787"/>
                        </a:cubicBezTo>
                        <a:cubicBezTo>
                          <a:pt x="42650" y="79787"/>
                          <a:pt x="41927" y="79787"/>
                          <a:pt x="41927" y="80425"/>
                        </a:cubicBezTo>
                        <a:cubicBezTo>
                          <a:pt x="41927" y="81063"/>
                          <a:pt x="41204" y="81702"/>
                          <a:pt x="40481" y="81702"/>
                        </a:cubicBezTo>
                        <a:cubicBezTo>
                          <a:pt x="40481" y="81702"/>
                          <a:pt x="39759" y="82340"/>
                          <a:pt x="39036" y="82340"/>
                        </a:cubicBezTo>
                        <a:cubicBezTo>
                          <a:pt x="39036" y="82340"/>
                          <a:pt x="38313" y="82978"/>
                          <a:pt x="38313" y="82978"/>
                        </a:cubicBezTo>
                        <a:cubicBezTo>
                          <a:pt x="38313" y="82978"/>
                          <a:pt x="38313" y="83617"/>
                          <a:pt x="36867" y="82978"/>
                        </a:cubicBezTo>
                        <a:cubicBezTo>
                          <a:pt x="36144" y="82340"/>
                          <a:pt x="35421" y="82340"/>
                          <a:pt x="35421" y="82340"/>
                        </a:cubicBezTo>
                        <a:cubicBezTo>
                          <a:pt x="35421" y="82340"/>
                          <a:pt x="35421" y="81702"/>
                          <a:pt x="34698" y="82340"/>
                        </a:cubicBezTo>
                        <a:cubicBezTo>
                          <a:pt x="33253" y="82340"/>
                          <a:pt x="33975" y="82978"/>
                          <a:pt x="33253" y="82340"/>
                        </a:cubicBezTo>
                        <a:cubicBezTo>
                          <a:pt x="32530" y="82340"/>
                          <a:pt x="30361" y="82340"/>
                          <a:pt x="30361" y="81702"/>
                        </a:cubicBezTo>
                        <a:cubicBezTo>
                          <a:pt x="30361" y="81702"/>
                          <a:pt x="29638" y="81063"/>
                          <a:pt x="29638" y="81063"/>
                        </a:cubicBezTo>
                        <a:cubicBezTo>
                          <a:pt x="29638" y="81063"/>
                          <a:pt x="29638" y="79787"/>
                          <a:pt x="29638" y="79787"/>
                        </a:cubicBezTo>
                        <a:cubicBezTo>
                          <a:pt x="28915" y="80425"/>
                          <a:pt x="28192" y="81063"/>
                          <a:pt x="27469" y="81063"/>
                        </a:cubicBezTo>
                        <a:cubicBezTo>
                          <a:pt x="27469" y="81063"/>
                          <a:pt x="26024" y="81063"/>
                          <a:pt x="25301" y="81063"/>
                        </a:cubicBezTo>
                        <a:cubicBezTo>
                          <a:pt x="25301" y="81063"/>
                          <a:pt x="25301" y="81063"/>
                          <a:pt x="24578" y="81063"/>
                        </a:cubicBezTo>
                        <a:cubicBezTo>
                          <a:pt x="23855" y="81063"/>
                          <a:pt x="23132" y="81702"/>
                          <a:pt x="22409" y="81702"/>
                        </a:cubicBezTo>
                        <a:cubicBezTo>
                          <a:pt x="21686" y="81702"/>
                          <a:pt x="21686" y="81063"/>
                          <a:pt x="20963" y="81063"/>
                        </a:cubicBezTo>
                        <a:cubicBezTo>
                          <a:pt x="20240" y="81063"/>
                          <a:pt x="20240" y="81063"/>
                          <a:pt x="20240" y="81063"/>
                        </a:cubicBezTo>
                        <a:cubicBezTo>
                          <a:pt x="20240" y="81063"/>
                          <a:pt x="20240" y="81063"/>
                          <a:pt x="20240" y="81063"/>
                        </a:cubicBezTo>
                        <a:cubicBezTo>
                          <a:pt x="20240" y="81063"/>
                          <a:pt x="20240" y="79787"/>
                          <a:pt x="21686" y="79787"/>
                        </a:cubicBezTo>
                        <a:cubicBezTo>
                          <a:pt x="22409" y="79148"/>
                          <a:pt x="21686" y="79148"/>
                          <a:pt x="23132" y="79148"/>
                        </a:cubicBezTo>
                        <a:cubicBezTo>
                          <a:pt x="24578" y="79148"/>
                          <a:pt x="25301" y="79148"/>
                          <a:pt x="26024" y="78510"/>
                        </a:cubicBezTo>
                        <a:cubicBezTo>
                          <a:pt x="26746" y="77872"/>
                          <a:pt x="26746" y="77234"/>
                          <a:pt x="27469" y="77234"/>
                        </a:cubicBezTo>
                        <a:cubicBezTo>
                          <a:pt x="28192" y="76595"/>
                          <a:pt x="28192" y="75957"/>
                          <a:pt x="28915" y="76595"/>
                        </a:cubicBezTo>
                        <a:cubicBezTo>
                          <a:pt x="30361" y="76595"/>
                          <a:pt x="31807" y="76595"/>
                          <a:pt x="31807" y="76595"/>
                        </a:cubicBezTo>
                        <a:cubicBezTo>
                          <a:pt x="31807" y="76595"/>
                          <a:pt x="31807" y="75957"/>
                          <a:pt x="31807" y="75319"/>
                        </a:cubicBezTo>
                        <a:cubicBezTo>
                          <a:pt x="31807" y="75319"/>
                          <a:pt x="31807" y="75319"/>
                          <a:pt x="31807" y="74680"/>
                        </a:cubicBezTo>
                        <a:cubicBezTo>
                          <a:pt x="32530" y="74680"/>
                          <a:pt x="32530" y="74042"/>
                          <a:pt x="32530" y="74042"/>
                        </a:cubicBezTo>
                        <a:cubicBezTo>
                          <a:pt x="33253" y="74042"/>
                          <a:pt x="33253" y="73404"/>
                          <a:pt x="33975" y="73404"/>
                        </a:cubicBezTo>
                        <a:cubicBezTo>
                          <a:pt x="33975" y="72765"/>
                          <a:pt x="34698" y="72765"/>
                          <a:pt x="34698" y="72127"/>
                        </a:cubicBezTo>
                        <a:cubicBezTo>
                          <a:pt x="35421" y="72127"/>
                          <a:pt x="35421" y="71489"/>
                          <a:pt x="35421" y="71489"/>
                        </a:cubicBezTo>
                        <a:cubicBezTo>
                          <a:pt x="35421" y="71489"/>
                          <a:pt x="33253" y="70851"/>
                          <a:pt x="33253" y="70851"/>
                        </a:cubicBezTo>
                        <a:cubicBezTo>
                          <a:pt x="33975" y="70212"/>
                          <a:pt x="33975" y="70212"/>
                          <a:pt x="33975" y="70212"/>
                        </a:cubicBezTo>
                        <a:cubicBezTo>
                          <a:pt x="36867" y="68297"/>
                          <a:pt x="36867" y="68297"/>
                          <a:pt x="36867" y="68297"/>
                        </a:cubicBezTo>
                        <a:cubicBezTo>
                          <a:pt x="36867" y="68297"/>
                          <a:pt x="37590" y="67021"/>
                          <a:pt x="37590" y="67021"/>
                        </a:cubicBezTo>
                        <a:cubicBezTo>
                          <a:pt x="38313" y="67021"/>
                          <a:pt x="39036" y="66382"/>
                          <a:pt x="39036" y="66382"/>
                        </a:cubicBezTo>
                        <a:cubicBezTo>
                          <a:pt x="39759" y="65106"/>
                          <a:pt x="39759" y="65106"/>
                          <a:pt x="39759" y="65106"/>
                        </a:cubicBezTo>
                        <a:cubicBezTo>
                          <a:pt x="39759" y="65106"/>
                          <a:pt x="39759" y="64468"/>
                          <a:pt x="40481" y="65106"/>
                        </a:cubicBezTo>
                        <a:cubicBezTo>
                          <a:pt x="41204" y="65106"/>
                          <a:pt x="41204" y="65744"/>
                          <a:pt x="41927" y="65744"/>
                        </a:cubicBezTo>
                        <a:cubicBezTo>
                          <a:pt x="42650" y="66382"/>
                          <a:pt x="44819" y="66382"/>
                          <a:pt x="44819" y="66382"/>
                        </a:cubicBezTo>
                        <a:cubicBezTo>
                          <a:pt x="44096" y="65106"/>
                          <a:pt x="44096" y="65106"/>
                          <a:pt x="44096" y="65106"/>
                        </a:cubicBezTo>
                        <a:cubicBezTo>
                          <a:pt x="46987" y="65106"/>
                          <a:pt x="46987" y="65106"/>
                          <a:pt x="46987" y="65106"/>
                        </a:cubicBezTo>
                        <a:cubicBezTo>
                          <a:pt x="46987" y="66382"/>
                          <a:pt x="46987" y="66382"/>
                          <a:pt x="46987" y="66382"/>
                        </a:cubicBezTo>
                        <a:cubicBezTo>
                          <a:pt x="48433" y="65744"/>
                          <a:pt x="48433" y="65744"/>
                          <a:pt x="48433" y="65744"/>
                        </a:cubicBezTo>
                        <a:cubicBezTo>
                          <a:pt x="47710" y="64468"/>
                          <a:pt x="47710" y="64468"/>
                          <a:pt x="47710" y="64468"/>
                        </a:cubicBezTo>
                        <a:cubicBezTo>
                          <a:pt x="47710" y="64468"/>
                          <a:pt x="49156" y="64468"/>
                          <a:pt x="49156" y="64468"/>
                        </a:cubicBezTo>
                        <a:cubicBezTo>
                          <a:pt x="48433" y="64468"/>
                          <a:pt x="46987" y="63191"/>
                          <a:pt x="46987" y="63191"/>
                        </a:cubicBezTo>
                        <a:cubicBezTo>
                          <a:pt x="47710" y="61914"/>
                          <a:pt x="47710" y="61914"/>
                          <a:pt x="47710" y="61914"/>
                        </a:cubicBezTo>
                        <a:cubicBezTo>
                          <a:pt x="46265" y="61914"/>
                          <a:pt x="46265" y="61914"/>
                          <a:pt x="46265" y="61914"/>
                        </a:cubicBezTo>
                        <a:cubicBezTo>
                          <a:pt x="46265" y="61914"/>
                          <a:pt x="43373" y="61914"/>
                          <a:pt x="42650" y="61914"/>
                        </a:cubicBezTo>
                        <a:cubicBezTo>
                          <a:pt x="41927" y="61276"/>
                          <a:pt x="41927" y="61276"/>
                          <a:pt x="41204" y="61276"/>
                        </a:cubicBezTo>
                        <a:cubicBezTo>
                          <a:pt x="40481" y="61276"/>
                          <a:pt x="39759" y="61276"/>
                          <a:pt x="39036" y="61276"/>
                        </a:cubicBezTo>
                        <a:cubicBezTo>
                          <a:pt x="38313" y="61276"/>
                          <a:pt x="37590" y="61276"/>
                          <a:pt x="36867" y="61276"/>
                        </a:cubicBezTo>
                        <a:cubicBezTo>
                          <a:pt x="36867" y="61276"/>
                          <a:pt x="36144" y="61276"/>
                          <a:pt x="35421" y="61276"/>
                        </a:cubicBezTo>
                        <a:cubicBezTo>
                          <a:pt x="35421" y="60638"/>
                          <a:pt x="36144" y="60000"/>
                          <a:pt x="35421" y="60000"/>
                        </a:cubicBezTo>
                        <a:cubicBezTo>
                          <a:pt x="34698" y="60000"/>
                          <a:pt x="33975" y="58723"/>
                          <a:pt x="33253" y="59361"/>
                        </a:cubicBezTo>
                        <a:cubicBezTo>
                          <a:pt x="33253" y="59361"/>
                          <a:pt x="33253" y="59361"/>
                          <a:pt x="32530" y="59361"/>
                        </a:cubicBezTo>
                        <a:cubicBezTo>
                          <a:pt x="32530" y="60000"/>
                          <a:pt x="31807" y="60000"/>
                          <a:pt x="31807" y="60000"/>
                        </a:cubicBezTo>
                        <a:cubicBezTo>
                          <a:pt x="31084" y="59361"/>
                          <a:pt x="31084" y="60000"/>
                          <a:pt x="31807" y="59361"/>
                        </a:cubicBezTo>
                        <a:cubicBezTo>
                          <a:pt x="31807" y="58723"/>
                          <a:pt x="31084" y="57446"/>
                          <a:pt x="31807" y="57446"/>
                        </a:cubicBezTo>
                        <a:cubicBezTo>
                          <a:pt x="32530" y="58085"/>
                          <a:pt x="32530" y="58085"/>
                          <a:pt x="33253" y="58085"/>
                        </a:cubicBezTo>
                        <a:cubicBezTo>
                          <a:pt x="33253" y="58085"/>
                          <a:pt x="33975" y="58085"/>
                          <a:pt x="33975" y="58085"/>
                        </a:cubicBezTo>
                        <a:cubicBezTo>
                          <a:pt x="33975" y="57446"/>
                          <a:pt x="34698" y="56170"/>
                          <a:pt x="34698" y="56170"/>
                        </a:cubicBezTo>
                        <a:cubicBezTo>
                          <a:pt x="34698" y="56170"/>
                          <a:pt x="36867" y="56808"/>
                          <a:pt x="36144" y="56170"/>
                        </a:cubicBezTo>
                        <a:cubicBezTo>
                          <a:pt x="35421" y="55531"/>
                          <a:pt x="33975" y="54893"/>
                          <a:pt x="33975" y="54893"/>
                        </a:cubicBezTo>
                        <a:cubicBezTo>
                          <a:pt x="33975" y="54893"/>
                          <a:pt x="33253" y="54893"/>
                          <a:pt x="33253" y="55531"/>
                        </a:cubicBezTo>
                        <a:cubicBezTo>
                          <a:pt x="32530" y="56170"/>
                          <a:pt x="33253" y="56170"/>
                          <a:pt x="32530" y="56808"/>
                        </a:cubicBezTo>
                        <a:cubicBezTo>
                          <a:pt x="31807" y="56808"/>
                          <a:pt x="31807" y="56808"/>
                          <a:pt x="31084" y="56808"/>
                        </a:cubicBezTo>
                        <a:cubicBezTo>
                          <a:pt x="31084" y="56808"/>
                          <a:pt x="31084" y="56808"/>
                          <a:pt x="30361" y="56808"/>
                        </a:cubicBezTo>
                        <a:cubicBezTo>
                          <a:pt x="30361" y="56808"/>
                          <a:pt x="28915" y="56808"/>
                          <a:pt x="28915" y="56170"/>
                        </a:cubicBezTo>
                        <a:cubicBezTo>
                          <a:pt x="28915" y="56170"/>
                          <a:pt x="28915" y="56170"/>
                          <a:pt x="28915" y="55531"/>
                        </a:cubicBezTo>
                        <a:cubicBezTo>
                          <a:pt x="28915" y="54893"/>
                          <a:pt x="28915" y="54255"/>
                          <a:pt x="30361" y="54255"/>
                        </a:cubicBezTo>
                        <a:cubicBezTo>
                          <a:pt x="31084" y="54255"/>
                          <a:pt x="31084" y="54893"/>
                          <a:pt x="31084" y="54255"/>
                        </a:cubicBezTo>
                        <a:cubicBezTo>
                          <a:pt x="31084" y="54255"/>
                          <a:pt x="31084" y="53617"/>
                          <a:pt x="30361" y="53617"/>
                        </a:cubicBezTo>
                        <a:cubicBezTo>
                          <a:pt x="30361" y="52978"/>
                          <a:pt x="30361" y="52978"/>
                          <a:pt x="29638" y="52978"/>
                        </a:cubicBezTo>
                        <a:cubicBezTo>
                          <a:pt x="28915" y="52978"/>
                          <a:pt x="27469" y="53617"/>
                          <a:pt x="27469" y="53617"/>
                        </a:cubicBezTo>
                        <a:cubicBezTo>
                          <a:pt x="27469" y="53617"/>
                          <a:pt x="28192" y="53617"/>
                          <a:pt x="26746" y="53617"/>
                        </a:cubicBezTo>
                        <a:cubicBezTo>
                          <a:pt x="26024" y="52978"/>
                          <a:pt x="26746" y="52978"/>
                          <a:pt x="26024" y="52340"/>
                        </a:cubicBezTo>
                        <a:cubicBezTo>
                          <a:pt x="26024" y="51702"/>
                          <a:pt x="26024" y="51702"/>
                          <a:pt x="25301" y="51702"/>
                        </a:cubicBezTo>
                        <a:cubicBezTo>
                          <a:pt x="25301" y="51702"/>
                          <a:pt x="25301" y="51702"/>
                          <a:pt x="24578" y="51702"/>
                        </a:cubicBezTo>
                        <a:cubicBezTo>
                          <a:pt x="23855" y="51063"/>
                          <a:pt x="23132" y="51063"/>
                          <a:pt x="23132" y="50425"/>
                        </a:cubicBezTo>
                        <a:cubicBezTo>
                          <a:pt x="23132" y="49787"/>
                          <a:pt x="23132" y="49148"/>
                          <a:pt x="23855" y="49787"/>
                        </a:cubicBezTo>
                        <a:cubicBezTo>
                          <a:pt x="24578" y="49787"/>
                          <a:pt x="23855" y="49148"/>
                          <a:pt x="24578" y="49787"/>
                        </a:cubicBezTo>
                        <a:cubicBezTo>
                          <a:pt x="26024" y="50425"/>
                          <a:pt x="26024" y="50425"/>
                          <a:pt x="26024" y="50425"/>
                        </a:cubicBezTo>
                        <a:cubicBezTo>
                          <a:pt x="26024" y="50425"/>
                          <a:pt x="26746" y="50425"/>
                          <a:pt x="26024" y="49787"/>
                        </a:cubicBezTo>
                        <a:cubicBezTo>
                          <a:pt x="26024" y="49148"/>
                          <a:pt x="25301" y="48510"/>
                          <a:pt x="25301" y="48510"/>
                        </a:cubicBezTo>
                        <a:cubicBezTo>
                          <a:pt x="25301" y="48510"/>
                          <a:pt x="24578" y="48510"/>
                          <a:pt x="24578" y="47872"/>
                        </a:cubicBezTo>
                        <a:cubicBezTo>
                          <a:pt x="24578" y="47234"/>
                          <a:pt x="24578" y="47234"/>
                          <a:pt x="23855" y="46595"/>
                        </a:cubicBezTo>
                        <a:cubicBezTo>
                          <a:pt x="23855" y="46595"/>
                          <a:pt x="24578" y="46595"/>
                          <a:pt x="24578" y="46595"/>
                        </a:cubicBezTo>
                        <a:cubicBezTo>
                          <a:pt x="25301" y="46595"/>
                          <a:pt x="24578" y="46595"/>
                          <a:pt x="25301" y="46595"/>
                        </a:cubicBezTo>
                        <a:cubicBezTo>
                          <a:pt x="26746" y="46595"/>
                          <a:pt x="26024" y="46595"/>
                          <a:pt x="26746" y="46595"/>
                        </a:cubicBezTo>
                        <a:cubicBezTo>
                          <a:pt x="26746" y="46595"/>
                          <a:pt x="27469" y="46595"/>
                          <a:pt x="27469" y="46595"/>
                        </a:cubicBezTo>
                        <a:cubicBezTo>
                          <a:pt x="27469" y="47234"/>
                          <a:pt x="28192" y="45957"/>
                          <a:pt x="28192" y="45957"/>
                        </a:cubicBezTo>
                        <a:cubicBezTo>
                          <a:pt x="28192" y="45957"/>
                          <a:pt x="27469" y="45319"/>
                          <a:pt x="28192" y="45319"/>
                        </a:cubicBezTo>
                        <a:cubicBezTo>
                          <a:pt x="28915" y="45319"/>
                          <a:pt x="28915" y="45957"/>
                          <a:pt x="29638" y="45957"/>
                        </a:cubicBezTo>
                        <a:cubicBezTo>
                          <a:pt x="31084" y="45957"/>
                          <a:pt x="31084" y="46595"/>
                          <a:pt x="31807" y="46595"/>
                        </a:cubicBezTo>
                        <a:cubicBezTo>
                          <a:pt x="31807" y="45957"/>
                          <a:pt x="32530" y="46595"/>
                          <a:pt x="32530" y="45957"/>
                        </a:cubicBezTo>
                        <a:cubicBezTo>
                          <a:pt x="31807" y="45319"/>
                          <a:pt x="31807" y="45957"/>
                          <a:pt x="31807" y="45319"/>
                        </a:cubicBezTo>
                        <a:cubicBezTo>
                          <a:pt x="31084" y="44680"/>
                          <a:pt x="31084" y="45319"/>
                          <a:pt x="31084" y="44042"/>
                        </a:cubicBezTo>
                        <a:cubicBezTo>
                          <a:pt x="31807" y="43404"/>
                          <a:pt x="31807" y="42765"/>
                          <a:pt x="31807" y="42765"/>
                        </a:cubicBezTo>
                        <a:cubicBezTo>
                          <a:pt x="31807" y="42127"/>
                          <a:pt x="31807" y="42127"/>
                          <a:pt x="31807" y="42127"/>
                        </a:cubicBezTo>
                        <a:cubicBezTo>
                          <a:pt x="33253" y="40851"/>
                          <a:pt x="33253" y="40851"/>
                          <a:pt x="33253" y="40851"/>
                        </a:cubicBezTo>
                        <a:cubicBezTo>
                          <a:pt x="33253" y="40851"/>
                          <a:pt x="33975" y="40851"/>
                          <a:pt x="34698" y="40851"/>
                        </a:cubicBezTo>
                        <a:cubicBezTo>
                          <a:pt x="36144" y="40851"/>
                          <a:pt x="36867" y="41489"/>
                          <a:pt x="37590" y="41489"/>
                        </a:cubicBezTo>
                        <a:cubicBezTo>
                          <a:pt x="39036" y="41489"/>
                          <a:pt x="39759" y="41489"/>
                          <a:pt x="39759" y="41489"/>
                        </a:cubicBezTo>
                        <a:cubicBezTo>
                          <a:pt x="39036" y="40851"/>
                          <a:pt x="39036" y="40851"/>
                          <a:pt x="39036" y="40851"/>
                        </a:cubicBezTo>
                        <a:cubicBezTo>
                          <a:pt x="39036" y="40851"/>
                          <a:pt x="39036" y="40851"/>
                          <a:pt x="39036" y="40212"/>
                        </a:cubicBezTo>
                        <a:cubicBezTo>
                          <a:pt x="39759" y="40212"/>
                          <a:pt x="39759" y="40212"/>
                          <a:pt x="40481" y="40212"/>
                        </a:cubicBezTo>
                        <a:cubicBezTo>
                          <a:pt x="40481" y="40212"/>
                          <a:pt x="41204" y="38936"/>
                          <a:pt x="41204" y="38936"/>
                        </a:cubicBezTo>
                        <a:cubicBezTo>
                          <a:pt x="40481" y="38297"/>
                          <a:pt x="40481" y="38297"/>
                          <a:pt x="39759" y="37659"/>
                        </a:cubicBezTo>
                        <a:cubicBezTo>
                          <a:pt x="38313" y="37659"/>
                          <a:pt x="36144" y="37659"/>
                          <a:pt x="36144" y="37659"/>
                        </a:cubicBezTo>
                        <a:cubicBezTo>
                          <a:pt x="36144" y="37659"/>
                          <a:pt x="35421" y="37659"/>
                          <a:pt x="34698" y="37659"/>
                        </a:cubicBezTo>
                        <a:cubicBezTo>
                          <a:pt x="33975" y="37659"/>
                          <a:pt x="32530" y="37659"/>
                          <a:pt x="32530" y="37021"/>
                        </a:cubicBezTo>
                        <a:cubicBezTo>
                          <a:pt x="31807" y="37021"/>
                          <a:pt x="31807" y="37021"/>
                          <a:pt x="31807" y="35744"/>
                        </a:cubicBezTo>
                        <a:cubicBezTo>
                          <a:pt x="31807" y="35106"/>
                          <a:pt x="31084" y="35106"/>
                          <a:pt x="31084" y="35106"/>
                        </a:cubicBezTo>
                        <a:cubicBezTo>
                          <a:pt x="31807" y="33829"/>
                          <a:pt x="31807" y="33829"/>
                          <a:pt x="31807" y="33829"/>
                        </a:cubicBezTo>
                        <a:cubicBezTo>
                          <a:pt x="31807" y="33829"/>
                          <a:pt x="31084" y="33191"/>
                          <a:pt x="31084" y="33191"/>
                        </a:cubicBezTo>
                        <a:cubicBezTo>
                          <a:pt x="30361" y="33191"/>
                          <a:pt x="30361" y="33191"/>
                          <a:pt x="30361" y="33191"/>
                        </a:cubicBezTo>
                        <a:cubicBezTo>
                          <a:pt x="29638" y="33191"/>
                          <a:pt x="30361" y="33191"/>
                          <a:pt x="28915" y="32553"/>
                        </a:cubicBezTo>
                        <a:cubicBezTo>
                          <a:pt x="27469" y="32553"/>
                          <a:pt x="26746" y="31914"/>
                          <a:pt x="26746" y="31914"/>
                        </a:cubicBezTo>
                        <a:cubicBezTo>
                          <a:pt x="26746" y="31276"/>
                          <a:pt x="26746" y="31276"/>
                          <a:pt x="28192" y="31276"/>
                        </a:cubicBezTo>
                        <a:cubicBezTo>
                          <a:pt x="28915" y="31276"/>
                          <a:pt x="29638" y="31276"/>
                          <a:pt x="30361" y="31276"/>
                        </a:cubicBezTo>
                        <a:cubicBezTo>
                          <a:pt x="31084" y="31914"/>
                          <a:pt x="32530" y="31276"/>
                          <a:pt x="32530" y="31276"/>
                        </a:cubicBezTo>
                        <a:cubicBezTo>
                          <a:pt x="32530" y="31276"/>
                          <a:pt x="31807" y="31276"/>
                          <a:pt x="33253" y="31914"/>
                        </a:cubicBezTo>
                        <a:cubicBezTo>
                          <a:pt x="34698" y="32553"/>
                          <a:pt x="33975" y="32553"/>
                          <a:pt x="34698" y="32553"/>
                        </a:cubicBezTo>
                        <a:cubicBezTo>
                          <a:pt x="35421" y="32553"/>
                          <a:pt x="36144" y="31914"/>
                          <a:pt x="35421" y="31914"/>
                        </a:cubicBezTo>
                        <a:cubicBezTo>
                          <a:pt x="35421" y="31276"/>
                          <a:pt x="36144" y="31276"/>
                          <a:pt x="35421" y="31276"/>
                        </a:cubicBezTo>
                        <a:cubicBezTo>
                          <a:pt x="34698" y="30638"/>
                          <a:pt x="34698" y="30638"/>
                          <a:pt x="34698" y="30638"/>
                        </a:cubicBezTo>
                        <a:cubicBezTo>
                          <a:pt x="34698" y="30638"/>
                          <a:pt x="34698" y="30638"/>
                          <a:pt x="34698" y="30000"/>
                        </a:cubicBezTo>
                        <a:cubicBezTo>
                          <a:pt x="34698" y="29361"/>
                          <a:pt x="35421" y="28723"/>
                          <a:pt x="35421" y="28723"/>
                        </a:cubicBezTo>
                        <a:cubicBezTo>
                          <a:pt x="36144" y="28723"/>
                          <a:pt x="36144" y="28723"/>
                          <a:pt x="36144" y="28085"/>
                        </a:cubicBezTo>
                        <a:cubicBezTo>
                          <a:pt x="36144" y="28085"/>
                          <a:pt x="36144" y="27446"/>
                          <a:pt x="36144" y="27446"/>
                        </a:cubicBezTo>
                        <a:cubicBezTo>
                          <a:pt x="36144" y="26808"/>
                          <a:pt x="36867" y="26170"/>
                          <a:pt x="36867" y="26170"/>
                        </a:cubicBezTo>
                        <a:cubicBezTo>
                          <a:pt x="36867" y="26170"/>
                          <a:pt x="36144" y="25531"/>
                          <a:pt x="36144" y="25531"/>
                        </a:cubicBezTo>
                        <a:cubicBezTo>
                          <a:pt x="36144" y="25531"/>
                          <a:pt x="34698" y="25531"/>
                          <a:pt x="34698" y="26170"/>
                        </a:cubicBezTo>
                        <a:cubicBezTo>
                          <a:pt x="34698" y="26170"/>
                          <a:pt x="34698" y="26170"/>
                          <a:pt x="34698" y="26808"/>
                        </a:cubicBezTo>
                        <a:cubicBezTo>
                          <a:pt x="33975" y="26808"/>
                          <a:pt x="33975" y="26808"/>
                          <a:pt x="33253" y="26808"/>
                        </a:cubicBezTo>
                        <a:cubicBezTo>
                          <a:pt x="33253" y="27446"/>
                          <a:pt x="33253" y="27446"/>
                          <a:pt x="33253" y="27446"/>
                        </a:cubicBezTo>
                        <a:cubicBezTo>
                          <a:pt x="33253" y="28085"/>
                          <a:pt x="32530" y="28723"/>
                          <a:pt x="32530" y="28723"/>
                        </a:cubicBezTo>
                        <a:cubicBezTo>
                          <a:pt x="32530" y="28723"/>
                          <a:pt x="31807" y="27446"/>
                          <a:pt x="31807" y="26808"/>
                        </a:cubicBezTo>
                        <a:cubicBezTo>
                          <a:pt x="31807" y="26808"/>
                          <a:pt x="32530" y="26170"/>
                          <a:pt x="33253" y="26170"/>
                        </a:cubicBezTo>
                        <a:cubicBezTo>
                          <a:pt x="33975" y="26170"/>
                          <a:pt x="33975" y="26170"/>
                          <a:pt x="33975" y="25531"/>
                        </a:cubicBezTo>
                        <a:cubicBezTo>
                          <a:pt x="33975" y="25531"/>
                          <a:pt x="33975" y="25531"/>
                          <a:pt x="33975" y="24893"/>
                        </a:cubicBezTo>
                        <a:cubicBezTo>
                          <a:pt x="33975" y="24255"/>
                          <a:pt x="33975" y="24255"/>
                          <a:pt x="33975" y="24255"/>
                        </a:cubicBezTo>
                        <a:cubicBezTo>
                          <a:pt x="34698" y="23617"/>
                          <a:pt x="35421" y="22978"/>
                          <a:pt x="36144" y="22978"/>
                        </a:cubicBezTo>
                        <a:cubicBezTo>
                          <a:pt x="36144" y="22978"/>
                          <a:pt x="35421" y="21702"/>
                          <a:pt x="36867" y="22978"/>
                        </a:cubicBezTo>
                        <a:cubicBezTo>
                          <a:pt x="37590" y="23617"/>
                          <a:pt x="37590" y="23617"/>
                          <a:pt x="38313" y="24255"/>
                        </a:cubicBezTo>
                        <a:cubicBezTo>
                          <a:pt x="39036" y="24255"/>
                          <a:pt x="40481" y="24893"/>
                          <a:pt x="40481" y="24255"/>
                        </a:cubicBezTo>
                        <a:cubicBezTo>
                          <a:pt x="40481" y="24255"/>
                          <a:pt x="40481" y="23617"/>
                          <a:pt x="40481" y="22978"/>
                        </a:cubicBezTo>
                        <a:cubicBezTo>
                          <a:pt x="40481" y="22978"/>
                          <a:pt x="39759" y="22978"/>
                          <a:pt x="40481" y="22340"/>
                        </a:cubicBezTo>
                        <a:cubicBezTo>
                          <a:pt x="40481" y="22340"/>
                          <a:pt x="40481" y="22340"/>
                          <a:pt x="41204" y="22340"/>
                        </a:cubicBezTo>
                        <a:cubicBezTo>
                          <a:pt x="42650" y="22978"/>
                          <a:pt x="41927" y="22978"/>
                          <a:pt x="42650" y="23617"/>
                        </a:cubicBezTo>
                        <a:cubicBezTo>
                          <a:pt x="44096" y="24255"/>
                          <a:pt x="44096" y="24255"/>
                          <a:pt x="44096" y="24255"/>
                        </a:cubicBezTo>
                        <a:cubicBezTo>
                          <a:pt x="44819" y="24255"/>
                          <a:pt x="44819" y="24255"/>
                          <a:pt x="45542" y="24255"/>
                        </a:cubicBezTo>
                        <a:cubicBezTo>
                          <a:pt x="46265" y="24255"/>
                          <a:pt x="45542" y="23617"/>
                          <a:pt x="46987" y="24893"/>
                        </a:cubicBezTo>
                        <a:cubicBezTo>
                          <a:pt x="47710" y="25531"/>
                          <a:pt x="47710" y="25531"/>
                          <a:pt x="48433" y="25531"/>
                        </a:cubicBezTo>
                        <a:cubicBezTo>
                          <a:pt x="49156" y="26170"/>
                          <a:pt x="50602" y="25531"/>
                          <a:pt x="50602" y="25531"/>
                        </a:cubicBezTo>
                        <a:cubicBezTo>
                          <a:pt x="50602" y="25531"/>
                          <a:pt x="50602" y="24893"/>
                          <a:pt x="51325" y="26170"/>
                        </a:cubicBezTo>
                        <a:cubicBezTo>
                          <a:pt x="52048" y="27446"/>
                          <a:pt x="52771" y="27446"/>
                          <a:pt x="52771" y="27446"/>
                        </a:cubicBezTo>
                        <a:cubicBezTo>
                          <a:pt x="52771" y="28085"/>
                          <a:pt x="53493" y="28723"/>
                          <a:pt x="53493" y="28723"/>
                        </a:cubicBezTo>
                        <a:cubicBezTo>
                          <a:pt x="53493" y="28723"/>
                          <a:pt x="53493" y="28723"/>
                          <a:pt x="53493" y="29361"/>
                        </a:cubicBezTo>
                        <a:cubicBezTo>
                          <a:pt x="53493" y="29361"/>
                          <a:pt x="53493" y="30000"/>
                          <a:pt x="54216" y="30000"/>
                        </a:cubicBezTo>
                        <a:cubicBezTo>
                          <a:pt x="54216" y="30000"/>
                          <a:pt x="54939" y="30000"/>
                          <a:pt x="54939" y="30000"/>
                        </a:cubicBezTo>
                        <a:cubicBezTo>
                          <a:pt x="54939" y="30000"/>
                          <a:pt x="55662" y="29361"/>
                          <a:pt x="55662" y="29361"/>
                        </a:cubicBezTo>
                        <a:cubicBezTo>
                          <a:pt x="55662" y="29361"/>
                          <a:pt x="57108" y="28723"/>
                          <a:pt x="57108" y="28723"/>
                        </a:cubicBezTo>
                        <a:cubicBezTo>
                          <a:pt x="57108" y="28723"/>
                          <a:pt x="57108" y="28085"/>
                          <a:pt x="58554" y="28723"/>
                        </a:cubicBezTo>
                        <a:cubicBezTo>
                          <a:pt x="59277" y="28723"/>
                          <a:pt x="60722" y="29361"/>
                          <a:pt x="60722" y="29361"/>
                        </a:cubicBezTo>
                        <a:cubicBezTo>
                          <a:pt x="60722" y="29361"/>
                          <a:pt x="60722" y="30000"/>
                          <a:pt x="60722" y="30000"/>
                        </a:cubicBezTo>
                        <a:cubicBezTo>
                          <a:pt x="61445" y="30000"/>
                          <a:pt x="63614" y="30000"/>
                          <a:pt x="63614" y="30000"/>
                        </a:cubicBezTo>
                        <a:cubicBezTo>
                          <a:pt x="64337" y="30638"/>
                          <a:pt x="64337" y="30638"/>
                          <a:pt x="64337" y="30638"/>
                        </a:cubicBezTo>
                        <a:cubicBezTo>
                          <a:pt x="64337" y="30638"/>
                          <a:pt x="65060" y="31276"/>
                          <a:pt x="65060" y="31276"/>
                        </a:cubicBezTo>
                        <a:cubicBezTo>
                          <a:pt x="65060" y="31914"/>
                          <a:pt x="65783" y="33191"/>
                          <a:pt x="65783" y="33191"/>
                        </a:cubicBezTo>
                        <a:cubicBezTo>
                          <a:pt x="67951" y="33829"/>
                          <a:pt x="67951" y="33829"/>
                          <a:pt x="67951" y="33829"/>
                        </a:cubicBezTo>
                        <a:cubicBezTo>
                          <a:pt x="66506" y="31914"/>
                          <a:pt x="66506" y="31914"/>
                          <a:pt x="66506" y="31914"/>
                        </a:cubicBezTo>
                        <a:cubicBezTo>
                          <a:pt x="66506" y="31914"/>
                          <a:pt x="65060" y="30638"/>
                          <a:pt x="66506" y="30638"/>
                        </a:cubicBezTo>
                        <a:cubicBezTo>
                          <a:pt x="67951" y="30638"/>
                          <a:pt x="68674" y="30000"/>
                          <a:pt x="68674" y="30000"/>
                        </a:cubicBezTo>
                        <a:cubicBezTo>
                          <a:pt x="68674" y="29361"/>
                          <a:pt x="68674" y="29361"/>
                          <a:pt x="68674" y="29361"/>
                        </a:cubicBezTo>
                        <a:cubicBezTo>
                          <a:pt x="66506" y="29361"/>
                          <a:pt x="66506" y="29361"/>
                          <a:pt x="66506" y="29361"/>
                        </a:cubicBezTo>
                        <a:cubicBezTo>
                          <a:pt x="66506" y="29361"/>
                          <a:pt x="66506" y="28085"/>
                          <a:pt x="66506" y="28085"/>
                        </a:cubicBezTo>
                        <a:cubicBezTo>
                          <a:pt x="67228" y="28085"/>
                          <a:pt x="67951" y="26808"/>
                          <a:pt x="69397" y="26808"/>
                        </a:cubicBezTo>
                        <a:cubicBezTo>
                          <a:pt x="70843" y="26808"/>
                          <a:pt x="72289" y="26170"/>
                          <a:pt x="72289" y="26170"/>
                        </a:cubicBezTo>
                        <a:cubicBezTo>
                          <a:pt x="72289" y="26170"/>
                          <a:pt x="72289" y="25531"/>
                          <a:pt x="73734" y="25531"/>
                        </a:cubicBezTo>
                        <a:cubicBezTo>
                          <a:pt x="75180" y="25531"/>
                          <a:pt x="75903" y="25531"/>
                          <a:pt x="76626" y="25531"/>
                        </a:cubicBezTo>
                        <a:cubicBezTo>
                          <a:pt x="77349" y="25531"/>
                          <a:pt x="77349" y="25531"/>
                          <a:pt x="77349" y="24893"/>
                        </a:cubicBezTo>
                        <a:cubicBezTo>
                          <a:pt x="77349" y="24255"/>
                          <a:pt x="76626" y="24255"/>
                          <a:pt x="78072" y="23617"/>
                        </a:cubicBezTo>
                        <a:cubicBezTo>
                          <a:pt x="78795" y="23617"/>
                          <a:pt x="79518" y="22978"/>
                          <a:pt x="79518" y="22978"/>
                        </a:cubicBezTo>
                        <a:cubicBezTo>
                          <a:pt x="80240" y="20425"/>
                          <a:pt x="80240" y="20425"/>
                          <a:pt x="80240" y="20425"/>
                        </a:cubicBezTo>
                        <a:cubicBezTo>
                          <a:pt x="77349" y="21702"/>
                          <a:pt x="77349" y="21702"/>
                          <a:pt x="77349" y="21702"/>
                        </a:cubicBezTo>
                        <a:cubicBezTo>
                          <a:pt x="77349" y="21702"/>
                          <a:pt x="77349" y="20425"/>
                          <a:pt x="76626" y="20425"/>
                        </a:cubicBezTo>
                        <a:cubicBezTo>
                          <a:pt x="75903" y="20425"/>
                          <a:pt x="73734" y="21702"/>
                          <a:pt x="73734" y="21702"/>
                        </a:cubicBezTo>
                        <a:cubicBezTo>
                          <a:pt x="73734" y="21702"/>
                          <a:pt x="73734" y="21063"/>
                          <a:pt x="73012" y="21063"/>
                        </a:cubicBezTo>
                        <a:cubicBezTo>
                          <a:pt x="73012" y="20425"/>
                          <a:pt x="73012" y="20425"/>
                          <a:pt x="72289" y="20425"/>
                        </a:cubicBezTo>
                        <a:cubicBezTo>
                          <a:pt x="71566" y="20425"/>
                          <a:pt x="72289" y="20425"/>
                          <a:pt x="70843" y="19787"/>
                        </a:cubicBezTo>
                        <a:cubicBezTo>
                          <a:pt x="69397" y="19148"/>
                          <a:pt x="68674" y="17872"/>
                          <a:pt x="68674" y="17872"/>
                        </a:cubicBezTo>
                        <a:cubicBezTo>
                          <a:pt x="68674" y="17872"/>
                          <a:pt x="69397" y="17872"/>
                          <a:pt x="67951" y="17872"/>
                        </a:cubicBezTo>
                        <a:cubicBezTo>
                          <a:pt x="67228" y="17234"/>
                          <a:pt x="67228" y="17234"/>
                          <a:pt x="67228" y="17234"/>
                        </a:cubicBezTo>
                        <a:cubicBezTo>
                          <a:pt x="66506" y="16595"/>
                          <a:pt x="66506" y="16595"/>
                          <a:pt x="67951" y="15957"/>
                        </a:cubicBezTo>
                        <a:cubicBezTo>
                          <a:pt x="68674" y="15319"/>
                          <a:pt x="67951" y="15319"/>
                          <a:pt x="69397" y="14680"/>
                        </a:cubicBezTo>
                        <a:cubicBezTo>
                          <a:pt x="70120" y="14042"/>
                          <a:pt x="69397" y="13404"/>
                          <a:pt x="70843" y="14042"/>
                        </a:cubicBezTo>
                        <a:cubicBezTo>
                          <a:pt x="73012" y="14680"/>
                          <a:pt x="73012" y="14680"/>
                          <a:pt x="73734" y="15319"/>
                        </a:cubicBezTo>
                        <a:cubicBezTo>
                          <a:pt x="74457" y="15319"/>
                          <a:pt x="77349" y="15319"/>
                          <a:pt x="75903" y="14680"/>
                        </a:cubicBezTo>
                        <a:cubicBezTo>
                          <a:pt x="75180" y="14042"/>
                          <a:pt x="73734" y="13404"/>
                          <a:pt x="73734" y="12765"/>
                        </a:cubicBezTo>
                        <a:cubicBezTo>
                          <a:pt x="73734" y="12765"/>
                          <a:pt x="72289" y="12765"/>
                          <a:pt x="73734" y="12765"/>
                        </a:cubicBezTo>
                        <a:cubicBezTo>
                          <a:pt x="74457" y="12765"/>
                          <a:pt x="75180" y="12127"/>
                          <a:pt x="75903" y="12765"/>
                        </a:cubicBezTo>
                        <a:cubicBezTo>
                          <a:pt x="75903" y="12765"/>
                          <a:pt x="74457" y="12765"/>
                          <a:pt x="76626" y="12765"/>
                        </a:cubicBezTo>
                        <a:cubicBezTo>
                          <a:pt x="78795" y="12765"/>
                          <a:pt x="79518" y="12765"/>
                          <a:pt x="78072" y="12127"/>
                        </a:cubicBezTo>
                        <a:cubicBezTo>
                          <a:pt x="77349" y="11489"/>
                          <a:pt x="77349" y="11489"/>
                          <a:pt x="76626" y="10851"/>
                        </a:cubicBezTo>
                        <a:cubicBezTo>
                          <a:pt x="76626" y="10212"/>
                          <a:pt x="75903" y="10212"/>
                          <a:pt x="76626" y="10212"/>
                        </a:cubicBezTo>
                        <a:cubicBezTo>
                          <a:pt x="76626" y="9574"/>
                          <a:pt x="76626" y="10212"/>
                          <a:pt x="77349" y="9574"/>
                        </a:cubicBezTo>
                        <a:cubicBezTo>
                          <a:pt x="77349" y="8936"/>
                          <a:pt x="77349" y="8297"/>
                          <a:pt x="77349" y="8297"/>
                        </a:cubicBezTo>
                        <a:cubicBezTo>
                          <a:pt x="77349" y="8297"/>
                          <a:pt x="76626" y="8297"/>
                          <a:pt x="77349" y="7659"/>
                        </a:cubicBezTo>
                        <a:cubicBezTo>
                          <a:pt x="78795" y="6382"/>
                          <a:pt x="78795" y="6382"/>
                          <a:pt x="79518" y="6382"/>
                        </a:cubicBezTo>
                        <a:cubicBezTo>
                          <a:pt x="79518" y="6382"/>
                          <a:pt x="80240" y="5744"/>
                          <a:pt x="80963" y="5744"/>
                        </a:cubicBezTo>
                        <a:cubicBezTo>
                          <a:pt x="80963" y="5106"/>
                          <a:pt x="81686" y="3829"/>
                          <a:pt x="81686" y="3829"/>
                        </a:cubicBezTo>
                        <a:cubicBezTo>
                          <a:pt x="83855" y="3829"/>
                          <a:pt x="83855" y="3829"/>
                          <a:pt x="83855" y="3829"/>
                        </a:cubicBezTo>
                        <a:cubicBezTo>
                          <a:pt x="83855" y="3829"/>
                          <a:pt x="84578" y="3829"/>
                          <a:pt x="84578" y="3829"/>
                        </a:cubicBezTo>
                        <a:cubicBezTo>
                          <a:pt x="84578" y="4468"/>
                          <a:pt x="84578" y="3191"/>
                          <a:pt x="84578" y="3191"/>
                        </a:cubicBezTo>
                        <a:cubicBezTo>
                          <a:pt x="84578" y="3191"/>
                          <a:pt x="85301" y="3191"/>
                          <a:pt x="85301" y="3191"/>
                        </a:cubicBezTo>
                        <a:cubicBezTo>
                          <a:pt x="86024" y="3829"/>
                          <a:pt x="86024" y="3829"/>
                          <a:pt x="86024" y="3829"/>
                        </a:cubicBezTo>
                        <a:cubicBezTo>
                          <a:pt x="86746" y="4468"/>
                          <a:pt x="87469" y="3829"/>
                          <a:pt x="87469" y="3829"/>
                        </a:cubicBezTo>
                        <a:cubicBezTo>
                          <a:pt x="87469" y="3829"/>
                          <a:pt x="88192" y="3191"/>
                          <a:pt x="88915" y="3191"/>
                        </a:cubicBezTo>
                        <a:cubicBezTo>
                          <a:pt x="89638" y="3191"/>
                          <a:pt x="90361" y="3191"/>
                          <a:pt x="90361" y="3191"/>
                        </a:cubicBezTo>
                        <a:cubicBezTo>
                          <a:pt x="90361" y="3829"/>
                          <a:pt x="90361" y="3829"/>
                          <a:pt x="90361" y="4468"/>
                        </a:cubicBezTo>
                        <a:cubicBezTo>
                          <a:pt x="91084" y="4468"/>
                          <a:pt x="91807" y="5106"/>
                          <a:pt x="91807" y="5106"/>
                        </a:cubicBezTo>
                        <a:cubicBezTo>
                          <a:pt x="91807" y="5106"/>
                          <a:pt x="93253" y="5106"/>
                          <a:pt x="93253" y="4468"/>
                        </a:cubicBezTo>
                        <a:cubicBezTo>
                          <a:pt x="93253" y="4468"/>
                          <a:pt x="92530" y="4468"/>
                          <a:pt x="93975" y="3829"/>
                        </a:cubicBezTo>
                        <a:cubicBezTo>
                          <a:pt x="95421" y="2553"/>
                          <a:pt x="96144" y="2553"/>
                          <a:pt x="96144" y="2553"/>
                        </a:cubicBezTo>
                        <a:cubicBezTo>
                          <a:pt x="96144" y="2553"/>
                          <a:pt x="96144" y="1914"/>
                          <a:pt x="96867" y="1914"/>
                        </a:cubicBezTo>
                        <a:cubicBezTo>
                          <a:pt x="97590" y="2553"/>
                          <a:pt x="97590" y="1914"/>
                          <a:pt x="97590" y="2553"/>
                        </a:cubicBezTo>
                        <a:cubicBezTo>
                          <a:pt x="97590" y="2553"/>
                          <a:pt x="98313" y="3191"/>
                          <a:pt x="98313" y="3191"/>
                        </a:cubicBezTo>
                        <a:cubicBezTo>
                          <a:pt x="98313" y="3191"/>
                          <a:pt x="98313" y="5106"/>
                          <a:pt x="98313" y="5106"/>
                        </a:cubicBezTo>
                        <a:cubicBezTo>
                          <a:pt x="98313" y="5744"/>
                          <a:pt x="98313" y="5744"/>
                          <a:pt x="98313" y="5744"/>
                        </a:cubicBezTo>
                        <a:cubicBezTo>
                          <a:pt x="98313" y="5744"/>
                          <a:pt x="98313" y="6382"/>
                          <a:pt x="98313" y="6382"/>
                        </a:cubicBezTo>
                        <a:cubicBezTo>
                          <a:pt x="98313" y="7021"/>
                          <a:pt x="99036" y="8297"/>
                          <a:pt x="99036" y="8297"/>
                        </a:cubicBezTo>
                        <a:cubicBezTo>
                          <a:pt x="99036" y="8297"/>
                          <a:pt x="99036" y="8297"/>
                          <a:pt x="99036" y="8297"/>
                        </a:cubicBezTo>
                        <a:cubicBezTo>
                          <a:pt x="98313" y="8936"/>
                          <a:pt x="98313" y="8297"/>
                          <a:pt x="98313" y="8936"/>
                        </a:cubicBezTo>
                        <a:cubicBezTo>
                          <a:pt x="97590" y="9574"/>
                          <a:pt x="98313" y="9574"/>
                          <a:pt x="97590" y="10212"/>
                        </a:cubicBezTo>
                        <a:cubicBezTo>
                          <a:pt x="97590" y="10212"/>
                          <a:pt x="96867" y="10212"/>
                          <a:pt x="96867" y="10212"/>
                        </a:cubicBezTo>
                        <a:cubicBezTo>
                          <a:pt x="96867" y="10212"/>
                          <a:pt x="97590" y="10851"/>
                          <a:pt x="97590" y="10851"/>
                        </a:cubicBezTo>
                        <a:cubicBezTo>
                          <a:pt x="97590" y="10851"/>
                          <a:pt x="97590" y="10851"/>
                          <a:pt x="98313" y="10851"/>
                        </a:cubicBezTo>
                        <a:cubicBezTo>
                          <a:pt x="98313" y="10851"/>
                          <a:pt x="98313" y="10212"/>
                          <a:pt x="99036" y="10212"/>
                        </a:cubicBezTo>
                        <a:cubicBezTo>
                          <a:pt x="99036" y="10851"/>
                          <a:pt x="99036" y="9574"/>
                          <a:pt x="99036" y="9574"/>
                        </a:cubicBezTo>
                        <a:cubicBezTo>
                          <a:pt x="99036" y="9574"/>
                          <a:pt x="99036" y="9574"/>
                          <a:pt x="99759" y="8936"/>
                        </a:cubicBezTo>
                        <a:cubicBezTo>
                          <a:pt x="99759" y="8936"/>
                          <a:pt x="100481" y="8297"/>
                          <a:pt x="100481" y="7659"/>
                        </a:cubicBezTo>
                        <a:cubicBezTo>
                          <a:pt x="100481" y="7659"/>
                          <a:pt x="99759" y="7021"/>
                          <a:pt x="99759" y="7021"/>
                        </a:cubicBezTo>
                        <a:cubicBezTo>
                          <a:pt x="99759" y="7021"/>
                          <a:pt x="99036" y="5744"/>
                          <a:pt x="99036" y="5106"/>
                        </a:cubicBezTo>
                        <a:cubicBezTo>
                          <a:pt x="99036" y="5106"/>
                          <a:pt x="99036" y="5106"/>
                          <a:pt x="99036" y="4468"/>
                        </a:cubicBezTo>
                        <a:cubicBezTo>
                          <a:pt x="99759" y="4468"/>
                          <a:pt x="99759" y="3829"/>
                          <a:pt x="99759" y="3829"/>
                        </a:cubicBezTo>
                        <a:cubicBezTo>
                          <a:pt x="100481" y="3191"/>
                          <a:pt x="101204" y="2553"/>
                          <a:pt x="101204" y="2553"/>
                        </a:cubicBezTo>
                        <a:cubicBezTo>
                          <a:pt x="101204" y="2553"/>
                          <a:pt x="102650" y="2553"/>
                          <a:pt x="103373" y="2553"/>
                        </a:cubicBezTo>
                        <a:cubicBezTo>
                          <a:pt x="103373" y="2553"/>
                          <a:pt x="102650" y="1914"/>
                          <a:pt x="104096" y="2553"/>
                        </a:cubicBezTo>
                        <a:cubicBezTo>
                          <a:pt x="104819" y="3191"/>
                          <a:pt x="104819" y="3191"/>
                          <a:pt x="104819" y="3191"/>
                        </a:cubicBezTo>
                        <a:cubicBezTo>
                          <a:pt x="104819" y="3829"/>
                          <a:pt x="104096" y="3829"/>
                          <a:pt x="105542" y="3829"/>
                        </a:cubicBezTo>
                        <a:cubicBezTo>
                          <a:pt x="106265" y="3829"/>
                          <a:pt x="106987" y="3829"/>
                          <a:pt x="106265" y="3829"/>
                        </a:cubicBezTo>
                        <a:cubicBezTo>
                          <a:pt x="105542" y="3191"/>
                          <a:pt x="105542" y="2553"/>
                          <a:pt x="104819" y="2553"/>
                        </a:cubicBezTo>
                        <a:cubicBezTo>
                          <a:pt x="104819" y="2553"/>
                          <a:pt x="104096" y="1914"/>
                          <a:pt x="104096" y="1914"/>
                        </a:cubicBezTo>
                        <a:cubicBezTo>
                          <a:pt x="104096" y="1276"/>
                          <a:pt x="104096" y="0"/>
                          <a:pt x="104819" y="638"/>
                        </a:cubicBezTo>
                        <a:cubicBezTo>
                          <a:pt x="105542" y="638"/>
                          <a:pt x="104819" y="0"/>
                          <a:pt x="105542" y="638"/>
                        </a:cubicBezTo>
                        <a:cubicBezTo>
                          <a:pt x="106987" y="1914"/>
                          <a:pt x="107710" y="2553"/>
                          <a:pt x="107710" y="2553"/>
                        </a:cubicBezTo>
                        <a:cubicBezTo>
                          <a:pt x="107710" y="3191"/>
                          <a:pt x="108433" y="3191"/>
                          <a:pt x="108433" y="3191"/>
                        </a:cubicBezTo>
                        <a:cubicBezTo>
                          <a:pt x="108433" y="3829"/>
                          <a:pt x="108433" y="3829"/>
                          <a:pt x="108433" y="3829"/>
                        </a:cubicBezTo>
                        <a:cubicBezTo>
                          <a:pt x="109156" y="4468"/>
                          <a:pt x="109879" y="5106"/>
                          <a:pt x="109879" y="5106"/>
                        </a:cubicBezTo>
                        <a:cubicBezTo>
                          <a:pt x="109879" y="5106"/>
                          <a:pt x="109879" y="5106"/>
                          <a:pt x="110602" y="5106"/>
                        </a:cubicBezTo>
                        <a:cubicBezTo>
                          <a:pt x="110602" y="5744"/>
                          <a:pt x="112048" y="6382"/>
                          <a:pt x="112048" y="6382"/>
                        </a:cubicBezTo>
                        <a:cubicBezTo>
                          <a:pt x="112048" y="6382"/>
                          <a:pt x="112771" y="7021"/>
                          <a:pt x="112771" y="7021"/>
                        </a:cubicBezTo>
                        <a:cubicBezTo>
                          <a:pt x="112048" y="7659"/>
                          <a:pt x="112048" y="8297"/>
                          <a:pt x="112048" y="8297"/>
                        </a:cubicBezTo>
                        <a:cubicBezTo>
                          <a:pt x="110602" y="10212"/>
                          <a:pt x="110602" y="10212"/>
                          <a:pt x="110602" y="10212"/>
                        </a:cubicBezTo>
                        <a:cubicBezTo>
                          <a:pt x="109879" y="11489"/>
                          <a:pt x="109879" y="11489"/>
                          <a:pt x="109879" y="11489"/>
                        </a:cubicBezTo>
                        <a:cubicBezTo>
                          <a:pt x="109879" y="12127"/>
                          <a:pt x="109879" y="12127"/>
                          <a:pt x="109879" y="12127"/>
                        </a:cubicBezTo>
                        <a:cubicBezTo>
                          <a:pt x="109156" y="12765"/>
                          <a:pt x="109156" y="13404"/>
                          <a:pt x="109156" y="13404"/>
                        </a:cubicBezTo>
                        <a:cubicBezTo>
                          <a:pt x="109156" y="13404"/>
                          <a:pt x="108433" y="14042"/>
                          <a:pt x="106987" y="14042"/>
                        </a:cubicBezTo>
                        <a:cubicBezTo>
                          <a:pt x="105542" y="13404"/>
                          <a:pt x="104096" y="14680"/>
                          <a:pt x="104096" y="14680"/>
                        </a:cubicBezTo>
                        <a:cubicBezTo>
                          <a:pt x="104096" y="14680"/>
                          <a:pt x="100481" y="14042"/>
                          <a:pt x="99759" y="14042"/>
                        </a:cubicBezTo>
                        <a:cubicBezTo>
                          <a:pt x="99036" y="14042"/>
                          <a:pt x="99036" y="16595"/>
                          <a:pt x="99036" y="17234"/>
                        </a:cubicBezTo>
                        <a:cubicBezTo>
                          <a:pt x="99036" y="17872"/>
                          <a:pt x="97590" y="18510"/>
                          <a:pt x="95421" y="18510"/>
                        </a:cubicBezTo>
                        <a:cubicBezTo>
                          <a:pt x="93253" y="19148"/>
                          <a:pt x="94698" y="19148"/>
                          <a:pt x="93975" y="21063"/>
                        </a:cubicBezTo>
                        <a:cubicBezTo>
                          <a:pt x="93253" y="23617"/>
                          <a:pt x="92530" y="21702"/>
                          <a:pt x="91084" y="21063"/>
                        </a:cubicBezTo>
                        <a:cubicBezTo>
                          <a:pt x="89638" y="21063"/>
                          <a:pt x="89638" y="21063"/>
                          <a:pt x="87469" y="21063"/>
                        </a:cubicBezTo>
                        <a:cubicBezTo>
                          <a:pt x="85301" y="21702"/>
                          <a:pt x="86746" y="22978"/>
                          <a:pt x="86746" y="22978"/>
                        </a:cubicBezTo>
                        <a:cubicBezTo>
                          <a:pt x="86746" y="22978"/>
                          <a:pt x="88192" y="24255"/>
                          <a:pt x="88915" y="24255"/>
                        </a:cubicBezTo>
                        <a:cubicBezTo>
                          <a:pt x="90361" y="24893"/>
                          <a:pt x="88915" y="26170"/>
                          <a:pt x="88915" y="26170"/>
                        </a:cubicBezTo>
                        <a:cubicBezTo>
                          <a:pt x="88915" y="26170"/>
                          <a:pt x="88192" y="27446"/>
                          <a:pt x="87469" y="27446"/>
                        </a:cubicBezTo>
                        <a:cubicBezTo>
                          <a:pt x="86746" y="26808"/>
                          <a:pt x="83132" y="26808"/>
                          <a:pt x="83132" y="26808"/>
                        </a:cubicBezTo>
                        <a:cubicBezTo>
                          <a:pt x="79518" y="28723"/>
                          <a:pt x="79518" y="28723"/>
                          <a:pt x="79518" y="28723"/>
                        </a:cubicBezTo>
                        <a:cubicBezTo>
                          <a:pt x="79518" y="28723"/>
                          <a:pt x="80240" y="31276"/>
                          <a:pt x="82409" y="33829"/>
                        </a:cubicBezTo>
                        <a:cubicBezTo>
                          <a:pt x="84578" y="36382"/>
                          <a:pt x="82409" y="34468"/>
                          <a:pt x="82409" y="34468"/>
                        </a:cubicBezTo>
                        <a:cubicBezTo>
                          <a:pt x="82409" y="34468"/>
                          <a:pt x="83132" y="36382"/>
                          <a:pt x="83132" y="37659"/>
                        </a:cubicBezTo>
                        <a:cubicBezTo>
                          <a:pt x="83132" y="38936"/>
                          <a:pt x="83132" y="38297"/>
                          <a:pt x="83855" y="38297"/>
                        </a:cubicBezTo>
                        <a:cubicBezTo>
                          <a:pt x="84578" y="38297"/>
                          <a:pt x="86024" y="38297"/>
                          <a:pt x="86024" y="38297"/>
                        </a:cubicBezTo>
                        <a:cubicBezTo>
                          <a:pt x="86024" y="38297"/>
                          <a:pt x="88915" y="42127"/>
                          <a:pt x="88915" y="42127"/>
                        </a:cubicBezTo>
                        <a:cubicBezTo>
                          <a:pt x="89638" y="42127"/>
                          <a:pt x="93253" y="41489"/>
                          <a:pt x="93253" y="41489"/>
                        </a:cubicBezTo>
                        <a:cubicBezTo>
                          <a:pt x="93253" y="41489"/>
                          <a:pt x="96144" y="40851"/>
                          <a:pt x="97590" y="40851"/>
                        </a:cubicBezTo>
                        <a:cubicBezTo>
                          <a:pt x="99036" y="40212"/>
                          <a:pt x="97590" y="38936"/>
                          <a:pt x="97590" y="38936"/>
                        </a:cubicBezTo>
                        <a:cubicBezTo>
                          <a:pt x="99036" y="35744"/>
                          <a:pt x="99036" y="35744"/>
                          <a:pt x="99036" y="35744"/>
                        </a:cubicBezTo>
                        <a:cubicBezTo>
                          <a:pt x="103373" y="35106"/>
                          <a:pt x="103373" y="35106"/>
                          <a:pt x="103373" y="35106"/>
                        </a:cubicBezTo>
                        <a:cubicBezTo>
                          <a:pt x="105542" y="38936"/>
                          <a:pt x="105542" y="38936"/>
                          <a:pt x="105542" y="38936"/>
                        </a:cubicBezTo>
                        <a:cubicBezTo>
                          <a:pt x="104819" y="41489"/>
                          <a:pt x="104819" y="41489"/>
                          <a:pt x="104819" y="41489"/>
                        </a:cubicBezTo>
                        <a:cubicBezTo>
                          <a:pt x="108433" y="44680"/>
                          <a:pt x="108433" y="44680"/>
                          <a:pt x="108433" y="44680"/>
                        </a:cubicBezTo>
                        <a:cubicBezTo>
                          <a:pt x="109156" y="47872"/>
                          <a:pt x="109156" y="47872"/>
                          <a:pt x="109156" y="47872"/>
                        </a:cubicBezTo>
                        <a:cubicBezTo>
                          <a:pt x="109156" y="47872"/>
                          <a:pt x="112771" y="48510"/>
                          <a:pt x="113493" y="49148"/>
                        </a:cubicBezTo>
                        <a:cubicBezTo>
                          <a:pt x="114216" y="49148"/>
                          <a:pt x="116385" y="48510"/>
                          <a:pt x="116385" y="48510"/>
                        </a:cubicBezTo>
                        <a:cubicBezTo>
                          <a:pt x="119277" y="51702"/>
                          <a:pt x="119277" y="51702"/>
                          <a:pt x="119277" y="51702"/>
                        </a:cubicBezTo>
                        <a:cubicBezTo>
                          <a:pt x="119999" y="51063"/>
                          <a:pt x="119999" y="51063"/>
                          <a:pt x="119999" y="51063"/>
                        </a:cubicBezTo>
                        <a:cubicBezTo>
                          <a:pt x="119999" y="51702"/>
                          <a:pt x="119999" y="51702"/>
                          <a:pt x="119999" y="51702"/>
                        </a:cubicBezTo>
                        <a:cubicBezTo>
                          <a:pt x="119999" y="51702"/>
                          <a:pt x="119999" y="52978"/>
                          <a:pt x="119277" y="52978"/>
                        </a:cubicBezTo>
                        <a:cubicBezTo>
                          <a:pt x="117831" y="52340"/>
                          <a:pt x="117108" y="52340"/>
                          <a:pt x="117108" y="52340"/>
                        </a:cubicBezTo>
                        <a:cubicBezTo>
                          <a:pt x="114939" y="51063"/>
                          <a:pt x="114939" y="51063"/>
                          <a:pt x="114939" y="51063"/>
                        </a:cubicBezTo>
                        <a:cubicBezTo>
                          <a:pt x="114216" y="51702"/>
                          <a:pt x="114216" y="51702"/>
                          <a:pt x="114216" y="51702"/>
                        </a:cubicBezTo>
                        <a:cubicBezTo>
                          <a:pt x="112048" y="54255"/>
                          <a:pt x="112048" y="54255"/>
                          <a:pt x="112048" y="54255"/>
                        </a:cubicBezTo>
                        <a:cubicBezTo>
                          <a:pt x="113493" y="54893"/>
                          <a:pt x="113493" y="54893"/>
                          <a:pt x="113493" y="54893"/>
                        </a:cubicBezTo>
                        <a:cubicBezTo>
                          <a:pt x="114939" y="56170"/>
                          <a:pt x="114939" y="56170"/>
                          <a:pt x="114939" y="56170"/>
                        </a:cubicBezTo>
                        <a:cubicBezTo>
                          <a:pt x="114939" y="58085"/>
                          <a:pt x="114939" y="58085"/>
                          <a:pt x="114939" y="58085"/>
                        </a:cubicBezTo>
                        <a:cubicBezTo>
                          <a:pt x="114939" y="60638"/>
                          <a:pt x="114939" y="60638"/>
                          <a:pt x="114939" y="60638"/>
                        </a:cubicBezTo>
                        <a:cubicBezTo>
                          <a:pt x="113493" y="62553"/>
                          <a:pt x="113493" y="62553"/>
                          <a:pt x="113493" y="62553"/>
                        </a:cubicBezTo>
                        <a:cubicBezTo>
                          <a:pt x="113493" y="62553"/>
                          <a:pt x="114216" y="63829"/>
                          <a:pt x="114216" y="64468"/>
                        </a:cubicBezTo>
                        <a:cubicBezTo>
                          <a:pt x="114216" y="64468"/>
                          <a:pt x="115662" y="65744"/>
                          <a:pt x="115662" y="65744"/>
                        </a:cubicBezTo>
                        <a:cubicBezTo>
                          <a:pt x="117108" y="67021"/>
                          <a:pt x="117108" y="67021"/>
                          <a:pt x="117108" y="67021"/>
                        </a:cubicBezTo>
                        <a:cubicBezTo>
                          <a:pt x="115662" y="70212"/>
                          <a:pt x="115662" y="70212"/>
                          <a:pt x="115662" y="70212"/>
                        </a:cubicBezTo>
                        <a:cubicBezTo>
                          <a:pt x="114216" y="71489"/>
                          <a:pt x="114216" y="71489"/>
                          <a:pt x="114216" y="71489"/>
                        </a:cubicBezTo>
                        <a:cubicBezTo>
                          <a:pt x="114216" y="72765"/>
                          <a:pt x="114216" y="72765"/>
                          <a:pt x="114216" y="72765"/>
                        </a:cubicBezTo>
                        <a:cubicBezTo>
                          <a:pt x="114216" y="72765"/>
                          <a:pt x="115662" y="73404"/>
                          <a:pt x="114939" y="73404"/>
                        </a:cubicBezTo>
                        <a:cubicBezTo>
                          <a:pt x="114216" y="73404"/>
                          <a:pt x="112771" y="73404"/>
                          <a:pt x="112771" y="73404"/>
                        </a:cubicBezTo>
                        <a:cubicBezTo>
                          <a:pt x="112771" y="73404"/>
                          <a:pt x="112771" y="74042"/>
                          <a:pt x="112771" y="74680"/>
                        </a:cubicBezTo>
                        <a:cubicBezTo>
                          <a:pt x="112771" y="74680"/>
                          <a:pt x="113493" y="75957"/>
                          <a:pt x="113493" y="75957"/>
                        </a:cubicBezTo>
                        <a:cubicBezTo>
                          <a:pt x="113493" y="75957"/>
                          <a:pt x="114216" y="75957"/>
                          <a:pt x="114216" y="76595"/>
                        </a:cubicBezTo>
                        <a:cubicBezTo>
                          <a:pt x="114216" y="77234"/>
                          <a:pt x="113493" y="78510"/>
                          <a:pt x="113493" y="78510"/>
                        </a:cubicBezTo>
                        <a:cubicBezTo>
                          <a:pt x="113493" y="78510"/>
                          <a:pt x="112771" y="81063"/>
                          <a:pt x="112771" y="81063"/>
                        </a:cubicBezTo>
                        <a:cubicBezTo>
                          <a:pt x="113493" y="81063"/>
                          <a:pt x="113493" y="82340"/>
                          <a:pt x="113493" y="82340"/>
                        </a:cubicBezTo>
                        <a:cubicBezTo>
                          <a:pt x="113493" y="84893"/>
                          <a:pt x="113493" y="84893"/>
                          <a:pt x="113493" y="84893"/>
                        </a:cubicBezTo>
                        <a:cubicBezTo>
                          <a:pt x="112771" y="86808"/>
                          <a:pt x="112771" y="86808"/>
                          <a:pt x="112771" y="86808"/>
                        </a:cubicBezTo>
                        <a:cubicBezTo>
                          <a:pt x="113493" y="88085"/>
                          <a:pt x="113493" y="88085"/>
                          <a:pt x="113493" y="88085"/>
                        </a:cubicBezTo>
                        <a:cubicBezTo>
                          <a:pt x="111325" y="89361"/>
                          <a:pt x="111325" y="89361"/>
                          <a:pt x="111325" y="89361"/>
                        </a:cubicBezTo>
                        <a:cubicBezTo>
                          <a:pt x="110602" y="90638"/>
                          <a:pt x="110602" y="90638"/>
                          <a:pt x="110602" y="90638"/>
                        </a:cubicBezTo>
                        <a:cubicBezTo>
                          <a:pt x="110602" y="90638"/>
                          <a:pt x="109156" y="91276"/>
                          <a:pt x="109156" y="91914"/>
                        </a:cubicBezTo>
                        <a:cubicBezTo>
                          <a:pt x="109156" y="91914"/>
                          <a:pt x="108433" y="92553"/>
                          <a:pt x="108433" y="93191"/>
                        </a:cubicBezTo>
                        <a:cubicBezTo>
                          <a:pt x="108433" y="93829"/>
                          <a:pt x="107710" y="94468"/>
                          <a:pt x="107710" y="94468"/>
                        </a:cubicBezTo>
                        <a:cubicBezTo>
                          <a:pt x="106987" y="95106"/>
                          <a:pt x="105542" y="96382"/>
                          <a:pt x="105542" y="96382"/>
                        </a:cubicBezTo>
                        <a:cubicBezTo>
                          <a:pt x="104819" y="97659"/>
                          <a:pt x="104819" y="97659"/>
                          <a:pt x="104819" y="97659"/>
                        </a:cubicBezTo>
                        <a:cubicBezTo>
                          <a:pt x="104819" y="97659"/>
                          <a:pt x="105542" y="98936"/>
                          <a:pt x="105542" y="98936"/>
                        </a:cubicBezTo>
                        <a:cubicBezTo>
                          <a:pt x="105542" y="99574"/>
                          <a:pt x="105542" y="99574"/>
                          <a:pt x="105542" y="99574"/>
                        </a:cubicBezTo>
                        <a:cubicBezTo>
                          <a:pt x="104096" y="100851"/>
                          <a:pt x="104096" y="100851"/>
                          <a:pt x="104096" y="100851"/>
                        </a:cubicBezTo>
                        <a:cubicBezTo>
                          <a:pt x="100481" y="103404"/>
                          <a:pt x="100481" y="103404"/>
                          <a:pt x="100481" y="103404"/>
                        </a:cubicBezTo>
                        <a:cubicBezTo>
                          <a:pt x="100481" y="103404"/>
                          <a:pt x="100481" y="104042"/>
                          <a:pt x="99759" y="104680"/>
                        </a:cubicBezTo>
                        <a:cubicBezTo>
                          <a:pt x="99759" y="105957"/>
                          <a:pt x="99036" y="105957"/>
                          <a:pt x="99036" y="105957"/>
                        </a:cubicBezTo>
                        <a:cubicBezTo>
                          <a:pt x="99036" y="105957"/>
                          <a:pt x="98313" y="105957"/>
                          <a:pt x="97590" y="105957"/>
                        </a:cubicBezTo>
                        <a:cubicBezTo>
                          <a:pt x="97590" y="105957"/>
                          <a:pt x="96867" y="105319"/>
                          <a:pt x="96867" y="105319"/>
                        </a:cubicBezTo>
                        <a:cubicBezTo>
                          <a:pt x="96867" y="106595"/>
                          <a:pt x="96867" y="106595"/>
                          <a:pt x="96867" y="106595"/>
                        </a:cubicBezTo>
                        <a:cubicBezTo>
                          <a:pt x="96867" y="106595"/>
                          <a:pt x="96867" y="107234"/>
                          <a:pt x="97590" y="107234"/>
                        </a:cubicBezTo>
                        <a:cubicBezTo>
                          <a:pt x="98313" y="107872"/>
                          <a:pt x="98313" y="108510"/>
                          <a:pt x="99036" y="108510"/>
                        </a:cubicBezTo>
                        <a:cubicBezTo>
                          <a:pt x="99036" y="109148"/>
                          <a:pt x="99759" y="109787"/>
                          <a:pt x="99759" y="109787"/>
                        </a:cubicBezTo>
                        <a:cubicBezTo>
                          <a:pt x="98313" y="111063"/>
                          <a:pt x="98313" y="111063"/>
                          <a:pt x="98313" y="111063"/>
                        </a:cubicBezTo>
                        <a:cubicBezTo>
                          <a:pt x="98313" y="111702"/>
                          <a:pt x="98313" y="111702"/>
                          <a:pt x="98313" y="111702"/>
                        </a:cubicBezTo>
                        <a:cubicBezTo>
                          <a:pt x="96867" y="111702"/>
                          <a:pt x="96867" y="111702"/>
                          <a:pt x="96867" y="111702"/>
                        </a:cubicBezTo>
                        <a:cubicBezTo>
                          <a:pt x="96144" y="111063"/>
                          <a:pt x="96144" y="111063"/>
                          <a:pt x="96144" y="111063"/>
                        </a:cubicBezTo>
                        <a:cubicBezTo>
                          <a:pt x="96144" y="111063"/>
                          <a:pt x="95421" y="111063"/>
                          <a:pt x="95421" y="11106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6" name="Shape 2045"/>
                  <p:cNvSpPr/>
                  <p:nvPr/>
                </p:nvSpPr>
                <p:spPr>
                  <a:xfrm>
                    <a:off x="3117355" y="3610126"/>
                    <a:ext cx="405690" cy="613681"/>
                  </a:xfrm>
                  <a:custGeom>
                    <a:avLst/>
                    <a:gdLst/>
                    <a:ahLst/>
                    <a:cxnLst/>
                    <a:rect l="0" t="0" r="0" b="0"/>
                    <a:pathLst>
                      <a:path w="120000" h="120000" extrusionOk="0">
                        <a:moveTo>
                          <a:pt x="49887" y="3884"/>
                        </a:moveTo>
                        <a:cubicBezTo>
                          <a:pt x="49887" y="3884"/>
                          <a:pt x="52584" y="2589"/>
                          <a:pt x="52584" y="2589"/>
                        </a:cubicBezTo>
                        <a:cubicBezTo>
                          <a:pt x="52584" y="2589"/>
                          <a:pt x="53258" y="2158"/>
                          <a:pt x="53258" y="2158"/>
                        </a:cubicBezTo>
                        <a:cubicBezTo>
                          <a:pt x="53932" y="2158"/>
                          <a:pt x="54606" y="2158"/>
                          <a:pt x="55280" y="2158"/>
                        </a:cubicBezTo>
                        <a:cubicBezTo>
                          <a:pt x="55280" y="2158"/>
                          <a:pt x="55955" y="1726"/>
                          <a:pt x="55955" y="1726"/>
                        </a:cubicBezTo>
                        <a:cubicBezTo>
                          <a:pt x="56629" y="1294"/>
                          <a:pt x="56629" y="1294"/>
                          <a:pt x="56629" y="1294"/>
                        </a:cubicBezTo>
                        <a:cubicBezTo>
                          <a:pt x="57977" y="863"/>
                          <a:pt x="57977" y="863"/>
                          <a:pt x="57977" y="863"/>
                        </a:cubicBezTo>
                        <a:cubicBezTo>
                          <a:pt x="59325" y="863"/>
                          <a:pt x="59325" y="863"/>
                          <a:pt x="59325" y="863"/>
                        </a:cubicBezTo>
                        <a:cubicBezTo>
                          <a:pt x="59325" y="863"/>
                          <a:pt x="60000" y="863"/>
                          <a:pt x="60000" y="863"/>
                        </a:cubicBezTo>
                        <a:cubicBezTo>
                          <a:pt x="60000" y="863"/>
                          <a:pt x="62696" y="431"/>
                          <a:pt x="62696" y="431"/>
                        </a:cubicBezTo>
                        <a:cubicBezTo>
                          <a:pt x="62696" y="431"/>
                          <a:pt x="63370" y="863"/>
                          <a:pt x="64044" y="863"/>
                        </a:cubicBezTo>
                        <a:cubicBezTo>
                          <a:pt x="64044" y="863"/>
                          <a:pt x="65393" y="863"/>
                          <a:pt x="65393" y="863"/>
                        </a:cubicBezTo>
                        <a:cubicBezTo>
                          <a:pt x="66067" y="863"/>
                          <a:pt x="67415" y="431"/>
                          <a:pt x="67415" y="431"/>
                        </a:cubicBezTo>
                        <a:cubicBezTo>
                          <a:pt x="70112" y="0"/>
                          <a:pt x="70112" y="0"/>
                          <a:pt x="70112" y="0"/>
                        </a:cubicBezTo>
                        <a:cubicBezTo>
                          <a:pt x="70786" y="863"/>
                          <a:pt x="70786" y="863"/>
                          <a:pt x="70786" y="863"/>
                        </a:cubicBezTo>
                        <a:cubicBezTo>
                          <a:pt x="70786" y="863"/>
                          <a:pt x="70786" y="1726"/>
                          <a:pt x="70786" y="1726"/>
                        </a:cubicBezTo>
                        <a:cubicBezTo>
                          <a:pt x="70786" y="1726"/>
                          <a:pt x="70786" y="2158"/>
                          <a:pt x="71460" y="2158"/>
                        </a:cubicBezTo>
                        <a:cubicBezTo>
                          <a:pt x="72134" y="2158"/>
                          <a:pt x="72134" y="2158"/>
                          <a:pt x="72134" y="2158"/>
                        </a:cubicBezTo>
                        <a:cubicBezTo>
                          <a:pt x="72134" y="2589"/>
                          <a:pt x="72134" y="3884"/>
                          <a:pt x="72134" y="3884"/>
                        </a:cubicBezTo>
                        <a:cubicBezTo>
                          <a:pt x="70112" y="4316"/>
                          <a:pt x="70112" y="4316"/>
                          <a:pt x="70112" y="4316"/>
                        </a:cubicBezTo>
                        <a:cubicBezTo>
                          <a:pt x="70112" y="4316"/>
                          <a:pt x="69438" y="4316"/>
                          <a:pt x="69438" y="4748"/>
                        </a:cubicBezTo>
                        <a:cubicBezTo>
                          <a:pt x="69438" y="4748"/>
                          <a:pt x="68089" y="5179"/>
                          <a:pt x="68089" y="5179"/>
                        </a:cubicBezTo>
                        <a:cubicBezTo>
                          <a:pt x="68089" y="5611"/>
                          <a:pt x="67415" y="5611"/>
                          <a:pt x="68089" y="6043"/>
                        </a:cubicBezTo>
                        <a:cubicBezTo>
                          <a:pt x="68089" y="6474"/>
                          <a:pt x="68764" y="6906"/>
                          <a:pt x="68764" y="6906"/>
                        </a:cubicBezTo>
                        <a:cubicBezTo>
                          <a:pt x="68764" y="7769"/>
                          <a:pt x="68764" y="7769"/>
                          <a:pt x="68764" y="7769"/>
                        </a:cubicBezTo>
                        <a:cubicBezTo>
                          <a:pt x="68764" y="7769"/>
                          <a:pt x="68764" y="8201"/>
                          <a:pt x="69438" y="8201"/>
                        </a:cubicBezTo>
                        <a:cubicBezTo>
                          <a:pt x="69438" y="8633"/>
                          <a:pt x="70112" y="8201"/>
                          <a:pt x="70786" y="8201"/>
                        </a:cubicBezTo>
                        <a:cubicBezTo>
                          <a:pt x="72134" y="8201"/>
                          <a:pt x="72808" y="7769"/>
                          <a:pt x="73483" y="7769"/>
                        </a:cubicBezTo>
                        <a:cubicBezTo>
                          <a:pt x="73483" y="7769"/>
                          <a:pt x="74157" y="7769"/>
                          <a:pt x="74157" y="7769"/>
                        </a:cubicBezTo>
                        <a:cubicBezTo>
                          <a:pt x="74831" y="7338"/>
                          <a:pt x="76179" y="6906"/>
                          <a:pt x="76179" y="6906"/>
                        </a:cubicBezTo>
                        <a:cubicBezTo>
                          <a:pt x="76179" y="6906"/>
                          <a:pt x="76179" y="6043"/>
                          <a:pt x="76853" y="6474"/>
                        </a:cubicBezTo>
                        <a:cubicBezTo>
                          <a:pt x="76853" y="6474"/>
                          <a:pt x="76853" y="7338"/>
                          <a:pt x="76853" y="7338"/>
                        </a:cubicBezTo>
                        <a:cubicBezTo>
                          <a:pt x="76853" y="7338"/>
                          <a:pt x="76179" y="8201"/>
                          <a:pt x="76179" y="8201"/>
                        </a:cubicBezTo>
                        <a:cubicBezTo>
                          <a:pt x="76853" y="8633"/>
                          <a:pt x="77528" y="8201"/>
                          <a:pt x="77528" y="8201"/>
                        </a:cubicBezTo>
                        <a:cubicBezTo>
                          <a:pt x="78202" y="7769"/>
                          <a:pt x="78876" y="7769"/>
                          <a:pt x="78876" y="7769"/>
                        </a:cubicBezTo>
                        <a:cubicBezTo>
                          <a:pt x="80224" y="7769"/>
                          <a:pt x="80224" y="7769"/>
                          <a:pt x="80224" y="7769"/>
                        </a:cubicBezTo>
                        <a:cubicBezTo>
                          <a:pt x="80224" y="7769"/>
                          <a:pt x="81573" y="7769"/>
                          <a:pt x="81573" y="7769"/>
                        </a:cubicBezTo>
                        <a:cubicBezTo>
                          <a:pt x="81573" y="7769"/>
                          <a:pt x="82247" y="8201"/>
                          <a:pt x="82921" y="8201"/>
                        </a:cubicBezTo>
                        <a:cubicBezTo>
                          <a:pt x="82921" y="8633"/>
                          <a:pt x="84943" y="9064"/>
                          <a:pt x="84943" y="9064"/>
                        </a:cubicBezTo>
                        <a:cubicBezTo>
                          <a:pt x="84269" y="9928"/>
                          <a:pt x="84269" y="9928"/>
                          <a:pt x="84269" y="9928"/>
                        </a:cubicBezTo>
                        <a:cubicBezTo>
                          <a:pt x="84269" y="9928"/>
                          <a:pt x="83595" y="10791"/>
                          <a:pt x="84269" y="10791"/>
                        </a:cubicBezTo>
                        <a:cubicBezTo>
                          <a:pt x="84269" y="10791"/>
                          <a:pt x="84943" y="10359"/>
                          <a:pt x="84943" y="10359"/>
                        </a:cubicBezTo>
                        <a:cubicBezTo>
                          <a:pt x="85617" y="10359"/>
                          <a:pt x="86292" y="9928"/>
                          <a:pt x="86292" y="9928"/>
                        </a:cubicBezTo>
                        <a:cubicBezTo>
                          <a:pt x="86292" y="9928"/>
                          <a:pt x="86292" y="9496"/>
                          <a:pt x="86292" y="9496"/>
                        </a:cubicBezTo>
                        <a:cubicBezTo>
                          <a:pt x="86292" y="9928"/>
                          <a:pt x="87640" y="10359"/>
                          <a:pt x="87640" y="10359"/>
                        </a:cubicBezTo>
                        <a:cubicBezTo>
                          <a:pt x="87640" y="10359"/>
                          <a:pt x="88314" y="11223"/>
                          <a:pt x="88314" y="11223"/>
                        </a:cubicBezTo>
                        <a:cubicBezTo>
                          <a:pt x="88314" y="11223"/>
                          <a:pt x="89662" y="10791"/>
                          <a:pt x="89662" y="10791"/>
                        </a:cubicBezTo>
                        <a:cubicBezTo>
                          <a:pt x="89662" y="10791"/>
                          <a:pt x="89662" y="10791"/>
                          <a:pt x="90337" y="10791"/>
                        </a:cubicBezTo>
                        <a:cubicBezTo>
                          <a:pt x="91011" y="10791"/>
                          <a:pt x="91011" y="10791"/>
                          <a:pt x="91011" y="10791"/>
                        </a:cubicBezTo>
                        <a:cubicBezTo>
                          <a:pt x="91685" y="11223"/>
                          <a:pt x="93707" y="11223"/>
                          <a:pt x="93707" y="11223"/>
                        </a:cubicBezTo>
                        <a:cubicBezTo>
                          <a:pt x="95730" y="10359"/>
                          <a:pt x="95730" y="10359"/>
                          <a:pt x="95730" y="10359"/>
                        </a:cubicBezTo>
                        <a:cubicBezTo>
                          <a:pt x="96404" y="9064"/>
                          <a:pt x="96404" y="9064"/>
                          <a:pt x="96404" y="9064"/>
                        </a:cubicBezTo>
                        <a:cubicBezTo>
                          <a:pt x="96404" y="8633"/>
                          <a:pt x="96404" y="8633"/>
                          <a:pt x="96404" y="8633"/>
                        </a:cubicBezTo>
                        <a:cubicBezTo>
                          <a:pt x="96404" y="8633"/>
                          <a:pt x="97752" y="8201"/>
                          <a:pt x="97752" y="8201"/>
                        </a:cubicBezTo>
                        <a:cubicBezTo>
                          <a:pt x="97752" y="8201"/>
                          <a:pt x="98426" y="8201"/>
                          <a:pt x="98426" y="8633"/>
                        </a:cubicBezTo>
                        <a:cubicBezTo>
                          <a:pt x="98426" y="8633"/>
                          <a:pt x="99775" y="9496"/>
                          <a:pt x="99775" y="9496"/>
                        </a:cubicBezTo>
                        <a:cubicBezTo>
                          <a:pt x="99775" y="9496"/>
                          <a:pt x="101123" y="9496"/>
                          <a:pt x="101123" y="9496"/>
                        </a:cubicBezTo>
                        <a:cubicBezTo>
                          <a:pt x="101797" y="9496"/>
                          <a:pt x="101797" y="9064"/>
                          <a:pt x="102471" y="9496"/>
                        </a:cubicBezTo>
                        <a:cubicBezTo>
                          <a:pt x="102471" y="9928"/>
                          <a:pt x="102471" y="10359"/>
                          <a:pt x="103146" y="10359"/>
                        </a:cubicBezTo>
                        <a:cubicBezTo>
                          <a:pt x="103146" y="10359"/>
                          <a:pt x="103820" y="10359"/>
                          <a:pt x="103820" y="10359"/>
                        </a:cubicBezTo>
                        <a:cubicBezTo>
                          <a:pt x="104494" y="10791"/>
                          <a:pt x="105842" y="10791"/>
                          <a:pt x="105842" y="10791"/>
                        </a:cubicBezTo>
                        <a:cubicBezTo>
                          <a:pt x="106516" y="9928"/>
                          <a:pt x="106516" y="9928"/>
                          <a:pt x="106516" y="9928"/>
                        </a:cubicBezTo>
                        <a:cubicBezTo>
                          <a:pt x="106516" y="9928"/>
                          <a:pt x="106516" y="9496"/>
                          <a:pt x="107191" y="9928"/>
                        </a:cubicBezTo>
                        <a:cubicBezTo>
                          <a:pt x="107865" y="9928"/>
                          <a:pt x="107865" y="10791"/>
                          <a:pt x="107865" y="10791"/>
                        </a:cubicBezTo>
                        <a:cubicBezTo>
                          <a:pt x="107865" y="10791"/>
                          <a:pt x="108539" y="11223"/>
                          <a:pt x="108539" y="11223"/>
                        </a:cubicBezTo>
                        <a:cubicBezTo>
                          <a:pt x="108539" y="11223"/>
                          <a:pt x="110561" y="11654"/>
                          <a:pt x="110561" y="11654"/>
                        </a:cubicBezTo>
                        <a:cubicBezTo>
                          <a:pt x="110561" y="11654"/>
                          <a:pt x="111910" y="11223"/>
                          <a:pt x="111910" y="11223"/>
                        </a:cubicBezTo>
                        <a:cubicBezTo>
                          <a:pt x="112584" y="11223"/>
                          <a:pt x="112584" y="12086"/>
                          <a:pt x="112584" y="12086"/>
                        </a:cubicBezTo>
                        <a:cubicBezTo>
                          <a:pt x="112584" y="12086"/>
                          <a:pt x="112584" y="12517"/>
                          <a:pt x="112584" y="12517"/>
                        </a:cubicBezTo>
                        <a:cubicBezTo>
                          <a:pt x="111910" y="12949"/>
                          <a:pt x="111910" y="12949"/>
                          <a:pt x="112584" y="12949"/>
                        </a:cubicBezTo>
                        <a:cubicBezTo>
                          <a:pt x="112584" y="13381"/>
                          <a:pt x="113258" y="13812"/>
                          <a:pt x="113258" y="13812"/>
                        </a:cubicBezTo>
                        <a:cubicBezTo>
                          <a:pt x="113258" y="13812"/>
                          <a:pt x="112584" y="14676"/>
                          <a:pt x="112584" y="14676"/>
                        </a:cubicBezTo>
                        <a:cubicBezTo>
                          <a:pt x="112584" y="15107"/>
                          <a:pt x="111910" y="15539"/>
                          <a:pt x="111910" y="15539"/>
                        </a:cubicBezTo>
                        <a:cubicBezTo>
                          <a:pt x="111235" y="15971"/>
                          <a:pt x="111235" y="15971"/>
                          <a:pt x="111235" y="15971"/>
                        </a:cubicBezTo>
                        <a:cubicBezTo>
                          <a:pt x="111235" y="16402"/>
                          <a:pt x="111235" y="16402"/>
                          <a:pt x="111235" y="16402"/>
                        </a:cubicBezTo>
                        <a:cubicBezTo>
                          <a:pt x="111235" y="16834"/>
                          <a:pt x="111235" y="16834"/>
                          <a:pt x="111235" y="16834"/>
                        </a:cubicBezTo>
                        <a:cubicBezTo>
                          <a:pt x="111235" y="16834"/>
                          <a:pt x="111235" y="17266"/>
                          <a:pt x="111235" y="17266"/>
                        </a:cubicBezTo>
                        <a:cubicBezTo>
                          <a:pt x="110561" y="17266"/>
                          <a:pt x="111235" y="18129"/>
                          <a:pt x="111235" y="18129"/>
                        </a:cubicBezTo>
                        <a:cubicBezTo>
                          <a:pt x="111910" y="18561"/>
                          <a:pt x="111910" y="18561"/>
                          <a:pt x="111910" y="18561"/>
                        </a:cubicBezTo>
                        <a:cubicBezTo>
                          <a:pt x="111910" y="18561"/>
                          <a:pt x="113258" y="18129"/>
                          <a:pt x="113258" y="18129"/>
                        </a:cubicBezTo>
                        <a:cubicBezTo>
                          <a:pt x="113258" y="18129"/>
                          <a:pt x="115280" y="18561"/>
                          <a:pt x="115280" y="18561"/>
                        </a:cubicBezTo>
                        <a:cubicBezTo>
                          <a:pt x="115280" y="18561"/>
                          <a:pt x="116629" y="18992"/>
                          <a:pt x="116629" y="19424"/>
                        </a:cubicBezTo>
                        <a:cubicBezTo>
                          <a:pt x="117303" y="19424"/>
                          <a:pt x="118651" y="20287"/>
                          <a:pt x="118651" y="20287"/>
                        </a:cubicBezTo>
                        <a:cubicBezTo>
                          <a:pt x="120000" y="21582"/>
                          <a:pt x="120000" y="21582"/>
                          <a:pt x="120000" y="21582"/>
                        </a:cubicBezTo>
                        <a:cubicBezTo>
                          <a:pt x="118651" y="22446"/>
                          <a:pt x="118651" y="22446"/>
                          <a:pt x="118651" y="22446"/>
                        </a:cubicBezTo>
                        <a:cubicBezTo>
                          <a:pt x="117303" y="23741"/>
                          <a:pt x="117303" y="23741"/>
                          <a:pt x="117303" y="23741"/>
                        </a:cubicBezTo>
                        <a:cubicBezTo>
                          <a:pt x="115955" y="24172"/>
                          <a:pt x="115955" y="24172"/>
                          <a:pt x="115955" y="24172"/>
                        </a:cubicBezTo>
                        <a:cubicBezTo>
                          <a:pt x="115955" y="24172"/>
                          <a:pt x="115280" y="25035"/>
                          <a:pt x="115280" y="25035"/>
                        </a:cubicBezTo>
                        <a:cubicBezTo>
                          <a:pt x="115280" y="25035"/>
                          <a:pt x="113932" y="25467"/>
                          <a:pt x="113932" y="25467"/>
                        </a:cubicBezTo>
                        <a:cubicBezTo>
                          <a:pt x="113258" y="25467"/>
                          <a:pt x="113258" y="25467"/>
                          <a:pt x="113258" y="25467"/>
                        </a:cubicBezTo>
                        <a:cubicBezTo>
                          <a:pt x="111235" y="26762"/>
                          <a:pt x="111235" y="26762"/>
                          <a:pt x="111235" y="26762"/>
                        </a:cubicBezTo>
                        <a:cubicBezTo>
                          <a:pt x="109887" y="27194"/>
                          <a:pt x="109887" y="27194"/>
                          <a:pt x="109887" y="27194"/>
                        </a:cubicBezTo>
                        <a:cubicBezTo>
                          <a:pt x="108539" y="27625"/>
                          <a:pt x="108539" y="27625"/>
                          <a:pt x="108539" y="27625"/>
                        </a:cubicBezTo>
                        <a:cubicBezTo>
                          <a:pt x="107865" y="27625"/>
                          <a:pt x="107865" y="27625"/>
                          <a:pt x="107865" y="27625"/>
                        </a:cubicBezTo>
                        <a:cubicBezTo>
                          <a:pt x="106516" y="28489"/>
                          <a:pt x="106516" y="28489"/>
                          <a:pt x="106516" y="28489"/>
                        </a:cubicBezTo>
                        <a:cubicBezTo>
                          <a:pt x="105168" y="28057"/>
                          <a:pt x="105168" y="28057"/>
                          <a:pt x="105168" y="28057"/>
                        </a:cubicBezTo>
                        <a:cubicBezTo>
                          <a:pt x="103146" y="28489"/>
                          <a:pt x="103146" y="28489"/>
                          <a:pt x="103146" y="28489"/>
                        </a:cubicBezTo>
                        <a:cubicBezTo>
                          <a:pt x="103146" y="28920"/>
                          <a:pt x="103146" y="28920"/>
                          <a:pt x="103146" y="28920"/>
                        </a:cubicBezTo>
                        <a:cubicBezTo>
                          <a:pt x="100449" y="29784"/>
                          <a:pt x="100449" y="29784"/>
                          <a:pt x="100449" y="29784"/>
                        </a:cubicBezTo>
                        <a:cubicBezTo>
                          <a:pt x="99775" y="31079"/>
                          <a:pt x="99775" y="31079"/>
                          <a:pt x="99775" y="31079"/>
                        </a:cubicBezTo>
                        <a:cubicBezTo>
                          <a:pt x="99775" y="31079"/>
                          <a:pt x="98426" y="31079"/>
                          <a:pt x="98426" y="31510"/>
                        </a:cubicBezTo>
                        <a:cubicBezTo>
                          <a:pt x="97752" y="31510"/>
                          <a:pt x="97078" y="31942"/>
                          <a:pt x="97078" y="31942"/>
                        </a:cubicBezTo>
                        <a:cubicBezTo>
                          <a:pt x="95730" y="31510"/>
                          <a:pt x="95730" y="31510"/>
                          <a:pt x="95730" y="31510"/>
                        </a:cubicBezTo>
                        <a:cubicBezTo>
                          <a:pt x="95056" y="31942"/>
                          <a:pt x="95056" y="31942"/>
                          <a:pt x="95056" y="31942"/>
                        </a:cubicBezTo>
                        <a:cubicBezTo>
                          <a:pt x="95056" y="32805"/>
                          <a:pt x="95056" y="32805"/>
                          <a:pt x="95056" y="32805"/>
                        </a:cubicBezTo>
                        <a:cubicBezTo>
                          <a:pt x="95730" y="32805"/>
                          <a:pt x="95730" y="32805"/>
                          <a:pt x="95730" y="32805"/>
                        </a:cubicBezTo>
                        <a:cubicBezTo>
                          <a:pt x="95730" y="32805"/>
                          <a:pt x="95730" y="33669"/>
                          <a:pt x="95730" y="33669"/>
                        </a:cubicBezTo>
                        <a:cubicBezTo>
                          <a:pt x="95730" y="34100"/>
                          <a:pt x="95730" y="34964"/>
                          <a:pt x="95730" y="34964"/>
                        </a:cubicBezTo>
                        <a:cubicBezTo>
                          <a:pt x="97078" y="35395"/>
                          <a:pt x="97078" y="35395"/>
                          <a:pt x="97078" y="35395"/>
                        </a:cubicBezTo>
                        <a:cubicBezTo>
                          <a:pt x="97078" y="35395"/>
                          <a:pt x="97078" y="36690"/>
                          <a:pt x="96404" y="36690"/>
                        </a:cubicBezTo>
                        <a:cubicBezTo>
                          <a:pt x="96404" y="36690"/>
                          <a:pt x="95056" y="37122"/>
                          <a:pt x="95056" y="37122"/>
                        </a:cubicBezTo>
                        <a:cubicBezTo>
                          <a:pt x="95056" y="37553"/>
                          <a:pt x="95056" y="37553"/>
                          <a:pt x="95056" y="37553"/>
                        </a:cubicBezTo>
                        <a:cubicBezTo>
                          <a:pt x="95730" y="38417"/>
                          <a:pt x="95730" y="38417"/>
                          <a:pt x="95730" y="38417"/>
                        </a:cubicBezTo>
                        <a:cubicBezTo>
                          <a:pt x="95730" y="38417"/>
                          <a:pt x="95730" y="39712"/>
                          <a:pt x="95056" y="39712"/>
                        </a:cubicBezTo>
                        <a:cubicBezTo>
                          <a:pt x="95056" y="40143"/>
                          <a:pt x="94382" y="41007"/>
                          <a:pt x="94382" y="41007"/>
                        </a:cubicBezTo>
                        <a:cubicBezTo>
                          <a:pt x="93707" y="41438"/>
                          <a:pt x="93707" y="41438"/>
                          <a:pt x="93707" y="41438"/>
                        </a:cubicBezTo>
                        <a:cubicBezTo>
                          <a:pt x="93033" y="42302"/>
                          <a:pt x="93033" y="42302"/>
                          <a:pt x="93033" y="42302"/>
                        </a:cubicBezTo>
                        <a:cubicBezTo>
                          <a:pt x="93707" y="42733"/>
                          <a:pt x="93707" y="42733"/>
                          <a:pt x="93707" y="42733"/>
                        </a:cubicBezTo>
                        <a:cubicBezTo>
                          <a:pt x="93707" y="44028"/>
                          <a:pt x="93707" y="44028"/>
                          <a:pt x="93707" y="44028"/>
                        </a:cubicBezTo>
                        <a:cubicBezTo>
                          <a:pt x="92359" y="44460"/>
                          <a:pt x="92359" y="44460"/>
                          <a:pt x="92359" y="44460"/>
                        </a:cubicBezTo>
                        <a:cubicBezTo>
                          <a:pt x="91685" y="45755"/>
                          <a:pt x="91685" y="45755"/>
                          <a:pt x="91685" y="45755"/>
                        </a:cubicBezTo>
                        <a:cubicBezTo>
                          <a:pt x="92359" y="46187"/>
                          <a:pt x="92359" y="46187"/>
                          <a:pt x="92359" y="46187"/>
                        </a:cubicBezTo>
                        <a:cubicBezTo>
                          <a:pt x="93033" y="47050"/>
                          <a:pt x="93033" y="47050"/>
                          <a:pt x="93033" y="47050"/>
                        </a:cubicBezTo>
                        <a:cubicBezTo>
                          <a:pt x="92359" y="47913"/>
                          <a:pt x="92359" y="47913"/>
                          <a:pt x="92359" y="47913"/>
                        </a:cubicBezTo>
                        <a:cubicBezTo>
                          <a:pt x="91685" y="48345"/>
                          <a:pt x="91685" y="48345"/>
                          <a:pt x="91685" y="48345"/>
                        </a:cubicBezTo>
                        <a:cubicBezTo>
                          <a:pt x="91011" y="48345"/>
                          <a:pt x="91011" y="48345"/>
                          <a:pt x="91011" y="48345"/>
                        </a:cubicBezTo>
                        <a:cubicBezTo>
                          <a:pt x="89662" y="49208"/>
                          <a:pt x="89662" y="49208"/>
                          <a:pt x="89662" y="49208"/>
                        </a:cubicBezTo>
                        <a:cubicBezTo>
                          <a:pt x="88314" y="49208"/>
                          <a:pt x="88314" y="49208"/>
                          <a:pt x="88314" y="49208"/>
                        </a:cubicBezTo>
                        <a:cubicBezTo>
                          <a:pt x="87640" y="49208"/>
                          <a:pt x="87640" y="49208"/>
                          <a:pt x="87640" y="49208"/>
                        </a:cubicBezTo>
                        <a:cubicBezTo>
                          <a:pt x="86292" y="50071"/>
                          <a:pt x="86292" y="50071"/>
                          <a:pt x="86292" y="50071"/>
                        </a:cubicBezTo>
                        <a:cubicBezTo>
                          <a:pt x="85617" y="50071"/>
                          <a:pt x="85617" y="50071"/>
                          <a:pt x="85617" y="50071"/>
                        </a:cubicBezTo>
                        <a:cubicBezTo>
                          <a:pt x="84943" y="50503"/>
                          <a:pt x="84943" y="50503"/>
                          <a:pt x="84943" y="50503"/>
                        </a:cubicBezTo>
                        <a:cubicBezTo>
                          <a:pt x="84943" y="51366"/>
                          <a:pt x="84943" y="51366"/>
                          <a:pt x="84943" y="51366"/>
                        </a:cubicBezTo>
                        <a:cubicBezTo>
                          <a:pt x="84943" y="51366"/>
                          <a:pt x="84943" y="51798"/>
                          <a:pt x="84943" y="51798"/>
                        </a:cubicBezTo>
                        <a:cubicBezTo>
                          <a:pt x="85617" y="51798"/>
                          <a:pt x="85617" y="52230"/>
                          <a:pt x="85617" y="52230"/>
                        </a:cubicBezTo>
                        <a:cubicBezTo>
                          <a:pt x="86292" y="53093"/>
                          <a:pt x="86292" y="53093"/>
                          <a:pt x="86292" y="53093"/>
                        </a:cubicBezTo>
                        <a:cubicBezTo>
                          <a:pt x="86966" y="53956"/>
                          <a:pt x="86966" y="53956"/>
                          <a:pt x="86966" y="53956"/>
                        </a:cubicBezTo>
                        <a:cubicBezTo>
                          <a:pt x="87640" y="55251"/>
                          <a:pt x="87640" y="55251"/>
                          <a:pt x="87640" y="55251"/>
                        </a:cubicBezTo>
                        <a:cubicBezTo>
                          <a:pt x="87640" y="55251"/>
                          <a:pt x="86966" y="56115"/>
                          <a:pt x="86966" y="56115"/>
                        </a:cubicBezTo>
                        <a:cubicBezTo>
                          <a:pt x="86966" y="56115"/>
                          <a:pt x="86292" y="56978"/>
                          <a:pt x="86292" y="56978"/>
                        </a:cubicBezTo>
                        <a:cubicBezTo>
                          <a:pt x="85617" y="57841"/>
                          <a:pt x="85617" y="57841"/>
                          <a:pt x="85617" y="57841"/>
                        </a:cubicBezTo>
                        <a:cubicBezTo>
                          <a:pt x="84943" y="58705"/>
                          <a:pt x="84943" y="58705"/>
                          <a:pt x="84943" y="58705"/>
                        </a:cubicBezTo>
                        <a:cubicBezTo>
                          <a:pt x="84269" y="59136"/>
                          <a:pt x="84269" y="59136"/>
                          <a:pt x="84269" y="59136"/>
                        </a:cubicBezTo>
                        <a:cubicBezTo>
                          <a:pt x="82921" y="59136"/>
                          <a:pt x="82921" y="59136"/>
                          <a:pt x="82921" y="59136"/>
                        </a:cubicBezTo>
                        <a:cubicBezTo>
                          <a:pt x="82921" y="59568"/>
                          <a:pt x="82921" y="59568"/>
                          <a:pt x="82921" y="59568"/>
                        </a:cubicBezTo>
                        <a:cubicBezTo>
                          <a:pt x="82247" y="60431"/>
                          <a:pt x="82247" y="60431"/>
                          <a:pt x="82247" y="60431"/>
                        </a:cubicBezTo>
                        <a:cubicBezTo>
                          <a:pt x="82247" y="60863"/>
                          <a:pt x="82247" y="60863"/>
                          <a:pt x="82247" y="60863"/>
                        </a:cubicBezTo>
                        <a:cubicBezTo>
                          <a:pt x="81573" y="60863"/>
                          <a:pt x="81573" y="60863"/>
                          <a:pt x="81573" y="60863"/>
                        </a:cubicBezTo>
                        <a:cubicBezTo>
                          <a:pt x="81573" y="61726"/>
                          <a:pt x="81573" y="61726"/>
                          <a:pt x="81573" y="61726"/>
                        </a:cubicBezTo>
                        <a:cubicBezTo>
                          <a:pt x="80898" y="62158"/>
                          <a:pt x="80898" y="62158"/>
                          <a:pt x="80898" y="62158"/>
                        </a:cubicBezTo>
                        <a:cubicBezTo>
                          <a:pt x="80898" y="62158"/>
                          <a:pt x="80224" y="62158"/>
                          <a:pt x="80224" y="62158"/>
                        </a:cubicBezTo>
                        <a:cubicBezTo>
                          <a:pt x="79550" y="62158"/>
                          <a:pt x="78876" y="62589"/>
                          <a:pt x="78876" y="62589"/>
                        </a:cubicBezTo>
                        <a:cubicBezTo>
                          <a:pt x="78876" y="62589"/>
                          <a:pt x="77528" y="62589"/>
                          <a:pt x="77528" y="62158"/>
                        </a:cubicBezTo>
                        <a:cubicBezTo>
                          <a:pt x="77528" y="62158"/>
                          <a:pt x="76853" y="62589"/>
                          <a:pt x="76179" y="62158"/>
                        </a:cubicBezTo>
                        <a:cubicBezTo>
                          <a:pt x="76179" y="62158"/>
                          <a:pt x="75505" y="61726"/>
                          <a:pt x="75505" y="61726"/>
                        </a:cubicBezTo>
                        <a:cubicBezTo>
                          <a:pt x="74831" y="61726"/>
                          <a:pt x="74831" y="61726"/>
                          <a:pt x="74831" y="61726"/>
                        </a:cubicBezTo>
                        <a:cubicBezTo>
                          <a:pt x="73483" y="61726"/>
                          <a:pt x="73483" y="61726"/>
                          <a:pt x="73483" y="61726"/>
                        </a:cubicBezTo>
                        <a:cubicBezTo>
                          <a:pt x="71460" y="61726"/>
                          <a:pt x="71460" y="61726"/>
                          <a:pt x="71460" y="61726"/>
                        </a:cubicBezTo>
                        <a:cubicBezTo>
                          <a:pt x="70112" y="61726"/>
                          <a:pt x="70112" y="61726"/>
                          <a:pt x="70112" y="61726"/>
                        </a:cubicBezTo>
                        <a:cubicBezTo>
                          <a:pt x="70112" y="61294"/>
                          <a:pt x="70112" y="61294"/>
                          <a:pt x="70112" y="61294"/>
                        </a:cubicBezTo>
                        <a:cubicBezTo>
                          <a:pt x="69438" y="61726"/>
                          <a:pt x="69438" y="61726"/>
                          <a:pt x="69438" y="61726"/>
                        </a:cubicBezTo>
                        <a:cubicBezTo>
                          <a:pt x="68764" y="60863"/>
                          <a:pt x="68764" y="60863"/>
                          <a:pt x="68764" y="60863"/>
                        </a:cubicBezTo>
                        <a:cubicBezTo>
                          <a:pt x="67415" y="60863"/>
                          <a:pt x="67415" y="60863"/>
                          <a:pt x="67415" y="60863"/>
                        </a:cubicBezTo>
                        <a:cubicBezTo>
                          <a:pt x="66067" y="60863"/>
                          <a:pt x="66067" y="60863"/>
                          <a:pt x="66067" y="60863"/>
                        </a:cubicBezTo>
                        <a:cubicBezTo>
                          <a:pt x="66067" y="60863"/>
                          <a:pt x="66067" y="61294"/>
                          <a:pt x="66741" y="61726"/>
                        </a:cubicBezTo>
                        <a:cubicBezTo>
                          <a:pt x="66741" y="61726"/>
                          <a:pt x="67415" y="62589"/>
                          <a:pt x="67415" y="62589"/>
                        </a:cubicBezTo>
                        <a:cubicBezTo>
                          <a:pt x="67415" y="62589"/>
                          <a:pt x="67415" y="63453"/>
                          <a:pt x="67415" y="63453"/>
                        </a:cubicBezTo>
                        <a:cubicBezTo>
                          <a:pt x="67415" y="63453"/>
                          <a:pt x="68764" y="64316"/>
                          <a:pt x="68764" y="64316"/>
                        </a:cubicBezTo>
                        <a:cubicBezTo>
                          <a:pt x="68764" y="64748"/>
                          <a:pt x="68764" y="64748"/>
                          <a:pt x="68764" y="64748"/>
                        </a:cubicBezTo>
                        <a:cubicBezTo>
                          <a:pt x="68764" y="64748"/>
                          <a:pt x="69438" y="65611"/>
                          <a:pt x="69438" y="65611"/>
                        </a:cubicBezTo>
                        <a:cubicBezTo>
                          <a:pt x="69438" y="65611"/>
                          <a:pt x="70786" y="66043"/>
                          <a:pt x="70786" y="66043"/>
                        </a:cubicBezTo>
                        <a:cubicBezTo>
                          <a:pt x="70786" y="66906"/>
                          <a:pt x="70786" y="66906"/>
                          <a:pt x="70786" y="66906"/>
                        </a:cubicBezTo>
                        <a:cubicBezTo>
                          <a:pt x="70112" y="67338"/>
                          <a:pt x="70112" y="67338"/>
                          <a:pt x="70112" y="67338"/>
                        </a:cubicBezTo>
                        <a:cubicBezTo>
                          <a:pt x="69438" y="67769"/>
                          <a:pt x="69438" y="67769"/>
                          <a:pt x="69438" y="67769"/>
                        </a:cubicBezTo>
                        <a:cubicBezTo>
                          <a:pt x="70112" y="68633"/>
                          <a:pt x="70112" y="68633"/>
                          <a:pt x="70112" y="68633"/>
                        </a:cubicBezTo>
                        <a:cubicBezTo>
                          <a:pt x="70112" y="69496"/>
                          <a:pt x="70112" y="69496"/>
                          <a:pt x="70112" y="69496"/>
                        </a:cubicBezTo>
                        <a:cubicBezTo>
                          <a:pt x="70786" y="69928"/>
                          <a:pt x="70786" y="69928"/>
                          <a:pt x="70786" y="69928"/>
                        </a:cubicBezTo>
                        <a:cubicBezTo>
                          <a:pt x="70786" y="70359"/>
                          <a:pt x="70786" y="70359"/>
                          <a:pt x="70786" y="70359"/>
                        </a:cubicBezTo>
                        <a:cubicBezTo>
                          <a:pt x="70112" y="70791"/>
                          <a:pt x="70112" y="70791"/>
                          <a:pt x="70112" y="70791"/>
                        </a:cubicBezTo>
                        <a:cubicBezTo>
                          <a:pt x="70112" y="71654"/>
                          <a:pt x="70112" y="71654"/>
                          <a:pt x="70112" y="71654"/>
                        </a:cubicBezTo>
                        <a:cubicBezTo>
                          <a:pt x="70786" y="72517"/>
                          <a:pt x="70786" y="72517"/>
                          <a:pt x="70786" y="72517"/>
                        </a:cubicBezTo>
                        <a:cubicBezTo>
                          <a:pt x="71460" y="73381"/>
                          <a:pt x="71460" y="73381"/>
                          <a:pt x="71460" y="73381"/>
                        </a:cubicBezTo>
                        <a:cubicBezTo>
                          <a:pt x="72808" y="73381"/>
                          <a:pt x="72808" y="73381"/>
                          <a:pt x="72808" y="73381"/>
                        </a:cubicBezTo>
                        <a:cubicBezTo>
                          <a:pt x="72808" y="74244"/>
                          <a:pt x="72808" y="74244"/>
                          <a:pt x="72808" y="74244"/>
                        </a:cubicBezTo>
                        <a:cubicBezTo>
                          <a:pt x="72134" y="74676"/>
                          <a:pt x="72134" y="74676"/>
                          <a:pt x="72134" y="74676"/>
                        </a:cubicBezTo>
                        <a:cubicBezTo>
                          <a:pt x="72134" y="74676"/>
                          <a:pt x="72134" y="75107"/>
                          <a:pt x="72134" y="75107"/>
                        </a:cubicBezTo>
                        <a:cubicBezTo>
                          <a:pt x="72808" y="75107"/>
                          <a:pt x="73483" y="75539"/>
                          <a:pt x="73483" y="75539"/>
                        </a:cubicBezTo>
                        <a:cubicBezTo>
                          <a:pt x="74831" y="75107"/>
                          <a:pt x="74831" y="75107"/>
                          <a:pt x="74831" y="75107"/>
                        </a:cubicBezTo>
                        <a:cubicBezTo>
                          <a:pt x="74831" y="75107"/>
                          <a:pt x="75505" y="75107"/>
                          <a:pt x="75505" y="75107"/>
                        </a:cubicBezTo>
                        <a:cubicBezTo>
                          <a:pt x="75505" y="75539"/>
                          <a:pt x="76179" y="76402"/>
                          <a:pt x="76179" y="76402"/>
                        </a:cubicBezTo>
                        <a:cubicBezTo>
                          <a:pt x="76853" y="76834"/>
                          <a:pt x="76853" y="76834"/>
                          <a:pt x="76853" y="76834"/>
                        </a:cubicBezTo>
                        <a:cubicBezTo>
                          <a:pt x="76853" y="77697"/>
                          <a:pt x="76853" y="77697"/>
                          <a:pt x="76853" y="77697"/>
                        </a:cubicBezTo>
                        <a:cubicBezTo>
                          <a:pt x="75505" y="78561"/>
                          <a:pt x="75505" y="78561"/>
                          <a:pt x="75505" y="78561"/>
                        </a:cubicBezTo>
                        <a:cubicBezTo>
                          <a:pt x="74157" y="79424"/>
                          <a:pt x="74157" y="79424"/>
                          <a:pt x="74157" y="79424"/>
                        </a:cubicBezTo>
                        <a:cubicBezTo>
                          <a:pt x="73483" y="79856"/>
                          <a:pt x="73483" y="79856"/>
                          <a:pt x="73483" y="79856"/>
                        </a:cubicBezTo>
                        <a:cubicBezTo>
                          <a:pt x="73483" y="80719"/>
                          <a:pt x="73483" y="80719"/>
                          <a:pt x="73483" y="80719"/>
                        </a:cubicBezTo>
                        <a:cubicBezTo>
                          <a:pt x="72808" y="81151"/>
                          <a:pt x="72808" y="81151"/>
                          <a:pt x="72808" y="81151"/>
                        </a:cubicBezTo>
                        <a:cubicBezTo>
                          <a:pt x="71460" y="81582"/>
                          <a:pt x="71460" y="81582"/>
                          <a:pt x="71460" y="81582"/>
                        </a:cubicBezTo>
                        <a:cubicBezTo>
                          <a:pt x="70112" y="82014"/>
                          <a:pt x="70112" y="82014"/>
                          <a:pt x="70112" y="82014"/>
                        </a:cubicBezTo>
                        <a:cubicBezTo>
                          <a:pt x="69438" y="82014"/>
                          <a:pt x="69438" y="82014"/>
                          <a:pt x="69438" y="82014"/>
                        </a:cubicBezTo>
                        <a:cubicBezTo>
                          <a:pt x="68764" y="82446"/>
                          <a:pt x="68764" y="82446"/>
                          <a:pt x="68764" y="82446"/>
                        </a:cubicBezTo>
                        <a:cubicBezTo>
                          <a:pt x="66741" y="82877"/>
                          <a:pt x="66741" y="82877"/>
                          <a:pt x="66741" y="82877"/>
                        </a:cubicBezTo>
                        <a:cubicBezTo>
                          <a:pt x="66067" y="82877"/>
                          <a:pt x="66067" y="82877"/>
                          <a:pt x="66067" y="82877"/>
                        </a:cubicBezTo>
                        <a:cubicBezTo>
                          <a:pt x="64719" y="84604"/>
                          <a:pt x="64719" y="84604"/>
                          <a:pt x="64719" y="84604"/>
                        </a:cubicBezTo>
                        <a:cubicBezTo>
                          <a:pt x="64719" y="84604"/>
                          <a:pt x="64719" y="85467"/>
                          <a:pt x="64719" y="85467"/>
                        </a:cubicBezTo>
                        <a:cubicBezTo>
                          <a:pt x="64719" y="85467"/>
                          <a:pt x="65393" y="85899"/>
                          <a:pt x="65393" y="85899"/>
                        </a:cubicBezTo>
                        <a:cubicBezTo>
                          <a:pt x="65393" y="85899"/>
                          <a:pt x="64044" y="86762"/>
                          <a:pt x="64044" y="86762"/>
                        </a:cubicBezTo>
                        <a:cubicBezTo>
                          <a:pt x="64044" y="86762"/>
                          <a:pt x="62696" y="87194"/>
                          <a:pt x="62696" y="87194"/>
                        </a:cubicBezTo>
                        <a:cubicBezTo>
                          <a:pt x="62022" y="88057"/>
                          <a:pt x="62022" y="88057"/>
                          <a:pt x="62022" y="88057"/>
                        </a:cubicBezTo>
                        <a:cubicBezTo>
                          <a:pt x="62696" y="88489"/>
                          <a:pt x="62696" y="88489"/>
                          <a:pt x="62696" y="88489"/>
                        </a:cubicBezTo>
                        <a:cubicBezTo>
                          <a:pt x="61348" y="88489"/>
                          <a:pt x="61348" y="88489"/>
                          <a:pt x="61348" y="88489"/>
                        </a:cubicBezTo>
                        <a:cubicBezTo>
                          <a:pt x="62022" y="89352"/>
                          <a:pt x="62022" y="89352"/>
                          <a:pt x="62022" y="89352"/>
                        </a:cubicBezTo>
                        <a:cubicBezTo>
                          <a:pt x="61348" y="89784"/>
                          <a:pt x="61348" y="89784"/>
                          <a:pt x="61348" y="89784"/>
                        </a:cubicBezTo>
                        <a:cubicBezTo>
                          <a:pt x="62022" y="90215"/>
                          <a:pt x="62022" y="90215"/>
                          <a:pt x="62022" y="90215"/>
                        </a:cubicBezTo>
                        <a:cubicBezTo>
                          <a:pt x="62022" y="90215"/>
                          <a:pt x="62696" y="91510"/>
                          <a:pt x="62696" y="91510"/>
                        </a:cubicBezTo>
                        <a:cubicBezTo>
                          <a:pt x="62696" y="91942"/>
                          <a:pt x="63370" y="92374"/>
                          <a:pt x="63370" y="92374"/>
                        </a:cubicBezTo>
                        <a:cubicBezTo>
                          <a:pt x="63370" y="92374"/>
                          <a:pt x="64044" y="92805"/>
                          <a:pt x="64044" y="92805"/>
                        </a:cubicBezTo>
                        <a:cubicBezTo>
                          <a:pt x="64044" y="93237"/>
                          <a:pt x="64044" y="93669"/>
                          <a:pt x="64044" y="94100"/>
                        </a:cubicBezTo>
                        <a:cubicBezTo>
                          <a:pt x="64044" y="94532"/>
                          <a:pt x="64719" y="95395"/>
                          <a:pt x="64719" y="95395"/>
                        </a:cubicBezTo>
                        <a:cubicBezTo>
                          <a:pt x="65393" y="96258"/>
                          <a:pt x="65393" y="96258"/>
                          <a:pt x="65393" y="96258"/>
                        </a:cubicBezTo>
                        <a:cubicBezTo>
                          <a:pt x="65393" y="96258"/>
                          <a:pt x="65393" y="96690"/>
                          <a:pt x="65393" y="96690"/>
                        </a:cubicBezTo>
                        <a:cubicBezTo>
                          <a:pt x="66067" y="96690"/>
                          <a:pt x="67415" y="96690"/>
                          <a:pt x="67415" y="96690"/>
                        </a:cubicBezTo>
                        <a:cubicBezTo>
                          <a:pt x="67415" y="96690"/>
                          <a:pt x="68764" y="96690"/>
                          <a:pt x="68764" y="96690"/>
                        </a:cubicBezTo>
                        <a:cubicBezTo>
                          <a:pt x="68764" y="96690"/>
                          <a:pt x="69438" y="96258"/>
                          <a:pt x="70112" y="96690"/>
                        </a:cubicBezTo>
                        <a:cubicBezTo>
                          <a:pt x="70112" y="96690"/>
                          <a:pt x="70112" y="97122"/>
                          <a:pt x="70112" y="97122"/>
                        </a:cubicBezTo>
                        <a:cubicBezTo>
                          <a:pt x="70112" y="97122"/>
                          <a:pt x="70112" y="97553"/>
                          <a:pt x="70112" y="97553"/>
                        </a:cubicBezTo>
                        <a:cubicBezTo>
                          <a:pt x="67415" y="99280"/>
                          <a:pt x="67415" y="99280"/>
                          <a:pt x="67415" y="99280"/>
                        </a:cubicBezTo>
                        <a:cubicBezTo>
                          <a:pt x="67415" y="100575"/>
                          <a:pt x="67415" y="100575"/>
                          <a:pt x="67415" y="100575"/>
                        </a:cubicBezTo>
                        <a:cubicBezTo>
                          <a:pt x="67415" y="100575"/>
                          <a:pt x="66741" y="100575"/>
                          <a:pt x="66741" y="100575"/>
                        </a:cubicBezTo>
                        <a:cubicBezTo>
                          <a:pt x="66067" y="100575"/>
                          <a:pt x="65393" y="100575"/>
                          <a:pt x="65393" y="100575"/>
                        </a:cubicBezTo>
                        <a:cubicBezTo>
                          <a:pt x="64044" y="99712"/>
                          <a:pt x="64044" y="99712"/>
                          <a:pt x="64044" y="99712"/>
                        </a:cubicBezTo>
                        <a:cubicBezTo>
                          <a:pt x="62696" y="100143"/>
                          <a:pt x="62696" y="100143"/>
                          <a:pt x="62696" y="100143"/>
                        </a:cubicBezTo>
                        <a:cubicBezTo>
                          <a:pt x="62696" y="100575"/>
                          <a:pt x="62696" y="100575"/>
                          <a:pt x="62696" y="100575"/>
                        </a:cubicBezTo>
                        <a:cubicBezTo>
                          <a:pt x="62696" y="100575"/>
                          <a:pt x="61348" y="100575"/>
                          <a:pt x="61348" y="100575"/>
                        </a:cubicBezTo>
                        <a:cubicBezTo>
                          <a:pt x="61348" y="100575"/>
                          <a:pt x="59325" y="100575"/>
                          <a:pt x="59325" y="100575"/>
                        </a:cubicBezTo>
                        <a:cubicBezTo>
                          <a:pt x="58651" y="101007"/>
                          <a:pt x="58651" y="101007"/>
                          <a:pt x="58651" y="101007"/>
                        </a:cubicBezTo>
                        <a:cubicBezTo>
                          <a:pt x="57977" y="102733"/>
                          <a:pt x="57977" y="102733"/>
                          <a:pt x="57977" y="102733"/>
                        </a:cubicBezTo>
                        <a:cubicBezTo>
                          <a:pt x="56629" y="103597"/>
                          <a:pt x="56629" y="103597"/>
                          <a:pt x="56629" y="103597"/>
                        </a:cubicBezTo>
                        <a:cubicBezTo>
                          <a:pt x="55280" y="104028"/>
                          <a:pt x="55280" y="104028"/>
                          <a:pt x="55280" y="104028"/>
                        </a:cubicBezTo>
                        <a:cubicBezTo>
                          <a:pt x="53932" y="104892"/>
                          <a:pt x="53932" y="104892"/>
                          <a:pt x="53932" y="104892"/>
                        </a:cubicBezTo>
                        <a:cubicBezTo>
                          <a:pt x="51910" y="105323"/>
                          <a:pt x="51910" y="105323"/>
                          <a:pt x="51910" y="105323"/>
                        </a:cubicBezTo>
                        <a:cubicBezTo>
                          <a:pt x="51910" y="105323"/>
                          <a:pt x="51235" y="105755"/>
                          <a:pt x="51235" y="105755"/>
                        </a:cubicBezTo>
                        <a:cubicBezTo>
                          <a:pt x="51235" y="106187"/>
                          <a:pt x="50561" y="107482"/>
                          <a:pt x="50561" y="107482"/>
                        </a:cubicBezTo>
                        <a:cubicBezTo>
                          <a:pt x="50561" y="107482"/>
                          <a:pt x="49213" y="107913"/>
                          <a:pt x="49213" y="108345"/>
                        </a:cubicBezTo>
                        <a:cubicBezTo>
                          <a:pt x="49213" y="108345"/>
                          <a:pt x="47865" y="108776"/>
                          <a:pt x="47865" y="108776"/>
                        </a:cubicBezTo>
                        <a:cubicBezTo>
                          <a:pt x="47865" y="108776"/>
                          <a:pt x="47865" y="109640"/>
                          <a:pt x="47865" y="109640"/>
                        </a:cubicBezTo>
                        <a:cubicBezTo>
                          <a:pt x="47865" y="109640"/>
                          <a:pt x="48539" y="110503"/>
                          <a:pt x="48539" y="110503"/>
                        </a:cubicBezTo>
                        <a:cubicBezTo>
                          <a:pt x="48539" y="111798"/>
                          <a:pt x="48539" y="111798"/>
                          <a:pt x="48539" y="111798"/>
                        </a:cubicBezTo>
                        <a:cubicBezTo>
                          <a:pt x="48539" y="112661"/>
                          <a:pt x="48539" y="112661"/>
                          <a:pt x="48539" y="112661"/>
                        </a:cubicBezTo>
                        <a:cubicBezTo>
                          <a:pt x="49213" y="113525"/>
                          <a:pt x="49213" y="113525"/>
                          <a:pt x="49213" y="113525"/>
                        </a:cubicBezTo>
                        <a:cubicBezTo>
                          <a:pt x="48539" y="114388"/>
                          <a:pt x="48539" y="114388"/>
                          <a:pt x="48539" y="114388"/>
                        </a:cubicBezTo>
                        <a:cubicBezTo>
                          <a:pt x="47865" y="115683"/>
                          <a:pt x="47865" y="115683"/>
                          <a:pt x="47865" y="115683"/>
                        </a:cubicBezTo>
                        <a:cubicBezTo>
                          <a:pt x="47865" y="116115"/>
                          <a:pt x="47865" y="116115"/>
                          <a:pt x="47865" y="116115"/>
                        </a:cubicBezTo>
                        <a:cubicBezTo>
                          <a:pt x="47865" y="116978"/>
                          <a:pt x="47865" y="116978"/>
                          <a:pt x="47865" y="116978"/>
                        </a:cubicBezTo>
                        <a:cubicBezTo>
                          <a:pt x="47865" y="118705"/>
                          <a:pt x="47865" y="118705"/>
                          <a:pt x="47865" y="118705"/>
                        </a:cubicBezTo>
                        <a:cubicBezTo>
                          <a:pt x="45842" y="118273"/>
                          <a:pt x="45842" y="118273"/>
                          <a:pt x="45842" y="118273"/>
                        </a:cubicBezTo>
                        <a:cubicBezTo>
                          <a:pt x="43820" y="118273"/>
                          <a:pt x="43820" y="118273"/>
                          <a:pt x="43820" y="118273"/>
                        </a:cubicBezTo>
                        <a:cubicBezTo>
                          <a:pt x="41797" y="118705"/>
                          <a:pt x="41797" y="118705"/>
                          <a:pt x="41797" y="118705"/>
                        </a:cubicBezTo>
                        <a:cubicBezTo>
                          <a:pt x="39101" y="119568"/>
                          <a:pt x="39101" y="119568"/>
                          <a:pt x="39101" y="119568"/>
                        </a:cubicBezTo>
                        <a:cubicBezTo>
                          <a:pt x="35056" y="120000"/>
                          <a:pt x="35056" y="120000"/>
                          <a:pt x="35056" y="120000"/>
                        </a:cubicBezTo>
                        <a:cubicBezTo>
                          <a:pt x="31685" y="120000"/>
                          <a:pt x="31685" y="120000"/>
                          <a:pt x="31685" y="120000"/>
                        </a:cubicBezTo>
                        <a:cubicBezTo>
                          <a:pt x="29662" y="119568"/>
                          <a:pt x="29662" y="119568"/>
                          <a:pt x="29662" y="119568"/>
                        </a:cubicBezTo>
                        <a:cubicBezTo>
                          <a:pt x="28314" y="119136"/>
                          <a:pt x="28314" y="119136"/>
                          <a:pt x="28314" y="119136"/>
                        </a:cubicBezTo>
                        <a:cubicBezTo>
                          <a:pt x="26966" y="118273"/>
                          <a:pt x="26966" y="118273"/>
                          <a:pt x="26966" y="118273"/>
                        </a:cubicBezTo>
                        <a:cubicBezTo>
                          <a:pt x="24943" y="116978"/>
                          <a:pt x="24943" y="116978"/>
                          <a:pt x="24943" y="116978"/>
                        </a:cubicBezTo>
                        <a:cubicBezTo>
                          <a:pt x="22921" y="116978"/>
                          <a:pt x="22921" y="116978"/>
                          <a:pt x="22921" y="116978"/>
                        </a:cubicBezTo>
                        <a:cubicBezTo>
                          <a:pt x="21573" y="116546"/>
                          <a:pt x="21573" y="116546"/>
                          <a:pt x="21573" y="116546"/>
                        </a:cubicBezTo>
                        <a:cubicBezTo>
                          <a:pt x="20224" y="116115"/>
                          <a:pt x="20224" y="116115"/>
                          <a:pt x="20224" y="116115"/>
                        </a:cubicBezTo>
                        <a:cubicBezTo>
                          <a:pt x="18876" y="115683"/>
                          <a:pt x="18876" y="115683"/>
                          <a:pt x="18876" y="115683"/>
                        </a:cubicBezTo>
                        <a:cubicBezTo>
                          <a:pt x="17528" y="115683"/>
                          <a:pt x="17528" y="115683"/>
                          <a:pt x="17528" y="115683"/>
                        </a:cubicBezTo>
                        <a:cubicBezTo>
                          <a:pt x="14831" y="114820"/>
                          <a:pt x="14831" y="114820"/>
                          <a:pt x="14831" y="114820"/>
                        </a:cubicBezTo>
                        <a:cubicBezTo>
                          <a:pt x="12134" y="113956"/>
                          <a:pt x="12134" y="113956"/>
                          <a:pt x="12134" y="113956"/>
                        </a:cubicBezTo>
                        <a:cubicBezTo>
                          <a:pt x="10786" y="114388"/>
                          <a:pt x="10786" y="114388"/>
                          <a:pt x="10786" y="114388"/>
                        </a:cubicBezTo>
                        <a:cubicBezTo>
                          <a:pt x="10786" y="114820"/>
                          <a:pt x="10786" y="114820"/>
                          <a:pt x="10786" y="114820"/>
                        </a:cubicBezTo>
                        <a:cubicBezTo>
                          <a:pt x="8764" y="114388"/>
                          <a:pt x="8764" y="114388"/>
                          <a:pt x="8764" y="114388"/>
                        </a:cubicBezTo>
                        <a:cubicBezTo>
                          <a:pt x="7415" y="114388"/>
                          <a:pt x="7415" y="114388"/>
                          <a:pt x="7415" y="114388"/>
                        </a:cubicBezTo>
                        <a:cubicBezTo>
                          <a:pt x="6067" y="114388"/>
                          <a:pt x="6067" y="114388"/>
                          <a:pt x="6067" y="114388"/>
                        </a:cubicBezTo>
                        <a:cubicBezTo>
                          <a:pt x="3370" y="114820"/>
                          <a:pt x="3370" y="114820"/>
                          <a:pt x="3370" y="114820"/>
                        </a:cubicBezTo>
                        <a:cubicBezTo>
                          <a:pt x="1348" y="115251"/>
                          <a:pt x="1348" y="115251"/>
                          <a:pt x="1348" y="115251"/>
                        </a:cubicBezTo>
                        <a:cubicBezTo>
                          <a:pt x="0" y="114820"/>
                          <a:pt x="0" y="114820"/>
                          <a:pt x="0" y="114820"/>
                        </a:cubicBezTo>
                        <a:cubicBezTo>
                          <a:pt x="1348" y="113956"/>
                          <a:pt x="1348" y="113956"/>
                          <a:pt x="1348" y="113956"/>
                        </a:cubicBezTo>
                        <a:cubicBezTo>
                          <a:pt x="2696" y="112661"/>
                          <a:pt x="2696" y="112661"/>
                          <a:pt x="2696" y="112661"/>
                        </a:cubicBezTo>
                        <a:cubicBezTo>
                          <a:pt x="4044" y="112230"/>
                          <a:pt x="4044" y="112230"/>
                          <a:pt x="4044" y="112230"/>
                        </a:cubicBezTo>
                        <a:cubicBezTo>
                          <a:pt x="4719" y="110935"/>
                          <a:pt x="4719" y="110935"/>
                          <a:pt x="4719" y="110935"/>
                        </a:cubicBezTo>
                        <a:cubicBezTo>
                          <a:pt x="6741" y="110071"/>
                          <a:pt x="6741" y="110071"/>
                          <a:pt x="6741" y="110071"/>
                        </a:cubicBezTo>
                        <a:cubicBezTo>
                          <a:pt x="6741" y="108776"/>
                          <a:pt x="6741" y="108776"/>
                          <a:pt x="6741" y="108776"/>
                        </a:cubicBezTo>
                        <a:cubicBezTo>
                          <a:pt x="8089" y="107050"/>
                          <a:pt x="8089" y="107050"/>
                          <a:pt x="8089" y="107050"/>
                        </a:cubicBezTo>
                        <a:cubicBezTo>
                          <a:pt x="8089" y="107050"/>
                          <a:pt x="9438" y="107050"/>
                          <a:pt x="9438" y="106618"/>
                        </a:cubicBezTo>
                        <a:cubicBezTo>
                          <a:pt x="10112" y="105755"/>
                          <a:pt x="10112" y="105323"/>
                          <a:pt x="10786" y="104892"/>
                        </a:cubicBezTo>
                        <a:cubicBezTo>
                          <a:pt x="10786" y="104460"/>
                          <a:pt x="11460" y="104460"/>
                          <a:pt x="11460" y="104028"/>
                        </a:cubicBezTo>
                        <a:cubicBezTo>
                          <a:pt x="11460" y="103597"/>
                          <a:pt x="10786" y="102302"/>
                          <a:pt x="10786" y="102302"/>
                        </a:cubicBezTo>
                        <a:cubicBezTo>
                          <a:pt x="10786" y="102302"/>
                          <a:pt x="12134" y="100575"/>
                          <a:pt x="12134" y="100575"/>
                        </a:cubicBezTo>
                        <a:cubicBezTo>
                          <a:pt x="12808" y="100143"/>
                          <a:pt x="12808" y="98417"/>
                          <a:pt x="12808" y="98417"/>
                        </a:cubicBezTo>
                        <a:cubicBezTo>
                          <a:pt x="12808" y="98417"/>
                          <a:pt x="13483" y="97553"/>
                          <a:pt x="14157" y="97122"/>
                        </a:cubicBezTo>
                        <a:cubicBezTo>
                          <a:pt x="14157" y="96690"/>
                          <a:pt x="14157" y="95395"/>
                          <a:pt x="14157" y="95395"/>
                        </a:cubicBezTo>
                        <a:cubicBezTo>
                          <a:pt x="12808" y="94100"/>
                          <a:pt x="12808" y="94100"/>
                          <a:pt x="12808" y="94100"/>
                        </a:cubicBezTo>
                        <a:cubicBezTo>
                          <a:pt x="14157" y="92374"/>
                          <a:pt x="14157" y="92374"/>
                          <a:pt x="14157" y="92374"/>
                        </a:cubicBezTo>
                        <a:cubicBezTo>
                          <a:pt x="16179" y="90215"/>
                          <a:pt x="16179" y="90215"/>
                          <a:pt x="16179" y="90215"/>
                        </a:cubicBezTo>
                        <a:cubicBezTo>
                          <a:pt x="18202" y="88057"/>
                          <a:pt x="18202" y="88057"/>
                          <a:pt x="18202" y="88057"/>
                        </a:cubicBezTo>
                        <a:cubicBezTo>
                          <a:pt x="18876" y="85899"/>
                          <a:pt x="18876" y="85899"/>
                          <a:pt x="18876" y="85899"/>
                        </a:cubicBezTo>
                        <a:cubicBezTo>
                          <a:pt x="18876" y="85899"/>
                          <a:pt x="18876" y="85035"/>
                          <a:pt x="18876" y="84604"/>
                        </a:cubicBezTo>
                        <a:cubicBezTo>
                          <a:pt x="18876" y="84604"/>
                          <a:pt x="18876" y="83741"/>
                          <a:pt x="18876" y="83741"/>
                        </a:cubicBezTo>
                        <a:cubicBezTo>
                          <a:pt x="18876" y="83741"/>
                          <a:pt x="18876" y="82877"/>
                          <a:pt x="18876" y="82877"/>
                        </a:cubicBezTo>
                        <a:cubicBezTo>
                          <a:pt x="18876" y="82877"/>
                          <a:pt x="18202" y="82014"/>
                          <a:pt x="18202" y="82014"/>
                        </a:cubicBezTo>
                        <a:cubicBezTo>
                          <a:pt x="17528" y="80719"/>
                          <a:pt x="17528" y="80719"/>
                          <a:pt x="17528" y="80719"/>
                        </a:cubicBezTo>
                        <a:cubicBezTo>
                          <a:pt x="16853" y="81151"/>
                          <a:pt x="16853" y="81151"/>
                          <a:pt x="16853" y="81151"/>
                        </a:cubicBezTo>
                        <a:cubicBezTo>
                          <a:pt x="16853" y="81151"/>
                          <a:pt x="16179" y="81582"/>
                          <a:pt x="15505" y="81151"/>
                        </a:cubicBezTo>
                        <a:cubicBezTo>
                          <a:pt x="15505" y="81151"/>
                          <a:pt x="12808" y="81151"/>
                          <a:pt x="12808" y="81151"/>
                        </a:cubicBezTo>
                        <a:cubicBezTo>
                          <a:pt x="11460" y="81582"/>
                          <a:pt x="11460" y="81582"/>
                          <a:pt x="11460" y="81582"/>
                        </a:cubicBezTo>
                        <a:cubicBezTo>
                          <a:pt x="9438" y="81151"/>
                          <a:pt x="9438" y="81151"/>
                          <a:pt x="9438" y="81151"/>
                        </a:cubicBezTo>
                        <a:cubicBezTo>
                          <a:pt x="9438" y="81151"/>
                          <a:pt x="8764" y="81582"/>
                          <a:pt x="8089" y="81582"/>
                        </a:cubicBezTo>
                        <a:cubicBezTo>
                          <a:pt x="8089" y="81582"/>
                          <a:pt x="7415" y="81582"/>
                          <a:pt x="7415" y="81151"/>
                        </a:cubicBezTo>
                        <a:cubicBezTo>
                          <a:pt x="7415" y="81151"/>
                          <a:pt x="9438" y="79856"/>
                          <a:pt x="9438" y="79856"/>
                        </a:cubicBezTo>
                        <a:cubicBezTo>
                          <a:pt x="9438" y="79856"/>
                          <a:pt x="9438" y="79856"/>
                          <a:pt x="9438" y="79424"/>
                        </a:cubicBezTo>
                        <a:cubicBezTo>
                          <a:pt x="9438" y="78992"/>
                          <a:pt x="9438" y="78129"/>
                          <a:pt x="9438" y="78129"/>
                        </a:cubicBezTo>
                        <a:cubicBezTo>
                          <a:pt x="9438" y="77697"/>
                          <a:pt x="8764" y="76402"/>
                          <a:pt x="8764" y="76402"/>
                        </a:cubicBezTo>
                        <a:cubicBezTo>
                          <a:pt x="8764" y="76402"/>
                          <a:pt x="8089" y="75971"/>
                          <a:pt x="8764" y="75539"/>
                        </a:cubicBezTo>
                        <a:cubicBezTo>
                          <a:pt x="8764" y="75107"/>
                          <a:pt x="9438" y="75107"/>
                          <a:pt x="9438" y="75107"/>
                        </a:cubicBezTo>
                        <a:cubicBezTo>
                          <a:pt x="8089" y="74676"/>
                          <a:pt x="8089" y="74676"/>
                          <a:pt x="8089" y="74676"/>
                        </a:cubicBezTo>
                        <a:cubicBezTo>
                          <a:pt x="8089" y="74676"/>
                          <a:pt x="8089" y="74676"/>
                          <a:pt x="7415" y="74676"/>
                        </a:cubicBezTo>
                        <a:cubicBezTo>
                          <a:pt x="6741" y="75107"/>
                          <a:pt x="6067" y="75107"/>
                          <a:pt x="6067" y="75107"/>
                        </a:cubicBezTo>
                        <a:cubicBezTo>
                          <a:pt x="5393" y="74244"/>
                          <a:pt x="5393" y="74244"/>
                          <a:pt x="5393" y="74244"/>
                        </a:cubicBezTo>
                        <a:cubicBezTo>
                          <a:pt x="5393" y="74244"/>
                          <a:pt x="4719" y="74676"/>
                          <a:pt x="4719" y="74244"/>
                        </a:cubicBezTo>
                        <a:cubicBezTo>
                          <a:pt x="4044" y="74244"/>
                          <a:pt x="2696" y="73812"/>
                          <a:pt x="2696" y="73812"/>
                        </a:cubicBezTo>
                        <a:cubicBezTo>
                          <a:pt x="2696" y="73812"/>
                          <a:pt x="2696" y="72949"/>
                          <a:pt x="2696" y="72949"/>
                        </a:cubicBezTo>
                        <a:cubicBezTo>
                          <a:pt x="3370" y="72517"/>
                          <a:pt x="3370" y="72517"/>
                          <a:pt x="3370" y="72086"/>
                        </a:cubicBezTo>
                        <a:cubicBezTo>
                          <a:pt x="3370" y="71654"/>
                          <a:pt x="3370" y="71223"/>
                          <a:pt x="4044" y="70791"/>
                        </a:cubicBezTo>
                        <a:cubicBezTo>
                          <a:pt x="4044" y="70359"/>
                          <a:pt x="4719" y="69928"/>
                          <a:pt x="5393" y="69928"/>
                        </a:cubicBezTo>
                        <a:cubicBezTo>
                          <a:pt x="6067" y="69496"/>
                          <a:pt x="6067" y="69496"/>
                          <a:pt x="6067" y="69496"/>
                        </a:cubicBezTo>
                        <a:cubicBezTo>
                          <a:pt x="7415" y="67769"/>
                          <a:pt x="7415" y="67769"/>
                          <a:pt x="7415" y="67769"/>
                        </a:cubicBezTo>
                        <a:cubicBezTo>
                          <a:pt x="7415" y="67769"/>
                          <a:pt x="7415" y="66906"/>
                          <a:pt x="7415" y="66906"/>
                        </a:cubicBezTo>
                        <a:cubicBezTo>
                          <a:pt x="7415" y="66906"/>
                          <a:pt x="8089" y="66043"/>
                          <a:pt x="8089" y="65611"/>
                        </a:cubicBezTo>
                        <a:cubicBezTo>
                          <a:pt x="8089" y="65611"/>
                          <a:pt x="8764" y="64748"/>
                          <a:pt x="8764" y="64748"/>
                        </a:cubicBezTo>
                        <a:cubicBezTo>
                          <a:pt x="8764" y="64748"/>
                          <a:pt x="9438" y="64316"/>
                          <a:pt x="9438" y="63884"/>
                        </a:cubicBezTo>
                        <a:cubicBezTo>
                          <a:pt x="10112" y="63884"/>
                          <a:pt x="11460" y="63021"/>
                          <a:pt x="11460" y="63021"/>
                        </a:cubicBezTo>
                        <a:cubicBezTo>
                          <a:pt x="11460" y="63021"/>
                          <a:pt x="12134" y="61726"/>
                          <a:pt x="12134" y="61726"/>
                        </a:cubicBezTo>
                        <a:cubicBezTo>
                          <a:pt x="12134" y="61726"/>
                          <a:pt x="12808" y="60431"/>
                          <a:pt x="12808" y="60431"/>
                        </a:cubicBezTo>
                        <a:cubicBezTo>
                          <a:pt x="12134" y="59568"/>
                          <a:pt x="12134" y="59568"/>
                          <a:pt x="12134" y="59568"/>
                        </a:cubicBezTo>
                        <a:cubicBezTo>
                          <a:pt x="11460" y="59136"/>
                          <a:pt x="11460" y="59136"/>
                          <a:pt x="11460" y="59136"/>
                        </a:cubicBezTo>
                        <a:cubicBezTo>
                          <a:pt x="12808" y="58705"/>
                          <a:pt x="12808" y="58705"/>
                          <a:pt x="12808" y="58705"/>
                        </a:cubicBezTo>
                        <a:cubicBezTo>
                          <a:pt x="12808" y="58705"/>
                          <a:pt x="12808" y="58705"/>
                          <a:pt x="13483" y="58705"/>
                        </a:cubicBezTo>
                        <a:cubicBezTo>
                          <a:pt x="14157" y="58705"/>
                          <a:pt x="14831" y="58273"/>
                          <a:pt x="14831" y="58273"/>
                        </a:cubicBezTo>
                        <a:cubicBezTo>
                          <a:pt x="15505" y="58273"/>
                          <a:pt x="16853" y="57841"/>
                          <a:pt x="16853" y="57841"/>
                        </a:cubicBezTo>
                        <a:cubicBezTo>
                          <a:pt x="16853" y="57410"/>
                          <a:pt x="17528" y="57410"/>
                          <a:pt x="17528" y="57410"/>
                        </a:cubicBezTo>
                        <a:cubicBezTo>
                          <a:pt x="18202" y="57410"/>
                          <a:pt x="19550" y="56978"/>
                          <a:pt x="19550" y="56978"/>
                        </a:cubicBezTo>
                        <a:cubicBezTo>
                          <a:pt x="19550" y="56978"/>
                          <a:pt x="20224" y="56546"/>
                          <a:pt x="20224" y="56546"/>
                        </a:cubicBezTo>
                        <a:cubicBezTo>
                          <a:pt x="20224" y="56115"/>
                          <a:pt x="20224" y="56115"/>
                          <a:pt x="20224" y="56115"/>
                        </a:cubicBezTo>
                        <a:cubicBezTo>
                          <a:pt x="21573" y="55683"/>
                          <a:pt x="21573" y="55683"/>
                          <a:pt x="21573" y="55683"/>
                        </a:cubicBezTo>
                        <a:cubicBezTo>
                          <a:pt x="21573" y="55683"/>
                          <a:pt x="22247" y="55251"/>
                          <a:pt x="22247" y="54820"/>
                        </a:cubicBezTo>
                        <a:cubicBezTo>
                          <a:pt x="22247" y="54820"/>
                          <a:pt x="22921" y="53956"/>
                          <a:pt x="22921" y="53956"/>
                        </a:cubicBezTo>
                        <a:cubicBezTo>
                          <a:pt x="22921" y="53525"/>
                          <a:pt x="24943" y="52230"/>
                          <a:pt x="24943" y="52230"/>
                        </a:cubicBezTo>
                        <a:cubicBezTo>
                          <a:pt x="27640" y="49208"/>
                          <a:pt x="27640" y="49208"/>
                          <a:pt x="27640" y="49208"/>
                        </a:cubicBezTo>
                        <a:cubicBezTo>
                          <a:pt x="33707" y="43165"/>
                          <a:pt x="33707" y="43165"/>
                          <a:pt x="33707" y="43165"/>
                        </a:cubicBezTo>
                        <a:cubicBezTo>
                          <a:pt x="33033" y="42302"/>
                          <a:pt x="33033" y="42302"/>
                          <a:pt x="33033" y="42302"/>
                        </a:cubicBezTo>
                        <a:cubicBezTo>
                          <a:pt x="35056" y="40143"/>
                          <a:pt x="35056" y="40143"/>
                          <a:pt x="35056" y="40143"/>
                        </a:cubicBezTo>
                        <a:cubicBezTo>
                          <a:pt x="38426" y="36690"/>
                          <a:pt x="38426" y="36690"/>
                          <a:pt x="38426" y="36690"/>
                        </a:cubicBezTo>
                        <a:cubicBezTo>
                          <a:pt x="41797" y="31942"/>
                          <a:pt x="41797" y="31942"/>
                          <a:pt x="41797" y="31942"/>
                        </a:cubicBezTo>
                        <a:cubicBezTo>
                          <a:pt x="43820" y="29352"/>
                          <a:pt x="43820" y="29352"/>
                          <a:pt x="43820" y="29352"/>
                        </a:cubicBezTo>
                        <a:cubicBezTo>
                          <a:pt x="46516" y="26330"/>
                          <a:pt x="46516" y="26330"/>
                          <a:pt x="46516" y="26330"/>
                        </a:cubicBezTo>
                        <a:cubicBezTo>
                          <a:pt x="47865" y="23741"/>
                          <a:pt x="47865" y="23741"/>
                          <a:pt x="47865" y="23741"/>
                        </a:cubicBezTo>
                        <a:cubicBezTo>
                          <a:pt x="47865" y="20719"/>
                          <a:pt x="47865" y="20719"/>
                          <a:pt x="47865" y="20719"/>
                        </a:cubicBezTo>
                        <a:cubicBezTo>
                          <a:pt x="47865" y="18561"/>
                          <a:pt x="47865" y="18561"/>
                          <a:pt x="47865" y="18561"/>
                        </a:cubicBezTo>
                        <a:cubicBezTo>
                          <a:pt x="47865" y="16834"/>
                          <a:pt x="47865" y="16834"/>
                          <a:pt x="47865" y="16834"/>
                        </a:cubicBezTo>
                        <a:cubicBezTo>
                          <a:pt x="47865" y="15971"/>
                          <a:pt x="47865" y="15971"/>
                          <a:pt x="47865" y="15971"/>
                        </a:cubicBezTo>
                        <a:cubicBezTo>
                          <a:pt x="47865" y="15107"/>
                          <a:pt x="47865" y="15107"/>
                          <a:pt x="47865" y="15107"/>
                        </a:cubicBezTo>
                        <a:cubicBezTo>
                          <a:pt x="47191" y="13812"/>
                          <a:pt x="47191" y="13812"/>
                          <a:pt x="47191" y="13812"/>
                        </a:cubicBezTo>
                        <a:cubicBezTo>
                          <a:pt x="48539" y="12949"/>
                          <a:pt x="48539" y="12949"/>
                          <a:pt x="48539" y="12949"/>
                        </a:cubicBezTo>
                        <a:cubicBezTo>
                          <a:pt x="48539" y="12086"/>
                          <a:pt x="48539" y="12086"/>
                          <a:pt x="48539" y="12086"/>
                        </a:cubicBezTo>
                        <a:cubicBezTo>
                          <a:pt x="48539" y="11223"/>
                          <a:pt x="48539" y="11223"/>
                          <a:pt x="48539" y="11223"/>
                        </a:cubicBezTo>
                        <a:cubicBezTo>
                          <a:pt x="48539" y="10359"/>
                          <a:pt x="48539" y="10359"/>
                          <a:pt x="48539" y="10359"/>
                        </a:cubicBezTo>
                        <a:cubicBezTo>
                          <a:pt x="49213" y="9496"/>
                          <a:pt x="49213" y="9496"/>
                          <a:pt x="49213" y="9496"/>
                        </a:cubicBezTo>
                        <a:cubicBezTo>
                          <a:pt x="48539" y="8201"/>
                          <a:pt x="48539" y="8201"/>
                          <a:pt x="48539" y="8201"/>
                        </a:cubicBezTo>
                        <a:cubicBezTo>
                          <a:pt x="49213" y="7338"/>
                          <a:pt x="49213" y="7338"/>
                          <a:pt x="49213" y="7338"/>
                        </a:cubicBezTo>
                        <a:cubicBezTo>
                          <a:pt x="48539" y="6906"/>
                          <a:pt x="48539" y="6906"/>
                          <a:pt x="48539" y="6906"/>
                        </a:cubicBezTo>
                        <a:cubicBezTo>
                          <a:pt x="49213" y="5611"/>
                          <a:pt x="49213" y="5611"/>
                          <a:pt x="49213" y="5611"/>
                        </a:cubicBezTo>
                        <a:cubicBezTo>
                          <a:pt x="49213" y="4748"/>
                          <a:pt x="49213" y="4748"/>
                          <a:pt x="49213" y="4748"/>
                        </a:cubicBezTo>
                        <a:lnTo>
                          <a:pt x="49887" y="388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71" name="Shape 2046"/>
                  <p:cNvSpPr/>
                  <p:nvPr/>
                </p:nvSpPr>
                <p:spPr>
                  <a:xfrm>
                    <a:off x="4704932" y="2283682"/>
                    <a:ext cx="711330" cy="913063"/>
                  </a:xfrm>
                  <a:custGeom>
                    <a:avLst/>
                    <a:gdLst/>
                    <a:ahLst/>
                    <a:cxnLst/>
                    <a:rect l="0" t="0" r="0" b="0"/>
                    <a:pathLst>
                      <a:path w="120000" h="120000" extrusionOk="0">
                        <a:moveTo>
                          <a:pt x="105769" y="94430"/>
                        </a:moveTo>
                        <a:cubicBezTo>
                          <a:pt x="105769" y="94430"/>
                          <a:pt x="105769" y="94430"/>
                          <a:pt x="105769" y="94430"/>
                        </a:cubicBezTo>
                        <a:cubicBezTo>
                          <a:pt x="105769" y="95302"/>
                          <a:pt x="105769" y="95302"/>
                          <a:pt x="105769" y="95302"/>
                        </a:cubicBezTo>
                        <a:cubicBezTo>
                          <a:pt x="106153" y="96755"/>
                          <a:pt x="106153" y="96755"/>
                          <a:pt x="106153" y="96755"/>
                        </a:cubicBezTo>
                        <a:cubicBezTo>
                          <a:pt x="106153" y="97627"/>
                          <a:pt x="106153" y="97627"/>
                          <a:pt x="106153" y="97627"/>
                        </a:cubicBezTo>
                        <a:cubicBezTo>
                          <a:pt x="106153" y="97627"/>
                          <a:pt x="105769" y="98208"/>
                          <a:pt x="105384" y="98208"/>
                        </a:cubicBezTo>
                        <a:cubicBezTo>
                          <a:pt x="105384" y="98208"/>
                          <a:pt x="105000" y="98498"/>
                          <a:pt x="104615" y="98498"/>
                        </a:cubicBezTo>
                        <a:cubicBezTo>
                          <a:pt x="104230" y="98208"/>
                          <a:pt x="103846" y="97917"/>
                          <a:pt x="103846" y="97917"/>
                        </a:cubicBezTo>
                        <a:cubicBezTo>
                          <a:pt x="101538" y="97917"/>
                          <a:pt x="101538" y="97917"/>
                          <a:pt x="101538" y="97917"/>
                        </a:cubicBezTo>
                        <a:cubicBezTo>
                          <a:pt x="101538" y="97917"/>
                          <a:pt x="101538" y="98498"/>
                          <a:pt x="101538" y="98789"/>
                        </a:cubicBezTo>
                        <a:cubicBezTo>
                          <a:pt x="101153" y="99370"/>
                          <a:pt x="101153" y="99370"/>
                          <a:pt x="101153" y="99370"/>
                        </a:cubicBezTo>
                        <a:cubicBezTo>
                          <a:pt x="101153" y="100823"/>
                          <a:pt x="101153" y="100823"/>
                          <a:pt x="101153" y="100823"/>
                        </a:cubicBezTo>
                        <a:cubicBezTo>
                          <a:pt x="99230" y="102276"/>
                          <a:pt x="99230" y="102276"/>
                          <a:pt x="99230" y="102276"/>
                        </a:cubicBezTo>
                        <a:cubicBezTo>
                          <a:pt x="98846" y="102276"/>
                          <a:pt x="98846" y="102276"/>
                          <a:pt x="98846" y="102276"/>
                        </a:cubicBezTo>
                        <a:cubicBezTo>
                          <a:pt x="98846" y="102276"/>
                          <a:pt x="98461" y="102566"/>
                          <a:pt x="98461" y="102566"/>
                        </a:cubicBezTo>
                        <a:cubicBezTo>
                          <a:pt x="98461" y="102566"/>
                          <a:pt x="96538" y="103147"/>
                          <a:pt x="96538" y="103147"/>
                        </a:cubicBezTo>
                        <a:cubicBezTo>
                          <a:pt x="95769" y="103728"/>
                          <a:pt x="95769" y="103728"/>
                          <a:pt x="95769" y="103728"/>
                        </a:cubicBezTo>
                        <a:cubicBezTo>
                          <a:pt x="95384" y="103728"/>
                          <a:pt x="95384" y="103728"/>
                          <a:pt x="95384" y="103728"/>
                        </a:cubicBezTo>
                        <a:cubicBezTo>
                          <a:pt x="95384" y="103728"/>
                          <a:pt x="94230" y="104309"/>
                          <a:pt x="93461" y="104891"/>
                        </a:cubicBezTo>
                        <a:cubicBezTo>
                          <a:pt x="92307" y="105472"/>
                          <a:pt x="92307" y="105472"/>
                          <a:pt x="92307" y="105472"/>
                        </a:cubicBezTo>
                        <a:cubicBezTo>
                          <a:pt x="92307" y="105472"/>
                          <a:pt x="92307" y="105472"/>
                          <a:pt x="92307" y="105472"/>
                        </a:cubicBezTo>
                        <a:cubicBezTo>
                          <a:pt x="92307" y="105472"/>
                          <a:pt x="92307" y="105472"/>
                          <a:pt x="92307" y="105472"/>
                        </a:cubicBezTo>
                        <a:cubicBezTo>
                          <a:pt x="93076" y="106924"/>
                          <a:pt x="93076" y="106924"/>
                          <a:pt x="93076" y="106924"/>
                        </a:cubicBezTo>
                        <a:cubicBezTo>
                          <a:pt x="94230" y="107796"/>
                          <a:pt x="94230" y="107796"/>
                          <a:pt x="94230" y="107796"/>
                        </a:cubicBezTo>
                        <a:cubicBezTo>
                          <a:pt x="95384" y="109249"/>
                          <a:pt x="95384" y="109249"/>
                          <a:pt x="95384" y="109249"/>
                        </a:cubicBezTo>
                        <a:cubicBezTo>
                          <a:pt x="95384" y="110121"/>
                          <a:pt x="95384" y="110121"/>
                          <a:pt x="95384" y="110121"/>
                        </a:cubicBezTo>
                        <a:cubicBezTo>
                          <a:pt x="95384" y="110121"/>
                          <a:pt x="94615" y="110702"/>
                          <a:pt x="94615" y="110702"/>
                        </a:cubicBezTo>
                        <a:cubicBezTo>
                          <a:pt x="94615" y="110992"/>
                          <a:pt x="94230" y="111573"/>
                          <a:pt x="94615" y="111573"/>
                        </a:cubicBezTo>
                        <a:cubicBezTo>
                          <a:pt x="95000" y="111573"/>
                          <a:pt x="96538" y="111864"/>
                          <a:pt x="96538" y="111864"/>
                        </a:cubicBezTo>
                        <a:cubicBezTo>
                          <a:pt x="96538" y="111864"/>
                          <a:pt x="96923" y="111864"/>
                          <a:pt x="96923" y="111864"/>
                        </a:cubicBezTo>
                        <a:cubicBezTo>
                          <a:pt x="97307" y="111864"/>
                          <a:pt x="97307" y="112154"/>
                          <a:pt x="97307" y="112154"/>
                        </a:cubicBezTo>
                        <a:cubicBezTo>
                          <a:pt x="97307" y="113317"/>
                          <a:pt x="97307" y="113317"/>
                          <a:pt x="97307" y="113317"/>
                        </a:cubicBezTo>
                        <a:cubicBezTo>
                          <a:pt x="97307" y="113317"/>
                          <a:pt x="97307" y="113607"/>
                          <a:pt x="97307" y="114769"/>
                        </a:cubicBezTo>
                        <a:cubicBezTo>
                          <a:pt x="97307" y="115932"/>
                          <a:pt x="96923" y="115641"/>
                          <a:pt x="96923" y="115641"/>
                        </a:cubicBezTo>
                        <a:cubicBezTo>
                          <a:pt x="96923" y="115641"/>
                          <a:pt x="95000" y="115060"/>
                          <a:pt x="95000" y="115060"/>
                        </a:cubicBezTo>
                        <a:cubicBezTo>
                          <a:pt x="95000" y="115060"/>
                          <a:pt x="94230" y="114479"/>
                          <a:pt x="94230" y="114479"/>
                        </a:cubicBezTo>
                        <a:cubicBezTo>
                          <a:pt x="93846" y="114188"/>
                          <a:pt x="93846" y="113898"/>
                          <a:pt x="93846" y="113607"/>
                        </a:cubicBezTo>
                        <a:cubicBezTo>
                          <a:pt x="93846" y="113317"/>
                          <a:pt x="94230" y="112736"/>
                          <a:pt x="94230" y="112736"/>
                        </a:cubicBezTo>
                        <a:cubicBezTo>
                          <a:pt x="94230" y="112736"/>
                          <a:pt x="92692" y="112445"/>
                          <a:pt x="92692" y="112445"/>
                        </a:cubicBezTo>
                        <a:cubicBezTo>
                          <a:pt x="92692" y="112445"/>
                          <a:pt x="91538" y="112445"/>
                          <a:pt x="91153" y="112445"/>
                        </a:cubicBezTo>
                        <a:cubicBezTo>
                          <a:pt x="90769" y="112445"/>
                          <a:pt x="90384" y="113026"/>
                          <a:pt x="90384" y="113026"/>
                        </a:cubicBezTo>
                        <a:cubicBezTo>
                          <a:pt x="90000" y="113317"/>
                          <a:pt x="89615" y="113026"/>
                          <a:pt x="89230" y="113026"/>
                        </a:cubicBezTo>
                        <a:cubicBezTo>
                          <a:pt x="89230" y="113026"/>
                          <a:pt x="88846" y="112445"/>
                          <a:pt x="88846" y="112445"/>
                        </a:cubicBezTo>
                        <a:cubicBezTo>
                          <a:pt x="88461" y="112445"/>
                          <a:pt x="86923" y="112154"/>
                          <a:pt x="86538" y="112154"/>
                        </a:cubicBezTo>
                        <a:cubicBezTo>
                          <a:pt x="86538" y="112154"/>
                          <a:pt x="85769" y="112154"/>
                          <a:pt x="85000" y="112154"/>
                        </a:cubicBezTo>
                        <a:cubicBezTo>
                          <a:pt x="84615" y="112445"/>
                          <a:pt x="85000" y="112445"/>
                          <a:pt x="85384" y="113317"/>
                        </a:cubicBezTo>
                        <a:cubicBezTo>
                          <a:pt x="85384" y="114188"/>
                          <a:pt x="85000" y="113607"/>
                          <a:pt x="84615" y="113607"/>
                        </a:cubicBezTo>
                        <a:cubicBezTo>
                          <a:pt x="84230" y="113607"/>
                          <a:pt x="84230" y="113607"/>
                          <a:pt x="83461" y="113607"/>
                        </a:cubicBezTo>
                        <a:cubicBezTo>
                          <a:pt x="82692" y="113607"/>
                          <a:pt x="82307" y="113607"/>
                          <a:pt x="81538" y="113607"/>
                        </a:cubicBezTo>
                        <a:cubicBezTo>
                          <a:pt x="81153" y="113898"/>
                          <a:pt x="81153" y="113898"/>
                          <a:pt x="81153" y="114188"/>
                        </a:cubicBezTo>
                        <a:cubicBezTo>
                          <a:pt x="80769" y="114479"/>
                          <a:pt x="80000" y="114479"/>
                          <a:pt x="79615" y="114479"/>
                        </a:cubicBezTo>
                        <a:cubicBezTo>
                          <a:pt x="79230" y="114479"/>
                          <a:pt x="77692" y="114479"/>
                          <a:pt x="77692" y="114479"/>
                        </a:cubicBezTo>
                        <a:cubicBezTo>
                          <a:pt x="77307" y="114479"/>
                          <a:pt x="76923" y="115060"/>
                          <a:pt x="76538" y="115351"/>
                        </a:cubicBezTo>
                        <a:cubicBezTo>
                          <a:pt x="76538" y="115351"/>
                          <a:pt x="75000" y="115351"/>
                          <a:pt x="75000" y="115351"/>
                        </a:cubicBezTo>
                        <a:cubicBezTo>
                          <a:pt x="74615" y="115641"/>
                          <a:pt x="74615" y="115641"/>
                          <a:pt x="74230" y="115932"/>
                        </a:cubicBezTo>
                        <a:cubicBezTo>
                          <a:pt x="73461" y="116222"/>
                          <a:pt x="73461" y="116222"/>
                          <a:pt x="73076" y="116803"/>
                        </a:cubicBezTo>
                        <a:cubicBezTo>
                          <a:pt x="72307" y="117384"/>
                          <a:pt x="72692" y="117094"/>
                          <a:pt x="71153" y="116803"/>
                        </a:cubicBezTo>
                        <a:cubicBezTo>
                          <a:pt x="70000" y="116803"/>
                          <a:pt x="70769" y="117094"/>
                          <a:pt x="70384" y="117094"/>
                        </a:cubicBezTo>
                        <a:cubicBezTo>
                          <a:pt x="70000" y="117094"/>
                          <a:pt x="69615" y="117384"/>
                          <a:pt x="69230" y="117675"/>
                        </a:cubicBezTo>
                        <a:cubicBezTo>
                          <a:pt x="69230" y="117966"/>
                          <a:pt x="68461" y="117384"/>
                          <a:pt x="68076" y="117384"/>
                        </a:cubicBezTo>
                        <a:cubicBezTo>
                          <a:pt x="67692" y="117675"/>
                          <a:pt x="67692" y="117094"/>
                          <a:pt x="67692" y="116222"/>
                        </a:cubicBezTo>
                        <a:cubicBezTo>
                          <a:pt x="67307" y="115641"/>
                          <a:pt x="66538" y="115641"/>
                          <a:pt x="66538" y="115641"/>
                        </a:cubicBezTo>
                        <a:cubicBezTo>
                          <a:pt x="66538" y="115641"/>
                          <a:pt x="65769" y="115641"/>
                          <a:pt x="65769" y="115351"/>
                        </a:cubicBezTo>
                        <a:cubicBezTo>
                          <a:pt x="65769" y="115060"/>
                          <a:pt x="64230" y="115060"/>
                          <a:pt x="63846" y="115060"/>
                        </a:cubicBezTo>
                        <a:cubicBezTo>
                          <a:pt x="63846" y="115060"/>
                          <a:pt x="62692" y="115060"/>
                          <a:pt x="62692" y="115060"/>
                        </a:cubicBezTo>
                        <a:cubicBezTo>
                          <a:pt x="62692" y="115060"/>
                          <a:pt x="61538" y="115060"/>
                          <a:pt x="61538" y="115351"/>
                        </a:cubicBezTo>
                        <a:cubicBezTo>
                          <a:pt x="61538" y="115351"/>
                          <a:pt x="61153" y="115351"/>
                          <a:pt x="60384" y="115641"/>
                        </a:cubicBezTo>
                        <a:cubicBezTo>
                          <a:pt x="59230" y="115932"/>
                          <a:pt x="60000" y="115641"/>
                          <a:pt x="60000" y="116222"/>
                        </a:cubicBezTo>
                        <a:cubicBezTo>
                          <a:pt x="60384" y="116513"/>
                          <a:pt x="60384" y="116803"/>
                          <a:pt x="60384" y="116803"/>
                        </a:cubicBezTo>
                        <a:cubicBezTo>
                          <a:pt x="60769" y="117094"/>
                          <a:pt x="60384" y="116803"/>
                          <a:pt x="60384" y="117384"/>
                        </a:cubicBezTo>
                        <a:cubicBezTo>
                          <a:pt x="60000" y="117966"/>
                          <a:pt x="60000" y="117675"/>
                          <a:pt x="60000" y="118256"/>
                        </a:cubicBezTo>
                        <a:cubicBezTo>
                          <a:pt x="59615" y="118547"/>
                          <a:pt x="59615" y="118256"/>
                          <a:pt x="59230" y="119128"/>
                        </a:cubicBezTo>
                        <a:cubicBezTo>
                          <a:pt x="58846" y="119709"/>
                          <a:pt x="59230" y="119128"/>
                          <a:pt x="58846" y="119709"/>
                        </a:cubicBezTo>
                        <a:cubicBezTo>
                          <a:pt x="58461" y="120000"/>
                          <a:pt x="57692" y="119709"/>
                          <a:pt x="56923" y="119418"/>
                        </a:cubicBezTo>
                        <a:cubicBezTo>
                          <a:pt x="56538" y="119418"/>
                          <a:pt x="56923" y="119128"/>
                          <a:pt x="56923" y="118547"/>
                        </a:cubicBezTo>
                        <a:cubicBezTo>
                          <a:pt x="57307" y="117966"/>
                          <a:pt x="56923" y="118256"/>
                          <a:pt x="56923" y="117966"/>
                        </a:cubicBezTo>
                        <a:cubicBezTo>
                          <a:pt x="56923" y="117675"/>
                          <a:pt x="56538" y="117966"/>
                          <a:pt x="55769" y="118256"/>
                        </a:cubicBezTo>
                        <a:cubicBezTo>
                          <a:pt x="55384" y="118256"/>
                          <a:pt x="55384" y="117675"/>
                          <a:pt x="55769" y="117094"/>
                        </a:cubicBezTo>
                        <a:cubicBezTo>
                          <a:pt x="55769" y="116513"/>
                          <a:pt x="55384" y="116803"/>
                          <a:pt x="55384" y="116513"/>
                        </a:cubicBezTo>
                        <a:cubicBezTo>
                          <a:pt x="55384" y="116513"/>
                          <a:pt x="55000" y="116222"/>
                          <a:pt x="54615" y="116222"/>
                        </a:cubicBezTo>
                        <a:cubicBezTo>
                          <a:pt x="54230" y="116222"/>
                          <a:pt x="53846" y="115932"/>
                          <a:pt x="53846" y="115932"/>
                        </a:cubicBezTo>
                        <a:cubicBezTo>
                          <a:pt x="53461" y="115641"/>
                          <a:pt x="52692" y="115060"/>
                          <a:pt x="52307" y="114769"/>
                        </a:cubicBezTo>
                        <a:cubicBezTo>
                          <a:pt x="51538" y="114479"/>
                          <a:pt x="50769" y="114769"/>
                          <a:pt x="50769" y="114769"/>
                        </a:cubicBezTo>
                        <a:cubicBezTo>
                          <a:pt x="50769" y="114769"/>
                          <a:pt x="50000" y="115351"/>
                          <a:pt x="49230" y="115932"/>
                        </a:cubicBezTo>
                        <a:cubicBezTo>
                          <a:pt x="49230" y="115932"/>
                          <a:pt x="49230" y="116222"/>
                          <a:pt x="49230" y="116222"/>
                        </a:cubicBezTo>
                        <a:cubicBezTo>
                          <a:pt x="48846" y="116222"/>
                          <a:pt x="48846" y="116222"/>
                          <a:pt x="48846" y="115932"/>
                        </a:cubicBezTo>
                        <a:cubicBezTo>
                          <a:pt x="48846" y="115932"/>
                          <a:pt x="48461" y="115641"/>
                          <a:pt x="48461" y="115641"/>
                        </a:cubicBezTo>
                        <a:cubicBezTo>
                          <a:pt x="48461" y="115641"/>
                          <a:pt x="48461" y="115060"/>
                          <a:pt x="48076" y="115060"/>
                        </a:cubicBezTo>
                        <a:cubicBezTo>
                          <a:pt x="48076" y="115060"/>
                          <a:pt x="47692" y="115060"/>
                          <a:pt x="47307" y="114769"/>
                        </a:cubicBezTo>
                        <a:cubicBezTo>
                          <a:pt x="46923" y="114769"/>
                          <a:pt x="46538" y="114479"/>
                          <a:pt x="46538" y="114479"/>
                        </a:cubicBezTo>
                        <a:cubicBezTo>
                          <a:pt x="46153" y="114479"/>
                          <a:pt x="45384" y="113898"/>
                          <a:pt x="45384" y="113898"/>
                        </a:cubicBezTo>
                        <a:cubicBezTo>
                          <a:pt x="45384" y="113898"/>
                          <a:pt x="45384" y="113898"/>
                          <a:pt x="45000" y="113898"/>
                        </a:cubicBezTo>
                        <a:cubicBezTo>
                          <a:pt x="45000" y="113898"/>
                          <a:pt x="44615" y="113607"/>
                          <a:pt x="44615" y="113607"/>
                        </a:cubicBezTo>
                        <a:cubicBezTo>
                          <a:pt x="44230" y="113607"/>
                          <a:pt x="44230" y="113607"/>
                          <a:pt x="44230" y="113607"/>
                        </a:cubicBezTo>
                        <a:cubicBezTo>
                          <a:pt x="44230" y="113607"/>
                          <a:pt x="44230" y="113607"/>
                          <a:pt x="44230" y="113607"/>
                        </a:cubicBezTo>
                        <a:cubicBezTo>
                          <a:pt x="43846" y="113607"/>
                          <a:pt x="43846" y="113607"/>
                          <a:pt x="43461" y="113317"/>
                        </a:cubicBezTo>
                        <a:cubicBezTo>
                          <a:pt x="42692" y="113317"/>
                          <a:pt x="43076" y="113317"/>
                          <a:pt x="42307" y="113317"/>
                        </a:cubicBezTo>
                        <a:cubicBezTo>
                          <a:pt x="41923" y="113317"/>
                          <a:pt x="41538" y="113317"/>
                          <a:pt x="41538" y="113317"/>
                        </a:cubicBezTo>
                        <a:cubicBezTo>
                          <a:pt x="41538" y="113317"/>
                          <a:pt x="41153" y="113026"/>
                          <a:pt x="40384" y="113026"/>
                        </a:cubicBezTo>
                        <a:cubicBezTo>
                          <a:pt x="40000" y="113317"/>
                          <a:pt x="39230" y="113607"/>
                          <a:pt x="38846" y="113607"/>
                        </a:cubicBezTo>
                        <a:cubicBezTo>
                          <a:pt x="38846" y="113607"/>
                          <a:pt x="38461" y="113317"/>
                          <a:pt x="38461" y="113317"/>
                        </a:cubicBezTo>
                        <a:cubicBezTo>
                          <a:pt x="38461" y="113317"/>
                          <a:pt x="38461" y="113026"/>
                          <a:pt x="38461" y="113026"/>
                        </a:cubicBezTo>
                        <a:cubicBezTo>
                          <a:pt x="38461" y="113026"/>
                          <a:pt x="38076" y="112736"/>
                          <a:pt x="37692" y="112445"/>
                        </a:cubicBezTo>
                        <a:cubicBezTo>
                          <a:pt x="37692" y="112445"/>
                          <a:pt x="37307" y="112445"/>
                          <a:pt x="37307" y="112445"/>
                        </a:cubicBezTo>
                        <a:cubicBezTo>
                          <a:pt x="37307" y="112445"/>
                          <a:pt x="37307" y="112445"/>
                          <a:pt x="37307" y="112736"/>
                        </a:cubicBezTo>
                        <a:cubicBezTo>
                          <a:pt x="37307" y="113026"/>
                          <a:pt x="38076" y="113026"/>
                          <a:pt x="37307" y="113026"/>
                        </a:cubicBezTo>
                        <a:cubicBezTo>
                          <a:pt x="36923" y="112736"/>
                          <a:pt x="36538" y="112736"/>
                          <a:pt x="36538" y="112736"/>
                        </a:cubicBezTo>
                        <a:cubicBezTo>
                          <a:pt x="35384" y="113026"/>
                          <a:pt x="35384" y="113026"/>
                          <a:pt x="35384" y="113026"/>
                        </a:cubicBezTo>
                        <a:cubicBezTo>
                          <a:pt x="35769" y="112736"/>
                          <a:pt x="35769" y="112736"/>
                          <a:pt x="35769" y="112736"/>
                        </a:cubicBezTo>
                        <a:cubicBezTo>
                          <a:pt x="35769" y="112736"/>
                          <a:pt x="36153" y="112736"/>
                          <a:pt x="36153" y="112736"/>
                        </a:cubicBezTo>
                        <a:cubicBezTo>
                          <a:pt x="36153" y="112445"/>
                          <a:pt x="36153" y="112445"/>
                          <a:pt x="36153" y="112445"/>
                        </a:cubicBezTo>
                        <a:cubicBezTo>
                          <a:pt x="36153" y="112445"/>
                          <a:pt x="36153" y="112154"/>
                          <a:pt x="36153" y="112154"/>
                        </a:cubicBezTo>
                        <a:cubicBezTo>
                          <a:pt x="36538" y="112154"/>
                          <a:pt x="36923" y="111864"/>
                          <a:pt x="36538" y="111864"/>
                        </a:cubicBezTo>
                        <a:cubicBezTo>
                          <a:pt x="36153" y="111864"/>
                          <a:pt x="35769" y="111864"/>
                          <a:pt x="35769" y="111864"/>
                        </a:cubicBezTo>
                        <a:cubicBezTo>
                          <a:pt x="35769" y="111573"/>
                          <a:pt x="35769" y="111573"/>
                          <a:pt x="35769" y="111573"/>
                        </a:cubicBezTo>
                        <a:cubicBezTo>
                          <a:pt x="35769" y="111573"/>
                          <a:pt x="35384" y="111283"/>
                          <a:pt x="35384" y="111283"/>
                        </a:cubicBezTo>
                        <a:cubicBezTo>
                          <a:pt x="35384" y="111573"/>
                          <a:pt x="35384" y="111864"/>
                          <a:pt x="35384" y="111864"/>
                        </a:cubicBezTo>
                        <a:cubicBezTo>
                          <a:pt x="35000" y="111864"/>
                          <a:pt x="35000" y="111864"/>
                          <a:pt x="35000" y="111573"/>
                        </a:cubicBezTo>
                        <a:cubicBezTo>
                          <a:pt x="35000" y="111283"/>
                          <a:pt x="35000" y="111283"/>
                          <a:pt x="35000" y="111283"/>
                        </a:cubicBezTo>
                        <a:cubicBezTo>
                          <a:pt x="34615" y="111283"/>
                          <a:pt x="34230" y="111283"/>
                          <a:pt x="34230" y="111283"/>
                        </a:cubicBezTo>
                        <a:cubicBezTo>
                          <a:pt x="34230" y="111283"/>
                          <a:pt x="34615" y="111573"/>
                          <a:pt x="33846" y="111573"/>
                        </a:cubicBezTo>
                        <a:cubicBezTo>
                          <a:pt x="33461" y="111573"/>
                          <a:pt x="33076" y="111864"/>
                          <a:pt x="32692" y="111864"/>
                        </a:cubicBezTo>
                        <a:cubicBezTo>
                          <a:pt x="32307" y="112154"/>
                          <a:pt x="32307" y="112445"/>
                          <a:pt x="32307" y="112445"/>
                        </a:cubicBezTo>
                        <a:cubicBezTo>
                          <a:pt x="32307" y="112736"/>
                          <a:pt x="31538" y="112736"/>
                          <a:pt x="31538" y="113026"/>
                        </a:cubicBezTo>
                        <a:cubicBezTo>
                          <a:pt x="31923" y="113026"/>
                          <a:pt x="31538" y="113026"/>
                          <a:pt x="32307" y="113317"/>
                        </a:cubicBezTo>
                        <a:cubicBezTo>
                          <a:pt x="32692" y="113317"/>
                          <a:pt x="32692" y="113317"/>
                          <a:pt x="33076" y="113317"/>
                        </a:cubicBezTo>
                        <a:cubicBezTo>
                          <a:pt x="33461" y="113607"/>
                          <a:pt x="33846" y="113317"/>
                          <a:pt x="33846" y="113317"/>
                        </a:cubicBezTo>
                        <a:cubicBezTo>
                          <a:pt x="33846" y="113317"/>
                          <a:pt x="33846" y="113317"/>
                          <a:pt x="34230" y="113607"/>
                        </a:cubicBezTo>
                        <a:cubicBezTo>
                          <a:pt x="34230" y="113607"/>
                          <a:pt x="34615" y="113317"/>
                          <a:pt x="34615" y="113607"/>
                        </a:cubicBezTo>
                        <a:cubicBezTo>
                          <a:pt x="34615" y="113898"/>
                          <a:pt x="35000" y="114188"/>
                          <a:pt x="34615" y="114188"/>
                        </a:cubicBezTo>
                        <a:cubicBezTo>
                          <a:pt x="34230" y="114188"/>
                          <a:pt x="33846" y="114479"/>
                          <a:pt x="33846" y="114188"/>
                        </a:cubicBezTo>
                        <a:cubicBezTo>
                          <a:pt x="33846" y="114188"/>
                          <a:pt x="33846" y="113898"/>
                          <a:pt x="33461" y="113898"/>
                        </a:cubicBezTo>
                        <a:cubicBezTo>
                          <a:pt x="33461" y="113898"/>
                          <a:pt x="33076" y="113898"/>
                          <a:pt x="33076" y="113898"/>
                        </a:cubicBezTo>
                        <a:cubicBezTo>
                          <a:pt x="32692" y="114479"/>
                          <a:pt x="32692" y="114479"/>
                          <a:pt x="32692" y="114479"/>
                        </a:cubicBezTo>
                        <a:cubicBezTo>
                          <a:pt x="32692" y="114479"/>
                          <a:pt x="32692" y="114769"/>
                          <a:pt x="32307" y="114769"/>
                        </a:cubicBezTo>
                        <a:cubicBezTo>
                          <a:pt x="31923" y="114769"/>
                          <a:pt x="32307" y="114769"/>
                          <a:pt x="31538" y="114769"/>
                        </a:cubicBezTo>
                        <a:cubicBezTo>
                          <a:pt x="30769" y="114769"/>
                          <a:pt x="30769" y="114479"/>
                          <a:pt x="30384" y="114479"/>
                        </a:cubicBezTo>
                        <a:cubicBezTo>
                          <a:pt x="30384" y="114479"/>
                          <a:pt x="30384" y="114479"/>
                          <a:pt x="30000" y="114479"/>
                        </a:cubicBezTo>
                        <a:cubicBezTo>
                          <a:pt x="30000" y="114479"/>
                          <a:pt x="29230" y="113898"/>
                          <a:pt x="28846" y="114479"/>
                        </a:cubicBezTo>
                        <a:cubicBezTo>
                          <a:pt x="28461" y="114769"/>
                          <a:pt x="28076" y="115060"/>
                          <a:pt x="28076" y="115060"/>
                        </a:cubicBezTo>
                        <a:cubicBezTo>
                          <a:pt x="26923" y="115060"/>
                          <a:pt x="26923" y="115060"/>
                          <a:pt x="26923" y="115060"/>
                        </a:cubicBezTo>
                        <a:cubicBezTo>
                          <a:pt x="26923" y="115060"/>
                          <a:pt x="26538" y="115060"/>
                          <a:pt x="26153" y="115060"/>
                        </a:cubicBezTo>
                        <a:cubicBezTo>
                          <a:pt x="25769" y="115060"/>
                          <a:pt x="25384" y="115060"/>
                          <a:pt x="25384" y="115060"/>
                        </a:cubicBezTo>
                        <a:cubicBezTo>
                          <a:pt x="25000" y="115351"/>
                          <a:pt x="24615" y="114479"/>
                          <a:pt x="24615" y="114479"/>
                        </a:cubicBezTo>
                        <a:cubicBezTo>
                          <a:pt x="24615" y="114479"/>
                          <a:pt x="25000" y="113898"/>
                          <a:pt x="23846" y="114479"/>
                        </a:cubicBezTo>
                        <a:cubicBezTo>
                          <a:pt x="22692" y="115060"/>
                          <a:pt x="22307" y="115060"/>
                          <a:pt x="22307" y="115060"/>
                        </a:cubicBezTo>
                        <a:cubicBezTo>
                          <a:pt x="22307" y="115060"/>
                          <a:pt x="21923" y="115060"/>
                          <a:pt x="21923" y="115351"/>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538" y="115060"/>
                          <a:pt x="21538" y="115060"/>
                          <a:pt x="21538" y="114769"/>
                        </a:cubicBezTo>
                        <a:cubicBezTo>
                          <a:pt x="21538" y="114769"/>
                          <a:pt x="21538" y="114769"/>
                          <a:pt x="21538" y="114769"/>
                        </a:cubicBezTo>
                        <a:cubicBezTo>
                          <a:pt x="21538" y="114769"/>
                          <a:pt x="21153" y="114769"/>
                          <a:pt x="21153" y="114479"/>
                        </a:cubicBezTo>
                        <a:cubicBezTo>
                          <a:pt x="20384" y="113898"/>
                          <a:pt x="19230" y="112736"/>
                          <a:pt x="19230" y="112736"/>
                        </a:cubicBezTo>
                        <a:cubicBezTo>
                          <a:pt x="20000" y="111573"/>
                          <a:pt x="20000" y="111573"/>
                          <a:pt x="20000" y="111573"/>
                        </a:cubicBezTo>
                        <a:cubicBezTo>
                          <a:pt x="20000" y="111573"/>
                          <a:pt x="20384" y="109539"/>
                          <a:pt x="20384" y="108958"/>
                        </a:cubicBezTo>
                        <a:cubicBezTo>
                          <a:pt x="20384" y="108668"/>
                          <a:pt x="20384" y="106924"/>
                          <a:pt x="20384" y="106924"/>
                        </a:cubicBezTo>
                        <a:cubicBezTo>
                          <a:pt x="20384" y="106924"/>
                          <a:pt x="18846" y="106634"/>
                          <a:pt x="20000" y="105762"/>
                        </a:cubicBezTo>
                        <a:cubicBezTo>
                          <a:pt x="21153" y="104600"/>
                          <a:pt x="22307" y="103147"/>
                          <a:pt x="22307" y="103147"/>
                        </a:cubicBezTo>
                        <a:cubicBezTo>
                          <a:pt x="22307" y="100242"/>
                          <a:pt x="22307" y="100242"/>
                          <a:pt x="22307" y="100242"/>
                        </a:cubicBezTo>
                        <a:cubicBezTo>
                          <a:pt x="22307" y="100242"/>
                          <a:pt x="21153" y="99370"/>
                          <a:pt x="22692" y="98789"/>
                        </a:cubicBezTo>
                        <a:cubicBezTo>
                          <a:pt x="24230" y="97917"/>
                          <a:pt x="26923" y="95302"/>
                          <a:pt x="26923" y="95302"/>
                        </a:cubicBezTo>
                        <a:cubicBezTo>
                          <a:pt x="29615" y="92978"/>
                          <a:pt x="29615" y="92978"/>
                          <a:pt x="29615" y="92978"/>
                        </a:cubicBezTo>
                        <a:cubicBezTo>
                          <a:pt x="25000" y="92106"/>
                          <a:pt x="25000" y="92106"/>
                          <a:pt x="25000" y="92106"/>
                        </a:cubicBezTo>
                        <a:cubicBezTo>
                          <a:pt x="22307" y="91815"/>
                          <a:pt x="22307" y="91815"/>
                          <a:pt x="22307" y="91815"/>
                        </a:cubicBezTo>
                        <a:cubicBezTo>
                          <a:pt x="20384" y="90944"/>
                          <a:pt x="20384" y="90944"/>
                          <a:pt x="20384" y="90944"/>
                        </a:cubicBezTo>
                        <a:cubicBezTo>
                          <a:pt x="19230" y="89491"/>
                          <a:pt x="19230" y="89491"/>
                          <a:pt x="19230" y="89491"/>
                        </a:cubicBezTo>
                        <a:cubicBezTo>
                          <a:pt x="18076" y="90072"/>
                          <a:pt x="18076" y="90072"/>
                          <a:pt x="18076" y="90072"/>
                        </a:cubicBezTo>
                        <a:cubicBezTo>
                          <a:pt x="16923" y="90653"/>
                          <a:pt x="16923" y="90653"/>
                          <a:pt x="16923" y="90653"/>
                        </a:cubicBezTo>
                        <a:cubicBezTo>
                          <a:pt x="14230" y="90363"/>
                          <a:pt x="14230" y="90363"/>
                          <a:pt x="14230" y="90363"/>
                        </a:cubicBezTo>
                        <a:cubicBezTo>
                          <a:pt x="12307" y="88910"/>
                          <a:pt x="12307" y="88910"/>
                          <a:pt x="12307" y="88910"/>
                        </a:cubicBezTo>
                        <a:cubicBezTo>
                          <a:pt x="10769" y="89782"/>
                          <a:pt x="10769" y="89782"/>
                          <a:pt x="10769" y="89782"/>
                        </a:cubicBezTo>
                        <a:cubicBezTo>
                          <a:pt x="9230" y="88910"/>
                          <a:pt x="9230" y="88910"/>
                          <a:pt x="9230" y="88910"/>
                        </a:cubicBezTo>
                        <a:cubicBezTo>
                          <a:pt x="8076" y="87457"/>
                          <a:pt x="8076" y="87457"/>
                          <a:pt x="8076" y="87457"/>
                        </a:cubicBezTo>
                        <a:cubicBezTo>
                          <a:pt x="7692" y="86295"/>
                          <a:pt x="7692" y="86295"/>
                          <a:pt x="7692" y="86295"/>
                        </a:cubicBezTo>
                        <a:cubicBezTo>
                          <a:pt x="5769" y="84842"/>
                          <a:pt x="5769" y="84842"/>
                          <a:pt x="5769" y="84842"/>
                        </a:cubicBezTo>
                        <a:cubicBezTo>
                          <a:pt x="5000" y="84842"/>
                          <a:pt x="5000" y="84842"/>
                          <a:pt x="5000" y="84842"/>
                        </a:cubicBezTo>
                        <a:cubicBezTo>
                          <a:pt x="5000" y="84552"/>
                          <a:pt x="5000" y="84552"/>
                          <a:pt x="5000" y="84552"/>
                        </a:cubicBezTo>
                        <a:cubicBezTo>
                          <a:pt x="4615" y="82808"/>
                          <a:pt x="4615" y="82808"/>
                          <a:pt x="4615" y="82808"/>
                        </a:cubicBezTo>
                        <a:cubicBezTo>
                          <a:pt x="5769" y="82227"/>
                          <a:pt x="5769" y="82227"/>
                          <a:pt x="5769" y="82227"/>
                        </a:cubicBezTo>
                        <a:cubicBezTo>
                          <a:pt x="6538" y="81355"/>
                          <a:pt x="6538" y="81355"/>
                          <a:pt x="6538" y="81355"/>
                        </a:cubicBezTo>
                        <a:cubicBezTo>
                          <a:pt x="7307" y="80484"/>
                          <a:pt x="7307" y="80484"/>
                          <a:pt x="7307" y="80484"/>
                        </a:cubicBezTo>
                        <a:cubicBezTo>
                          <a:pt x="6923" y="79322"/>
                          <a:pt x="6923" y="79322"/>
                          <a:pt x="6923" y="79322"/>
                        </a:cubicBezTo>
                        <a:cubicBezTo>
                          <a:pt x="6923" y="79322"/>
                          <a:pt x="5384" y="79322"/>
                          <a:pt x="5000" y="79031"/>
                        </a:cubicBezTo>
                        <a:cubicBezTo>
                          <a:pt x="4615" y="79031"/>
                          <a:pt x="3461" y="78450"/>
                          <a:pt x="3461" y="78450"/>
                        </a:cubicBezTo>
                        <a:cubicBezTo>
                          <a:pt x="3076" y="76997"/>
                          <a:pt x="3076" y="76997"/>
                          <a:pt x="3076" y="76997"/>
                        </a:cubicBezTo>
                        <a:cubicBezTo>
                          <a:pt x="2307" y="76125"/>
                          <a:pt x="2307" y="76125"/>
                          <a:pt x="2307" y="76125"/>
                        </a:cubicBezTo>
                        <a:cubicBezTo>
                          <a:pt x="1923" y="74673"/>
                          <a:pt x="1923" y="74673"/>
                          <a:pt x="1923" y="74673"/>
                        </a:cubicBezTo>
                        <a:cubicBezTo>
                          <a:pt x="2307" y="73220"/>
                          <a:pt x="2307" y="73220"/>
                          <a:pt x="2307" y="73220"/>
                        </a:cubicBezTo>
                        <a:cubicBezTo>
                          <a:pt x="2307" y="73220"/>
                          <a:pt x="2307" y="73220"/>
                          <a:pt x="2307" y="73220"/>
                        </a:cubicBezTo>
                        <a:cubicBezTo>
                          <a:pt x="2307" y="73220"/>
                          <a:pt x="2307" y="73220"/>
                          <a:pt x="2307" y="73220"/>
                        </a:cubicBezTo>
                        <a:cubicBezTo>
                          <a:pt x="2692" y="73220"/>
                          <a:pt x="2692" y="73220"/>
                          <a:pt x="2692" y="73220"/>
                        </a:cubicBezTo>
                        <a:cubicBezTo>
                          <a:pt x="3076" y="72639"/>
                          <a:pt x="3076" y="72639"/>
                          <a:pt x="3076" y="72639"/>
                        </a:cubicBezTo>
                        <a:cubicBezTo>
                          <a:pt x="3076" y="72348"/>
                          <a:pt x="3076" y="72348"/>
                          <a:pt x="3076" y="72348"/>
                        </a:cubicBezTo>
                        <a:cubicBezTo>
                          <a:pt x="3076" y="72348"/>
                          <a:pt x="3461" y="72058"/>
                          <a:pt x="3846" y="72058"/>
                        </a:cubicBezTo>
                        <a:cubicBezTo>
                          <a:pt x="3846" y="72058"/>
                          <a:pt x="4230" y="72058"/>
                          <a:pt x="4230" y="72058"/>
                        </a:cubicBezTo>
                        <a:cubicBezTo>
                          <a:pt x="4615" y="72058"/>
                          <a:pt x="4615" y="71186"/>
                          <a:pt x="4615" y="71186"/>
                        </a:cubicBezTo>
                        <a:cubicBezTo>
                          <a:pt x="5384" y="71186"/>
                          <a:pt x="5384" y="71186"/>
                          <a:pt x="5384" y="71186"/>
                        </a:cubicBezTo>
                        <a:cubicBezTo>
                          <a:pt x="5384" y="71186"/>
                          <a:pt x="5769" y="70895"/>
                          <a:pt x="5769" y="70895"/>
                        </a:cubicBezTo>
                        <a:cubicBezTo>
                          <a:pt x="5769" y="70605"/>
                          <a:pt x="5769" y="70314"/>
                          <a:pt x="5769" y="70314"/>
                        </a:cubicBezTo>
                        <a:cubicBezTo>
                          <a:pt x="5769" y="70314"/>
                          <a:pt x="6153" y="69733"/>
                          <a:pt x="6153" y="69443"/>
                        </a:cubicBezTo>
                        <a:cubicBezTo>
                          <a:pt x="6153" y="69152"/>
                          <a:pt x="5769" y="68861"/>
                          <a:pt x="5769" y="68861"/>
                        </a:cubicBezTo>
                        <a:cubicBezTo>
                          <a:pt x="5769" y="68861"/>
                          <a:pt x="5384" y="68280"/>
                          <a:pt x="5000" y="68280"/>
                        </a:cubicBezTo>
                        <a:cubicBezTo>
                          <a:pt x="5000" y="68280"/>
                          <a:pt x="4230" y="68280"/>
                          <a:pt x="4230" y="68280"/>
                        </a:cubicBezTo>
                        <a:cubicBezTo>
                          <a:pt x="3846" y="68280"/>
                          <a:pt x="3461" y="67699"/>
                          <a:pt x="3461" y="67699"/>
                        </a:cubicBezTo>
                        <a:cubicBezTo>
                          <a:pt x="3461" y="67699"/>
                          <a:pt x="3846" y="67409"/>
                          <a:pt x="3846" y="67118"/>
                        </a:cubicBezTo>
                        <a:cubicBezTo>
                          <a:pt x="4230" y="67118"/>
                          <a:pt x="4230" y="66246"/>
                          <a:pt x="4230" y="66246"/>
                        </a:cubicBezTo>
                        <a:cubicBezTo>
                          <a:pt x="4230" y="66246"/>
                          <a:pt x="3846" y="65956"/>
                          <a:pt x="3461" y="65956"/>
                        </a:cubicBezTo>
                        <a:cubicBezTo>
                          <a:pt x="3461" y="65956"/>
                          <a:pt x="2692" y="65956"/>
                          <a:pt x="2692" y="65956"/>
                        </a:cubicBezTo>
                        <a:cubicBezTo>
                          <a:pt x="2692" y="65084"/>
                          <a:pt x="2692" y="65084"/>
                          <a:pt x="2692" y="65084"/>
                        </a:cubicBezTo>
                        <a:cubicBezTo>
                          <a:pt x="2692" y="65084"/>
                          <a:pt x="1923" y="64794"/>
                          <a:pt x="1538" y="64794"/>
                        </a:cubicBezTo>
                        <a:cubicBezTo>
                          <a:pt x="1538" y="64794"/>
                          <a:pt x="1538" y="64503"/>
                          <a:pt x="1153" y="64503"/>
                        </a:cubicBezTo>
                        <a:cubicBezTo>
                          <a:pt x="1538" y="64503"/>
                          <a:pt x="1538" y="64503"/>
                          <a:pt x="1538" y="64503"/>
                        </a:cubicBezTo>
                        <a:cubicBezTo>
                          <a:pt x="1538" y="64503"/>
                          <a:pt x="1538" y="64503"/>
                          <a:pt x="1538" y="64503"/>
                        </a:cubicBezTo>
                        <a:cubicBezTo>
                          <a:pt x="1538" y="64213"/>
                          <a:pt x="1153" y="63922"/>
                          <a:pt x="1153" y="63631"/>
                        </a:cubicBezTo>
                        <a:cubicBezTo>
                          <a:pt x="1153" y="63631"/>
                          <a:pt x="1538" y="63631"/>
                          <a:pt x="1538" y="63631"/>
                        </a:cubicBezTo>
                        <a:cubicBezTo>
                          <a:pt x="1538" y="63631"/>
                          <a:pt x="1538" y="63341"/>
                          <a:pt x="1923" y="63050"/>
                        </a:cubicBezTo>
                        <a:cubicBezTo>
                          <a:pt x="1923" y="63050"/>
                          <a:pt x="1923" y="63050"/>
                          <a:pt x="2307" y="63050"/>
                        </a:cubicBezTo>
                        <a:cubicBezTo>
                          <a:pt x="2307" y="63050"/>
                          <a:pt x="2307" y="62760"/>
                          <a:pt x="2692" y="62760"/>
                        </a:cubicBezTo>
                        <a:cubicBezTo>
                          <a:pt x="2692" y="62469"/>
                          <a:pt x="2692" y="61888"/>
                          <a:pt x="2692" y="61888"/>
                        </a:cubicBezTo>
                        <a:cubicBezTo>
                          <a:pt x="2692" y="61888"/>
                          <a:pt x="2692" y="61888"/>
                          <a:pt x="2307" y="61598"/>
                        </a:cubicBezTo>
                        <a:cubicBezTo>
                          <a:pt x="1923" y="61598"/>
                          <a:pt x="1923" y="61598"/>
                          <a:pt x="1923" y="61307"/>
                        </a:cubicBezTo>
                        <a:cubicBezTo>
                          <a:pt x="1538" y="61307"/>
                          <a:pt x="1923" y="61016"/>
                          <a:pt x="1923" y="61016"/>
                        </a:cubicBezTo>
                        <a:cubicBezTo>
                          <a:pt x="1923" y="61016"/>
                          <a:pt x="1153" y="60726"/>
                          <a:pt x="1153" y="60726"/>
                        </a:cubicBezTo>
                        <a:cubicBezTo>
                          <a:pt x="1153" y="60726"/>
                          <a:pt x="384" y="60726"/>
                          <a:pt x="384" y="60726"/>
                        </a:cubicBezTo>
                        <a:cubicBezTo>
                          <a:pt x="384" y="60726"/>
                          <a:pt x="384" y="60726"/>
                          <a:pt x="384" y="60726"/>
                        </a:cubicBezTo>
                        <a:cubicBezTo>
                          <a:pt x="384" y="60145"/>
                          <a:pt x="384" y="60145"/>
                          <a:pt x="384" y="60145"/>
                        </a:cubicBezTo>
                        <a:cubicBezTo>
                          <a:pt x="0" y="59564"/>
                          <a:pt x="0" y="59564"/>
                          <a:pt x="0" y="59564"/>
                        </a:cubicBezTo>
                        <a:cubicBezTo>
                          <a:pt x="384" y="59273"/>
                          <a:pt x="384" y="59273"/>
                          <a:pt x="384" y="59273"/>
                        </a:cubicBezTo>
                        <a:cubicBezTo>
                          <a:pt x="1153" y="59854"/>
                          <a:pt x="1153" y="59854"/>
                          <a:pt x="1153" y="59854"/>
                        </a:cubicBezTo>
                        <a:cubicBezTo>
                          <a:pt x="1153" y="59854"/>
                          <a:pt x="1153" y="59564"/>
                          <a:pt x="1153" y="59273"/>
                        </a:cubicBezTo>
                        <a:cubicBezTo>
                          <a:pt x="1538" y="59273"/>
                          <a:pt x="1923" y="58692"/>
                          <a:pt x="1923" y="58692"/>
                        </a:cubicBezTo>
                        <a:cubicBezTo>
                          <a:pt x="2692" y="58692"/>
                          <a:pt x="2692" y="58692"/>
                          <a:pt x="2692" y="58692"/>
                        </a:cubicBezTo>
                        <a:cubicBezTo>
                          <a:pt x="2692" y="58692"/>
                          <a:pt x="4230" y="58692"/>
                          <a:pt x="4230" y="58692"/>
                        </a:cubicBezTo>
                        <a:cubicBezTo>
                          <a:pt x="4615" y="58401"/>
                          <a:pt x="3846" y="57820"/>
                          <a:pt x="3846" y="57820"/>
                        </a:cubicBezTo>
                        <a:cubicBezTo>
                          <a:pt x="3846" y="57820"/>
                          <a:pt x="3076" y="58401"/>
                          <a:pt x="3076" y="58401"/>
                        </a:cubicBezTo>
                        <a:cubicBezTo>
                          <a:pt x="2692" y="58401"/>
                          <a:pt x="2692" y="57530"/>
                          <a:pt x="2692" y="57530"/>
                        </a:cubicBezTo>
                        <a:cubicBezTo>
                          <a:pt x="2692" y="56949"/>
                          <a:pt x="2692" y="56949"/>
                          <a:pt x="2692" y="56949"/>
                        </a:cubicBezTo>
                        <a:cubicBezTo>
                          <a:pt x="3461" y="56658"/>
                          <a:pt x="3461" y="56658"/>
                          <a:pt x="3461" y="56658"/>
                        </a:cubicBezTo>
                        <a:cubicBezTo>
                          <a:pt x="3846" y="56077"/>
                          <a:pt x="3846" y="56077"/>
                          <a:pt x="3846" y="56077"/>
                        </a:cubicBezTo>
                        <a:cubicBezTo>
                          <a:pt x="3846" y="56077"/>
                          <a:pt x="4615" y="55496"/>
                          <a:pt x="4615" y="55496"/>
                        </a:cubicBezTo>
                        <a:cubicBezTo>
                          <a:pt x="5000" y="55205"/>
                          <a:pt x="4615" y="54624"/>
                          <a:pt x="4615" y="54624"/>
                        </a:cubicBezTo>
                        <a:cubicBezTo>
                          <a:pt x="5000" y="53753"/>
                          <a:pt x="5000" y="53753"/>
                          <a:pt x="5000" y="53753"/>
                        </a:cubicBezTo>
                        <a:cubicBezTo>
                          <a:pt x="4230" y="52881"/>
                          <a:pt x="4230" y="52881"/>
                          <a:pt x="4230" y="52881"/>
                        </a:cubicBezTo>
                        <a:cubicBezTo>
                          <a:pt x="4230" y="52009"/>
                          <a:pt x="4230" y="52009"/>
                          <a:pt x="4230" y="52009"/>
                        </a:cubicBezTo>
                        <a:cubicBezTo>
                          <a:pt x="3461" y="51138"/>
                          <a:pt x="3461" y="51138"/>
                          <a:pt x="3461" y="51138"/>
                        </a:cubicBezTo>
                        <a:cubicBezTo>
                          <a:pt x="3461" y="50847"/>
                          <a:pt x="3461" y="50847"/>
                          <a:pt x="3461" y="50847"/>
                        </a:cubicBezTo>
                        <a:cubicBezTo>
                          <a:pt x="3076" y="50266"/>
                          <a:pt x="3076" y="50266"/>
                          <a:pt x="3076" y="50266"/>
                        </a:cubicBezTo>
                        <a:cubicBezTo>
                          <a:pt x="3076" y="49685"/>
                          <a:pt x="3076" y="49685"/>
                          <a:pt x="3076" y="49685"/>
                        </a:cubicBezTo>
                        <a:cubicBezTo>
                          <a:pt x="3076" y="49685"/>
                          <a:pt x="2307" y="49104"/>
                          <a:pt x="1923" y="49104"/>
                        </a:cubicBezTo>
                        <a:cubicBezTo>
                          <a:pt x="1538" y="49104"/>
                          <a:pt x="1923" y="48813"/>
                          <a:pt x="1923" y="48813"/>
                        </a:cubicBezTo>
                        <a:cubicBezTo>
                          <a:pt x="1923" y="48232"/>
                          <a:pt x="1923" y="48232"/>
                          <a:pt x="1923" y="48232"/>
                        </a:cubicBezTo>
                        <a:cubicBezTo>
                          <a:pt x="1923" y="47360"/>
                          <a:pt x="1923" y="47360"/>
                          <a:pt x="1923" y="47360"/>
                        </a:cubicBezTo>
                        <a:cubicBezTo>
                          <a:pt x="3846" y="47651"/>
                          <a:pt x="3846" y="47651"/>
                          <a:pt x="3846" y="47651"/>
                        </a:cubicBezTo>
                        <a:cubicBezTo>
                          <a:pt x="4615" y="47651"/>
                          <a:pt x="4615" y="47651"/>
                          <a:pt x="4615" y="47651"/>
                        </a:cubicBezTo>
                        <a:cubicBezTo>
                          <a:pt x="3461" y="47070"/>
                          <a:pt x="3461" y="47070"/>
                          <a:pt x="3461" y="47070"/>
                        </a:cubicBezTo>
                        <a:cubicBezTo>
                          <a:pt x="4615" y="46779"/>
                          <a:pt x="4615" y="46779"/>
                          <a:pt x="4615" y="46779"/>
                        </a:cubicBezTo>
                        <a:cubicBezTo>
                          <a:pt x="5384" y="47360"/>
                          <a:pt x="5384" y="47360"/>
                          <a:pt x="5384" y="47360"/>
                        </a:cubicBezTo>
                        <a:cubicBezTo>
                          <a:pt x="6538" y="47651"/>
                          <a:pt x="6538" y="47651"/>
                          <a:pt x="6538" y="47651"/>
                        </a:cubicBezTo>
                        <a:cubicBezTo>
                          <a:pt x="6923" y="48232"/>
                          <a:pt x="6923" y="48232"/>
                          <a:pt x="6923" y="48232"/>
                        </a:cubicBezTo>
                        <a:cubicBezTo>
                          <a:pt x="7307" y="47651"/>
                          <a:pt x="7307" y="47651"/>
                          <a:pt x="7307" y="47651"/>
                        </a:cubicBezTo>
                        <a:cubicBezTo>
                          <a:pt x="8461" y="47651"/>
                          <a:pt x="8461" y="47651"/>
                          <a:pt x="8461" y="47651"/>
                        </a:cubicBezTo>
                        <a:cubicBezTo>
                          <a:pt x="8846" y="47651"/>
                          <a:pt x="8846" y="47651"/>
                          <a:pt x="8846" y="47651"/>
                        </a:cubicBezTo>
                        <a:cubicBezTo>
                          <a:pt x="10000" y="47360"/>
                          <a:pt x="10000" y="47360"/>
                          <a:pt x="10000" y="47360"/>
                        </a:cubicBezTo>
                        <a:cubicBezTo>
                          <a:pt x="11153" y="47360"/>
                          <a:pt x="11153" y="47360"/>
                          <a:pt x="11153" y="47360"/>
                        </a:cubicBezTo>
                        <a:cubicBezTo>
                          <a:pt x="11538" y="46779"/>
                          <a:pt x="11538" y="46779"/>
                          <a:pt x="11538" y="46779"/>
                        </a:cubicBezTo>
                        <a:cubicBezTo>
                          <a:pt x="12307" y="46489"/>
                          <a:pt x="12307" y="46489"/>
                          <a:pt x="12307" y="46489"/>
                        </a:cubicBezTo>
                        <a:cubicBezTo>
                          <a:pt x="12692" y="46198"/>
                          <a:pt x="12692" y="46198"/>
                          <a:pt x="12692" y="46198"/>
                        </a:cubicBezTo>
                        <a:cubicBezTo>
                          <a:pt x="11538" y="45617"/>
                          <a:pt x="11538" y="45617"/>
                          <a:pt x="11538" y="45617"/>
                        </a:cubicBezTo>
                        <a:cubicBezTo>
                          <a:pt x="10769" y="44745"/>
                          <a:pt x="10769" y="44745"/>
                          <a:pt x="10769" y="44745"/>
                        </a:cubicBezTo>
                        <a:cubicBezTo>
                          <a:pt x="11538" y="44745"/>
                          <a:pt x="11538" y="44745"/>
                          <a:pt x="11538" y="44745"/>
                        </a:cubicBezTo>
                        <a:cubicBezTo>
                          <a:pt x="11538" y="43874"/>
                          <a:pt x="11538" y="43874"/>
                          <a:pt x="11538" y="43874"/>
                        </a:cubicBezTo>
                        <a:cubicBezTo>
                          <a:pt x="11538" y="43874"/>
                          <a:pt x="13076" y="44164"/>
                          <a:pt x="13076" y="44164"/>
                        </a:cubicBezTo>
                        <a:cubicBezTo>
                          <a:pt x="13076" y="43874"/>
                          <a:pt x="13076" y="43874"/>
                          <a:pt x="13461" y="43583"/>
                        </a:cubicBezTo>
                        <a:cubicBezTo>
                          <a:pt x="13846" y="43583"/>
                          <a:pt x="14615" y="43292"/>
                          <a:pt x="14615" y="43292"/>
                        </a:cubicBezTo>
                        <a:cubicBezTo>
                          <a:pt x="15000" y="42711"/>
                          <a:pt x="15000" y="42711"/>
                          <a:pt x="15000" y="42711"/>
                        </a:cubicBezTo>
                        <a:cubicBezTo>
                          <a:pt x="15000" y="42711"/>
                          <a:pt x="15769" y="42421"/>
                          <a:pt x="15769" y="42421"/>
                        </a:cubicBezTo>
                        <a:cubicBezTo>
                          <a:pt x="16153" y="42421"/>
                          <a:pt x="15769" y="42130"/>
                          <a:pt x="15769" y="41840"/>
                        </a:cubicBezTo>
                        <a:cubicBezTo>
                          <a:pt x="15769" y="41549"/>
                          <a:pt x="15769" y="40968"/>
                          <a:pt x="15769" y="40968"/>
                        </a:cubicBezTo>
                        <a:cubicBezTo>
                          <a:pt x="16153" y="40387"/>
                          <a:pt x="16153" y="40387"/>
                          <a:pt x="16153" y="40387"/>
                        </a:cubicBezTo>
                        <a:cubicBezTo>
                          <a:pt x="15384" y="39225"/>
                          <a:pt x="15384" y="39225"/>
                          <a:pt x="15384" y="39225"/>
                        </a:cubicBezTo>
                        <a:cubicBezTo>
                          <a:pt x="14230" y="39515"/>
                          <a:pt x="14230" y="39515"/>
                          <a:pt x="14230" y="39515"/>
                        </a:cubicBezTo>
                        <a:cubicBezTo>
                          <a:pt x="13461" y="38934"/>
                          <a:pt x="13461" y="38934"/>
                          <a:pt x="13461" y="38934"/>
                        </a:cubicBezTo>
                        <a:cubicBezTo>
                          <a:pt x="13461" y="38934"/>
                          <a:pt x="12307" y="38934"/>
                          <a:pt x="12307" y="38644"/>
                        </a:cubicBezTo>
                        <a:cubicBezTo>
                          <a:pt x="11923" y="38353"/>
                          <a:pt x="11538" y="37772"/>
                          <a:pt x="11538" y="37772"/>
                        </a:cubicBezTo>
                        <a:cubicBezTo>
                          <a:pt x="11538" y="37191"/>
                          <a:pt x="11538" y="37191"/>
                          <a:pt x="11538" y="37191"/>
                        </a:cubicBezTo>
                        <a:cubicBezTo>
                          <a:pt x="12692" y="37191"/>
                          <a:pt x="12692" y="37191"/>
                          <a:pt x="12692" y="37191"/>
                        </a:cubicBezTo>
                        <a:cubicBezTo>
                          <a:pt x="11923" y="36900"/>
                          <a:pt x="11923" y="36900"/>
                          <a:pt x="11923" y="36900"/>
                        </a:cubicBezTo>
                        <a:cubicBezTo>
                          <a:pt x="11923" y="36029"/>
                          <a:pt x="11923" y="36029"/>
                          <a:pt x="11923" y="36029"/>
                        </a:cubicBezTo>
                        <a:cubicBezTo>
                          <a:pt x="13461" y="35738"/>
                          <a:pt x="13461" y="35738"/>
                          <a:pt x="13461" y="35738"/>
                        </a:cubicBezTo>
                        <a:cubicBezTo>
                          <a:pt x="13461" y="35738"/>
                          <a:pt x="15384" y="36319"/>
                          <a:pt x="15769" y="36319"/>
                        </a:cubicBezTo>
                        <a:cubicBezTo>
                          <a:pt x="16153" y="36610"/>
                          <a:pt x="16153" y="35447"/>
                          <a:pt x="16153" y="35447"/>
                        </a:cubicBezTo>
                        <a:cubicBezTo>
                          <a:pt x="16538" y="33995"/>
                          <a:pt x="16538" y="33995"/>
                          <a:pt x="16538" y="33995"/>
                        </a:cubicBezTo>
                        <a:cubicBezTo>
                          <a:pt x="16538" y="33995"/>
                          <a:pt x="16153" y="32832"/>
                          <a:pt x="16538" y="32542"/>
                        </a:cubicBezTo>
                        <a:cubicBezTo>
                          <a:pt x="16923" y="32542"/>
                          <a:pt x="18076" y="30799"/>
                          <a:pt x="18076" y="30799"/>
                        </a:cubicBezTo>
                        <a:cubicBezTo>
                          <a:pt x="18076" y="30799"/>
                          <a:pt x="18076" y="29055"/>
                          <a:pt x="18076" y="28765"/>
                        </a:cubicBezTo>
                        <a:cubicBezTo>
                          <a:pt x="18076" y="28474"/>
                          <a:pt x="18076" y="27312"/>
                          <a:pt x="18076" y="27312"/>
                        </a:cubicBezTo>
                        <a:cubicBezTo>
                          <a:pt x="18076" y="27021"/>
                          <a:pt x="18076" y="27021"/>
                          <a:pt x="18076" y="27021"/>
                        </a:cubicBezTo>
                        <a:cubicBezTo>
                          <a:pt x="18076" y="27021"/>
                          <a:pt x="16923" y="26731"/>
                          <a:pt x="16538" y="26731"/>
                        </a:cubicBezTo>
                        <a:cubicBezTo>
                          <a:pt x="16538" y="26440"/>
                          <a:pt x="16923" y="25859"/>
                          <a:pt x="16923" y="25859"/>
                        </a:cubicBezTo>
                        <a:cubicBezTo>
                          <a:pt x="15000" y="25569"/>
                          <a:pt x="15000" y="25569"/>
                          <a:pt x="15000" y="25569"/>
                        </a:cubicBezTo>
                        <a:cubicBezTo>
                          <a:pt x="15384" y="24697"/>
                          <a:pt x="15769" y="23244"/>
                          <a:pt x="16153" y="23244"/>
                        </a:cubicBezTo>
                        <a:cubicBezTo>
                          <a:pt x="16538" y="22953"/>
                          <a:pt x="17307" y="22372"/>
                          <a:pt x="17307" y="22372"/>
                        </a:cubicBezTo>
                        <a:cubicBezTo>
                          <a:pt x="17307" y="21210"/>
                          <a:pt x="17307" y="21210"/>
                          <a:pt x="17307" y="21210"/>
                        </a:cubicBezTo>
                        <a:cubicBezTo>
                          <a:pt x="16538" y="20338"/>
                          <a:pt x="16538" y="20338"/>
                          <a:pt x="16538" y="20338"/>
                        </a:cubicBezTo>
                        <a:cubicBezTo>
                          <a:pt x="17307" y="19467"/>
                          <a:pt x="17307" y="19467"/>
                          <a:pt x="17307" y="19467"/>
                        </a:cubicBezTo>
                        <a:cubicBezTo>
                          <a:pt x="17307" y="19467"/>
                          <a:pt x="18846" y="18886"/>
                          <a:pt x="18846" y="18886"/>
                        </a:cubicBezTo>
                        <a:cubicBezTo>
                          <a:pt x="19230" y="18886"/>
                          <a:pt x="21538" y="18886"/>
                          <a:pt x="21538" y="18886"/>
                        </a:cubicBezTo>
                        <a:cubicBezTo>
                          <a:pt x="23076" y="18305"/>
                          <a:pt x="23076" y="18305"/>
                          <a:pt x="23076" y="18305"/>
                        </a:cubicBezTo>
                        <a:cubicBezTo>
                          <a:pt x="25384" y="18305"/>
                          <a:pt x="25384" y="18305"/>
                          <a:pt x="25384" y="18305"/>
                        </a:cubicBezTo>
                        <a:cubicBezTo>
                          <a:pt x="26923" y="18014"/>
                          <a:pt x="26923" y="18014"/>
                          <a:pt x="26923" y="18014"/>
                        </a:cubicBezTo>
                        <a:cubicBezTo>
                          <a:pt x="28076" y="18595"/>
                          <a:pt x="28076" y="18595"/>
                          <a:pt x="28076" y="18595"/>
                        </a:cubicBezTo>
                        <a:cubicBezTo>
                          <a:pt x="28076" y="18595"/>
                          <a:pt x="28846" y="19176"/>
                          <a:pt x="28846" y="19467"/>
                        </a:cubicBezTo>
                        <a:cubicBezTo>
                          <a:pt x="28846" y="19467"/>
                          <a:pt x="29615" y="20048"/>
                          <a:pt x="29615" y="20338"/>
                        </a:cubicBezTo>
                        <a:cubicBezTo>
                          <a:pt x="29230" y="20338"/>
                          <a:pt x="30000" y="21210"/>
                          <a:pt x="30000" y="21210"/>
                        </a:cubicBezTo>
                        <a:cubicBezTo>
                          <a:pt x="30000" y="21210"/>
                          <a:pt x="29615" y="21791"/>
                          <a:pt x="29615" y="22082"/>
                        </a:cubicBezTo>
                        <a:cubicBezTo>
                          <a:pt x="29615" y="22082"/>
                          <a:pt x="30000" y="23244"/>
                          <a:pt x="30000" y="23244"/>
                        </a:cubicBezTo>
                        <a:cubicBezTo>
                          <a:pt x="30000" y="23535"/>
                          <a:pt x="30769" y="23825"/>
                          <a:pt x="30769" y="23825"/>
                        </a:cubicBezTo>
                        <a:cubicBezTo>
                          <a:pt x="31538" y="23535"/>
                          <a:pt x="31538" y="23535"/>
                          <a:pt x="31538" y="23535"/>
                        </a:cubicBezTo>
                        <a:cubicBezTo>
                          <a:pt x="31923" y="22953"/>
                          <a:pt x="31923" y="22953"/>
                          <a:pt x="31923" y="22953"/>
                        </a:cubicBezTo>
                        <a:cubicBezTo>
                          <a:pt x="31153" y="22082"/>
                          <a:pt x="31153" y="22082"/>
                          <a:pt x="31153" y="22082"/>
                        </a:cubicBezTo>
                        <a:cubicBezTo>
                          <a:pt x="30769" y="22082"/>
                          <a:pt x="30769" y="22082"/>
                          <a:pt x="30769" y="22082"/>
                        </a:cubicBezTo>
                        <a:cubicBezTo>
                          <a:pt x="31153" y="20920"/>
                          <a:pt x="31153" y="20920"/>
                          <a:pt x="31153" y="20920"/>
                        </a:cubicBezTo>
                        <a:cubicBezTo>
                          <a:pt x="31153" y="20920"/>
                          <a:pt x="31923" y="20629"/>
                          <a:pt x="32307" y="20920"/>
                        </a:cubicBezTo>
                        <a:cubicBezTo>
                          <a:pt x="32692" y="20920"/>
                          <a:pt x="33846" y="21791"/>
                          <a:pt x="33846" y="21791"/>
                        </a:cubicBezTo>
                        <a:cubicBezTo>
                          <a:pt x="34615" y="22082"/>
                          <a:pt x="34615" y="22082"/>
                          <a:pt x="34615" y="22082"/>
                        </a:cubicBezTo>
                        <a:cubicBezTo>
                          <a:pt x="34615" y="22082"/>
                          <a:pt x="35769" y="21501"/>
                          <a:pt x="35769" y="21501"/>
                        </a:cubicBezTo>
                        <a:cubicBezTo>
                          <a:pt x="35769" y="21501"/>
                          <a:pt x="34615" y="20338"/>
                          <a:pt x="34615" y="20338"/>
                        </a:cubicBezTo>
                        <a:cubicBezTo>
                          <a:pt x="35000" y="18886"/>
                          <a:pt x="35000" y="18886"/>
                          <a:pt x="35000" y="18886"/>
                        </a:cubicBezTo>
                        <a:cubicBezTo>
                          <a:pt x="35384" y="17723"/>
                          <a:pt x="35384" y="17723"/>
                          <a:pt x="35384" y="17723"/>
                        </a:cubicBezTo>
                        <a:cubicBezTo>
                          <a:pt x="36923" y="16852"/>
                          <a:pt x="36923" y="16852"/>
                          <a:pt x="36923" y="16852"/>
                        </a:cubicBezTo>
                        <a:cubicBezTo>
                          <a:pt x="38076" y="17433"/>
                          <a:pt x="38076" y="17433"/>
                          <a:pt x="38076" y="17433"/>
                        </a:cubicBezTo>
                        <a:cubicBezTo>
                          <a:pt x="40000" y="17433"/>
                          <a:pt x="40000" y="17433"/>
                          <a:pt x="40000" y="17433"/>
                        </a:cubicBezTo>
                        <a:cubicBezTo>
                          <a:pt x="41923" y="17433"/>
                          <a:pt x="41923" y="17433"/>
                          <a:pt x="41923" y="17433"/>
                        </a:cubicBezTo>
                        <a:cubicBezTo>
                          <a:pt x="43076" y="17142"/>
                          <a:pt x="43076" y="17142"/>
                          <a:pt x="43076" y="17142"/>
                        </a:cubicBezTo>
                        <a:cubicBezTo>
                          <a:pt x="44615" y="17142"/>
                          <a:pt x="44615" y="17142"/>
                          <a:pt x="44615" y="17142"/>
                        </a:cubicBezTo>
                        <a:cubicBezTo>
                          <a:pt x="44615" y="17142"/>
                          <a:pt x="43846" y="16561"/>
                          <a:pt x="43846" y="16561"/>
                        </a:cubicBezTo>
                        <a:cubicBezTo>
                          <a:pt x="43461" y="16561"/>
                          <a:pt x="42692" y="15980"/>
                          <a:pt x="42692" y="15980"/>
                        </a:cubicBezTo>
                        <a:cubicBezTo>
                          <a:pt x="42692" y="15980"/>
                          <a:pt x="42307" y="16561"/>
                          <a:pt x="42307" y="16561"/>
                        </a:cubicBezTo>
                        <a:cubicBezTo>
                          <a:pt x="41923" y="16852"/>
                          <a:pt x="40769" y="16852"/>
                          <a:pt x="40769" y="16561"/>
                        </a:cubicBezTo>
                        <a:cubicBezTo>
                          <a:pt x="40384" y="16561"/>
                          <a:pt x="40000" y="15690"/>
                          <a:pt x="40000" y="15690"/>
                        </a:cubicBezTo>
                        <a:cubicBezTo>
                          <a:pt x="40000" y="14818"/>
                          <a:pt x="40000" y="14818"/>
                          <a:pt x="40000" y="14818"/>
                        </a:cubicBezTo>
                        <a:cubicBezTo>
                          <a:pt x="40769" y="14527"/>
                          <a:pt x="40769" y="14527"/>
                          <a:pt x="40769" y="14527"/>
                        </a:cubicBezTo>
                        <a:cubicBezTo>
                          <a:pt x="39615" y="13656"/>
                          <a:pt x="39615" y="13656"/>
                          <a:pt x="39615" y="13656"/>
                        </a:cubicBezTo>
                        <a:cubicBezTo>
                          <a:pt x="39615" y="13656"/>
                          <a:pt x="39615" y="12784"/>
                          <a:pt x="40000" y="12493"/>
                        </a:cubicBezTo>
                        <a:cubicBezTo>
                          <a:pt x="40384" y="12493"/>
                          <a:pt x="40384" y="11912"/>
                          <a:pt x="40384" y="11912"/>
                        </a:cubicBezTo>
                        <a:cubicBezTo>
                          <a:pt x="39230" y="11912"/>
                          <a:pt x="39230" y="11912"/>
                          <a:pt x="39230" y="11912"/>
                        </a:cubicBezTo>
                        <a:cubicBezTo>
                          <a:pt x="39230" y="11912"/>
                          <a:pt x="38846" y="11912"/>
                          <a:pt x="38846" y="11331"/>
                        </a:cubicBezTo>
                        <a:cubicBezTo>
                          <a:pt x="39230" y="10750"/>
                          <a:pt x="39230" y="10460"/>
                          <a:pt x="39230" y="10460"/>
                        </a:cubicBezTo>
                        <a:cubicBezTo>
                          <a:pt x="37692" y="10460"/>
                          <a:pt x="37692" y="10460"/>
                          <a:pt x="37692" y="10460"/>
                        </a:cubicBezTo>
                        <a:cubicBezTo>
                          <a:pt x="36923" y="10460"/>
                          <a:pt x="36923" y="10460"/>
                          <a:pt x="36923" y="10460"/>
                        </a:cubicBezTo>
                        <a:cubicBezTo>
                          <a:pt x="35769" y="9588"/>
                          <a:pt x="35769" y="9588"/>
                          <a:pt x="35769" y="9588"/>
                        </a:cubicBezTo>
                        <a:cubicBezTo>
                          <a:pt x="36153" y="8716"/>
                          <a:pt x="36153" y="8716"/>
                          <a:pt x="36153" y="8716"/>
                        </a:cubicBezTo>
                        <a:cubicBezTo>
                          <a:pt x="38461" y="8426"/>
                          <a:pt x="38461" y="8426"/>
                          <a:pt x="38461" y="8426"/>
                        </a:cubicBezTo>
                        <a:cubicBezTo>
                          <a:pt x="41153" y="7554"/>
                          <a:pt x="41153" y="7554"/>
                          <a:pt x="41153" y="7554"/>
                        </a:cubicBezTo>
                        <a:cubicBezTo>
                          <a:pt x="40769" y="6973"/>
                          <a:pt x="40769" y="6973"/>
                          <a:pt x="40769" y="6973"/>
                        </a:cubicBezTo>
                        <a:cubicBezTo>
                          <a:pt x="40000" y="7263"/>
                          <a:pt x="40000" y="7263"/>
                          <a:pt x="40000" y="7263"/>
                        </a:cubicBezTo>
                        <a:cubicBezTo>
                          <a:pt x="40000" y="7263"/>
                          <a:pt x="39615" y="7554"/>
                          <a:pt x="39615" y="7554"/>
                        </a:cubicBezTo>
                        <a:cubicBezTo>
                          <a:pt x="39230" y="7554"/>
                          <a:pt x="38461" y="7554"/>
                          <a:pt x="38461" y="7554"/>
                        </a:cubicBezTo>
                        <a:cubicBezTo>
                          <a:pt x="38461" y="6973"/>
                          <a:pt x="38461" y="6973"/>
                          <a:pt x="38461" y="6973"/>
                        </a:cubicBezTo>
                        <a:cubicBezTo>
                          <a:pt x="39615" y="6973"/>
                          <a:pt x="39615" y="6973"/>
                          <a:pt x="39615" y="6973"/>
                        </a:cubicBezTo>
                        <a:cubicBezTo>
                          <a:pt x="40384" y="6682"/>
                          <a:pt x="40384" y="6682"/>
                          <a:pt x="40384" y="6682"/>
                        </a:cubicBezTo>
                        <a:cubicBezTo>
                          <a:pt x="39615" y="6392"/>
                          <a:pt x="39615" y="6392"/>
                          <a:pt x="39615" y="6392"/>
                        </a:cubicBezTo>
                        <a:cubicBezTo>
                          <a:pt x="38461" y="5230"/>
                          <a:pt x="38461" y="5230"/>
                          <a:pt x="38461" y="5230"/>
                        </a:cubicBezTo>
                        <a:cubicBezTo>
                          <a:pt x="38076" y="4358"/>
                          <a:pt x="38076" y="4358"/>
                          <a:pt x="38076" y="4358"/>
                        </a:cubicBezTo>
                        <a:cubicBezTo>
                          <a:pt x="37307" y="4067"/>
                          <a:pt x="37307" y="4067"/>
                          <a:pt x="37307" y="4067"/>
                        </a:cubicBezTo>
                        <a:cubicBezTo>
                          <a:pt x="36538" y="3486"/>
                          <a:pt x="36538" y="3486"/>
                          <a:pt x="36538" y="3486"/>
                        </a:cubicBezTo>
                        <a:cubicBezTo>
                          <a:pt x="36538" y="2615"/>
                          <a:pt x="36538" y="2615"/>
                          <a:pt x="36538" y="2615"/>
                        </a:cubicBezTo>
                        <a:cubicBezTo>
                          <a:pt x="36153" y="290"/>
                          <a:pt x="36153" y="290"/>
                          <a:pt x="36153" y="290"/>
                        </a:cubicBezTo>
                        <a:cubicBezTo>
                          <a:pt x="37307" y="290"/>
                          <a:pt x="37307" y="290"/>
                          <a:pt x="37307" y="290"/>
                        </a:cubicBezTo>
                        <a:cubicBezTo>
                          <a:pt x="38076" y="0"/>
                          <a:pt x="38076" y="0"/>
                          <a:pt x="38076" y="0"/>
                        </a:cubicBezTo>
                        <a:cubicBezTo>
                          <a:pt x="38076" y="0"/>
                          <a:pt x="40000" y="581"/>
                          <a:pt x="40384" y="581"/>
                        </a:cubicBezTo>
                        <a:cubicBezTo>
                          <a:pt x="40769" y="581"/>
                          <a:pt x="41538" y="871"/>
                          <a:pt x="41538" y="871"/>
                        </a:cubicBezTo>
                        <a:cubicBezTo>
                          <a:pt x="43076" y="1452"/>
                          <a:pt x="43076" y="1452"/>
                          <a:pt x="43076" y="1452"/>
                        </a:cubicBezTo>
                        <a:cubicBezTo>
                          <a:pt x="44230" y="1743"/>
                          <a:pt x="44230" y="1743"/>
                          <a:pt x="44230" y="1743"/>
                        </a:cubicBezTo>
                        <a:cubicBezTo>
                          <a:pt x="44230" y="1743"/>
                          <a:pt x="44615" y="1743"/>
                          <a:pt x="44615" y="1743"/>
                        </a:cubicBezTo>
                        <a:cubicBezTo>
                          <a:pt x="45000" y="1743"/>
                          <a:pt x="45769" y="1452"/>
                          <a:pt x="45769" y="1452"/>
                        </a:cubicBezTo>
                        <a:cubicBezTo>
                          <a:pt x="45769" y="1452"/>
                          <a:pt x="46923" y="871"/>
                          <a:pt x="47307" y="871"/>
                        </a:cubicBezTo>
                        <a:cubicBezTo>
                          <a:pt x="47307" y="581"/>
                          <a:pt x="47692" y="581"/>
                          <a:pt x="47692" y="581"/>
                        </a:cubicBezTo>
                        <a:cubicBezTo>
                          <a:pt x="48461" y="1743"/>
                          <a:pt x="48461" y="1743"/>
                          <a:pt x="48461" y="1743"/>
                        </a:cubicBezTo>
                        <a:cubicBezTo>
                          <a:pt x="49230" y="1162"/>
                          <a:pt x="49230" y="1162"/>
                          <a:pt x="49230" y="1162"/>
                        </a:cubicBezTo>
                        <a:cubicBezTo>
                          <a:pt x="49615" y="581"/>
                          <a:pt x="49615" y="581"/>
                          <a:pt x="49615" y="581"/>
                        </a:cubicBezTo>
                        <a:cubicBezTo>
                          <a:pt x="52692" y="3196"/>
                          <a:pt x="52692" y="3196"/>
                          <a:pt x="52692" y="3196"/>
                        </a:cubicBezTo>
                        <a:cubicBezTo>
                          <a:pt x="53076" y="4358"/>
                          <a:pt x="53076" y="4358"/>
                          <a:pt x="53076" y="4358"/>
                        </a:cubicBezTo>
                        <a:cubicBezTo>
                          <a:pt x="53076" y="4358"/>
                          <a:pt x="53076" y="5230"/>
                          <a:pt x="53076" y="5230"/>
                        </a:cubicBezTo>
                        <a:cubicBezTo>
                          <a:pt x="52692" y="5230"/>
                          <a:pt x="52307" y="6392"/>
                          <a:pt x="52307" y="6392"/>
                        </a:cubicBezTo>
                        <a:cubicBezTo>
                          <a:pt x="52307" y="7263"/>
                          <a:pt x="52307" y="7263"/>
                          <a:pt x="52307" y="7263"/>
                        </a:cubicBezTo>
                        <a:cubicBezTo>
                          <a:pt x="53076" y="7554"/>
                          <a:pt x="53076" y="7554"/>
                          <a:pt x="53076" y="7554"/>
                        </a:cubicBezTo>
                        <a:cubicBezTo>
                          <a:pt x="54230" y="7554"/>
                          <a:pt x="54230" y="7554"/>
                          <a:pt x="54230" y="7554"/>
                        </a:cubicBezTo>
                        <a:cubicBezTo>
                          <a:pt x="55000" y="8135"/>
                          <a:pt x="55000" y="8135"/>
                          <a:pt x="55000" y="8135"/>
                        </a:cubicBezTo>
                        <a:cubicBezTo>
                          <a:pt x="55384" y="8426"/>
                          <a:pt x="55384" y="8426"/>
                          <a:pt x="55384" y="8426"/>
                        </a:cubicBezTo>
                        <a:cubicBezTo>
                          <a:pt x="56538" y="8426"/>
                          <a:pt x="56538" y="8426"/>
                          <a:pt x="56538" y="8426"/>
                        </a:cubicBezTo>
                        <a:cubicBezTo>
                          <a:pt x="56923" y="8135"/>
                          <a:pt x="56923" y="8135"/>
                          <a:pt x="56923" y="8135"/>
                        </a:cubicBezTo>
                        <a:cubicBezTo>
                          <a:pt x="58461" y="8426"/>
                          <a:pt x="58461" y="8426"/>
                          <a:pt x="58461" y="8426"/>
                        </a:cubicBezTo>
                        <a:cubicBezTo>
                          <a:pt x="59615" y="9007"/>
                          <a:pt x="59615" y="9007"/>
                          <a:pt x="59615" y="9007"/>
                        </a:cubicBezTo>
                        <a:cubicBezTo>
                          <a:pt x="60769" y="9588"/>
                          <a:pt x="60769" y="9588"/>
                          <a:pt x="60769" y="9588"/>
                        </a:cubicBezTo>
                        <a:cubicBezTo>
                          <a:pt x="62692" y="10169"/>
                          <a:pt x="62692" y="10169"/>
                          <a:pt x="62692" y="10169"/>
                        </a:cubicBezTo>
                        <a:cubicBezTo>
                          <a:pt x="63076" y="9297"/>
                          <a:pt x="63076" y="9297"/>
                          <a:pt x="63076" y="9297"/>
                        </a:cubicBezTo>
                        <a:cubicBezTo>
                          <a:pt x="63461" y="9007"/>
                          <a:pt x="63461" y="9007"/>
                          <a:pt x="63461" y="9007"/>
                        </a:cubicBezTo>
                        <a:cubicBezTo>
                          <a:pt x="64615" y="9007"/>
                          <a:pt x="64615" y="9007"/>
                          <a:pt x="64615" y="9007"/>
                        </a:cubicBezTo>
                        <a:cubicBezTo>
                          <a:pt x="65384" y="8716"/>
                          <a:pt x="65384" y="8716"/>
                          <a:pt x="65384" y="8716"/>
                        </a:cubicBezTo>
                        <a:cubicBezTo>
                          <a:pt x="65769" y="8426"/>
                          <a:pt x="65769" y="8426"/>
                          <a:pt x="65769" y="8426"/>
                        </a:cubicBezTo>
                        <a:cubicBezTo>
                          <a:pt x="64615" y="7554"/>
                          <a:pt x="64615" y="7554"/>
                          <a:pt x="64615" y="7554"/>
                        </a:cubicBezTo>
                        <a:cubicBezTo>
                          <a:pt x="64615" y="6682"/>
                          <a:pt x="64615" y="6682"/>
                          <a:pt x="64615" y="6682"/>
                        </a:cubicBezTo>
                        <a:cubicBezTo>
                          <a:pt x="64615" y="6682"/>
                          <a:pt x="65384" y="6101"/>
                          <a:pt x="65384" y="6101"/>
                        </a:cubicBezTo>
                        <a:cubicBezTo>
                          <a:pt x="65769" y="6101"/>
                          <a:pt x="67307" y="6392"/>
                          <a:pt x="67307" y="6392"/>
                        </a:cubicBezTo>
                        <a:cubicBezTo>
                          <a:pt x="67692" y="7263"/>
                          <a:pt x="67692" y="7263"/>
                          <a:pt x="67692" y="7263"/>
                        </a:cubicBezTo>
                        <a:cubicBezTo>
                          <a:pt x="68076" y="8135"/>
                          <a:pt x="68076" y="8135"/>
                          <a:pt x="68076" y="8135"/>
                        </a:cubicBezTo>
                        <a:cubicBezTo>
                          <a:pt x="66538" y="8426"/>
                          <a:pt x="66538" y="8426"/>
                          <a:pt x="66538" y="8426"/>
                        </a:cubicBezTo>
                        <a:cubicBezTo>
                          <a:pt x="66153" y="9007"/>
                          <a:pt x="66153" y="9007"/>
                          <a:pt x="66153" y="9007"/>
                        </a:cubicBezTo>
                        <a:cubicBezTo>
                          <a:pt x="66153" y="10169"/>
                          <a:pt x="66153" y="10169"/>
                          <a:pt x="66153" y="10169"/>
                        </a:cubicBezTo>
                        <a:cubicBezTo>
                          <a:pt x="66153" y="11331"/>
                          <a:pt x="66153" y="11331"/>
                          <a:pt x="66153" y="11331"/>
                        </a:cubicBezTo>
                        <a:cubicBezTo>
                          <a:pt x="66153" y="11331"/>
                          <a:pt x="66153" y="11912"/>
                          <a:pt x="65769" y="11912"/>
                        </a:cubicBezTo>
                        <a:cubicBezTo>
                          <a:pt x="65384" y="12203"/>
                          <a:pt x="64615" y="12203"/>
                          <a:pt x="64615" y="12203"/>
                        </a:cubicBezTo>
                        <a:cubicBezTo>
                          <a:pt x="64615" y="12784"/>
                          <a:pt x="64615" y="12784"/>
                          <a:pt x="64615" y="12784"/>
                        </a:cubicBezTo>
                        <a:cubicBezTo>
                          <a:pt x="63461" y="13365"/>
                          <a:pt x="63461" y="13365"/>
                          <a:pt x="63461" y="13365"/>
                        </a:cubicBezTo>
                        <a:cubicBezTo>
                          <a:pt x="62307" y="13365"/>
                          <a:pt x="62307" y="13365"/>
                          <a:pt x="62307" y="13365"/>
                        </a:cubicBezTo>
                        <a:cubicBezTo>
                          <a:pt x="61923" y="13656"/>
                          <a:pt x="61923" y="13656"/>
                          <a:pt x="61923" y="13656"/>
                        </a:cubicBezTo>
                        <a:cubicBezTo>
                          <a:pt x="62307" y="14527"/>
                          <a:pt x="62307" y="14527"/>
                          <a:pt x="62307" y="14527"/>
                        </a:cubicBezTo>
                        <a:cubicBezTo>
                          <a:pt x="63076" y="15108"/>
                          <a:pt x="63076" y="15108"/>
                          <a:pt x="63076" y="15108"/>
                        </a:cubicBezTo>
                        <a:cubicBezTo>
                          <a:pt x="64230" y="15399"/>
                          <a:pt x="64230" y="15399"/>
                          <a:pt x="64230" y="15399"/>
                        </a:cubicBezTo>
                        <a:cubicBezTo>
                          <a:pt x="65000" y="15108"/>
                          <a:pt x="65000" y="15108"/>
                          <a:pt x="65000" y="15108"/>
                        </a:cubicBezTo>
                        <a:cubicBezTo>
                          <a:pt x="65384" y="14527"/>
                          <a:pt x="65384" y="14527"/>
                          <a:pt x="65384" y="14527"/>
                        </a:cubicBezTo>
                        <a:cubicBezTo>
                          <a:pt x="66538" y="14237"/>
                          <a:pt x="66538" y="14237"/>
                          <a:pt x="66538" y="14237"/>
                        </a:cubicBezTo>
                        <a:cubicBezTo>
                          <a:pt x="68076" y="14818"/>
                          <a:pt x="68076" y="14818"/>
                          <a:pt x="68076" y="14818"/>
                        </a:cubicBezTo>
                        <a:cubicBezTo>
                          <a:pt x="68461" y="15399"/>
                          <a:pt x="68461" y="15399"/>
                          <a:pt x="68461" y="15399"/>
                        </a:cubicBezTo>
                        <a:cubicBezTo>
                          <a:pt x="68461" y="15399"/>
                          <a:pt x="70000" y="15399"/>
                          <a:pt x="70000" y="15399"/>
                        </a:cubicBezTo>
                        <a:cubicBezTo>
                          <a:pt x="70000" y="15399"/>
                          <a:pt x="70384" y="14527"/>
                          <a:pt x="70384" y="14527"/>
                        </a:cubicBezTo>
                        <a:cubicBezTo>
                          <a:pt x="70384" y="14527"/>
                          <a:pt x="70769" y="13946"/>
                          <a:pt x="71153" y="13946"/>
                        </a:cubicBezTo>
                        <a:cubicBezTo>
                          <a:pt x="71538" y="13946"/>
                          <a:pt x="71923" y="13365"/>
                          <a:pt x="72307" y="13365"/>
                        </a:cubicBezTo>
                        <a:cubicBezTo>
                          <a:pt x="72307" y="13075"/>
                          <a:pt x="72692" y="12493"/>
                          <a:pt x="72692" y="12493"/>
                        </a:cubicBezTo>
                        <a:cubicBezTo>
                          <a:pt x="72692" y="12493"/>
                          <a:pt x="73461" y="12203"/>
                          <a:pt x="73846" y="12203"/>
                        </a:cubicBezTo>
                        <a:cubicBezTo>
                          <a:pt x="74230" y="12203"/>
                          <a:pt x="76538" y="11912"/>
                          <a:pt x="76538" y="11912"/>
                        </a:cubicBezTo>
                        <a:cubicBezTo>
                          <a:pt x="76538" y="11912"/>
                          <a:pt x="78076" y="11622"/>
                          <a:pt x="78461" y="11331"/>
                        </a:cubicBezTo>
                        <a:cubicBezTo>
                          <a:pt x="78461" y="11331"/>
                          <a:pt x="80000" y="10460"/>
                          <a:pt x="80000" y="10460"/>
                        </a:cubicBezTo>
                        <a:cubicBezTo>
                          <a:pt x="80384" y="9588"/>
                          <a:pt x="80384" y="9588"/>
                          <a:pt x="80384" y="9588"/>
                        </a:cubicBezTo>
                        <a:cubicBezTo>
                          <a:pt x="81538" y="8716"/>
                          <a:pt x="81538" y="8716"/>
                          <a:pt x="81538" y="8716"/>
                        </a:cubicBezTo>
                        <a:cubicBezTo>
                          <a:pt x="81538" y="8716"/>
                          <a:pt x="81923" y="8716"/>
                          <a:pt x="81923" y="8426"/>
                        </a:cubicBezTo>
                        <a:cubicBezTo>
                          <a:pt x="81923" y="8135"/>
                          <a:pt x="82307" y="7263"/>
                          <a:pt x="82307" y="7263"/>
                        </a:cubicBezTo>
                        <a:cubicBezTo>
                          <a:pt x="83076" y="6973"/>
                          <a:pt x="83076" y="6973"/>
                          <a:pt x="83076" y="6973"/>
                        </a:cubicBezTo>
                        <a:cubicBezTo>
                          <a:pt x="83076" y="6973"/>
                          <a:pt x="83846" y="7263"/>
                          <a:pt x="83846" y="7554"/>
                        </a:cubicBezTo>
                        <a:cubicBezTo>
                          <a:pt x="83846" y="7554"/>
                          <a:pt x="83461" y="8135"/>
                          <a:pt x="83461" y="8135"/>
                        </a:cubicBezTo>
                        <a:cubicBezTo>
                          <a:pt x="83461" y="8135"/>
                          <a:pt x="82692" y="8426"/>
                          <a:pt x="82307" y="8716"/>
                        </a:cubicBezTo>
                        <a:cubicBezTo>
                          <a:pt x="82307" y="8716"/>
                          <a:pt x="82307" y="9297"/>
                          <a:pt x="82307" y="9297"/>
                        </a:cubicBezTo>
                        <a:cubicBezTo>
                          <a:pt x="83076" y="8716"/>
                          <a:pt x="83076" y="8716"/>
                          <a:pt x="83076" y="8716"/>
                        </a:cubicBezTo>
                        <a:cubicBezTo>
                          <a:pt x="83076" y="8716"/>
                          <a:pt x="83461" y="8426"/>
                          <a:pt x="83461" y="8426"/>
                        </a:cubicBezTo>
                        <a:cubicBezTo>
                          <a:pt x="83461" y="8426"/>
                          <a:pt x="85000" y="8135"/>
                          <a:pt x="85000" y="8135"/>
                        </a:cubicBezTo>
                        <a:cubicBezTo>
                          <a:pt x="85000" y="8135"/>
                          <a:pt x="85769" y="8426"/>
                          <a:pt x="85769" y="8426"/>
                        </a:cubicBezTo>
                        <a:cubicBezTo>
                          <a:pt x="85769" y="8426"/>
                          <a:pt x="86538" y="8716"/>
                          <a:pt x="86538" y="8716"/>
                        </a:cubicBezTo>
                        <a:cubicBezTo>
                          <a:pt x="88076" y="8426"/>
                          <a:pt x="88076" y="8426"/>
                          <a:pt x="88076" y="8426"/>
                        </a:cubicBezTo>
                        <a:cubicBezTo>
                          <a:pt x="88076" y="7845"/>
                          <a:pt x="88076" y="7845"/>
                          <a:pt x="88076" y="7845"/>
                        </a:cubicBezTo>
                        <a:cubicBezTo>
                          <a:pt x="88076" y="7845"/>
                          <a:pt x="88076" y="7554"/>
                          <a:pt x="88461" y="7554"/>
                        </a:cubicBezTo>
                        <a:cubicBezTo>
                          <a:pt x="88846" y="7263"/>
                          <a:pt x="89615" y="6973"/>
                          <a:pt x="89615" y="6973"/>
                        </a:cubicBezTo>
                        <a:cubicBezTo>
                          <a:pt x="89615" y="6973"/>
                          <a:pt x="89615" y="6392"/>
                          <a:pt x="89615" y="6101"/>
                        </a:cubicBezTo>
                        <a:cubicBezTo>
                          <a:pt x="89615" y="6101"/>
                          <a:pt x="90000" y="5520"/>
                          <a:pt x="90000" y="5520"/>
                        </a:cubicBezTo>
                        <a:cubicBezTo>
                          <a:pt x="90000" y="5520"/>
                          <a:pt x="90000" y="5520"/>
                          <a:pt x="90000" y="5520"/>
                        </a:cubicBezTo>
                        <a:cubicBezTo>
                          <a:pt x="90000" y="5520"/>
                          <a:pt x="90769" y="5230"/>
                          <a:pt x="90769" y="5230"/>
                        </a:cubicBezTo>
                        <a:cubicBezTo>
                          <a:pt x="90769" y="5230"/>
                          <a:pt x="91153" y="4358"/>
                          <a:pt x="91153" y="4358"/>
                        </a:cubicBezTo>
                        <a:cubicBezTo>
                          <a:pt x="91153" y="4358"/>
                          <a:pt x="91153" y="4067"/>
                          <a:pt x="91538" y="4067"/>
                        </a:cubicBezTo>
                        <a:cubicBezTo>
                          <a:pt x="91538" y="4067"/>
                          <a:pt x="92307" y="3486"/>
                          <a:pt x="92307" y="3486"/>
                        </a:cubicBezTo>
                        <a:cubicBezTo>
                          <a:pt x="92692" y="3196"/>
                          <a:pt x="92692" y="3196"/>
                          <a:pt x="93076" y="3196"/>
                        </a:cubicBezTo>
                        <a:cubicBezTo>
                          <a:pt x="93076" y="3196"/>
                          <a:pt x="93461" y="3777"/>
                          <a:pt x="93461" y="3777"/>
                        </a:cubicBezTo>
                        <a:cubicBezTo>
                          <a:pt x="93461" y="3777"/>
                          <a:pt x="93461" y="4067"/>
                          <a:pt x="93076" y="4358"/>
                        </a:cubicBezTo>
                        <a:cubicBezTo>
                          <a:pt x="92692" y="4358"/>
                          <a:pt x="92307" y="4648"/>
                          <a:pt x="92307" y="4648"/>
                        </a:cubicBezTo>
                        <a:cubicBezTo>
                          <a:pt x="92307" y="4648"/>
                          <a:pt x="93076" y="5230"/>
                          <a:pt x="93076" y="5230"/>
                        </a:cubicBezTo>
                        <a:cubicBezTo>
                          <a:pt x="93076" y="5230"/>
                          <a:pt x="93461" y="5520"/>
                          <a:pt x="93461" y="5520"/>
                        </a:cubicBezTo>
                        <a:cubicBezTo>
                          <a:pt x="93461" y="5811"/>
                          <a:pt x="93076" y="6101"/>
                          <a:pt x="93076" y="6101"/>
                        </a:cubicBezTo>
                        <a:cubicBezTo>
                          <a:pt x="93461" y="6101"/>
                          <a:pt x="94615" y="5811"/>
                          <a:pt x="94615" y="5811"/>
                        </a:cubicBezTo>
                        <a:cubicBezTo>
                          <a:pt x="94615" y="5811"/>
                          <a:pt x="94615" y="5230"/>
                          <a:pt x="94615" y="5230"/>
                        </a:cubicBezTo>
                        <a:cubicBezTo>
                          <a:pt x="94615" y="5230"/>
                          <a:pt x="95384" y="4648"/>
                          <a:pt x="95384" y="4648"/>
                        </a:cubicBezTo>
                        <a:cubicBezTo>
                          <a:pt x="95769" y="4648"/>
                          <a:pt x="96538" y="4939"/>
                          <a:pt x="96538" y="4939"/>
                        </a:cubicBezTo>
                        <a:cubicBezTo>
                          <a:pt x="96538" y="4939"/>
                          <a:pt x="96538" y="5230"/>
                          <a:pt x="96538" y="5520"/>
                        </a:cubicBezTo>
                        <a:cubicBezTo>
                          <a:pt x="96153" y="5520"/>
                          <a:pt x="95384" y="6101"/>
                          <a:pt x="95384" y="6101"/>
                        </a:cubicBezTo>
                        <a:cubicBezTo>
                          <a:pt x="95384" y="6392"/>
                          <a:pt x="95000" y="6392"/>
                          <a:pt x="95384" y="6392"/>
                        </a:cubicBezTo>
                        <a:cubicBezTo>
                          <a:pt x="95384" y="6682"/>
                          <a:pt x="96153" y="7263"/>
                          <a:pt x="96153" y="7263"/>
                        </a:cubicBezTo>
                        <a:cubicBezTo>
                          <a:pt x="97307" y="7845"/>
                          <a:pt x="97307" y="7845"/>
                          <a:pt x="97307" y="7845"/>
                        </a:cubicBezTo>
                        <a:cubicBezTo>
                          <a:pt x="97307" y="7845"/>
                          <a:pt x="97307" y="8135"/>
                          <a:pt x="97307" y="8426"/>
                        </a:cubicBezTo>
                        <a:cubicBezTo>
                          <a:pt x="97307" y="8426"/>
                          <a:pt x="95384" y="8426"/>
                          <a:pt x="95384" y="8426"/>
                        </a:cubicBezTo>
                        <a:cubicBezTo>
                          <a:pt x="95384" y="8426"/>
                          <a:pt x="95384" y="8426"/>
                          <a:pt x="95000" y="8716"/>
                        </a:cubicBezTo>
                        <a:cubicBezTo>
                          <a:pt x="95000" y="8716"/>
                          <a:pt x="94615" y="9007"/>
                          <a:pt x="93846" y="9297"/>
                        </a:cubicBezTo>
                        <a:cubicBezTo>
                          <a:pt x="93076" y="9297"/>
                          <a:pt x="93076" y="9297"/>
                          <a:pt x="93076" y="9588"/>
                        </a:cubicBezTo>
                        <a:cubicBezTo>
                          <a:pt x="93076" y="9878"/>
                          <a:pt x="92692" y="10169"/>
                          <a:pt x="93076" y="10460"/>
                        </a:cubicBezTo>
                        <a:cubicBezTo>
                          <a:pt x="93461" y="10750"/>
                          <a:pt x="94230" y="11041"/>
                          <a:pt x="94230" y="11041"/>
                        </a:cubicBezTo>
                        <a:cubicBezTo>
                          <a:pt x="94230" y="11041"/>
                          <a:pt x="96153" y="11622"/>
                          <a:pt x="96153" y="11331"/>
                        </a:cubicBezTo>
                        <a:cubicBezTo>
                          <a:pt x="96153" y="11331"/>
                          <a:pt x="98846" y="11331"/>
                          <a:pt x="98846" y="11331"/>
                        </a:cubicBezTo>
                        <a:cubicBezTo>
                          <a:pt x="100000" y="11331"/>
                          <a:pt x="100000" y="11331"/>
                          <a:pt x="100000" y="11331"/>
                        </a:cubicBezTo>
                        <a:cubicBezTo>
                          <a:pt x="100000" y="11331"/>
                          <a:pt x="100384" y="11912"/>
                          <a:pt x="100769" y="12203"/>
                        </a:cubicBezTo>
                        <a:cubicBezTo>
                          <a:pt x="100769" y="12203"/>
                          <a:pt x="102307" y="13075"/>
                          <a:pt x="102307" y="13075"/>
                        </a:cubicBezTo>
                        <a:cubicBezTo>
                          <a:pt x="103076" y="13075"/>
                          <a:pt x="103076" y="13075"/>
                          <a:pt x="103076" y="13075"/>
                        </a:cubicBezTo>
                        <a:cubicBezTo>
                          <a:pt x="103461" y="14237"/>
                          <a:pt x="103461" y="14237"/>
                          <a:pt x="103461" y="14237"/>
                        </a:cubicBezTo>
                        <a:cubicBezTo>
                          <a:pt x="103076" y="15108"/>
                          <a:pt x="103076" y="15108"/>
                          <a:pt x="103076" y="15108"/>
                        </a:cubicBezTo>
                        <a:cubicBezTo>
                          <a:pt x="101923" y="15399"/>
                          <a:pt x="101923" y="15399"/>
                          <a:pt x="101923" y="15399"/>
                        </a:cubicBezTo>
                        <a:cubicBezTo>
                          <a:pt x="100384" y="16271"/>
                          <a:pt x="100384" y="16271"/>
                          <a:pt x="100384" y="16271"/>
                        </a:cubicBezTo>
                        <a:cubicBezTo>
                          <a:pt x="99615" y="15980"/>
                          <a:pt x="99615" y="15980"/>
                          <a:pt x="99615" y="15980"/>
                        </a:cubicBezTo>
                        <a:cubicBezTo>
                          <a:pt x="99615" y="15980"/>
                          <a:pt x="100384" y="16561"/>
                          <a:pt x="100769" y="16561"/>
                        </a:cubicBezTo>
                        <a:cubicBezTo>
                          <a:pt x="101153" y="16561"/>
                          <a:pt x="101538" y="16852"/>
                          <a:pt x="101538" y="16852"/>
                        </a:cubicBezTo>
                        <a:cubicBezTo>
                          <a:pt x="101923" y="16852"/>
                          <a:pt x="103461" y="16852"/>
                          <a:pt x="105000" y="16852"/>
                        </a:cubicBezTo>
                        <a:cubicBezTo>
                          <a:pt x="105000" y="17142"/>
                          <a:pt x="105000" y="17142"/>
                          <a:pt x="105000" y="17433"/>
                        </a:cubicBezTo>
                        <a:cubicBezTo>
                          <a:pt x="105384" y="17723"/>
                          <a:pt x="105769" y="18886"/>
                          <a:pt x="105769" y="19176"/>
                        </a:cubicBezTo>
                        <a:cubicBezTo>
                          <a:pt x="105769" y="19176"/>
                          <a:pt x="106153" y="20338"/>
                          <a:pt x="106923" y="21210"/>
                        </a:cubicBezTo>
                        <a:cubicBezTo>
                          <a:pt x="108076" y="22372"/>
                          <a:pt x="107692" y="22663"/>
                          <a:pt x="107692" y="22663"/>
                        </a:cubicBezTo>
                        <a:cubicBezTo>
                          <a:pt x="107692" y="25278"/>
                          <a:pt x="107692" y="25278"/>
                          <a:pt x="107692" y="25278"/>
                        </a:cubicBezTo>
                        <a:cubicBezTo>
                          <a:pt x="107692" y="27602"/>
                          <a:pt x="107692" y="27602"/>
                          <a:pt x="107692" y="27602"/>
                        </a:cubicBezTo>
                        <a:cubicBezTo>
                          <a:pt x="105769" y="28765"/>
                          <a:pt x="105769" y="28765"/>
                          <a:pt x="105769" y="28765"/>
                        </a:cubicBezTo>
                        <a:cubicBezTo>
                          <a:pt x="105000" y="31380"/>
                          <a:pt x="105000" y="31380"/>
                          <a:pt x="105000" y="31380"/>
                        </a:cubicBezTo>
                        <a:cubicBezTo>
                          <a:pt x="105000" y="31380"/>
                          <a:pt x="105384" y="31670"/>
                          <a:pt x="105769" y="31670"/>
                        </a:cubicBezTo>
                        <a:cubicBezTo>
                          <a:pt x="106153" y="31961"/>
                          <a:pt x="107307" y="32832"/>
                          <a:pt x="107307" y="32832"/>
                        </a:cubicBezTo>
                        <a:cubicBezTo>
                          <a:pt x="107692" y="33123"/>
                          <a:pt x="110000" y="33995"/>
                          <a:pt x="111153" y="34285"/>
                        </a:cubicBezTo>
                        <a:cubicBezTo>
                          <a:pt x="112307" y="34866"/>
                          <a:pt x="111923" y="36319"/>
                          <a:pt x="111923" y="36319"/>
                        </a:cubicBezTo>
                        <a:cubicBezTo>
                          <a:pt x="111153" y="38353"/>
                          <a:pt x="111153" y="38353"/>
                          <a:pt x="111153" y="38353"/>
                        </a:cubicBezTo>
                        <a:cubicBezTo>
                          <a:pt x="111153" y="38353"/>
                          <a:pt x="111538" y="39515"/>
                          <a:pt x="112307" y="39515"/>
                        </a:cubicBezTo>
                        <a:cubicBezTo>
                          <a:pt x="112692" y="39225"/>
                          <a:pt x="113076" y="40968"/>
                          <a:pt x="113076" y="40968"/>
                        </a:cubicBezTo>
                        <a:cubicBezTo>
                          <a:pt x="113076" y="40968"/>
                          <a:pt x="113461" y="42711"/>
                          <a:pt x="113461" y="43002"/>
                        </a:cubicBezTo>
                        <a:cubicBezTo>
                          <a:pt x="113076" y="43292"/>
                          <a:pt x="113461" y="43583"/>
                          <a:pt x="113461" y="43583"/>
                        </a:cubicBezTo>
                        <a:cubicBezTo>
                          <a:pt x="114230" y="44745"/>
                          <a:pt x="114230" y="44745"/>
                          <a:pt x="114230" y="44745"/>
                        </a:cubicBezTo>
                        <a:cubicBezTo>
                          <a:pt x="114230" y="44745"/>
                          <a:pt x="113846" y="45617"/>
                          <a:pt x="113461" y="45907"/>
                        </a:cubicBezTo>
                        <a:cubicBezTo>
                          <a:pt x="113461" y="46489"/>
                          <a:pt x="113076" y="47070"/>
                          <a:pt x="113076" y="47070"/>
                        </a:cubicBezTo>
                        <a:cubicBezTo>
                          <a:pt x="113461" y="47941"/>
                          <a:pt x="113461" y="47941"/>
                          <a:pt x="113461" y="47941"/>
                        </a:cubicBezTo>
                        <a:cubicBezTo>
                          <a:pt x="115000" y="49394"/>
                          <a:pt x="115000" y="49394"/>
                          <a:pt x="115000" y="49394"/>
                        </a:cubicBezTo>
                        <a:cubicBezTo>
                          <a:pt x="115000" y="50847"/>
                          <a:pt x="115000" y="50847"/>
                          <a:pt x="115000" y="50847"/>
                        </a:cubicBezTo>
                        <a:cubicBezTo>
                          <a:pt x="115000" y="51719"/>
                          <a:pt x="115000" y="51719"/>
                          <a:pt x="115000" y="51719"/>
                        </a:cubicBezTo>
                        <a:cubicBezTo>
                          <a:pt x="115000" y="51719"/>
                          <a:pt x="116153" y="52009"/>
                          <a:pt x="116538" y="52009"/>
                        </a:cubicBezTo>
                        <a:cubicBezTo>
                          <a:pt x="116923" y="52009"/>
                          <a:pt x="117692" y="52590"/>
                          <a:pt x="117692" y="52590"/>
                        </a:cubicBezTo>
                        <a:cubicBezTo>
                          <a:pt x="117692" y="52590"/>
                          <a:pt x="117692" y="53171"/>
                          <a:pt x="117692" y="53462"/>
                        </a:cubicBezTo>
                        <a:cubicBezTo>
                          <a:pt x="117692" y="53462"/>
                          <a:pt x="118846" y="54624"/>
                          <a:pt x="118846" y="54624"/>
                        </a:cubicBezTo>
                        <a:cubicBezTo>
                          <a:pt x="119230" y="54915"/>
                          <a:pt x="120000" y="55786"/>
                          <a:pt x="120000" y="55786"/>
                        </a:cubicBezTo>
                        <a:cubicBezTo>
                          <a:pt x="120000" y="55786"/>
                          <a:pt x="120000" y="56368"/>
                          <a:pt x="118846" y="57239"/>
                        </a:cubicBezTo>
                        <a:cubicBezTo>
                          <a:pt x="118076" y="58111"/>
                          <a:pt x="118461" y="58111"/>
                          <a:pt x="118461" y="58401"/>
                        </a:cubicBezTo>
                        <a:cubicBezTo>
                          <a:pt x="118461" y="58692"/>
                          <a:pt x="118846" y="59273"/>
                          <a:pt x="118846" y="59273"/>
                        </a:cubicBezTo>
                        <a:cubicBezTo>
                          <a:pt x="118846" y="59273"/>
                          <a:pt x="118461" y="59564"/>
                          <a:pt x="118076" y="59854"/>
                        </a:cubicBezTo>
                        <a:cubicBezTo>
                          <a:pt x="118076" y="59854"/>
                          <a:pt x="117692" y="60435"/>
                          <a:pt x="117692" y="61016"/>
                        </a:cubicBezTo>
                        <a:cubicBezTo>
                          <a:pt x="116153" y="61888"/>
                          <a:pt x="116153" y="61888"/>
                          <a:pt x="116153" y="61888"/>
                        </a:cubicBezTo>
                        <a:cubicBezTo>
                          <a:pt x="116153" y="61888"/>
                          <a:pt x="116153" y="61888"/>
                          <a:pt x="115769" y="62179"/>
                        </a:cubicBezTo>
                        <a:cubicBezTo>
                          <a:pt x="115769" y="61888"/>
                          <a:pt x="115384" y="61888"/>
                          <a:pt x="115000" y="61888"/>
                        </a:cubicBezTo>
                        <a:cubicBezTo>
                          <a:pt x="114615" y="61598"/>
                          <a:pt x="114230" y="61307"/>
                          <a:pt x="114230" y="61307"/>
                        </a:cubicBezTo>
                        <a:cubicBezTo>
                          <a:pt x="114230" y="61307"/>
                          <a:pt x="114230" y="60726"/>
                          <a:pt x="114230" y="60145"/>
                        </a:cubicBezTo>
                        <a:cubicBezTo>
                          <a:pt x="114230" y="59564"/>
                          <a:pt x="114230" y="59854"/>
                          <a:pt x="114230" y="59564"/>
                        </a:cubicBezTo>
                        <a:cubicBezTo>
                          <a:pt x="113846" y="59273"/>
                          <a:pt x="113076" y="58983"/>
                          <a:pt x="112307" y="58692"/>
                        </a:cubicBezTo>
                        <a:cubicBezTo>
                          <a:pt x="111538" y="58692"/>
                          <a:pt x="110000" y="58692"/>
                          <a:pt x="109615" y="58983"/>
                        </a:cubicBezTo>
                        <a:cubicBezTo>
                          <a:pt x="109615" y="58983"/>
                          <a:pt x="109615" y="60145"/>
                          <a:pt x="109615" y="60145"/>
                        </a:cubicBezTo>
                        <a:cubicBezTo>
                          <a:pt x="110384" y="61016"/>
                          <a:pt x="110384" y="61016"/>
                          <a:pt x="110384" y="61016"/>
                        </a:cubicBezTo>
                        <a:cubicBezTo>
                          <a:pt x="110000" y="61598"/>
                          <a:pt x="110000" y="61598"/>
                          <a:pt x="110000" y="61598"/>
                        </a:cubicBezTo>
                        <a:cubicBezTo>
                          <a:pt x="110000" y="61598"/>
                          <a:pt x="106538" y="62179"/>
                          <a:pt x="105384" y="62179"/>
                        </a:cubicBezTo>
                        <a:cubicBezTo>
                          <a:pt x="104230" y="62179"/>
                          <a:pt x="104615" y="62760"/>
                          <a:pt x="104615" y="62760"/>
                        </a:cubicBezTo>
                        <a:cubicBezTo>
                          <a:pt x="103846" y="63922"/>
                          <a:pt x="103846" y="63922"/>
                          <a:pt x="103846" y="63922"/>
                        </a:cubicBezTo>
                        <a:cubicBezTo>
                          <a:pt x="103076" y="64503"/>
                          <a:pt x="103076" y="64503"/>
                          <a:pt x="103076" y="64503"/>
                        </a:cubicBezTo>
                        <a:cubicBezTo>
                          <a:pt x="100769" y="65084"/>
                          <a:pt x="100769" y="65084"/>
                          <a:pt x="100769" y="65084"/>
                        </a:cubicBezTo>
                        <a:cubicBezTo>
                          <a:pt x="100769" y="65084"/>
                          <a:pt x="98461" y="66537"/>
                          <a:pt x="98076" y="66537"/>
                        </a:cubicBezTo>
                        <a:cubicBezTo>
                          <a:pt x="96538" y="67409"/>
                          <a:pt x="96538" y="67409"/>
                          <a:pt x="96538" y="67409"/>
                        </a:cubicBezTo>
                        <a:cubicBezTo>
                          <a:pt x="96538" y="67409"/>
                          <a:pt x="96153" y="67409"/>
                          <a:pt x="95000" y="67990"/>
                        </a:cubicBezTo>
                        <a:cubicBezTo>
                          <a:pt x="93461" y="68280"/>
                          <a:pt x="94230" y="68861"/>
                          <a:pt x="93846" y="69152"/>
                        </a:cubicBezTo>
                        <a:cubicBezTo>
                          <a:pt x="93846" y="69733"/>
                          <a:pt x="93461" y="69733"/>
                          <a:pt x="92692" y="70024"/>
                        </a:cubicBezTo>
                        <a:cubicBezTo>
                          <a:pt x="92307" y="70024"/>
                          <a:pt x="91153" y="69733"/>
                          <a:pt x="90384" y="69733"/>
                        </a:cubicBezTo>
                        <a:cubicBezTo>
                          <a:pt x="90000" y="69733"/>
                          <a:pt x="88846" y="70314"/>
                          <a:pt x="88076" y="70314"/>
                        </a:cubicBezTo>
                        <a:cubicBezTo>
                          <a:pt x="86923" y="70314"/>
                          <a:pt x="86923" y="70314"/>
                          <a:pt x="86923" y="70314"/>
                        </a:cubicBezTo>
                        <a:cubicBezTo>
                          <a:pt x="85384" y="71767"/>
                          <a:pt x="85384" y="71767"/>
                          <a:pt x="85384" y="71767"/>
                        </a:cubicBezTo>
                        <a:cubicBezTo>
                          <a:pt x="84230" y="73510"/>
                          <a:pt x="84230" y="73510"/>
                          <a:pt x="84230" y="73510"/>
                        </a:cubicBezTo>
                        <a:cubicBezTo>
                          <a:pt x="83846" y="72639"/>
                          <a:pt x="83846" y="72639"/>
                          <a:pt x="83846" y="72639"/>
                        </a:cubicBezTo>
                        <a:cubicBezTo>
                          <a:pt x="83461" y="71476"/>
                          <a:pt x="83461" y="71476"/>
                          <a:pt x="83461" y="71476"/>
                        </a:cubicBezTo>
                        <a:cubicBezTo>
                          <a:pt x="81538" y="71476"/>
                          <a:pt x="81538" y="71476"/>
                          <a:pt x="81538" y="71476"/>
                        </a:cubicBezTo>
                        <a:cubicBezTo>
                          <a:pt x="81923" y="72348"/>
                          <a:pt x="81923" y="72348"/>
                          <a:pt x="81923" y="72348"/>
                        </a:cubicBezTo>
                        <a:cubicBezTo>
                          <a:pt x="81923" y="72348"/>
                          <a:pt x="82692" y="74382"/>
                          <a:pt x="83076" y="74673"/>
                        </a:cubicBezTo>
                        <a:cubicBezTo>
                          <a:pt x="83461" y="74963"/>
                          <a:pt x="83846" y="74963"/>
                          <a:pt x="84615" y="75254"/>
                        </a:cubicBezTo>
                        <a:cubicBezTo>
                          <a:pt x="85769" y="75835"/>
                          <a:pt x="85769" y="75835"/>
                          <a:pt x="86923" y="76416"/>
                        </a:cubicBezTo>
                        <a:cubicBezTo>
                          <a:pt x="88076" y="76997"/>
                          <a:pt x="87692" y="77578"/>
                          <a:pt x="87692" y="77869"/>
                        </a:cubicBezTo>
                        <a:cubicBezTo>
                          <a:pt x="87692" y="78450"/>
                          <a:pt x="87692" y="78450"/>
                          <a:pt x="86923" y="79031"/>
                        </a:cubicBezTo>
                        <a:cubicBezTo>
                          <a:pt x="86153" y="79903"/>
                          <a:pt x="86923" y="80484"/>
                          <a:pt x="86923" y="80484"/>
                        </a:cubicBezTo>
                        <a:cubicBezTo>
                          <a:pt x="86923" y="80484"/>
                          <a:pt x="87307" y="81065"/>
                          <a:pt x="88076" y="81646"/>
                        </a:cubicBezTo>
                        <a:cubicBezTo>
                          <a:pt x="88846" y="82227"/>
                          <a:pt x="88461" y="82518"/>
                          <a:pt x="88846" y="83389"/>
                        </a:cubicBezTo>
                        <a:cubicBezTo>
                          <a:pt x="88846" y="84261"/>
                          <a:pt x="88846" y="83970"/>
                          <a:pt x="89615" y="84842"/>
                        </a:cubicBezTo>
                        <a:cubicBezTo>
                          <a:pt x="90384" y="85423"/>
                          <a:pt x="90000" y="85133"/>
                          <a:pt x="90769" y="85714"/>
                        </a:cubicBezTo>
                        <a:cubicBezTo>
                          <a:pt x="91538" y="86295"/>
                          <a:pt x="91538" y="86585"/>
                          <a:pt x="91538" y="86585"/>
                        </a:cubicBezTo>
                        <a:cubicBezTo>
                          <a:pt x="91538" y="86585"/>
                          <a:pt x="93846" y="86004"/>
                          <a:pt x="94615" y="86585"/>
                        </a:cubicBezTo>
                        <a:cubicBezTo>
                          <a:pt x="95384" y="87167"/>
                          <a:pt x="95000" y="86876"/>
                          <a:pt x="96538" y="87748"/>
                        </a:cubicBezTo>
                        <a:cubicBezTo>
                          <a:pt x="97692" y="88910"/>
                          <a:pt x="96538" y="88329"/>
                          <a:pt x="96923" y="89200"/>
                        </a:cubicBezTo>
                        <a:cubicBezTo>
                          <a:pt x="97307" y="89782"/>
                          <a:pt x="97692" y="89491"/>
                          <a:pt x="97692" y="89491"/>
                        </a:cubicBezTo>
                        <a:cubicBezTo>
                          <a:pt x="97692" y="89491"/>
                          <a:pt x="98076" y="89782"/>
                          <a:pt x="98846" y="89782"/>
                        </a:cubicBezTo>
                        <a:cubicBezTo>
                          <a:pt x="99615" y="89782"/>
                          <a:pt x="99615" y="90363"/>
                          <a:pt x="99615" y="90944"/>
                        </a:cubicBezTo>
                        <a:cubicBezTo>
                          <a:pt x="100000" y="91525"/>
                          <a:pt x="100000" y="91525"/>
                          <a:pt x="100769" y="92106"/>
                        </a:cubicBezTo>
                        <a:cubicBezTo>
                          <a:pt x="101153" y="92397"/>
                          <a:pt x="101538" y="92106"/>
                          <a:pt x="102692" y="91815"/>
                        </a:cubicBezTo>
                        <a:cubicBezTo>
                          <a:pt x="103461" y="91815"/>
                          <a:pt x="103076" y="92397"/>
                          <a:pt x="103076" y="92687"/>
                        </a:cubicBezTo>
                        <a:cubicBezTo>
                          <a:pt x="103076" y="92978"/>
                          <a:pt x="103846" y="92978"/>
                          <a:pt x="104615" y="93268"/>
                        </a:cubicBezTo>
                        <a:cubicBezTo>
                          <a:pt x="105384" y="93559"/>
                          <a:pt x="105000" y="93559"/>
                          <a:pt x="105769" y="94140"/>
                        </a:cubicBezTo>
                        <a:cubicBezTo>
                          <a:pt x="105769" y="94140"/>
                          <a:pt x="105769" y="94140"/>
                          <a:pt x="105769" y="94430"/>
                        </a:cubicBezTo>
                        <a:close/>
                        <a:moveTo>
                          <a:pt x="21153" y="114479"/>
                        </a:moveTo>
                        <a:cubicBezTo>
                          <a:pt x="21153" y="114479"/>
                          <a:pt x="21153" y="114479"/>
                          <a:pt x="21153" y="114479"/>
                        </a:cubicBezTo>
                        <a:cubicBezTo>
                          <a:pt x="21153" y="114479"/>
                          <a:pt x="21153" y="114479"/>
                          <a:pt x="21153" y="114479"/>
                        </a:cubicBezTo>
                        <a:cubicBezTo>
                          <a:pt x="21153" y="114479"/>
                          <a:pt x="21153" y="114479"/>
                          <a:pt x="21153" y="114479"/>
                        </a:cubicBezTo>
                        <a:close/>
                        <a:moveTo>
                          <a:pt x="49230" y="116222"/>
                        </a:moveTo>
                        <a:cubicBezTo>
                          <a:pt x="49230" y="116222"/>
                          <a:pt x="49230" y="116222"/>
                          <a:pt x="49230" y="116222"/>
                        </a:cubicBezTo>
                        <a:cubicBezTo>
                          <a:pt x="49230" y="116222"/>
                          <a:pt x="49230" y="116222"/>
                          <a:pt x="49230" y="116222"/>
                        </a:cubicBezTo>
                        <a:cubicBezTo>
                          <a:pt x="49230" y="116222"/>
                          <a:pt x="49230" y="116222"/>
                          <a:pt x="49230" y="116222"/>
                        </a:cubicBezTo>
                        <a:cubicBezTo>
                          <a:pt x="49230" y="116222"/>
                          <a:pt x="49230" y="116222"/>
                          <a:pt x="49230" y="116222"/>
                        </a:cubicBezTo>
                        <a:close/>
                        <a:moveTo>
                          <a:pt x="120000" y="59273"/>
                        </a:moveTo>
                        <a:cubicBezTo>
                          <a:pt x="120000" y="59273"/>
                          <a:pt x="120000" y="59273"/>
                          <a:pt x="120000" y="59273"/>
                        </a:cubicBezTo>
                        <a:cubicBezTo>
                          <a:pt x="120000" y="59273"/>
                          <a:pt x="120000" y="59273"/>
                          <a:pt x="120000" y="59273"/>
                        </a:cubicBezTo>
                        <a:cubicBezTo>
                          <a:pt x="120000" y="59273"/>
                          <a:pt x="120000" y="59273"/>
                          <a:pt x="120000" y="59273"/>
                        </a:cubicBezTo>
                        <a:close/>
                      </a:path>
                    </a:pathLst>
                  </a:custGeom>
                  <a:solidFill>
                    <a:sysClr val="window" lastClr="FFFFFF">
                      <a:lumMod val="75000"/>
                    </a:sys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72" name="Shape 2047"/>
                  <p:cNvSpPr/>
                  <p:nvPr/>
                </p:nvSpPr>
                <p:spPr>
                  <a:xfrm>
                    <a:off x="4736816" y="3211660"/>
                    <a:ext cx="1121418" cy="1240146"/>
                  </a:xfrm>
                  <a:custGeom>
                    <a:avLst/>
                    <a:gdLst/>
                    <a:ahLst/>
                    <a:cxnLst/>
                    <a:rect l="0" t="0" r="0" b="0"/>
                    <a:pathLst>
                      <a:path w="120000" h="120000" extrusionOk="0">
                        <a:moveTo>
                          <a:pt x="91707" y="101818"/>
                        </a:moveTo>
                        <a:cubicBezTo>
                          <a:pt x="91951" y="103315"/>
                          <a:pt x="91951" y="103315"/>
                          <a:pt x="91951" y="103315"/>
                        </a:cubicBezTo>
                        <a:cubicBezTo>
                          <a:pt x="91951" y="103315"/>
                          <a:pt x="90487" y="105454"/>
                          <a:pt x="90487" y="105668"/>
                        </a:cubicBezTo>
                        <a:cubicBezTo>
                          <a:pt x="90487" y="105882"/>
                          <a:pt x="90000" y="106737"/>
                          <a:pt x="89512" y="107379"/>
                        </a:cubicBezTo>
                        <a:cubicBezTo>
                          <a:pt x="89268" y="107807"/>
                          <a:pt x="87804" y="109518"/>
                          <a:pt x="87804" y="109518"/>
                        </a:cubicBezTo>
                        <a:cubicBezTo>
                          <a:pt x="87804" y="109518"/>
                          <a:pt x="87804" y="110160"/>
                          <a:pt x="88292" y="110588"/>
                        </a:cubicBezTo>
                        <a:cubicBezTo>
                          <a:pt x="88536" y="111016"/>
                          <a:pt x="89268" y="111657"/>
                          <a:pt x="89268" y="112299"/>
                        </a:cubicBezTo>
                        <a:cubicBezTo>
                          <a:pt x="89268" y="112727"/>
                          <a:pt x="90487" y="113368"/>
                          <a:pt x="90487" y="113368"/>
                        </a:cubicBezTo>
                        <a:cubicBezTo>
                          <a:pt x="90731" y="114652"/>
                          <a:pt x="90731" y="114652"/>
                          <a:pt x="90731" y="114652"/>
                        </a:cubicBezTo>
                        <a:cubicBezTo>
                          <a:pt x="90731" y="114652"/>
                          <a:pt x="91463" y="115294"/>
                          <a:pt x="91463" y="115508"/>
                        </a:cubicBezTo>
                        <a:cubicBezTo>
                          <a:pt x="91219" y="115721"/>
                          <a:pt x="90000" y="116791"/>
                          <a:pt x="90000" y="116791"/>
                        </a:cubicBezTo>
                        <a:cubicBezTo>
                          <a:pt x="89756" y="118074"/>
                          <a:pt x="89756" y="118074"/>
                          <a:pt x="89756" y="118074"/>
                        </a:cubicBezTo>
                        <a:cubicBezTo>
                          <a:pt x="89756" y="118716"/>
                          <a:pt x="89756" y="118716"/>
                          <a:pt x="89756" y="118716"/>
                        </a:cubicBezTo>
                        <a:cubicBezTo>
                          <a:pt x="89756" y="118716"/>
                          <a:pt x="90000" y="118716"/>
                          <a:pt x="89756" y="119358"/>
                        </a:cubicBezTo>
                        <a:cubicBezTo>
                          <a:pt x="89512" y="119786"/>
                          <a:pt x="89512" y="119786"/>
                          <a:pt x="89268" y="119786"/>
                        </a:cubicBezTo>
                        <a:cubicBezTo>
                          <a:pt x="89024" y="120000"/>
                          <a:pt x="86585" y="119786"/>
                          <a:pt x="86585" y="119786"/>
                        </a:cubicBezTo>
                        <a:cubicBezTo>
                          <a:pt x="84146" y="119358"/>
                          <a:pt x="84146" y="119358"/>
                          <a:pt x="84146" y="119358"/>
                        </a:cubicBezTo>
                        <a:cubicBezTo>
                          <a:pt x="84146" y="119358"/>
                          <a:pt x="82926" y="119144"/>
                          <a:pt x="82439" y="118930"/>
                        </a:cubicBezTo>
                        <a:cubicBezTo>
                          <a:pt x="82195" y="118716"/>
                          <a:pt x="81707" y="118502"/>
                          <a:pt x="81707" y="118502"/>
                        </a:cubicBezTo>
                        <a:cubicBezTo>
                          <a:pt x="80975" y="116577"/>
                          <a:pt x="80975" y="116577"/>
                          <a:pt x="80975" y="116577"/>
                        </a:cubicBezTo>
                        <a:cubicBezTo>
                          <a:pt x="79024" y="116363"/>
                          <a:pt x="79024" y="116363"/>
                          <a:pt x="79024" y="116363"/>
                        </a:cubicBezTo>
                        <a:cubicBezTo>
                          <a:pt x="74146" y="115721"/>
                          <a:pt x="74146" y="115721"/>
                          <a:pt x="74146" y="115721"/>
                        </a:cubicBezTo>
                        <a:cubicBezTo>
                          <a:pt x="74146" y="115721"/>
                          <a:pt x="72439" y="114438"/>
                          <a:pt x="72195" y="114224"/>
                        </a:cubicBezTo>
                        <a:cubicBezTo>
                          <a:pt x="71707" y="114010"/>
                          <a:pt x="71219" y="113368"/>
                          <a:pt x="71219" y="113368"/>
                        </a:cubicBezTo>
                        <a:cubicBezTo>
                          <a:pt x="70243" y="113155"/>
                          <a:pt x="70243" y="113155"/>
                          <a:pt x="70243" y="113155"/>
                        </a:cubicBezTo>
                        <a:cubicBezTo>
                          <a:pt x="68292" y="111443"/>
                          <a:pt x="68292" y="111443"/>
                          <a:pt x="68292" y="111443"/>
                        </a:cubicBezTo>
                        <a:cubicBezTo>
                          <a:pt x="66341" y="111443"/>
                          <a:pt x="66341" y="111443"/>
                          <a:pt x="66341" y="111443"/>
                        </a:cubicBezTo>
                        <a:cubicBezTo>
                          <a:pt x="64878" y="110588"/>
                          <a:pt x="64878" y="110588"/>
                          <a:pt x="64878" y="110588"/>
                        </a:cubicBezTo>
                        <a:cubicBezTo>
                          <a:pt x="63170" y="110588"/>
                          <a:pt x="63170" y="110588"/>
                          <a:pt x="63170" y="110588"/>
                        </a:cubicBezTo>
                        <a:cubicBezTo>
                          <a:pt x="63170" y="110588"/>
                          <a:pt x="61951" y="110374"/>
                          <a:pt x="61951" y="110160"/>
                        </a:cubicBezTo>
                        <a:cubicBezTo>
                          <a:pt x="61707" y="109732"/>
                          <a:pt x="60243" y="109090"/>
                          <a:pt x="60243" y="109090"/>
                        </a:cubicBezTo>
                        <a:cubicBezTo>
                          <a:pt x="60243" y="109090"/>
                          <a:pt x="60243" y="107807"/>
                          <a:pt x="60243" y="107593"/>
                        </a:cubicBezTo>
                        <a:cubicBezTo>
                          <a:pt x="60243" y="107379"/>
                          <a:pt x="60487" y="105240"/>
                          <a:pt x="60487" y="105240"/>
                        </a:cubicBezTo>
                        <a:cubicBezTo>
                          <a:pt x="61463" y="104171"/>
                          <a:pt x="61463" y="104171"/>
                          <a:pt x="61463" y="104171"/>
                        </a:cubicBezTo>
                        <a:cubicBezTo>
                          <a:pt x="62926" y="103743"/>
                          <a:pt x="62926" y="103743"/>
                          <a:pt x="62926" y="103743"/>
                        </a:cubicBezTo>
                        <a:cubicBezTo>
                          <a:pt x="63414" y="104598"/>
                          <a:pt x="63414" y="104598"/>
                          <a:pt x="63414" y="104598"/>
                        </a:cubicBezTo>
                        <a:cubicBezTo>
                          <a:pt x="65121" y="105240"/>
                          <a:pt x="65121" y="105240"/>
                          <a:pt x="65121" y="105240"/>
                        </a:cubicBezTo>
                        <a:cubicBezTo>
                          <a:pt x="66097" y="104598"/>
                          <a:pt x="66097" y="104598"/>
                          <a:pt x="66097" y="104598"/>
                        </a:cubicBezTo>
                        <a:cubicBezTo>
                          <a:pt x="66585" y="103315"/>
                          <a:pt x="66585" y="103315"/>
                          <a:pt x="66585" y="103315"/>
                        </a:cubicBezTo>
                        <a:cubicBezTo>
                          <a:pt x="68048" y="102887"/>
                          <a:pt x="68048" y="102887"/>
                          <a:pt x="68048" y="102887"/>
                        </a:cubicBezTo>
                        <a:cubicBezTo>
                          <a:pt x="69756" y="103529"/>
                          <a:pt x="69756" y="103529"/>
                          <a:pt x="69756" y="103529"/>
                        </a:cubicBezTo>
                        <a:cubicBezTo>
                          <a:pt x="70975" y="104598"/>
                          <a:pt x="70975" y="104598"/>
                          <a:pt x="70975" y="104598"/>
                        </a:cubicBezTo>
                        <a:cubicBezTo>
                          <a:pt x="73414" y="105240"/>
                          <a:pt x="73414" y="105240"/>
                          <a:pt x="73414" y="105240"/>
                        </a:cubicBezTo>
                        <a:cubicBezTo>
                          <a:pt x="75609" y="104812"/>
                          <a:pt x="75609" y="104812"/>
                          <a:pt x="75609" y="104812"/>
                        </a:cubicBezTo>
                        <a:cubicBezTo>
                          <a:pt x="77560" y="104598"/>
                          <a:pt x="77560" y="104598"/>
                          <a:pt x="77560" y="104598"/>
                        </a:cubicBezTo>
                        <a:cubicBezTo>
                          <a:pt x="77560" y="104598"/>
                          <a:pt x="78536" y="104598"/>
                          <a:pt x="79024" y="104598"/>
                        </a:cubicBezTo>
                        <a:cubicBezTo>
                          <a:pt x="79268" y="104385"/>
                          <a:pt x="80731" y="103957"/>
                          <a:pt x="80731" y="103957"/>
                        </a:cubicBezTo>
                        <a:cubicBezTo>
                          <a:pt x="83170" y="103315"/>
                          <a:pt x="83170" y="103315"/>
                          <a:pt x="83170" y="103315"/>
                        </a:cubicBezTo>
                        <a:cubicBezTo>
                          <a:pt x="84634" y="101604"/>
                          <a:pt x="84634" y="101604"/>
                          <a:pt x="84634" y="101604"/>
                        </a:cubicBezTo>
                        <a:cubicBezTo>
                          <a:pt x="86585" y="102245"/>
                          <a:pt x="86585" y="102245"/>
                          <a:pt x="86585" y="102245"/>
                        </a:cubicBezTo>
                        <a:cubicBezTo>
                          <a:pt x="88292" y="102459"/>
                          <a:pt x="88292" y="102459"/>
                          <a:pt x="88292" y="102459"/>
                        </a:cubicBezTo>
                        <a:cubicBezTo>
                          <a:pt x="89024" y="101390"/>
                          <a:pt x="89024" y="101390"/>
                          <a:pt x="89024" y="101390"/>
                        </a:cubicBezTo>
                        <a:cubicBezTo>
                          <a:pt x="90731" y="100534"/>
                          <a:pt x="90731" y="100534"/>
                          <a:pt x="90731" y="100534"/>
                        </a:cubicBezTo>
                        <a:cubicBezTo>
                          <a:pt x="91707" y="101818"/>
                          <a:pt x="91707" y="101818"/>
                          <a:pt x="91707" y="101818"/>
                        </a:cubicBezTo>
                        <a:close/>
                        <a:moveTo>
                          <a:pt x="94634" y="100320"/>
                        </a:moveTo>
                        <a:cubicBezTo>
                          <a:pt x="94634" y="100320"/>
                          <a:pt x="94634" y="100320"/>
                          <a:pt x="94634" y="100320"/>
                        </a:cubicBezTo>
                        <a:cubicBezTo>
                          <a:pt x="93658" y="101176"/>
                          <a:pt x="93658" y="101176"/>
                          <a:pt x="93658" y="101176"/>
                        </a:cubicBezTo>
                        <a:cubicBezTo>
                          <a:pt x="92682" y="101818"/>
                          <a:pt x="92682" y="101818"/>
                          <a:pt x="92682" y="101818"/>
                        </a:cubicBezTo>
                        <a:cubicBezTo>
                          <a:pt x="92682" y="101818"/>
                          <a:pt x="92926" y="102673"/>
                          <a:pt x="92926" y="103101"/>
                        </a:cubicBezTo>
                        <a:cubicBezTo>
                          <a:pt x="93170" y="103529"/>
                          <a:pt x="93902" y="104598"/>
                          <a:pt x="93902" y="104598"/>
                        </a:cubicBezTo>
                        <a:cubicBezTo>
                          <a:pt x="96341" y="104598"/>
                          <a:pt x="96341" y="104598"/>
                          <a:pt x="96341" y="104598"/>
                        </a:cubicBezTo>
                        <a:cubicBezTo>
                          <a:pt x="98048" y="103743"/>
                          <a:pt x="98048" y="103743"/>
                          <a:pt x="98048" y="103743"/>
                        </a:cubicBezTo>
                        <a:cubicBezTo>
                          <a:pt x="98292" y="102245"/>
                          <a:pt x="98292" y="102245"/>
                          <a:pt x="98292" y="102245"/>
                        </a:cubicBezTo>
                        <a:cubicBezTo>
                          <a:pt x="99024" y="100748"/>
                          <a:pt x="99024" y="100748"/>
                          <a:pt x="99024" y="100748"/>
                        </a:cubicBezTo>
                        <a:cubicBezTo>
                          <a:pt x="100487" y="99893"/>
                          <a:pt x="100487" y="99893"/>
                          <a:pt x="100487" y="99893"/>
                        </a:cubicBezTo>
                        <a:cubicBezTo>
                          <a:pt x="101707" y="98823"/>
                          <a:pt x="101707" y="98823"/>
                          <a:pt x="101707" y="98823"/>
                        </a:cubicBezTo>
                        <a:cubicBezTo>
                          <a:pt x="102439" y="97754"/>
                          <a:pt x="102439" y="97754"/>
                          <a:pt x="102439" y="97754"/>
                        </a:cubicBezTo>
                        <a:cubicBezTo>
                          <a:pt x="102682" y="94973"/>
                          <a:pt x="102682" y="94973"/>
                          <a:pt x="102682" y="94973"/>
                        </a:cubicBezTo>
                        <a:cubicBezTo>
                          <a:pt x="103414" y="92834"/>
                          <a:pt x="103414" y="92834"/>
                          <a:pt x="103414" y="92834"/>
                        </a:cubicBezTo>
                        <a:cubicBezTo>
                          <a:pt x="107317" y="91550"/>
                          <a:pt x="107317" y="91550"/>
                          <a:pt x="107317" y="91550"/>
                        </a:cubicBezTo>
                        <a:cubicBezTo>
                          <a:pt x="108048" y="91122"/>
                          <a:pt x="108048" y="91122"/>
                          <a:pt x="108048" y="91122"/>
                        </a:cubicBezTo>
                        <a:cubicBezTo>
                          <a:pt x="108048" y="91122"/>
                          <a:pt x="108048" y="90695"/>
                          <a:pt x="107804" y="90267"/>
                        </a:cubicBezTo>
                        <a:cubicBezTo>
                          <a:pt x="107804" y="90053"/>
                          <a:pt x="107073" y="89411"/>
                          <a:pt x="107073" y="89411"/>
                        </a:cubicBezTo>
                        <a:cubicBezTo>
                          <a:pt x="107073" y="89411"/>
                          <a:pt x="107317" y="88770"/>
                          <a:pt x="107317" y="88556"/>
                        </a:cubicBezTo>
                        <a:cubicBezTo>
                          <a:pt x="107317" y="88342"/>
                          <a:pt x="107073" y="86844"/>
                          <a:pt x="107073" y="86844"/>
                        </a:cubicBezTo>
                        <a:cubicBezTo>
                          <a:pt x="106585" y="85347"/>
                          <a:pt x="106585" y="85347"/>
                          <a:pt x="106585" y="85347"/>
                        </a:cubicBezTo>
                        <a:cubicBezTo>
                          <a:pt x="106585" y="85347"/>
                          <a:pt x="106097" y="85347"/>
                          <a:pt x="105365" y="84919"/>
                        </a:cubicBezTo>
                        <a:cubicBezTo>
                          <a:pt x="104634" y="84705"/>
                          <a:pt x="103414" y="84064"/>
                          <a:pt x="103414" y="84064"/>
                        </a:cubicBezTo>
                        <a:cubicBezTo>
                          <a:pt x="102195" y="83636"/>
                          <a:pt x="102195" y="83636"/>
                          <a:pt x="102195" y="83636"/>
                        </a:cubicBezTo>
                        <a:cubicBezTo>
                          <a:pt x="100731" y="83422"/>
                          <a:pt x="100731" y="83422"/>
                          <a:pt x="100731" y="83422"/>
                        </a:cubicBezTo>
                        <a:cubicBezTo>
                          <a:pt x="100243" y="82352"/>
                          <a:pt x="100243" y="82352"/>
                          <a:pt x="100243" y="82352"/>
                        </a:cubicBezTo>
                        <a:cubicBezTo>
                          <a:pt x="101219" y="79358"/>
                          <a:pt x="101219" y="79358"/>
                          <a:pt x="101219" y="79358"/>
                        </a:cubicBezTo>
                        <a:cubicBezTo>
                          <a:pt x="100487" y="77860"/>
                          <a:pt x="100487" y="77860"/>
                          <a:pt x="100487" y="77860"/>
                        </a:cubicBezTo>
                        <a:cubicBezTo>
                          <a:pt x="102682" y="75721"/>
                          <a:pt x="102682" y="75721"/>
                          <a:pt x="102682" y="75721"/>
                        </a:cubicBezTo>
                        <a:cubicBezTo>
                          <a:pt x="103658" y="74224"/>
                          <a:pt x="103658" y="74224"/>
                          <a:pt x="103658" y="74224"/>
                        </a:cubicBezTo>
                        <a:cubicBezTo>
                          <a:pt x="104878" y="73368"/>
                          <a:pt x="104878" y="73368"/>
                          <a:pt x="104878" y="73368"/>
                        </a:cubicBezTo>
                        <a:cubicBezTo>
                          <a:pt x="106829" y="73796"/>
                          <a:pt x="106829" y="73796"/>
                          <a:pt x="106829" y="73796"/>
                        </a:cubicBezTo>
                        <a:cubicBezTo>
                          <a:pt x="107560" y="74652"/>
                          <a:pt x="107560" y="74652"/>
                          <a:pt x="107560" y="74652"/>
                        </a:cubicBezTo>
                        <a:cubicBezTo>
                          <a:pt x="108780" y="74866"/>
                          <a:pt x="108780" y="74866"/>
                          <a:pt x="108780" y="74866"/>
                        </a:cubicBezTo>
                        <a:cubicBezTo>
                          <a:pt x="110975" y="74866"/>
                          <a:pt x="110975" y="74866"/>
                          <a:pt x="110975" y="74866"/>
                        </a:cubicBezTo>
                        <a:cubicBezTo>
                          <a:pt x="113414" y="75294"/>
                          <a:pt x="113414" y="75294"/>
                          <a:pt x="113414" y="75294"/>
                        </a:cubicBezTo>
                        <a:cubicBezTo>
                          <a:pt x="114390" y="76577"/>
                          <a:pt x="114390" y="76577"/>
                          <a:pt x="114390" y="76577"/>
                        </a:cubicBezTo>
                        <a:cubicBezTo>
                          <a:pt x="115365" y="78074"/>
                          <a:pt x="115365" y="78074"/>
                          <a:pt x="115365" y="78074"/>
                        </a:cubicBezTo>
                        <a:cubicBezTo>
                          <a:pt x="115365" y="78074"/>
                          <a:pt x="115853" y="78716"/>
                          <a:pt x="116097" y="78930"/>
                        </a:cubicBezTo>
                        <a:cubicBezTo>
                          <a:pt x="116097" y="78930"/>
                          <a:pt x="117073" y="79572"/>
                          <a:pt x="117317" y="79572"/>
                        </a:cubicBezTo>
                        <a:cubicBezTo>
                          <a:pt x="117560" y="79786"/>
                          <a:pt x="119024" y="80000"/>
                          <a:pt x="119024" y="80000"/>
                        </a:cubicBezTo>
                        <a:cubicBezTo>
                          <a:pt x="119024" y="80000"/>
                          <a:pt x="119024" y="78502"/>
                          <a:pt x="119268" y="78074"/>
                        </a:cubicBezTo>
                        <a:cubicBezTo>
                          <a:pt x="119512" y="77860"/>
                          <a:pt x="120000" y="77005"/>
                          <a:pt x="120000" y="76791"/>
                        </a:cubicBezTo>
                        <a:cubicBezTo>
                          <a:pt x="120000" y="76577"/>
                          <a:pt x="119512" y="75080"/>
                          <a:pt x="119512" y="75080"/>
                        </a:cubicBezTo>
                        <a:cubicBezTo>
                          <a:pt x="117804" y="73368"/>
                          <a:pt x="117804" y="73368"/>
                          <a:pt x="117804" y="73368"/>
                        </a:cubicBezTo>
                        <a:cubicBezTo>
                          <a:pt x="116097" y="72299"/>
                          <a:pt x="116097" y="72299"/>
                          <a:pt x="116097" y="72299"/>
                        </a:cubicBezTo>
                        <a:cubicBezTo>
                          <a:pt x="111951" y="69946"/>
                          <a:pt x="111951" y="69946"/>
                          <a:pt x="111951" y="69946"/>
                        </a:cubicBezTo>
                        <a:cubicBezTo>
                          <a:pt x="106097" y="68235"/>
                          <a:pt x="106097" y="68235"/>
                          <a:pt x="106097" y="68235"/>
                        </a:cubicBezTo>
                        <a:cubicBezTo>
                          <a:pt x="102195" y="66096"/>
                          <a:pt x="102195" y="66096"/>
                          <a:pt x="102195" y="66096"/>
                        </a:cubicBezTo>
                        <a:cubicBezTo>
                          <a:pt x="99024" y="65454"/>
                          <a:pt x="99024" y="65454"/>
                          <a:pt x="99024" y="65454"/>
                        </a:cubicBezTo>
                        <a:cubicBezTo>
                          <a:pt x="99024" y="65454"/>
                          <a:pt x="95609" y="63957"/>
                          <a:pt x="95365" y="63957"/>
                        </a:cubicBezTo>
                        <a:cubicBezTo>
                          <a:pt x="95121" y="63957"/>
                          <a:pt x="94390" y="63743"/>
                          <a:pt x="94390" y="63743"/>
                        </a:cubicBezTo>
                        <a:cubicBezTo>
                          <a:pt x="94390" y="63743"/>
                          <a:pt x="92439" y="63315"/>
                          <a:pt x="92439" y="63101"/>
                        </a:cubicBezTo>
                        <a:cubicBezTo>
                          <a:pt x="92195" y="62887"/>
                          <a:pt x="91951" y="62245"/>
                          <a:pt x="91707" y="62032"/>
                        </a:cubicBezTo>
                        <a:cubicBezTo>
                          <a:pt x="91707" y="61818"/>
                          <a:pt x="91951" y="61176"/>
                          <a:pt x="91951" y="61176"/>
                        </a:cubicBezTo>
                        <a:cubicBezTo>
                          <a:pt x="92926" y="60320"/>
                          <a:pt x="92926" y="60320"/>
                          <a:pt x="92926" y="60320"/>
                        </a:cubicBezTo>
                        <a:cubicBezTo>
                          <a:pt x="92926" y="60320"/>
                          <a:pt x="93902" y="59465"/>
                          <a:pt x="93902" y="59251"/>
                        </a:cubicBezTo>
                        <a:cubicBezTo>
                          <a:pt x="93902" y="59037"/>
                          <a:pt x="94146" y="57754"/>
                          <a:pt x="94146" y="57754"/>
                        </a:cubicBezTo>
                        <a:cubicBezTo>
                          <a:pt x="92926" y="57326"/>
                          <a:pt x="92926" y="57326"/>
                          <a:pt x="92926" y="57326"/>
                        </a:cubicBezTo>
                        <a:cubicBezTo>
                          <a:pt x="90000" y="57540"/>
                          <a:pt x="90000" y="57540"/>
                          <a:pt x="90000" y="57540"/>
                        </a:cubicBezTo>
                        <a:cubicBezTo>
                          <a:pt x="85365" y="57967"/>
                          <a:pt x="85365" y="57967"/>
                          <a:pt x="85365" y="57967"/>
                        </a:cubicBezTo>
                        <a:cubicBezTo>
                          <a:pt x="82926" y="57967"/>
                          <a:pt x="82926" y="57967"/>
                          <a:pt x="82926" y="57967"/>
                        </a:cubicBezTo>
                        <a:cubicBezTo>
                          <a:pt x="79756" y="56256"/>
                          <a:pt x="79756" y="56256"/>
                          <a:pt x="79756" y="56256"/>
                        </a:cubicBezTo>
                        <a:cubicBezTo>
                          <a:pt x="77073" y="54331"/>
                          <a:pt x="77073" y="54331"/>
                          <a:pt x="77073" y="54331"/>
                        </a:cubicBezTo>
                        <a:cubicBezTo>
                          <a:pt x="75365" y="53475"/>
                          <a:pt x="75365" y="53475"/>
                          <a:pt x="75365" y="53475"/>
                        </a:cubicBezTo>
                        <a:cubicBezTo>
                          <a:pt x="72926" y="51122"/>
                          <a:pt x="72926" y="51122"/>
                          <a:pt x="72926" y="51122"/>
                        </a:cubicBezTo>
                        <a:cubicBezTo>
                          <a:pt x="71707" y="49625"/>
                          <a:pt x="71707" y="49625"/>
                          <a:pt x="71707" y="49625"/>
                        </a:cubicBezTo>
                        <a:cubicBezTo>
                          <a:pt x="71707" y="49625"/>
                          <a:pt x="70975" y="47486"/>
                          <a:pt x="70731" y="46631"/>
                        </a:cubicBezTo>
                        <a:cubicBezTo>
                          <a:pt x="70487" y="45989"/>
                          <a:pt x="68536" y="43636"/>
                          <a:pt x="68536" y="43636"/>
                        </a:cubicBezTo>
                        <a:cubicBezTo>
                          <a:pt x="68536" y="43636"/>
                          <a:pt x="67560" y="41711"/>
                          <a:pt x="67560" y="41497"/>
                        </a:cubicBezTo>
                        <a:cubicBezTo>
                          <a:pt x="67560" y="41283"/>
                          <a:pt x="67073" y="39786"/>
                          <a:pt x="67073" y="39786"/>
                        </a:cubicBezTo>
                        <a:cubicBezTo>
                          <a:pt x="63902" y="38502"/>
                          <a:pt x="63902" y="38502"/>
                          <a:pt x="63902" y="38502"/>
                        </a:cubicBezTo>
                        <a:cubicBezTo>
                          <a:pt x="59756" y="36363"/>
                          <a:pt x="59756" y="36363"/>
                          <a:pt x="59756" y="36363"/>
                        </a:cubicBezTo>
                        <a:cubicBezTo>
                          <a:pt x="56341" y="34438"/>
                          <a:pt x="56341" y="34438"/>
                          <a:pt x="56341" y="34438"/>
                        </a:cubicBezTo>
                        <a:cubicBezTo>
                          <a:pt x="54634" y="32299"/>
                          <a:pt x="54634" y="32299"/>
                          <a:pt x="54634" y="32299"/>
                        </a:cubicBezTo>
                        <a:cubicBezTo>
                          <a:pt x="53170" y="28877"/>
                          <a:pt x="53170" y="28877"/>
                          <a:pt x="53170" y="28877"/>
                        </a:cubicBezTo>
                        <a:cubicBezTo>
                          <a:pt x="52926" y="26096"/>
                          <a:pt x="52926" y="26096"/>
                          <a:pt x="52926" y="26096"/>
                        </a:cubicBezTo>
                        <a:cubicBezTo>
                          <a:pt x="54634" y="25454"/>
                          <a:pt x="54634" y="25454"/>
                          <a:pt x="54634" y="25454"/>
                        </a:cubicBezTo>
                        <a:cubicBezTo>
                          <a:pt x="54634" y="24171"/>
                          <a:pt x="54634" y="24171"/>
                          <a:pt x="54634" y="24171"/>
                        </a:cubicBezTo>
                        <a:cubicBezTo>
                          <a:pt x="53170" y="23315"/>
                          <a:pt x="53170" y="23315"/>
                          <a:pt x="53170" y="23315"/>
                        </a:cubicBezTo>
                        <a:cubicBezTo>
                          <a:pt x="53170" y="22032"/>
                          <a:pt x="53170" y="22032"/>
                          <a:pt x="53170" y="22032"/>
                        </a:cubicBezTo>
                        <a:cubicBezTo>
                          <a:pt x="52439" y="21604"/>
                          <a:pt x="52439" y="21604"/>
                          <a:pt x="52439" y="21604"/>
                        </a:cubicBezTo>
                        <a:cubicBezTo>
                          <a:pt x="51463" y="20534"/>
                          <a:pt x="51463" y="20534"/>
                          <a:pt x="51463" y="20534"/>
                        </a:cubicBezTo>
                        <a:cubicBezTo>
                          <a:pt x="53414" y="19679"/>
                          <a:pt x="53414" y="19679"/>
                          <a:pt x="53414" y="19679"/>
                        </a:cubicBezTo>
                        <a:cubicBezTo>
                          <a:pt x="53414" y="19679"/>
                          <a:pt x="54146" y="18823"/>
                          <a:pt x="55121" y="18823"/>
                        </a:cubicBezTo>
                        <a:cubicBezTo>
                          <a:pt x="56097" y="18823"/>
                          <a:pt x="56829" y="17967"/>
                          <a:pt x="56829" y="17967"/>
                        </a:cubicBezTo>
                        <a:cubicBezTo>
                          <a:pt x="56829" y="17967"/>
                          <a:pt x="57560" y="17326"/>
                          <a:pt x="57804" y="17326"/>
                        </a:cubicBezTo>
                        <a:cubicBezTo>
                          <a:pt x="58292" y="17326"/>
                          <a:pt x="58780" y="17112"/>
                          <a:pt x="59268" y="16898"/>
                        </a:cubicBezTo>
                        <a:cubicBezTo>
                          <a:pt x="59512" y="16898"/>
                          <a:pt x="60243" y="16684"/>
                          <a:pt x="60243" y="16684"/>
                        </a:cubicBezTo>
                        <a:cubicBezTo>
                          <a:pt x="60243" y="16470"/>
                          <a:pt x="60487" y="14973"/>
                          <a:pt x="60731" y="14973"/>
                        </a:cubicBezTo>
                        <a:cubicBezTo>
                          <a:pt x="60975" y="14973"/>
                          <a:pt x="61463" y="15828"/>
                          <a:pt x="62195" y="15828"/>
                        </a:cubicBezTo>
                        <a:cubicBezTo>
                          <a:pt x="62439" y="15828"/>
                          <a:pt x="62926" y="16256"/>
                          <a:pt x="63170" y="16042"/>
                        </a:cubicBezTo>
                        <a:cubicBezTo>
                          <a:pt x="63658" y="15828"/>
                          <a:pt x="63902" y="15187"/>
                          <a:pt x="63902" y="15187"/>
                        </a:cubicBezTo>
                        <a:cubicBezTo>
                          <a:pt x="64146" y="14973"/>
                          <a:pt x="64390" y="14759"/>
                          <a:pt x="65121" y="14545"/>
                        </a:cubicBezTo>
                        <a:cubicBezTo>
                          <a:pt x="65121" y="14545"/>
                          <a:pt x="65121" y="14545"/>
                          <a:pt x="65121" y="14545"/>
                        </a:cubicBezTo>
                        <a:cubicBezTo>
                          <a:pt x="65121" y="14545"/>
                          <a:pt x="64634" y="14331"/>
                          <a:pt x="64634" y="14331"/>
                        </a:cubicBezTo>
                        <a:cubicBezTo>
                          <a:pt x="64634" y="14117"/>
                          <a:pt x="64634" y="14117"/>
                          <a:pt x="64878" y="13903"/>
                        </a:cubicBezTo>
                        <a:cubicBezTo>
                          <a:pt x="64878" y="13689"/>
                          <a:pt x="64878" y="13689"/>
                          <a:pt x="65121" y="13475"/>
                        </a:cubicBezTo>
                        <a:cubicBezTo>
                          <a:pt x="65121" y="13475"/>
                          <a:pt x="65121" y="13048"/>
                          <a:pt x="65121" y="13048"/>
                        </a:cubicBezTo>
                        <a:cubicBezTo>
                          <a:pt x="65121" y="13048"/>
                          <a:pt x="65365" y="12834"/>
                          <a:pt x="65121" y="12834"/>
                        </a:cubicBezTo>
                        <a:cubicBezTo>
                          <a:pt x="65121" y="12620"/>
                          <a:pt x="64878" y="12406"/>
                          <a:pt x="64878" y="12406"/>
                        </a:cubicBezTo>
                        <a:cubicBezTo>
                          <a:pt x="64878" y="12406"/>
                          <a:pt x="64878" y="12406"/>
                          <a:pt x="64634" y="12406"/>
                        </a:cubicBezTo>
                        <a:cubicBezTo>
                          <a:pt x="64634" y="12620"/>
                          <a:pt x="64634" y="12620"/>
                          <a:pt x="64634" y="12620"/>
                        </a:cubicBezTo>
                        <a:cubicBezTo>
                          <a:pt x="64146" y="12834"/>
                          <a:pt x="64146" y="12834"/>
                          <a:pt x="64146" y="12834"/>
                        </a:cubicBezTo>
                        <a:cubicBezTo>
                          <a:pt x="64146" y="12834"/>
                          <a:pt x="63902" y="12406"/>
                          <a:pt x="63902" y="12406"/>
                        </a:cubicBezTo>
                        <a:cubicBezTo>
                          <a:pt x="63658" y="12406"/>
                          <a:pt x="63658" y="12406"/>
                          <a:pt x="63658" y="12192"/>
                        </a:cubicBezTo>
                        <a:cubicBezTo>
                          <a:pt x="63658" y="12192"/>
                          <a:pt x="63902" y="11978"/>
                          <a:pt x="63902" y="11978"/>
                        </a:cubicBezTo>
                        <a:cubicBezTo>
                          <a:pt x="63902" y="11978"/>
                          <a:pt x="63658" y="11764"/>
                          <a:pt x="63658" y="11764"/>
                        </a:cubicBezTo>
                        <a:cubicBezTo>
                          <a:pt x="63658" y="11764"/>
                          <a:pt x="63902" y="11336"/>
                          <a:pt x="64146" y="11336"/>
                        </a:cubicBezTo>
                        <a:cubicBezTo>
                          <a:pt x="64390" y="11122"/>
                          <a:pt x="64878" y="10695"/>
                          <a:pt x="64878" y="10695"/>
                        </a:cubicBezTo>
                        <a:cubicBezTo>
                          <a:pt x="65121" y="10267"/>
                          <a:pt x="65121" y="10267"/>
                          <a:pt x="65121" y="10267"/>
                        </a:cubicBezTo>
                        <a:cubicBezTo>
                          <a:pt x="64878" y="10053"/>
                          <a:pt x="64878" y="10053"/>
                          <a:pt x="64878" y="10053"/>
                        </a:cubicBezTo>
                        <a:cubicBezTo>
                          <a:pt x="64878" y="10053"/>
                          <a:pt x="64634" y="10267"/>
                          <a:pt x="64634" y="10267"/>
                        </a:cubicBezTo>
                        <a:cubicBezTo>
                          <a:pt x="64146" y="10053"/>
                          <a:pt x="64146" y="10053"/>
                          <a:pt x="64146" y="10053"/>
                        </a:cubicBezTo>
                        <a:cubicBezTo>
                          <a:pt x="63658" y="9839"/>
                          <a:pt x="63658" y="9839"/>
                          <a:pt x="63658" y="9839"/>
                        </a:cubicBezTo>
                        <a:cubicBezTo>
                          <a:pt x="62926" y="9839"/>
                          <a:pt x="62926" y="9839"/>
                          <a:pt x="62926" y="9839"/>
                        </a:cubicBezTo>
                        <a:cubicBezTo>
                          <a:pt x="62439" y="9411"/>
                          <a:pt x="62439" y="9411"/>
                          <a:pt x="62439" y="9411"/>
                        </a:cubicBezTo>
                        <a:cubicBezTo>
                          <a:pt x="62682" y="8983"/>
                          <a:pt x="62682" y="8983"/>
                          <a:pt x="62682" y="8983"/>
                        </a:cubicBezTo>
                        <a:cubicBezTo>
                          <a:pt x="62682" y="8556"/>
                          <a:pt x="62682" y="8556"/>
                          <a:pt x="62682" y="8556"/>
                        </a:cubicBezTo>
                        <a:cubicBezTo>
                          <a:pt x="62682" y="8556"/>
                          <a:pt x="63170" y="8128"/>
                          <a:pt x="63170" y="8128"/>
                        </a:cubicBezTo>
                        <a:cubicBezTo>
                          <a:pt x="63414" y="7914"/>
                          <a:pt x="63902" y="7700"/>
                          <a:pt x="63902" y="7700"/>
                        </a:cubicBezTo>
                        <a:cubicBezTo>
                          <a:pt x="64146" y="7272"/>
                          <a:pt x="64146" y="7272"/>
                          <a:pt x="64146" y="7272"/>
                        </a:cubicBezTo>
                        <a:cubicBezTo>
                          <a:pt x="64146" y="7272"/>
                          <a:pt x="64390" y="7058"/>
                          <a:pt x="64634" y="7058"/>
                        </a:cubicBezTo>
                        <a:cubicBezTo>
                          <a:pt x="64878" y="7058"/>
                          <a:pt x="64878" y="7272"/>
                          <a:pt x="64878" y="7058"/>
                        </a:cubicBezTo>
                        <a:cubicBezTo>
                          <a:pt x="65121" y="7058"/>
                          <a:pt x="65121" y="6631"/>
                          <a:pt x="65121" y="6417"/>
                        </a:cubicBezTo>
                        <a:cubicBezTo>
                          <a:pt x="65121" y="5775"/>
                          <a:pt x="65121" y="5775"/>
                          <a:pt x="65121" y="5775"/>
                        </a:cubicBezTo>
                        <a:cubicBezTo>
                          <a:pt x="63902" y="5989"/>
                          <a:pt x="63902" y="5989"/>
                          <a:pt x="63902" y="5989"/>
                        </a:cubicBezTo>
                        <a:cubicBezTo>
                          <a:pt x="63902" y="5989"/>
                          <a:pt x="62682" y="5775"/>
                          <a:pt x="61951" y="5775"/>
                        </a:cubicBezTo>
                        <a:cubicBezTo>
                          <a:pt x="60975" y="5775"/>
                          <a:pt x="59024" y="5347"/>
                          <a:pt x="59024" y="5347"/>
                        </a:cubicBezTo>
                        <a:cubicBezTo>
                          <a:pt x="56585" y="4705"/>
                          <a:pt x="56585" y="4705"/>
                          <a:pt x="56585" y="4705"/>
                        </a:cubicBezTo>
                        <a:cubicBezTo>
                          <a:pt x="55121" y="4705"/>
                          <a:pt x="55121" y="4705"/>
                          <a:pt x="55121" y="4705"/>
                        </a:cubicBezTo>
                        <a:cubicBezTo>
                          <a:pt x="52926" y="4491"/>
                          <a:pt x="52926" y="4491"/>
                          <a:pt x="52926" y="4491"/>
                        </a:cubicBezTo>
                        <a:cubicBezTo>
                          <a:pt x="52926" y="4491"/>
                          <a:pt x="52682" y="4064"/>
                          <a:pt x="52439" y="3850"/>
                        </a:cubicBezTo>
                        <a:cubicBezTo>
                          <a:pt x="52439" y="3636"/>
                          <a:pt x="51707" y="3208"/>
                          <a:pt x="51707" y="3208"/>
                        </a:cubicBezTo>
                        <a:cubicBezTo>
                          <a:pt x="51707" y="2780"/>
                          <a:pt x="51707" y="2780"/>
                          <a:pt x="51707" y="2780"/>
                        </a:cubicBezTo>
                        <a:cubicBezTo>
                          <a:pt x="51219" y="1711"/>
                          <a:pt x="51219" y="1711"/>
                          <a:pt x="51219" y="1711"/>
                        </a:cubicBezTo>
                        <a:cubicBezTo>
                          <a:pt x="50731" y="855"/>
                          <a:pt x="50731" y="855"/>
                          <a:pt x="50731" y="855"/>
                        </a:cubicBezTo>
                        <a:cubicBezTo>
                          <a:pt x="51219" y="213"/>
                          <a:pt x="51219" y="213"/>
                          <a:pt x="51219" y="213"/>
                        </a:cubicBezTo>
                        <a:cubicBezTo>
                          <a:pt x="50731" y="0"/>
                          <a:pt x="50731" y="0"/>
                          <a:pt x="50731" y="0"/>
                        </a:cubicBezTo>
                        <a:cubicBezTo>
                          <a:pt x="50731" y="0"/>
                          <a:pt x="49756" y="213"/>
                          <a:pt x="49268" y="213"/>
                        </a:cubicBezTo>
                        <a:cubicBezTo>
                          <a:pt x="49024" y="427"/>
                          <a:pt x="47560" y="641"/>
                          <a:pt x="47560" y="641"/>
                        </a:cubicBezTo>
                        <a:cubicBezTo>
                          <a:pt x="47073" y="855"/>
                          <a:pt x="47073" y="855"/>
                          <a:pt x="47073" y="855"/>
                        </a:cubicBezTo>
                        <a:cubicBezTo>
                          <a:pt x="45121" y="855"/>
                          <a:pt x="45121" y="855"/>
                          <a:pt x="45121" y="855"/>
                        </a:cubicBezTo>
                        <a:cubicBezTo>
                          <a:pt x="43170" y="1069"/>
                          <a:pt x="43170" y="1069"/>
                          <a:pt x="43170" y="1069"/>
                        </a:cubicBezTo>
                        <a:cubicBezTo>
                          <a:pt x="42439" y="1497"/>
                          <a:pt x="42439" y="1497"/>
                          <a:pt x="42439" y="1497"/>
                        </a:cubicBezTo>
                        <a:cubicBezTo>
                          <a:pt x="40975" y="2139"/>
                          <a:pt x="40975" y="2139"/>
                          <a:pt x="40975" y="2139"/>
                        </a:cubicBezTo>
                        <a:cubicBezTo>
                          <a:pt x="40975" y="2994"/>
                          <a:pt x="40975" y="2994"/>
                          <a:pt x="40975" y="2994"/>
                        </a:cubicBezTo>
                        <a:cubicBezTo>
                          <a:pt x="40243" y="3850"/>
                          <a:pt x="40243" y="3850"/>
                          <a:pt x="40243" y="3850"/>
                        </a:cubicBezTo>
                        <a:cubicBezTo>
                          <a:pt x="39024" y="3850"/>
                          <a:pt x="39024" y="3850"/>
                          <a:pt x="39024" y="3850"/>
                        </a:cubicBezTo>
                        <a:cubicBezTo>
                          <a:pt x="37804" y="2994"/>
                          <a:pt x="37804" y="2994"/>
                          <a:pt x="37804" y="2994"/>
                        </a:cubicBezTo>
                        <a:cubicBezTo>
                          <a:pt x="37317" y="3422"/>
                          <a:pt x="37317" y="3422"/>
                          <a:pt x="37317" y="3422"/>
                        </a:cubicBezTo>
                        <a:cubicBezTo>
                          <a:pt x="36097" y="3208"/>
                          <a:pt x="36097" y="3208"/>
                          <a:pt x="36097" y="3208"/>
                        </a:cubicBezTo>
                        <a:cubicBezTo>
                          <a:pt x="35853" y="3208"/>
                          <a:pt x="35853" y="3208"/>
                          <a:pt x="35853" y="3208"/>
                        </a:cubicBezTo>
                        <a:cubicBezTo>
                          <a:pt x="35609" y="3208"/>
                          <a:pt x="35609" y="3208"/>
                          <a:pt x="35609" y="3208"/>
                        </a:cubicBezTo>
                        <a:cubicBezTo>
                          <a:pt x="35609" y="3208"/>
                          <a:pt x="35365" y="3422"/>
                          <a:pt x="35365" y="3422"/>
                        </a:cubicBezTo>
                        <a:cubicBezTo>
                          <a:pt x="35609" y="3850"/>
                          <a:pt x="35609" y="3850"/>
                          <a:pt x="35609" y="3850"/>
                        </a:cubicBezTo>
                        <a:cubicBezTo>
                          <a:pt x="35365" y="4064"/>
                          <a:pt x="35365" y="4064"/>
                          <a:pt x="35365" y="4064"/>
                        </a:cubicBezTo>
                        <a:cubicBezTo>
                          <a:pt x="35609" y="4491"/>
                          <a:pt x="35609" y="4491"/>
                          <a:pt x="35609" y="4491"/>
                        </a:cubicBezTo>
                        <a:cubicBezTo>
                          <a:pt x="35609" y="4491"/>
                          <a:pt x="35365" y="4705"/>
                          <a:pt x="35121" y="4919"/>
                        </a:cubicBezTo>
                        <a:cubicBezTo>
                          <a:pt x="34878" y="4919"/>
                          <a:pt x="35365" y="5347"/>
                          <a:pt x="35365" y="5347"/>
                        </a:cubicBezTo>
                        <a:cubicBezTo>
                          <a:pt x="35365" y="5347"/>
                          <a:pt x="35609" y="5347"/>
                          <a:pt x="36097" y="5561"/>
                        </a:cubicBezTo>
                        <a:cubicBezTo>
                          <a:pt x="36341" y="5775"/>
                          <a:pt x="36097" y="5775"/>
                          <a:pt x="36097" y="5775"/>
                        </a:cubicBezTo>
                        <a:cubicBezTo>
                          <a:pt x="36097" y="5989"/>
                          <a:pt x="36097" y="6203"/>
                          <a:pt x="35853" y="6203"/>
                        </a:cubicBezTo>
                        <a:cubicBezTo>
                          <a:pt x="35853" y="6417"/>
                          <a:pt x="35853" y="6417"/>
                          <a:pt x="35853" y="6417"/>
                        </a:cubicBezTo>
                        <a:cubicBezTo>
                          <a:pt x="35609" y="6417"/>
                          <a:pt x="35609" y="6417"/>
                          <a:pt x="35609" y="6417"/>
                        </a:cubicBezTo>
                        <a:cubicBezTo>
                          <a:pt x="35609" y="6417"/>
                          <a:pt x="34878" y="6631"/>
                          <a:pt x="34878" y="6417"/>
                        </a:cubicBezTo>
                        <a:cubicBezTo>
                          <a:pt x="34634" y="6417"/>
                          <a:pt x="34878" y="6417"/>
                          <a:pt x="34878" y="6417"/>
                        </a:cubicBezTo>
                        <a:cubicBezTo>
                          <a:pt x="34634" y="6417"/>
                          <a:pt x="34634" y="6417"/>
                          <a:pt x="34634" y="6417"/>
                        </a:cubicBezTo>
                        <a:cubicBezTo>
                          <a:pt x="34634" y="6417"/>
                          <a:pt x="33902" y="5989"/>
                          <a:pt x="33902" y="5989"/>
                        </a:cubicBezTo>
                        <a:cubicBezTo>
                          <a:pt x="33902" y="5775"/>
                          <a:pt x="33902" y="5775"/>
                          <a:pt x="33902" y="5775"/>
                        </a:cubicBezTo>
                        <a:cubicBezTo>
                          <a:pt x="33902" y="5775"/>
                          <a:pt x="33658" y="5561"/>
                          <a:pt x="33658" y="5561"/>
                        </a:cubicBezTo>
                        <a:cubicBezTo>
                          <a:pt x="33414" y="5561"/>
                          <a:pt x="33414" y="5775"/>
                          <a:pt x="33414" y="5775"/>
                        </a:cubicBezTo>
                        <a:cubicBezTo>
                          <a:pt x="33170" y="5775"/>
                          <a:pt x="32926" y="5775"/>
                          <a:pt x="32682" y="5775"/>
                        </a:cubicBezTo>
                        <a:cubicBezTo>
                          <a:pt x="32682" y="5775"/>
                          <a:pt x="32682" y="5989"/>
                          <a:pt x="32439" y="5989"/>
                        </a:cubicBezTo>
                        <a:cubicBezTo>
                          <a:pt x="32439" y="6203"/>
                          <a:pt x="32439" y="6203"/>
                          <a:pt x="32439" y="6417"/>
                        </a:cubicBezTo>
                        <a:cubicBezTo>
                          <a:pt x="32195" y="6417"/>
                          <a:pt x="32195" y="6631"/>
                          <a:pt x="32195" y="6631"/>
                        </a:cubicBezTo>
                        <a:cubicBezTo>
                          <a:pt x="32195" y="6844"/>
                          <a:pt x="32195" y="6844"/>
                          <a:pt x="32195" y="6844"/>
                        </a:cubicBezTo>
                        <a:cubicBezTo>
                          <a:pt x="31951" y="7272"/>
                          <a:pt x="31951" y="7272"/>
                          <a:pt x="31951" y="7272"/>
                        </a:cubicBezTo>
                        <a:cubicBezTo>
                          <a:pt x="32195" y="7272"/>
                          <a:pt x="32195" y="7272"/>
                          <a:pt x="32195" y="7272"/>
                        </a:cubicBezTo>
                        <a:cubicBezTo>
                          <a:pt x="32195" y="7272"/>
                          <a:pt x="32195" y="7700"/>
                          <a:pt x="32195" y="7700"/>
                        </a:cubicBezTo>
                        <a:cubicBezTo>
                          <a:pt x="32195" y="7914"/>
                          <a:pt x="32195" y="7914"/>
                          <a:pt x="32195" y="7914"/>
                        </a:cubicBezTo>
                        <a:cubicBezTo>
                          <a:pt x="32439" y="8128"/>
                          <a:pt x="32682" y="7914"/>
                          <a:pt x="32682" y="7914"/>
                        </a:cubicBezTo>
                        <a:cubicBezTo>
                          <a:pt x="32682" y="7914"/>
                          <a:pt x="32926" y="8128"/>
                          <a:pt x="32926" y="8342"/>
                        </a:cubicBezTo>
                        <a:cubicBezTo>
                          <a:pt x="33170" y="8342"/>
                          <a:pt x="32926" y="8556"/>
                          <a:pt x="32926" y="8556"/>
                        </a:cubicBezTo>
                        <a:cubicBezTo>
                          <a:pt x="32926" y="8556"/>
                          <a:pt x="32682" y="8770"/>
                          <a:pt x="32682" y="8770"/>
                        </a:cubicBezTo>
                        <a:cubicBezTo>
                          <a:pt x="32439" y="8770"/>
                          <a:pt x="32439" y="8770"/>
                          <a:pt x="32682" y="8983"/>
                        </a:cubicBezTo>
                        <a:cubicBezTo>
                          <a:pt x="32682" y="9197"/>
                          <a:pt x="32926" y="9197"/>
                          <a:pt x="32926" y="9197"/>
                        </a:cubicBezTo>
                        <a:cubicBezTo>
                          <a:pt x="33170" y="9197"/>
                          <a:pt x="33170" y="9839"/>
                          <a:pt x="33170" y="9839"/>
                        </a:cubicBezTo>
                        <a:cubicBezTo>
                          <a:pt x="33170" y="10053"/>
                          <a:pt x="32926" y="10267"/>
                          <a:pt x="32926" y="10267"/>
                        </a:cubicBezTo>
                        <a:cubicBezTo>
                          <a:pt x="32926" y="10267"/>
                          <a:pt x="32926" y="10267"/>
                          <a:pt x="32926" y="10267"/>
                        </a:cubicBezTo>
                        <a:cubicBezTo>
                          <a:pt x="32682" y="10267"/>
                          <a:pt x="32682" y="10267"/>
                          <a:pt x="32682" y="10481"/>
                        </a:cubicBezTo>
                        <a:cubicBezTo>
                          <a:pt x="32682" y="10481"/>
                          <a:pt x="32195" y="10481"/>
                          <a:pt x="32195" y="10481"/>
                        </a:cubicBezTo>
                        <a:cubicBezTo>
                          <a:pt x="32195" y="10481"/>
                          <a:pt x="32439" y="10053"/>
                          <a:pt x="32195" y="10053"/>
                        </a:cubicBezTo>
                        <a:cubicBezTo>
                          <a:pt x="32195" y="9839"/>
                          <a:pt x="31951" y="9839"/>
                          <a:pt x="31707" y="9625"/>
                        </a:cubicBezTo>
                        <a:cubicBezTo>
                          <a:pt x="31463" y="9197"/>
                          <a:pt x="31707" y="9197"/>
                          <a:pt x="31707" y="9197"/>
                        </a:cubicBezTo>
                        <a:cubicBezTo>
                          <a:pt x="31707" y="9197"/>
                          <a:pt x="31707" y="9197"/>
                          <a:pt x="31463" y="8983"/>
                        </a:cubicBezTo>
                        <a:cubicBezTo>
                          <a:pt x="31463" y="8770"/>
                          <a:pt x="31463" y="8556"/>
                          <a:pt x="31463" y="8556"/>
                        </a:cubicBezTo>
                        <a:cubicBezTo>
                          <a:pt x="31463" y="8556"/>
                          <a:pt x="30975" y="8556"/>
                          <a:pt x="30731" y="8556"/>
                        </a:cubicBezTo>
                        <a:cubicBezTo>
                          <a:pt x="30243" y="8556"/>
                          <a:pt x="30487" y="8770"/>
                          <a:pt x="30487" y="8770"/>
                        </a:cubicBezTo>
                        <a:cubicBezTo>
                          <a:pt x="30000" y="8770"/>
                          <a:pt x="30000" y="8770"/>
                          <a:pt x="30000" y="8770"/>
                        </a:cubicBezTo>
                        <a:cubicBezTo>
                          <a:pt x="30000" y="8770"/>
                          <a:pt x="29756" y="8983"/>
                          <a:pt x="29756" y="8983"/>
                        </a:cubicBezTo>
                        <a:cubicBezTo>
                          <a:pt x="29512" y="9197"/>
                          <a:pt x="29512" y="8983"/>
                          <a:pt x="29268" y="8983"/>
                        </a:cubicBezTo>
                        <a:cubicBezTo>
                          <a:pt x="29268" y="8983"/>
                          <a:pt x="29024" y="8983"/>
                          <a:pt x="29024" y="8983"/>
                        </a:cubicBezTo>
                        <a:cubicBezTo>
                          <a:pt x="29024" y="8983"/>
                          <a:pt x="28780" y="9197"/>
                          <a:pt x="29024" y="9411"/>
                        </a:cubicBezTo>
                        <a:cubicBezTo>
                          <a:pt x="29024" y="9625"/>
                          <a:pt x="29024" y="9625"/>
                          <a:pt x="28780" y="9625"/>
                        </a:cubicBezTo>
                        <a:cubicBezTo>
                          <a:pt x="28780" y="9839"/>
                          <a:pt x="28292" y="9625"/>
                          <a:pt x="27804" y="9625"/>
                        </a:cubicBezTo>
                        <a:cubicBezTo>
                          <a:pt x="27073" y="9625"/>
                          <a:pt x="27560" y="9411"/>
                          <a:pt x="27317" y="9411"/>
                        </a:cubicBezTo>
                        <a:cubicBezTo>
                          <a:pt x="27317" y="9197"/>
                          <a:pt x="26829" y="9197"/>
                          <a:pt x="26829" y="8983"/>
                        </a:cubicBezTo>
                        <a:cubicBezTo>
                          <a:pt x="26829" y="8556"/>
                          <a:pt x="26829" y="8556"/>
                          <a:pt x="26829" y="8342"/>
                        </a:cubicBezTo>
                        <a:cubicBezTo>
                          <a:pt x="26829" y="8128"/>
                          <a:pt x="26585" y="7914"/>
                          <a:pt x="26585" y="7914"/>
                        </a:cubicBezTo>
                        <a:cubicBezTo>
                          <a:pt x="26341" y="7700"/>
                          <a:pt x="26585" y="7486"/>
                          <a:pt x="26829" y="7486"/>
                        </a:cubicBezTo>
                        <a:cubicBezTo>
                          <a:pt x="26829" y="7272"/>
                          <a:pt x="26585" y="7272"/>
                          <a:pt x="26585" y="7272"/>
                        </a:cubicBezTo>
                        <a:cubicBezTo>
                          <a:pt x="26097" y="7486"/>
                          <a:pt x="26097" y="7486"/>
                          <a:pt x="26097" y="7486"/>
                        </a:cubicBezTo>
                        <a:cubicBezTo>
                          <a:pt x="25853" y="7486"/>
                          <a:pt x="25853" y="7486"/>
                          <a:pt x="25853" y="7486"/>
                        </a:cubicBezTo>
                        <a:cubicBezTo>
                          <a:pt x="25853" y="7486"/>
                          <a:pt x="25609" y="7272"/>
                          <a:pt x="25365" y="7272"/>
                        </a:cubicBezTo>
                        <a:cubicBezTo>
                          <a:pt x="25365" y="7058"/>
                          <a:pt x="25121" y="7272"/>
                          <a:pt x="25121" y="7272"/>
                        </a:cubicBezTo>
                        <a:cubicBezTo>
                          <a:pt x="24634" y="7700"/>
                          <a:pt x="24634" y="7700"/>
                          <a:pt x="24634" y="7700"/>
                        </a:cubicBezTo>
                        <a:cubicBezTo>
                          <a:pt x="24634" y="7914"/>
                          <a:pt x="24634" y="7914"/>
                          <a:pt x="24634" y="7914"/>
                        </a:cubicBezTo>
                        <a:cubicBezTo>
                          <a:pt x="24878" y="8342"/>
                          <a:pt x="24878" y="8342"/>
                          <a:pt x="24878" y="8342"/>
                        </a:cubicBezTo>
                        <a:cubicBezTo>
                          <a:pt x="24878" y="8770"/>
                          <a:pt x="24878" y="8770"/>
                          <a:pt x="24878" y="8770"/>
                        </a:cubicBezTo>
                        <a:cubicBezTo>
                          <a:pt x="24878" y="8770"/>
                          <a:pt x="24878" y="8983"/>
                          <a:pt x="24878" y="9197"/>
                        </a:cubicBezTo>
                        <a:cubicBezTo>
                          <a:pt x="24878" y="9197"/>
                          <a:pt x="24878" y="9411"/>
                          <a:pt x="24878" y="9411"/>
                        </a:cubicBezTo>
                        <a:cubicBezTo>
                          <a:pt x="24878" y="9625"/>
                          <a:pt x="24878" y="9625"/>
                          <a:pt x="24878" y="9625"/>
                        </a:cubicBezTo>
                        <a:cubicBezTo>
                          <a:pt x="24878" y="9625"/>
                          <a:pt x="24634" y="9839"/>
                          <a:pt x="24634" y="10053"/>
                        </a:cubicBezTo>
                        <a:cubicBezTo>
                          <a:pt x="24634" y="10053"/>
                          <a:pt x="24634" y="10267"/>
                          <a:pt x="24634" y="10481"/>
                        </a:cubicBezTo>
                        <a:cubicBezTo>
                          <a:pt x="24390" y="10695"/>
                          <a:pt x="24390" y="10695"/>
                          <a:pt x="24390" y="10695"/>
                        </a:cubicBezTo>
                        <a:cubicBezTo>
                          <a:pt x="24390" y="10695"/>
                          <a:pt x="24146" y="10909"/>
                          <a:pt x="24146" y="11122"/>
                        </a:cubicBezTo>
                        <a:cubicBezTo>
                          <a:pt x="24146" y="11122"/>
                          <a:pt x="23658" y="11122"/>
                          <a:pt x="23658" y="11122"/>
                        </a:cubicBezTo>
                        <a:cubicBezTo>
                          <a:pt x="23658" y="11122"/>
                          <a:pt x="23414" y="11550"/>
                          <a:pt x="23170" y="11550"/>
                        </a:cubicBezTo>
                        <a:cubicBezTo>
                          <a:pt x="23170" y="11550"/>
                          <a:pt x="23170" y="11978"/>
                          <a:pt x="23170" y="12192"/>
                        </a:cubicBezTo>
                        <a:cubicBezTo>
                          <a:pt x="23170" y="12192"/>
                          <a:pt x="23170" y="12406"/>
                          <a:pt x="23170" y="12406"/>
                        </a:cubicBezTo>
                        <a:cubicBezTo>
                          <a:pt x="22682" y="12620"/>
                          <a:pt x="22682" y="12620"/>
                          <a:pt x="22682" y="12620"/>
                        </a:cubicBezTo>
                        <a:cubicBezTo>
                          <a:pt x="22682" y="12620"/>
                          <a:pt x="22926" y="13048"/>
                          <a:pt x="22926" y="13048"/>
                        </a:cubicBezTo>
                        <a:cubicBezTo>
                          <a:pt x="22926" y="13262"/>
                          <a:pt x="22682" y="13262"/>
                          <a:pt x="22682" y="13262"/>
                        </a:cubicBezTo>
                        <a:cubicBezTo>
                          <a:pt x="22439" y="13475"/>
                          <a:pt x="22682" y="13475"/>
                          <a:pt x="22682" y="13689"/>
                        </a:cubicBezTo>
                        <a:cubicBezTo>
                          <a:pt x="22439" y="13903"/>
                          <a:pt x="22682" y="13903"/>
                          <a:pt x="22682" y="13903"/>
                        </a:cubicBezTo>
                        <a:cubicBezTo>
                          <a:pt x="22682" y="14117"/>
                          <a:pt x="23414" y="14331"/>
                          <a:pt x="23414" y="14331"/>
                        </a:cubicBezTo>
                        <a:cubicBezTo>
                          <a:pt x="23414" y="14331"/>
                          <a:pt x="23414" y="14331"/>
                          <a:pt x="23170" y="14545"/>
                        </a:cubicBezTo>
                        <a:cubicBezTo>
                          <a:pt x="22682" y="14759"/>
                          <a:pt x="22926" y="15187"/>
                          <a:pt x="22926" y="15187"/>
                        </a:cubicBezTo>
                        <a:cubicBezTo>
                          <a:pt x="22682" y="15401"/>
                          <a:pt x="22682" y="15401"/>
                          <a:pt x="22682" y="15401"/>
                        </a:cubicBezTo>
                        <a:cubicBezTo>
                          <a:pt x="22682" y="15401"/>
                          <a:pt x="22439" y="15187"/>
                          <a:pt x="22195" y="15187"/>
                        </a:cubicBezTo>
                        <a:cubicBezTo>
                          <a:pt x="22195" y="15187"/>
                          <a:pt x="22195" y="15187"/>
                          <a:pt x="21707" y="15187"/>
                        </a:cubicBezTo>
                        <a:cubicBezTo>
                          <a:pt x="21219" y="15187"/>
                          <a:pt x="21707" y="14973"/>
                          <a:pt x="21707" y="14973"/>
                        </a:cubicBezTo>
                        <a:cubicBezTo>
                          <a:pt x="21707" y="14973"/>
                          <a:pt x="21707" y="14545"/>
                          <a:pt x="21707" y="14331"/>
                        </a:cubicBezTo>
                        <a:cubicBezTo>
                          <a:pt x="21707" y="14331"/>
                          <a:pt x="21707" y="14331"/>
                          <a:pt x="21707" y="14331"/>
                        </a:cubicBezTo>
                        <a:cubicBezTo>
                          <a:pt x="21707" y="14331"/>
                          <a:pt x="21707" y="14117"/>
                          <a:pt x="21463" y="13903"/>
                        </a:cubicBezTo>
                        <a:cubicBezTo>
                          <a:pt x="21463" y="13689"/>
                          <a:pt x="21219" y="13689"/>
                          <a:pt x="21219" y="13689"/>
                        </a:cubicBezTo>
                        <a:cubicBezTo>
                          <a:pt x="20487" y="13262"/>
                          <a:pt x="20487" y="13262"/>
                          <a:pt x="20487" y="13262"/>
                        </a:cubicBezTo>
                        <a:cubicBezTo>
                          <a:pt x="20487" y="13262"/>
                          <a:pt x="20731" y="12834"/>
                          <a:pt x="20975" y="12620"/>
                        </a:cubicBezTo>
                        <a:cubicBezTo>
                          <a:pt x="20975" y="12620"/>
                          <a:pt x="20975" y="12620"/>
                          <a:pt x="20975" y="12620"/>
                        </a:cubicBezTo>
                        <a:cubicBezTo>
                          <a:pt x="20975" y="12620"/>
                          <a:pt x="20975" y="12620"/>
                          <a:pt x="21219" y="12406"/>
                        </a:cubicBezTo>
                        <a:cubicBezTo>
                          <a:pt x="21219" y="12192"/>
                          <a:pt x="20975" y="12192"/>
                          <a:pt x="20975" y="12192"/>
                        </a:cubicBezTo>
                        <a:cubicBezTo>
                          <a:pt x="20731" y="12192"/>
                          <a:pt x="20731" y="12192"/>
                          <a:pt x="20731" y="12192"/>
                        </a:cubicBezTo>
                        <a:cubicBezTo>
                          <a:pt x="20487" y="11978"/>
                          <a:pt x="20487" y="11978"/>
                          <a:pt x="20487" y="11978"/>
                        </a:cubicBezTo>
                        <a:cubicBezTo>
                          <a:pt x="20487" y="11978"/>
                          <a:pt x="20000" y="12192"/>
                          <a:pt x="20000" y="11978"/>
                        </a:cubicBezTo>
                        <a:cubicBezTo>
                          <a:pt x="19756" y="11978"/>
                          <a:pt x="19268" y="11978"/>
                          <a:pt x="19268" y="11764"/>
                        </a:cubicBezTo>
                        <a:cubicBezTo>
                          <a:pt x="19268" y="11764"/>
                          <a:pt x="19024" y="11764"/>
                          <a:pt x="18780" y="11764"/>
                        </a:cubicBezTo>
                        <a:cubicBezTo>
                          <a:pt x="18780" y="11764"/>
                          <a:pt x="18536" y="11764"/>
                          <a:pt x="18536" y="11764"/>
                        </a:cubicBezTo>
                        <a:cubicBezTo>
                          <a:pt x="18292" y="11550"/>
                          <a:pt x="18048" y="11336"/>
                          <a:pt x="18048" y="11336"/>
                        </a:cubicBezTo>
                        <a:cubicBezTo>
                          <a:pt x="18048" y="11122"/>
                          <a:pt x="17804" y="10909"/>
                          <a:pt x="17804" y="10909"/>
                        </a:cubicBezTo>
                        <a:cubicBezTo>
                          <a:pt x="17560" y="10909"/>
                          <a:pt x="17560" y="10909"/>
                          <a:pt x="17560" y="10909"/>
                        </a:cubicBezTo>
                        <a:cubicBezTo>
                          <a:pt x="17560" y="10909"/>
                          <a:pt x="17317" y="10481"/>
                          <a:pt x="17073" y="10481"/>
                        </a:cubicBezTo>
                        <a:cubicBezTo>
                          <a:pt x="17073" y="10481"/>
                          <a:pt x="17073" y="10267"/>
                          <a:pt x="17073" y="10267"/>
                        </a:cubicBezTo>
                        <a:cubicBezTo>
                          <a:pt x="16829" y="10053"/>
                          <a:pt x="16829" y="10053"/>
                          <a:pt x="16829" y="10053"/>
                        </a:cubicBezTo>
                        <a:cubicBezTo>
                          <a:pt x="16829" y="10053"/>
                          <a:pt x="16829" y="9839"/>
                          <a:pt x="16829" y="9625"/>
                        </a:cubicBezTo>
                        <a:cubicBezTo>
                          <a:pt x="16829" y="9625"/>
                          <a:pt x="17073" y="9197"/>
                          <a:pt x="17073" y="9197"/>
                        </a:cubicBezTo>
                        <a:cubicBezTo>
                          <a:pt x="17073" y="9197"/>
                          <a:pt x="16829" y="8770"/>
                          <a:pt x="16829" y="8556"/>
                        </a:cubicBezTo>
                        <a:cubicBezTo>
                          <a:pt x="16829" y="8342"/>
                          <a:pt x="17073" y="7914"/>
                          <a:pt x="17073" y="7914"/>
                        </a:cubicBezTo>
                        <a:cubicBezTo>
                          <a:pt x="17073" y="7914"/>
                          <a:pt x="16097" y="8128"/>
                          <a:pt x="15853" y="8342"/>
                        </a:cubicBezTo>
                        <a:cubicBezTo>
                          <a:pt x="15609" y="8342"/>
                          <a:pt x="15609" y="8556"/>
                          <a:pt x="15609" y="8556"/>
                        </a:cubicBezTo>
                        <a:cubicBezTo>
                          <a:pt x="15609" y="8556"/>
                          <a:pt x="15609" y="8770"/>
                          <a:pt x="15609" y="8983"/>
                        </a:cubicBezTo>
                        <a:cubicBezTo>
                          <a:pt x="15365" y="8983"/>
                          <a:pt x="15365" y="8983"/>
                          <a:pt x="15365" y="8983"/>
                        </a:cubicBezTo>
                        <a:cubicBezTo>
                          <a:pt x="15365" y="8983"/>
                          <a:pt x="14878" y="9411"/>
                          <a:pt x="14634" y="9411"/>
                        </a:cubicBezTo>
                        <a:cubicBezTo>
                          <a:pt x="14634" y="9625"/>
                          <a:pt x="14634" y="9625"/>
                          <a:pt x="14390" y="9625"/>
                        </a:cubicBezTo>
                        <a:cubicBezTo>
                          <a:pt x="14146" y="9625"/>
                          <a:pt x="13902" y="9839"/>
                          <a:pt x="13902" y="9839"/>
                        </a:cubicBezTo>
                        <a:cubicBezTo>
                          <a:pt x="13658" y="10053"/>
                          <a:pt x="13658" y="10053"/>
                          <a:pt x="13658" y="10053"/>
                        </a:cubicBezTo>
                        <a:cubicBezTo>
                          <a:pt x="13902" y="10267"/>
                          <a:pt x="13902" y="10267"/>
                          <a:pt x="13902" y="10267"/>
                        </a:cubicBezTo>
                        <a:cubicBezTo>
                          <a:pt x="14146" y="10909"/>
                          <a:pt x="14146" y="10909"/>
                          <a:pt x="14146" y="10909"/>
                        </a:cubicBezTo>
                        <a:cubicBezTo>
                          <a:pt x="13902" y="11336"/>
                          <a:pt x="13902" y="11336"/>
                          <a:pt x="13902" y="11336"/>
                        </a:cubicBezTo>
                        <a:cubicBezTo>
                          <a:pt x="13902" y="11336"/>
                          <a:pt x="13902" y="11336"/>
                          <a:pt x="13902" y="11550"/>
                        </a:cubicBezTo>
                        <a:cubicBezTo>
                          <a:pt x="13658" y="11978"/>
                          <a:pt x="13658" y="11978"/>
                          <a:pt x="13658" y="11978"/>
                        </a:cubicBezTo>
                        <a:cubicBezTo>
                          <a:pt x="13414" y="12192"/>
                          <a:pt x="13414" y="12192"/>
                          <a:pt x="13414" y="12192"/>
                        </a:cubicBezTo>
                        <a:cubicBezTo>
                          <a:pt x="13170" y="12406"/>
                          <a:pt x="13170" y="12406"/>
                          <a:pt x="13170" y="12406"/>
                        </a:cubicBezTo>
                        <a:cubicBezTo>
                          <a:pt x="13170" y="12406"/>
                          <a:pt x="13170" y="12620"/>
                          <a:pt x="13170" y="12834"/>
                        </a:cubicBezTo>
                        <a:cubicBezTo>
                          <a:pt x="13170" y="12834"/>
                          <a:pt x="13170" y="13048"/>
                          <a:pt x="12926" y="13262"/>
                        </a:cubicBezTo>
                        <a:cubicBezTo>
                          <a:pt x="12682" y="13475"/>
                          <a:pt x="12682" y="13475"/>
                          <a:pt x="12682" y="13475"/>
                        </a:cubicBezTo>
                        <a:cubicBezTo>
                          <a:pt x="12682" y="13475"/>
                          <a:pt x="12439" y="13475"/>
                          <a:pt x="12195" y="13475"/>
                        </a:cubicBezTo>
                        <a:cubicBezTo>
                          <a:pt x="11951" y="13475"/>
                          <a:pt x="11951" y="13689"/>
                          <a:pt x="11707" y="13689"/>
                        </a:cubicBezTo>
                        <a:cubicBezTo>
                          <a:pt x="11219" y="13689"/>
                          <a:pt x="11463" y="13903"/>
                          <a:pt x="11463" y="14117"/>
                        </a:cubicBezTo>
                        <a:cubicBezTo>
                          <a:pt x="11463" y="14117"/>
                          <a:pt x="11463" y="14117"/>
                          <a:pt x="11463" y="14331"/>
                        </a:cubicBezTo>
                        <a:cubicBezTo>
                          <a:pt x="11219" y="14331"/>
                          <a:pt x="10731" y="14331"/>
                          <a:pt x="10731" y="14117"/>
                        </a:cubicBezTo>
                        <a:cubicBezTo>
                          <a:pt x="10487" y="14117"/>
                          <a:pt x="10487" y="14117"/>
                          <a:pt x="10243" y="14117"/>
                        </a:cubicBezTo>
                        <a:cubicBezTo>
                          <a:pt x="10243" y="14331"/>
                          <a:pt x="10000" y="13903"/>
                          <a:pt x="10000" y="13903"/>
                        </a:cubicBezTo>
                        <a:cubicBezTo>
                          <a:pt x="10000" y="13903"/>
                          <a:pt x="9756" y="13689"/>
                          <a:pt x="9756" y="13689"/>
                        </a:cubicBezTo>
                        <a:cubicBezTo>
                          <a:pt x="9756" y="13475"/>
                          <a:pt x="9268" y="13689"/>
                          <a:pt x="9268" y="13689"/>
                        </a:cubicBezTo>
                        <a:cubicBezTo>
                          <a:pt x="9024" y="13475"/>
                          <a:pt x="8536" y="13475"/>
                          <a:pt x="8536" y="13475"/>
                        </a:cubicBezTo>
                        <a:cubicBezTo>
                          <a:pt x="8292" y="13475"/>
                          <a:pt x="8536" y="13689"/>
                          <a:pt x="8536" y="13689"/>
                        </a:cubicBezTo>
                        <a:cubicBezTo>
                          <a:pt x="8536" y="13689"/>
                          <a:pt x="8292" y="13689"/>
                          <a:pt x="8048" y="13689"/>
                        </a:cubicBezTo>
                        <a:cubicBezTo>
                          <a:pt x="7804" y="13689"/>
                          <a:pt x="7804" y="13903"/>
                          <a:pt x="7804" y="13903"/>
                        </a:cubicBezTo>
                        <a:cubicBezTo>
                          <a:pt x="7804" y="14331"/>
                          <a:pt x="7804" y="14331"/>
                          <a:pt x="7804" y="14331"/>
                        </a:cubicBezTo>
                        <a:cubicBezTo>
                          <a:pt x="7804" y="14331"/>
                          <a:pt x="7073" y="14331"/>
                          <a:pt x="6829" y="14331"/>
                        </a:cubicBezTo>
                        <a:cubicBezTo>
                          <a:pt x="6585" y="14331"/>
                          <a:pt x="6341" y="14117"/>
                          <a:pt x="6097" y="14117"/>
                        </a:cubicBezTo>
                        <a:cubicBezTo>
                          <a:pt x="5853" y="14117"/>
                          <a:pt x="5609" y="14331"/>
                          <a:pt x="5609" y="14331"/>
                        </a:cubicBezTo>
                        <a:cubicBezTo>
                          <a:pt x="5609" y="14331"/>
                          <a:pt x="5121" y="14545"/>
                          <a:pt x="5121" y="14545"/>
                        </a:cubicBezTo>
                        <a:cubicBezTo>
                          <a:pt x="5121" y="14545"/>
                          <a:pt x="4878" y="14759"/>
                          <a:pt x="4634" y="14759"/>
                        </a:cubicBezTo>
                        <a:cubicBezTo>
                          <a:pt x="4390" y="14759"/>
                          <a:pt x="4390" y="14545"/>
                          <a:pt x="4390" y="14545"/>
                        </a:cubicBezTo>
                        <a:cubicBezTo>
                          <a:pt x="4390" y="14545"/>
                          <a:pt x="3902" y="14117"/>
                          <a:pt x="3902" y="14117"/>
                        </a:cubicBezTo>
                        <a:cubicBezTo>
                          <a:pt x="3902" y="14117"/>
                          <a:pt x="3902" y="14117"/>
                          <a:pt x="3902" y="14117"/>
                        </a:cubicBezTo>
                        <a:cubicBezTo>
                          <a:pt x="2926" y="14545"/>
                          <a:pt x="2926" y="14545"/>
                          <a:pt x="2926" y="14545"/>
                        </a:cubicBezTo>
                        <a:cubicBezTo>
                          <a:pt x="1707" y="15401"/>
                          <a:pt x="1707" y="15401"/>
                          <a:pt x="1707" y="15401"/>
                        </a:cubicBezTo>
                        <a:cubicBezTo>
                          <a:pt x="1707" y="16470"/>
                          <a:pt x="1707" y="16470"/>
                          <a:pt x="1707" y="16470"/>
                        </a:cubicBezTo>
                        <a:cubicBezTo>
                          <a:pt x="2682" y="16898"/>
                          <a:pt x="2195" y="17326"/>
                          <a:pt x="4390" y="18181"/>
                        </a:cubicBezTo>
                        <a:cubicBezTo>
                          <a:pt x="4634" y="18181"/>
                          <a:pt x="5121" y="19251"/>
                          <a:pt x="5121" y="19251"/>
                        </a:cubicBezTo>
                        <a:cubicBezTo>
                          <a:pt x="5121" y="19465"/>
                          <a:pt x="4634" y="21176"/>
                          <a:pt x="4390" y="21390"/>
                        </a:cubicBezTo>
                        <a:cubicBezTo>
                          <a:pt x="3902" y="21604"/>
                          <a:pt x="3414" y="22459"/>
                          <a:pt x="3414" y="22459"/>
                        </a:cubicBezTo>
                        <a:cubicBezTo>
                          <a:pt x="3414" y="22459"/>
                          <a:pt x="2439" y="23315"/>
                          <a:pt x="2195" y="23315"/>
                        </a:cubicBezTo>
                        <a:cubicBezTo>
                          <a:pt x="1951" y="23315"/>
                          <a:pt x="1219" y="23529"/>
                          <a:pt x="975" y="23529"/>
                        </a:cubicBezTo>
                        <a:cubicBezTo>
                          <a:pt x="975" y="23529"/>
                          <a:pt x="0" y="23529"/>
                          <a:pt x="243" y="23743"/>
                        </a:cubicBezTo>
                        <a:cubicBezTo>
                          <a:pt x="243" y="23743"/>
                          <a:pt x="243" y="24171"/>
                          <a:pt x="243" y="24171"/>
                        </a:cubicBezTo>
                        <a:cubicBezTo>
                          <a:pt x="487" y="24385"/>
                          <a:pt x="1219" y="25240"/>
                          <a:pt x="1219" y="25240"/>
                        </a:cubicBezTo>
                        <a:cubicBezTo>
                          <a:pt x="2439" y="25882"/>
                          <a:pt x="2439" y="25882"/>
                          <a:pt x="2439" y="25882"/>
                        </a:cubicBezTo>
                        <a:cubicBezTo>
                          <a:pt x="3170" y="26524"/>
                          <a:pt x="3170" y="26524"/>
                          <a:pt x="3170" y="26524"/>
                        </a:cubicBezTo>
                        <a:cubicBezTo>
                          <a:pt x="3414" y="28663"/>
                          <a:pt x="3414" y="28663"/>
                          <a:pt x="3414" y="28663"/>
                        </a:cubicBezTo>
                        <a:cubicBezTo>
                          <a:pt x="2439" y="29946"/>
                          <a:pt x="2439" y="29946"/>
                          <a:pt x="2439" y="29946"/>
                        </a:cubicBezTo>
                        <a:cubicBezTo>
                          <a:pt x="1463" y="31016"/>
                          <a:pt x="1951" y="30374"/>
                          <a:pt x="2195" y="31871"/>
                        </a:cubicBezTo>
                        <a:cubicBezTo>
                          <a:pt x="2926" y="31871"/>
                          <a:pt x="2926" y="31871"/>
                          <a:pt x="2926" y="31871"/>
                        </a:cubicBezTo>
                        <a:cubicBezTo>
                          <a:pt x="4146" y="33582"/>
                          <a:pt x="4146" y="33582"/>
                          <a:pt x="4146" y="33582"/>
                        </a:cubicBezTo>
                        <a:cubicBezTo>
                          <a:pt x="6585" y="34438"/>
                          <a:pt x="6585" y="34438"/>
                          <a:pt x="6585" y="34438"/>
                        </a:cubicBezTo>
                        <a:cubicBezTo>
                          <a:pt x="8780" y="34438"/>
                          <a:pt x="8780" y="34438"/>
                          <a:pt x="8780" y="34438"/>
                        </a:cubicBezTo>
                        <a:cubicBezTo>
                          <a:pt x="9756" y="35080"/>
                          <a:pt x="9756" y="35080"/>
                          <a:pt x="9756" y="35080"/>
                        </a:cubicBezTo>
                        <a:cubicBezTo>
                          <a:pt x="9024" y="37433"/>
                          <a:pt x="9024" y="37433"/>
                          <a:pt x="9024" y="37433"/>
                        </a:cubicBezTo>
                        <a:cubicBezTo>
                          <a:pt x="7560" y="38502"/>
                          <a:pt x="7560" y="38502"/>
                          <a:pt x="7560" y="38502"/>
                        </a:cubicBezTo>
                        <a:cubicBezTo>
                          <a:pt x="7560" y="38502"/>
                          <a:pt x="7560" y="38502"/>
                          <a:pt x="7317" y="38502"/>
                        </a:cubicBezTo>
                        <a:cubicBezTo>
                          <a:pt x="7317" y="38502"/>
                          <a:pt x="7560" y="38716"/>
                          <a:pt x="8292" y="38930"/>
                        </a:cubicBezTo>
                        <a:cubicBezTo>
                          <a:pt x="8780" y="38930"/>
                          <a:pt x="8780" y="39358"/>
                          <a:pt x="9512" y="39144"/>
                        </a:cubicBezTo>
                        <a:cubicBezTo>
                          <a:pt x="10243" y="38930"/>
                          <a:pt x="11219" y="38716"/>
                          <a:pt x="11463" y="38502"/>
                        </a:cubicBezTo>
                        <a:cubicBezTo>
                          <a:pt x="11707" y="38074"/>
                          <a:pt x="12195" y="37860"/>
                          <a:pt x="12439" y="37647"/>
                        </a:cubicBezTo>
                        <a:cubicBezTo>
                          <a:pt x="12682" y="37219"/>
                          <a:pt x="14146" y="35721"/>
                          <a:pt x="14390" y="35721"/>
                        </a:cubicBezTo>
                        <a:cubicBezTo>
                          <a:pt x="14390" y="35721"/>
                          <a:pt x="15853" y="34010"/>
                          <a:pt x="16097" y="33796"/>
                        </a:cubicBezTo>
                        <a:cubicBezTo>
                          <a:pt x="16341" y="33582"/>
                          <a:pt x="18292" y="32299"/>
                          <a:pt x="18292" y="32299"/>
                        </a:cubicBezTo>
                        <a:cubicBezTo>
                          <a:pt x="20975" y="31443"/>
                          <a:pt x="20975" y="31443"/>
                          <a:pt x="20975" y="31443"/>
                        </a:cubicBezTo>
                        <a:cubicBezTo>
                          <a:pt x="20975" y="31443"/>
                          <a:pt x="22195" y="32513"/>
                          <a:pt x="22439" y="32727"/>
                        </a:cubicBezTo>
                        <a:cubicBezTo>
                          <a:pt x="22682" y="32727"/>
                          <a:pt x="25365" y="33796"/>
                          <a:pt x="25365" y="33796"/>
                        </a:cubicBezTo>
                        <a:cubicBezTo>
                          <a:pt x="25365" y="33796"/>
                          <a:pt x="27073" y="34438"/>
                          <a:pt x="27317" y="34652"/>
                        </a:cubicBezTo>
                        <a:cubicBezTo>
                          <a:pt x="27317" y="34866"/>
                          <a:pt x="28780" y="35935"/>
                          <a:pt x="28780" y="35935"/>
                        </a:cubicBezTo>
                        <a:cubicBezTo>
                          <a:pt x="29756" y="36363"/>
                          <a:pt x="29756" y="36363"/>
                          <a:pt x="29756" y="36363"/>
                        </a:cubicBezTo>
                        <a:cubicBezTo>
                          <a:pt x="30487" y="35721"/>
                          <a:pt x="30487" y="35721"/>
                          <a:pt x="30487" y="35721"/>
                        </a:cubicBezTo>
                        <a:cubicBezTo>
                          <a:pt x="31463" y="36149"/>
                          <a:pt x="31463" y="36149"/>
                          <a:pt x="31463" y="36149"/>
                        </a:cubicBezTo>
                        <a:cubicBezTo>
                          <a:pt x="33170" y="37005"/>
                          <a:pt x="33170" y="37005"/>
                          <a:pt x="33170" y="37005"/>
                        </a:cubicBezTo>
                        <a:cubicBezTo>
                          <a:pt x="33902" y="38288"/>
                          <a:pt x="33902" y="38288"/>
                          <a:pt x="33902" y="38288"/>
                        </a:cubicBezTo>
                        <a:cubicBezTo>
                          <a:pt x="33902" y="38288"/>
                          <a:pt x="34390" y="40000"/>
                          <a:pt x="34390" y="40641"/>
                        </a:cubicBezTo>
                        <a:cubicBezTo>
                          <a:pt x="34390" y="41283"/>
                          <a:pt x="34634" y="42352"/>
                          <a:pt x="34634" y="42352"/>
                        </a:cubicBezTo>
                        <a:cubicBezTo>
                          <a:pt x="36829" y="43208"/>
                          <a:pt x="36829" y="43208"/>
                          <a:pt x="36829" y="43208"/>
                        </a:cubicBezTo>
                        <a:cubicBezTo>
                          <a:pt x="36829" y="43208"/>
                          <a:pt x="36829" y="45133"/>
                          <a:pt x="36829" y="45347"/>
                        </a:cubicBezTo>
                        <a:cubicBezTo>
                          <a:pt x="36829" y="45775"/>
                          <a:pt x="37073" y="46417"/>
                          <a:pt x="37073" y="47058"/>
                        </a:cubicBezTo>
                        <a:cubicBezTo>
                          <a:pt x="37073" y="47700"/>
                          <a:pt x="37073" y="48342"/>
                          <a:pt x="37073" y="48342"/>
                        </a:cubicBezTo>
                        <a:cubicBezTo>
                          <a:pt x="38048" y="48983"/>
                          <a:pt x="38048" y="48983"/>
                          <a:pt x="38048" y="48983"/>
                        </a:cubicBezTo>
                        <a:cubicBezTo>
                          <a:pt x="39268" y="49625"/>
                          <a:pt x="39268" y="49625"/>
                          <a:pt x="39268" y="49625"/>
                        </a:cubicBezTo>
                        <a:cubicBezTo>
                          <a:pt x="39512" y="50695"/>
                          <a:pt x="39512" y="50695"/>
                          <a:pt x="39512" y="50695"/>
                        </a:cubicBezTo>
                        <a:cubicBezTo>
                          <a:pt x="41463" y="51336"/>
                          <a:pt x="41463" y="51336"/>
                          <a:pt x="41463" y="51336"/>
                        </a:cubicBezTo>
                        <a:cubicBezTo>
                          <a:pt x="41951" y="52620"/>
                          <a:pt x="41951" y="52620"/>
                          <a:pt x="41951" y="52620"/>
                        </a:cubicBezTo>
                        <a:cubicBezTo>
                          <a:pt x="43170" y="53689"/>
                          <a:pt x="43170" y="53689"/>
                          <a:pt x="43170" y="53689"/>
                        </a:cubicBezTo>
                        <a:cubicBezTo>
                          <a:pt x="43170" y="54545"/>
                          <a:pt x="43170" y="54545"/>
                          <a:pt x="43170" y="54545"/>
                        </a:cubicBezTo>
                        <a:cubicBezTo>
                          <a:pt x="43170" y="54545"/>
                          <a:pt x="43170" y="54973"/>
                          <a:pt x="43658" y="54973"/>
                        </a:cubicBezTo>
                        <a:cubicBezTo>
                          <a:pt x="44146" y="54973"/>
                          <a:pt x="45853" y="54759"/>
                          <a:pt x="45853" y="54759"/>
                        </a:cubicBezTo>
                        <a:cubicBezTo>
                          <a:pt x="47560" y="56042"/>
                          <a:pt x="47560" y="56042"/>
                          <a:pt x="47560" y="56042"/>
                        </a:cubicBezTo>
                        <a:cubicBezTo>
                          <a:pt x="49512" y="57540"/>
                          <a:pt x="49512" y="57540"/>
                          <a:pt x="49512" y="57540"/>
                        </a:cubicBezTo>
                        <a:cubicBezTo>
                          <a:pt x="50487" y="59037"/>
                          <a:pt x="50487" y="59037"/>
                          <a:pt x="50487" y="59037"/>
                        </a:cubicBezTo>
                        <a:cubicBezTo>
                          <a:pt x="51951" y="59465"/>
                          <a:pt x="51951" y="59465"/>
                          <a:pt x="51951" y="59465"/>
                        </a:cubicBezTo>
                        <a:cubicBezTo>
                          <a:pt x="53902" y="60534"/>
                          <a:pt x="53902" y="60534"/>
                          <a:pt x="53902" y="60534"/>
                        </a:cubicBezTo>
                        <a:cubicBezTo>
                          <a:pt x="54634" y="62032"/>
                          <a:pt x="54634" y="62032"/>
                          <a:pt x="54634" y="62032"/>
                        </a:cubicBezTo>
                        <a:cubicBezTo>
                          <a:pt x="56341" y="63529"/>
                          <a:pt x="56341" y="63529"/>
                          <a:pt x="56341" y="63529"/>
                        </a:cubicBezTo>
                        <a:cubicBezTo>
                          <a:pt x="57317" y="63957"/>
                          <a:pt x="57317" y="63957"/>
                          <a:pt x="57317" y="63957"/>
                        </a:cubicBezTo>
                        <a:cubicBezTo>
                          <a:pt x="57804" y="64812"/>
                          <a:pt x="57804" y="64812"/>
                          <a:pt x="57804" y="64812"/>
                        </a:cubicBezTo>
                        <a:cubicBezTo>
                          <a:pt x="58780" y="65240"/>
                          <a:pt x="58780" y="65240"/>
                          <a:pt x="58780" y="65240"/>
                        </a:cubicBezTo>
                        <a:cubicBezTo>
                          <a:pt x="59756" y="65454"/>
                          <a:pt x="59756" y="65454"/>
                          <a:pt x="59756" y="65454"/>
                        </a:cubicBezTo>
                        <a:cubicBezTo>
                          <a:pt x="61219" y="65668"/>
                          <a:pt x="61219" y="65668"/>
                          <a:pt x="61219" y="65668"/>
                        </a:cubicBezTo>
                        <a:cubicBezTo>
                          <a:pt x="62195" y="66524"/>
                          <a:pt x="62195" y="66524"/>
                          <a:pt x="62195" y="66524"/>
                        </a:cubicBezTo>
                        <a:cubicBezTo>
                          <a:pt x="62195" y="66524"/>
                          <a:pt x="62682" y="66951"/>
                          <a:pt x="62682" y="67165"/>
                        </a:cubicBezTo>
                        <a:cubicBezTo>
                          <a:pt x="62682" y="67593"/>
                          <a:pt x="62195" y="67807"/>
                          <a:pt x="62926" y="67807"/>
                        </a:cubicBezTo>
                        <a:cubicBezTo>
                          <a:pt x="63658" y="67807"/>
                          <a:pt x="64390" y="67593"/>
                          <a:pt x="64390" y="67593"/>
                        </a:cubicBezTo>
                        <a:cubicBezTo>
                          <a:pt x="65853" y="67379"/>
                          <a:pt x="65853" y="67379"/>
                          <a:pt x="65853" y="67379"/>
                        </a:cubicBezTo>
                        <a:cubicBezTo>
                          <a:pt x="66829" y="67379"/>
                          <a:pt x="66829" y="67379"/>
                          <a:pt x="66829" y="67379"/>
                        </a:cubicBezTo>
                        <a:cubicBezTo>
                          <a:pt x="67804" y="67379"/>
                          <a:pt x="67804" y="67379"/>
                          <a:pt x="67804" y="67379"/>
                        </a:cubicBezTo>
                        <a:cubicBezTo>
                          <a:pt x="69512" y="67165"/>
                          <a:pt x="69512" y="67165"/>
                          <a:pt x="69512" y="67165"/>
                        </a:cubicBezTo>
                        <a:cubicBezTo>
                          <a:pt x="70487" y="67807"/>
                          <a:pt x="70487" y="67807"/>
                          <a:pt x="70487" y="67807"/>
                        </a:cubicBezTo>
                        <a:cubicBezTo>
                          <a:pt x="73170" y="70588"/>
                          <a:pt x="73170" y="70588"/>
                          <a:pt x="73170" y="70588"/>
                        </a:cubicBezTo>
                        <a:cubicBezTo>
                          <a:pt x="73170" y="70588"/>
                          <a:pt x="73902" y="71657"/>
                          <a:pt x="73902" y="72085"/>
                        </a:cubicBezTo>
                        <a:cubicBezTo>
                          <a:pt x="73902" y="72299"/>
                          <a:pt x="74878" y="72085"/>
                          <a:pt x="75121" y="72085"/>
                        </a:cubicBezTo>
                        <a:cubicBezTo>
                          <a:pt x="75365" y="72085"/>
                          <a:pt x="77317" y="72085"/>
                          <a:pt x="77317" y="72085"/>
                        </a:cubicBezTo>
                        <a:cubicBezTo>
                          <a:pt x="78780" y="72941"/>
                          <a:pt x="78780" y="72941"/>
                          <a:pt x="78780" y="72941"/>
                        </a:cubicBezTo>
                        <a:cubicBezTo>
                          <a:pt x="77804" y="74010"/>
                          <a:pt x="77804" y="74010"/>
                          <a:pt x="77804" y="74010"/>
                        </a:cubicBezTo>
                        <a:cubicBezTo>
                          <a:pt x="79268" y="74652"/>
                          <a:pt x="79268" y="74652"/>
                          <a:pt x="79268" y="74652"/>
                        </a:cubicBezTo>
                        <a:cubicBezTo>
                          <a:pt x="80000" y="73796"/>
                          <a:pt x="80000" y="73796"/>
                          <a:pt x="80000" y="73796"/>
                        </a:cubicBezTo>
                        <a:cubicBezTo>
                          <a:pt x="81463" y="74010"/>
                          <a:pt x="81463" y="74010"/>
                          <a:pt x="81463" y="74010"/>
                        </a:cubicBezTo>
                        <a:cubicBezTo>
                          <a:pt x="82682" y="74866"/>
                          <a:pt x="82682" y="74866"/>
                          <a:pt x="82682" y="74866"/>
                        </a:cubicBezTo>
                        <a:cubicBezTo>
                          <a:pt x="82926" y="75508"/>
                          <a:pt x="82926" y="75508"/>
                          <a:pt x="82926" y="75508"/>
                        </a:cubicBezTo>
                        <a:cubicBezTo>
                          <a:pt x="83658" y="75935"/>
                          <a:pt x="83658" y="75935"/>
                          <a:pt x="83658" y="75935"/>
                        </a:cubicBezTo>
                        <a:cubicBezTo>
                          <a:pt x="83414" y="77005"/>
                          <a:pt x="83414" y="77005"/>
                          <a:pt x="83414" y="77005"/>
                        </a:cubicBezTo>
                        <a:cubicBezTo>
                          <a:pt x="83414" y="77647"/>
                          <a:pt x="83414" y="77647"/>
                          <a:pt x="83414" y="77647"/>
                        </a:cubicBezTo>
                        <a:cubicBezTo>
                          <a:pt x="83902" y="78502"/>
                          <a:pt x="83902" y="78502"/>
                          <a:pt x="83902" y="78502"/>
                        </a:cubicBezTo>
                        <a:cubicBezTo>
                          <a:pt x="85121" y="78930"/>
                          <a:pt x="85121" y="78930"/>
                          <a:pt x="85121" y="78930"/>
                        </a:cubicBezTo>
                        <a:cubicBezTo>
                          <a:pt x="86341" y="79572"/>
                          <a:pt x="86341" y="79572"/>
                          <a:pt x="86341" y="79572"/>
                        </a:cubicBezTo>
                        <a:cubicBezTo>
                          <a:pt x="87073" y="80000"/>
                          <a:pt x="87073" y="80000"/>
                          <a:pt x="87073" y="80000"/>
                        </a:cubicBezTo>
                        <a:cubicBezTo>
                          <a:pt x="88048" y="80000"/>
                          <a:pt x="88048" y="80000"/>
                          <a:pt x="88048" y="80000"/>
                        </a:cubicBezTo>
                        <a:cubicBezTo>
                          <a:pt x="89512" y="79786"/>
                          <a:pt x="89512" y="79786"/>
                          <a:pt x="89512" y="79786"/>
                        </a:cubicBezTo>
                        <a:cubicBezTo>
                          <a:pt x="91219" y="80000"/>
                          <a:pt x="91219" y="80000"/>
                          <a:pt x="91219" y="80000"/>
                        </a:cubicBezTo>
                        <a:cubicBezTo>
                          <a:pt x="92682" y="82139"/>
                          <a:pt x="92682" y="82139"/>
                          <a:pt x="92682" y="82139"/>
                        </a:cubicBezTo>
                        <a:cubicBezTo>
                          <a:pt x="93414" y="84064"/>
                          <a:pt x="93414" y="84064"/>
                          <a:pt x="93414" y="84064"/>
                        </a:cubicBezTo>
                        <a:cubicBezTo>
                          <a:pt x="94390" y="85775"/>
                          <a:pt x="94390" y="85775"/>
                          <a:pt x="94390" y="85775"/>
                        </a:cubicBezTo>
                        <a:cubicBezTo>
                          <a:pt x="95121" y="86844"/>
                          <a:pt x="95121" y="86844"/>
                          <a:pt x="95121" y="86844"/>
                        </a:cubicBezTo>
                        <a:cubicBezTo>
                          <a:pt x="95609" y="88556"/>
                          <a:pt x="95609" y="88556"/>
                          <a:pt x="95609" y="88556"/>
                        </a:cubicBezTo>
                        <a:cubicBezTo>
                          <a:pt x="96341" y="89411"/>
                          <a:pt x="96341" y="89411"/>
                          <a:pt x="96341" y="89411"/>
                        </a:cubicBezTo>
                        <a:cubicBezTo>
                          <a:pt x="97560" y="91550"/>
                          <a:pt x="97560" y="91550"/>
                          <a:pt x="97560" y="91550"/>
                        </a:cubicBezTo>
                        <a:cubicBezTo>
                          <a:pt x="98048" y="92406"/>
                          <a:pt x="98048" y="92406"/>
                          <a:pt x="98048" y="92406"/>
                        </a:cubicBezTo>
                        <a:cubicBezTo>
                          <a:pt x="97560" y="93475"/>
                          <a:pt x="97560" y="93475"/>
                          <a:pt x="97560" y="93475"/>
                        </a:cubicBezTo>
                        <a:cubicBezTo>
                          <a:pt x="97560" y="93475"/>
                          <a:pt x="97073" y="94545"/>
                          <a:pt x="96829" y="94545"/>
                        </a:cubicBezTo>
                        <a:cubicBezTo>
                          <a:pt x="96829" y="94759"/>
                          <a:pt x="96097" y="94973"/>
                          <a:pt x="95853" y="94973"/>
                        </a:cubicBezTo>
                        <a:cubicBezTo>
                          <a:pt x="95609" y="95187"/>
                          <a:pt x="95365" y="95187"/>
                          <a:pt x="95121" y="95401"/>
                        </a:cubicBezTo>
                        <a:cubicBezTo>
                          <a:pt x="94878" y="95614"/>
                          <a:pt x="94634" y="96256"/>
                          <a:pt x="94634" y="96256"/>
                        </a:cubicBezTo>
                        <a:cubicBezTo>
                          <a:pt x="95365" y="97540"/>
                          <a:pt x="95365" y="97540"/>
                          <a:pt x="95365" y="97540"/>
                        </a:cubicBezTo>
                        <a:cubicBezTo>
                          <a:pt x="95121" y="99037"/>
                          <a:pt x="95121" y="99037"/>
                          <a:pt x="95121" y="99037"/>
                        </a:cubicBezTo>
                        <a:cubicBezTo>
                          <a:pt x="94634" y="100320"/>
                          <a:pt x="94634" y="100320"/>
                          <a:pt x="94634" y="100320"/>
                        </a:cubicBezTo>
                        <a:close/>
                        <a:moveTo>
                          <a:pt x="13902" y="73796"/>
                        </a:moveTo>
                        <a:cubicBezTo>
                          <a:pt x="13902" y="73796"/>
                          <a:pt x="13902" y="73796"/>
                          <a:pt x="13902" y="73796"/>
                        </a:cubicBezTo>
                        <a:cubicBezTo>
                          <a:pt x="14634" y="71657"/>
                          <a:pt x="14634" y="71657"/>
                          <a:pt x="14634" y="71657"/>
                        </a:cubicBezTo>
                        <a:cubicBezTo>
                          <a:pt x="15609" y="70802"/>
                          <a:pt x="15609" y="70802"/>
                          <a:pt x="15609" y="70802"/>
                        </a:cubicBezTo>
                        <a:cubicBezTo>
                          <a:pt x="15365" y="71871"/>
                          <a:pt x="15365" y="71871"/>
                          <a:pt x="15365" y="71871"/>
                        </a:cubicBezTo>
                        <a:cubicBezTo>
                          <a:pt x="15121" y="73155"/>
                          <a:pt x="15121" y="73155"/>
                          <a:pt x="15121" y="73155"/>
                        </a:cubicBezTo>
                        <a:cubicBezTo>
                          <a:pt x="15121" y="73155"/>
                          <a:pt x="17073" y="73796"/>
                          <a:pt x="17317" y="73796"/>
                        </a:cubicBezTo>
                        <a:cubicBezTo>
                          <a:pt x="17560" y="73796"/>
                          <a:pt x="17804" y="73368"/>
                          <a:pt x="18292" y="73155"/>
                        </a:cubicBezTo>
                        <a:cubicBezTo>
                          <a:pt x="18536" y="72941"/>
                          <a:pt x="20243" y="72941"/>
                          <a:pt x="20243" y="72941"/>
                        </a:cubicBezTo>
                        <a:cubicBezTo>
                          <a:pt x="20243" y="72941"/>
                          <a:pt x="20487" y="72299"/>
                          <a:pt x="20731" y="71871"/>
                        </a:cubicBezTo>
                        <a:cubicBezTo>
                          <a:pt x="20975" y="71443"/>
                          <a:pt x="22195" y="70374"/>
                          <a:pt x="22439" y="70160"/>
                        </a:cubicBezTo>
                        <a:cubicBezTo>
                          <a:pt x="22682" y="70160"/>
                          <a:pt x="23170" y="69732"/>
                          <a:pt x="23414" y="69732"/>
                        </a:cubicBezTo>
                        <a:cubicBezTo>
                          <a:pt x="23658" y="69518"/>
                          <a:pt x="24878" y="69090"/>
                          <a:pt x="24878" y="69090"/>
                        </a:cubicBezTo>
                        <a:cubicBezTo>
                          <a:pt x="28048" y="70160"/>
                          <a:pt x="28048" y="70160"/>
                          <a:pt x="28048" y="70160"/>
                        </a:cubicBezTo>
                        <a:cubicBezTo>
                          <a:pt x="28536" y="71871"/>
                          <a:pt x="28536" y="71871"/>
                          <a:pt x="28536" y="71871"/>
                        </a:cubicBezTo>
                        <a:cubicBezTo>
                          <a:pt x="30243" y="74652"/>
                          <a:pt x="30243" y="74652"/>
                          <a:pt x="30243" y="74652"/>
                        </a:cubicBezTo>
                        <a:cubicBezTo>
                          <a:pt x="30731" y="75935"/>
                          <a:pt x="30731" y="75935"/>
                          <a:pt x="30731" y="75935"/>
                        </a:cubicBezTo>
                        <a:cubicBezTo>
                          <a:pt x="30731" y="75935"/>
                          <a:pt x="31463" y="76577"/>
                          <a:pt x="31219" y="77219"/>
                        </a:cubicBezTo>
                        <a:cubicBezTo>
                          <a:pt x="30975" y="78074"/>
                          <a:pt x="29512" y="80213"/>
                          <a:pt x="29512" y="80213"/>
                        </a:cubicBezTo>
                        <a:cubicBezTo>
                          <a:pt x="29512" y="81497"/>
                          <a:pt x="29512" y="81497"/>
                          <a:pt x="29512" y="81497"/>
                        </a:cubicBezTo>
                        <a:cubicBezTo>
                          <a:pt x="30487" y="83208"/>
                          <a:pt x="30487" y="83208"/>
                          <a:pt x="30487" y="83208"/>
                        </a:cubicBezTo>
                        <a:cubicBezTo>
                          <a:pt x="29024" y="86417"/>
                          <a:pt x="29024" y="86417"/>
                          <a:pt x="29024" y="86417"/>
                        </a:cubicBezTo>
                        <a:cubicBezTo>
                          <a:pt x="29756" y="88770"/>
                          <a:pt x="29756" y="88770"/>
                          <a:pt x="29756" y="88770"/>
                        </a:cubicBezTo>
                        <a:cubicBezTo>
                          <a:pt x="29268" y="91978"/>
                          <a:pt x="29268" y="91978"/>
                          <a:pt x="29268" y="91978"/>
                        </a:cubicBezTo>
                        <a:cubicBezTo>
                          <a:pt x="29024" y="93689"/>
                          <a:pt x="29024" y="93689"/>
                          <a:pt x="29024" y="93689"/>
                        </a:cubicBezTo>
                        <a:cubicBezTo>
                          <a:pt x="29024" y="93689"/>
                          <a:pt x="28048" y="94545"/>
                          <a:pt x="27560" y="94331"/>
                        </a:cubicBezTo>
                        <a:cubicBezTo>
                          <a:pt x="27073" y="94117"/>
                          <a:pt x="24634" y="92620"/>
                          <a:pt x="24634" y="92620"/>
                        </a:cubicBezTo>
                        <a:cubicBezTo>
                          <a:pt x="23658" y="92406"/>
                          <a:pt x="23658" y="92406"/>
                          <a:pt x="23658" y="92406"/>
                        </a:cubicBezTo>
                        <a:cubicBezTo>
                          <a:pt x="22926" y="93903"/>
                          <a:pt x="22926" y="93903"/>
                          <a:pt x="22926" y="93903"/>
                        </a:cubicBezTo>
                        <a:cubicBezTo>
                          <a:pt x="23170" y="94973"/>
                          <a:pt x="23170" y="94973"/>
                          <a:pt x="23170" y="94973"/>
                        </a:cubicBezTo>
                        <a:cubicBezTo>
                          <a:pt x="21951" y="96898"/>
                          <a:pt x="21951" y="96898"/>
                          <a:pt x="21951" y="96898"/>
                        </a:cubicBezTo>
                        <a:cubicBezTo>
                          <a:pt x="20731" y="96898"/>
                          <a:pt x="20731" y="96898"/>
                          <a:pt x="20731" y="96898"/>
                        </a:cubicBezTo>
                        <a:cubicBezTo>
                          <a:pt x="19268" y="96470"/>
                          <a:pt x="19268" y="96470"/>
                          <a:pt x="19268" y="96470"/>
                        </a:cubicBezTo>
                        <a:cubicBezTo>
                          <a:pt x="17804" y="94759"/>
                          <a:pt x="17804" y="94759"/>
                          <a:pt x="17804" y="94759"/>
                        </a:cubicBezTo>
                        <a:cubicBezTo>
                          <a:pt x="17804" y="94759"/>
                          <a:pt x="17804" y="95187"/>
                          <a:pt x="17317" y="95401"/>
                        </a:cubicBezTo>
                        <a:cubicBezTo>
                          <a:pt x="16829" y="95401"/>
                          <a:pt x="16097" y="95187"/>
                          <a:pt x="16097" y="95187"/>
                        </a:cubicBezTo>
                        <a:cubicBezTo>
                          <a:pt x="16585" y="93903"/>
                          <a:pt x="16585" y="93903"/>
                          <a:pt x="16585" y="93903"/>
                        </a:cubicBezTo>
                        <a:cubicBezTo>
                          <a:pt x="16097" y="92406"/>
                          <a:pt x="16097" y="92406"/>
                          <a:pt x="16097" y="92406"/>
                        </a:cubicBezTo>
                        <a:cubicBezTo>
                          <a:pt x="16585" y="90909"/>
                          <a:pt x="16585" y="90909"/>
                          <a:pt x="16585" y="90909"/>
                        </a:cubicBezTo>
                        <a:cubicBezTo>
                          <a:pt x="16585" y="88770"/>
                          <a:pt x="16585" y="88770"/>
                          <a:pt x="16585" y="88770"/>
                        </a:cubicBezTo>
                        <a:cubicBezTo>
                          <a:pt x="17073" y="87914"/>
                          <a:pt x="17073" y="87914"/>
                          <a:pt x="17073" y="87914"/>
                        </a:cubicBezTo>
                        <a:cubicBezTo>
                          <a:pt x="17317" y="86844"/>
                          <a:pt x="17317" y="86844"/>
                          <a:pt x="17317" y="86844"/>
                        </a:cubicBezTo>
                        <a:cubicBezTo>
                          <a:pt x="18048" y="85561"/>
                          <a:pt x="18048" y="85561"/>
                          <a:pt x="18048" y="85561"/>
                        </a:cubicBezTo>
                        <a:cubicBezTo>
                          <a:pt x="17804" y="84491"/>
                          <a:pt x="17804" y="84491"/>
                          <a:pt x="17804" y="84491"/>
                        </a:cubicBezTo>
                        <a:cubicBezTo>
                          <a:pt x="17317" y="84705"/>
                          <a:pt x="17317" y="84705"/>
                          <a:pt x="17317" y="84705"/>
                        </a:cubicBezTo>
                        <a:cubicBezTo>
                          <a:pt x="15853" y="83422"/>
                          <a:pt x="15853" y="83422"/>
                          <a:pt x="15853" y="83422"/>
                        </a:cubicBezTo>
                        <a:cubicBezTo>
                          <a:pt x="15853" y="83422"/>
                          <a:pt x="16341" y="82994"/>
                          <a:pt x="16829" y="82566"/>
                        </a:cubicBezTo>
                        <a:cubicBezTo>
                          <a:pt x="17317" y="82139"/>
                          <a:pt x="17317" y="81925"/>
                          <a:pt x="17317" y="81497"/>
                        </a:cubicBezTo>
                        <a:cubicBezTo>
                          <a:pt x="17317" y="81069"/>
                          <a:pt x="17073" y="80000"/>
                          <a:pt x="16829" y="80000"/>
                        </a:cubicBezTo>
                        <a:cubicBezTo>
                          <a:pt x="16585" y="79786"/>
                          <a:pt x="16097" y="79358"/>
                          <a:pt x="16097" y="79358"/>
                        </a:cubicBezTo>
                        <a:cubicBezTo>
                          <a:pt x="16097" y="78074"/>
                          <a:pt x="16097" y="78074"/>
                          <a:pt x="16097" y="78074"/>
                        </a:cubicBezTo>
                        <a:cubicBezTo>
                          <a:pt x="16097" y="78074"/>
                          <a:pt x="15853" y="77433"/>
                          <a:pt x="15609" y="77433"/>
                        </a:cubicBezTo>
                        <a:cubicBezTo>
                          <a:pt x="15121" y="77219"/>
                          <a:pt x="13902" y="76577"/>
                          <a:pt x="13902" y="76577"/>
                        </a:cubicBezTo>
                        <a:cubicBezTo>
                          <a:pt x="14146" y="75080"/>
                          <a:pt x="14146" y="75080"/>
                          <a:pt x="14146" y="75080"/>
                        </a:cubicBezTo>
                        <a:cubicBezTo>
                          <a:pt x="13658" y="74652"/>
                          <a:pt x="13658" y="74652"/>
                          <a:pt x="13658" y="74652"/>
                        </a:cubicBezTo>
                        <a:lnTo>
                          <a:pt x="13902" y="73796"/>
                        </a:lnTo>
                        <a:close/>
                      </a:path>
                    </a:pathLst>
                  </a:custGeom>
                  <a:solidFill>
                    <a:sysClr val="window" lastClr="FFFFFF">
                      <a:lumMod val="75000"/>
                    </a:sys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84" name="Shape 2048"/>
                  <p:cNvSpPr/>
                  <p:nvPr/>
                </p:nvSpPr>
                <p:spPr>
                  <a:xfrm>
                    <a:off x="5904410" y="2909082"/>
                    <a:ext cx="841064" cy="588110"/>
                  </a:xfrm>
                  <a:custGeom>
                    <a:avLst/>
                    <a:gdLst/>
                    <a:ahLst/>
                    <a:cxnLst/>
                    <a:rect l="0" t="0" r="0" b="0"/>
                    <a:pathLst>
                      <a:path w="120000" h="120000" extrusionOk="0">
                        <a:moveTo>
                          <a:pt x="22439" y="27518"/>
                        </a:moveTo>
                        <a:cubicBezTo>
                          <a:pt x="22439" y="27518"/>
                          <a:pt x="22439" y="27518"/>
                          <a:pt x="22439" y="27518"/>
                        </a:cubicBezTo>
                        <a:cubicBezTo>
                          <a:pt x="21463" y="27969"/>
                          <a:pt x="21463" y="27969"/>
                          <a:pt x="21463" y="27969"/>
                        </a:cubicBezTo>
                        <a:cubicBezTo>
                          <a:pt x="20813" y="28872"/>
                          <a:pt x="20813" y="28872"/>
                          <a:pt x="20813" y="28872"/>
                        </a:cubicBezTo>
                        <a:cubicBezTo>
                          <a:pt x="20162" y="31578"/>
                          <a:pt x="20162" y="31578"/>
                          <a:pt x="20162" y="31578"/>
                        </a:cubicBezTo>
                        <a:cubicBezTo>
                          <a:pt x="20162" y="31578"/>
                          <a:pt x="20162" y="31578"/>
                          <a:pt x="20162" y="31578"/>
                        </a:cubicBezTo>
                        <a:cubicBezTo>
                          <a:pt x="19186" y="32932"/>
                          <a:pt x="19186" y="32932"/>
                          <a:pt x="19186" y="32932"/>
                        </a:cubicBezTo>
                        <a:cubicBezTo>
                          <a:pt x="19186" y="32932"/>
                          <a:pt x="19186" y="32932"/>
                          <a:pt x="19186" y="32932"/>
                        </a:cubicBezTo>
                        <a:cubicBezTo>
                          <a:pt x="18861" y="35187"/>
                          <a:pt x="18861" y="35187"/>
                          <a:pt x="18861" y="35187"/>
                        </a:cubicBezTo>
                        <a:cubicBezTo>
                          <a:pt x="18861" y="35187"/>
                          <a:pt x="19186" y="36992"/>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536"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7886" y="41954"/>
                          <a:pt x="17886" y="41954"/>
                          <a:pt x="17886" y="41954"/>
                        </a:cubicBezTo>
                        <a:cubicBezTo>
                          <a:pt x="16585" y="43759"/>
                          <a:pt x="16585" y="43759"/>
                          <a:pt x="16585" y="43759"/>
                        </a:cubicBezTo>
                        <a:cubicBezTo>
                          <a:pt x="16260" y="46015"/>
                          <a:pt x="16260" y="46015"/>
                          <a:pt x="16260" y="46015"/>
                        </a:cubicBezTo>
                        <a:cubicBezTo>
                          <a:pt x="16260" y="47368"/>
                          <a:pt x="16260" y="47368"/>
                          <a:pt x="16260" y="47368"/>
                        </a:cubicBezTo>
                        <a:cubicBezTo>
                          <a:pt x="16260" y="47368"/>
                          <a:pt x="16260" y="47368"/>
                          <a:pt x="16260" y="47368"/>
                        </a:cubicBezTo>
                        <a:cubicBezTo>
                          <a:pt x="16260" y="47368"/>
                          <a:pt x="16260" y="47368"/>
                          <a:pt x="16260" y="47368"/>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9172"/>
                          <a:pt x="16260" y="49172"/>
                          <a:pt x="15934" y="49172"/>
                        </a:cubicBezTo>
                        <a:cubicBezTo>
                          <a:pt x="15284" y="49624"/>
                          <a:pt x="14959" y="50526"/>
                          <a:pt x="14959" y="50526"/>
                        </a:cubicBezTo>
                        <a:cubicBezTo>
                          <a:pt x="14959" y="53684"/>
                          <a:pt x="14959" y="53684"/>
                          <a:pt x="14959" y="53684"/>
                        </a:cubicBezTo>
                        <a:cubicBezTo>
                          <a:pt x="14634" y="54586"/>
                          <a:pt x="14634" y="54586"/>
                          <a:pt x="14634" y="54586"/>
                        </a:cubicBezTo>
                        <a:cubicBezTo>
                          <a:pt x="13983" y="55939"/>
                          <a:pt x="13983" y="55939"/>
                          <a:pt x="13983" y="55939"/>
                        </a:cubicBezTo>
                        <a:cubicBezTo>
                          <a:pt x="14308" y="57744"/>
                          <a:pt x="14308" y="57744"/>
                          <a:pt x="14308" y="57744"/>
                        </a:cubicBezTo>
                        <a:cubicBezTo>
                          <a:pt x="14308" y="57744"/>
                          <a:pt x="14308" y="57744"/>
                          <a:pt x="14308" y="57744"/>
                        </a:cubicBezTo>
                        <a:cubicBezTo>
                          <a:pt x="13658" y="59097"/>
                          <a:pt x="13658" y="59097"/>
                          <a:pt x="13658" y="59097"/>
                        </a:cubicBezTo>
                        <a:cubicBezTo>
                          <a:pt x="13983" y="61353"/>
                          <a:pt x="13983" y="61353"/>
                          <a:pt x="13983" y="61353"/>
                        </a:cubicBezTo>
                        <a:cubicBezTo>
                          <a:pt x="13333" y="62706"/>
                          <a:pt x="13333" y="62706"/>
                          <a:pt x="13333" y="62706"/>
                        </a:cubicBezTo>
                        <a:cubicBezTo>
                          <a:pt x="13008" y="63157"/>
                          <a:pt x="13008" y="63157"/>
                          <a:pt x="13008" y="63157"/>
                        </a:cubicBezTo>
                        <a:cubicBezTo>
                          <a:pt x="12682" y="64511"/>
                          <a:pt x="12682" y="64511"/>
                          <a:pt x="12682" y="64511"/>
                        </a:cubicBezTo>
                        <a:cubicBezTo>
                          <a:pt x="12032" y="66766"/>
                          <a:pt x="12032" y="66766"/>
                          <a:pt x="12032" y="66766"/>
                        </a:cubicBezTo>
                        <a:cubicBezTo>
                          <a:pt x="9430" y="69924"/>
                          <a:pt x="9430" y="69924"/>
                          <a:pt x="9430" y="69924"/>
                        </a:cubicBezTo>
                        <a:cubicBezTo>
                          <a:pt x="8455" y="69473"/>
                          <a:pt x="8455" y="69473"/>
                          <a:pt x="8455" y="69473"/>
                        </a:cubicBezTo>
                        <a:cubicBezTo>
                          <a:pt x="7804" y="69924"/>
                          <a:pt x="7804" y="69924"/>
                          <a:pt x="7804" y="69924"/>
                        </a:cubicBezTo>
                        <a:cubicBezTo>
                          <a:pt x="7154" y="70827"/>
                          <a:pt x="7154" y="70827"/>
                          <a:pt x="7154" y="70827"/>
                        </a:cubicBezTo>
                        <a:cubicBezTo>
                          <a:pt x="7154" y="70827"/>
                          <a:pt x="7479" y="70827"/>
                          <a:pt x="6829" y="71729"/>
                        </a:cubicBezTo>
                        <a:cubicBezTo>
                          <a:pt x="6178" y="72180"/>
                          <a:pt x="4878" y="72631"/>
                          <a:pt x="4878" y="72631"/>
                        </a:cubicBezTo>
                        <a:cubicBezTo>
                          <a:pt x="4227" y="72631"/>
                          <a:pt x="4227" y="72631"/>
                          <a:pt x="4227" y="72631"/>
                        </a:cubicBezTo>
                        <a:cubicBezTo>
                          <a:pt x="1951" y="72631"/>
                          <a:pt x="1951" y="72631"/>
                          <a:pt x="1951" y="72631"/>
                        </a:cubicBezTo>
                        <a:cubicBezTo>
                          <a:pt x="1951" y="72631"/>
                          <a:pt x="1951" y="72631"/>
                          <a:pt x="1951" y="72631"/>
                        </a:cubicBezTo>
                        <a:cubicBezTo>
                          <a:pt x="1951" y="72631"/>
                          <a:pt x="1951" y="72631"/>
                          <a:pt x="1951" y="72631"/>
                        </a:cubicBezTo>
                        <a:cubicBezTo>
                          <a:pt x="1951" y="72631"/>
                          <a:pt x="1626" y="72180"/>
                          <a:pt x="1300" y="72631"/>
                        </a:cubicBezTo>
                        <a:cubicBezTo>
                          <a:pt x="1300" y="72631"/>
                          <a:pt x="975" y="72631"/>
                          <a:pt x="975" y="72631"/>
                        </a:cubicBezTo>
                        <a:cubicBezTo>
                          <a:pt x="975" y="72631"/>
                          <a:pt x="975" y="72631"/>
                          <a:pt x="975"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325" y="73082"/>
                          <a:pt x="650" y="73082"/>
                        </a:cubicBezTo>
                        <a:cubicBezTo>
                          <a:pt x="1300" y="73533"/>
                          <a:pt x="1626" y="74887"/>
                          <a:pt x="1951" y="74887"/>
                        </a:cubicBezTo>
                        <a:cubicBezTo>
                          <a:pt x="2601" y="75338"/>
                          <a:pt x="3252" y="75338"/>
                          <a:pt x="3577" y="75338"/>
                        </a:cubicBezTo>
                        <a:cubicBezTo>
                          <a:pt x="3902" y="75789"/>
                          <a:pt x="4552" y="76240"/>
                          <a:pt x="4552" y="76240"/>
                        </a:cubicBezTo>
                        <a:cubicBezTo>
                          <a:pt x="4552" y="76240"/>
                          <a:pt x="6178" y="78496"/>
                          <a:pt x="6504" y="78496"/>
                        </a:cubicBezTo>
                        <a:cubicBezTo>
                          <a:pt x="6829" y="78496"/>
                          <a:pt x="6829" y="78496"/>
                          <a:pt x="7154" y="79398"/>
                        </a:cubicBezTo>
                        <a:cubicBezTo>
                          <a:pt x="7479" y="79849"/>
                          <a:pt x="8455" y="79398"/>
                          <a:pt x="8455" y="79398"/>
                        </a:cubicBezTo>
                        <a:cubicBezTo>
                          <a:pt x="8455" y="79398"/>
                          <a:pt x="8780" y="80751"/>
                          <a:pt x="8455" y="81203"/>
                        </a:cubicBezTo>
                        <a:cubicBezTo>
                          <a:pt x="8455" y="81654"/>
                          <a:pt x="8455" y="83007"/>
                          <a:pt x="8455" y="83007"/>
                        </a:cubicBezTo>
                        <a:cubicBezTo>
                          <a:pt x="8455" y="83007"/>
                          <a:pt x="8455" y="83458"/>
                          <a:pt x="8455" y="83909"/>
                        </a:cubicBezTo>
                        <a:cubicBezTo>
                          <a:pt x="8780" y="84812"/>
                          <a:pt x="9105" y="84812"/>
                          <a:pt x="9105" y="85714"/>
                        </a:cubicBezTo>
                        <a:cubicBezTo>
                          <a:pt x="9430" y="86165"/>
                          <a:pt x="9105" y="86165"/>
                          <a:pt x="9430" y="86616"/>
                        </a:cubicBezTo>
                        <a:cubicBezTo>
                          <a:pt x="9756" y="87067"/>
                          <a:pt x="10081" y="87969"/>
                          <a:pt x="10406" y="87969"/>
                        </a:cubicBezTo>
                        <a:cubicBezTo>
                          <a:pt x="10731" y="87969"/>
                          <a:pt x="11056" y="87969"/>
                          <a:pt x="12032" y="88421"/>
                        </a:cubicBezTo>
                        <a:cubicBezTo>
                          <a:pt x="13008" y="89323"/>
                          <a:pt x="13333" y="89323"/>
                          <a:pt x="13658" y="89774"/>
                        </a:cubicBezTo>
                        <a:cubicBezTo>
                          <a:pt x="14308" y="90225"/>
                          <a:pt x="13983" y="89774"/>
                          <a:pt x="14959" y="90225"/>
                        </a:cubicBezTo>
                        <a:cubicBezTo>
                          <a:pt x="16260" y="90676"/>
                          <a:pt x="15934" y="90225"/>
                          <a:pt x="16260" y="90676"/>
                        </a:cubicBezTo>
                        <a:cubicBezTo>
                          <a:pt x="16585" y="90676"/>
                          <a:pt x="16260" y="90225"/>
                          <a:pt x="16910" y="90676"/>
                        </a:cubicBezTo>
                        <a:cubicBezTo>
                          <a:pt x="17886" y="90676"/>
                          <a:pt x="18536" y="91127"/>
                          <a:pt x="18536" y="91127"/>
                        </a:cubicBezTo>
                        <a:cubicBezTo>
                          <a:pt x="18536" y="92030"/>
                          <a:pt x="18536" y="92030"/>
                          <a:pt x="18536" y="92030"/>
                        </a:cubicBezTo>
                        <a:cubicBezTo>
                          <a:pt x="17886" y="93834"/>
                          <a:pt x="17886" y="93834"/>
                          <a:pt x="17886" y="93834"/>
                        </a:cubicBezTo>
                        <a:cubicBezTo>
                          <a:pt x="17886" y="95187"/>
                          <a:pt x="17886" y="95187"/>
                          <a:pt x="17886" y="95187"/>
                        </a:cubicBezTo>
                        <a:cubicBezTo>
                          <a:pt x="17886" y="95187"/>
                          <a:pt x="17235" y="95187"/>
                          <a:pt x="17886" y="95639"/>
                        </a:cubicBezTo>
                        <a:cubicBezTo>
                          <a:pt x="18536" y="96090"/>
                          <a:pt x="19837" y="96541"/>
                          <a:pt x="19837" y="96541"/>
                        </a:cubicBezTo>
                        <a:cubicBezTo>
                          <a:pt x="20813" y="97443"/>
                          <a:pt x="20813" y="97443"/>
                          <a:pt x="20813" y="97443"/>
                        </a:cubicBezTo>
                        <a:cubicBezTo>
                          <a:pt x="20813" y="97443"/>
                          <a:pt x="20162" y="98796"/>
                          <a:pt x="19837" y="99248"/>
                        </a:cubicBezTo>
                        <a:cubicBezTo>
                          <a:pt x="19512" y="99248"/>
                          <a:pt x="18536" y="99248"/>
                          <a:pt x="18536" y="99248"/>
                        </a:cubicBezTo>
                        <a:cubicBezTo>
                          <a:pt x="18536" y="99248"/>
                          <a:pt x="18211" y="100601"/>
                          <a:pt x="18861" y="100601"/>
                        </a:cubicBezTo>
                        <a:cubicBezTo>
                          <a:pt x="19186" y="101052"/>
                          <a:pt x="19837" y="101052"/>
                          <a:pt x="20162" y="101052"/>
                        </a:cubicBezTo>
                        <a:cubicBezTo>
                          <a:pt x="20487" y="101052"/>
                          <a:pt x="21138" y="101503"/>
                          <a:pt x="21138" y="101503"/>
                        </a:cubicBezTo>
                        <a:cubicBezTo>
                          <a:pt x="21138" y="101503"/>
                          <a:pt x="21463" y="101503"/>
                          <a:pt x="21788" y="101954"/>
                        </a:cubicBezTo>
                        <a:cubicBezTo>
                          <a:pt x="21788" y="102857"/>
                          <a:pt x="22113" y="103308"/>
                          <a:pt x="22439" y="103308"/>
                        </a:cubicBezTo>
                        <a:cubicBezTo>
                          <a:pt x="22764" y="103308"/>
                          <a:pt x="23414" y="103308"/>
                          <a:pt x="23739" y="103308"/>
                        </a:cubicBezTo>
                        <a:cubicBezTo>
                          <a:pt x="24065" y="103308"/>
                          <a:pt x="24065" y="102857"/>
                          <a:pt x="24390" y="102857"/>
                        </a:cubicBezTo>
                        <a:cubicBezTo>
                          <a:pt x="24715" y="103308"/>
                          <a:pt x="26666" y="102857"/>
                          <a:pt x="26666" y="102857"/>
                        </a:cubicBezTo>
                        <a:cubicBezTo>
                          <a:pt x="26666" y="102857"/>
                          <a:pt x="26666" y="102857"/>
                          <a:pt x="26991" y="103759"/>
                        </a:cubicBezTo>
                        <a:cubicBezTo>
                          <a:pt x="27642" y="105112"/>
                          <a:pt x="28617" y="105563"/>
                          <a:pt x="28617" y="105563"/>
                        </a:cubicBezTo>
                        <a:cubicBezTo>
                          <a:pt x="28617" y="105563"/>
                          <a:pt x="28943" y="106015"/>
                          <a:pt x="28943" y="105563"/>
                        </a:cubicBezTo>
                        <a:cubicBezTo>
                          <a:pt x="28943" y="105112"/>
                          <a:pt x="29268" y="104661"/>
                          <a:pt x="29268" y="104661"/>
                        </a:cubicBezTo>
                        <a:cubicBezTo>
                          <a:pt x="29268" y="104661"/>
                          <a:pt x="29918" y="103308"/>
                          <a:pt x="29918" y="102857"/>
                        </a:cubicBezTo>
                        <a:cubicBezTo>
                          <a:pt x="30243" y="102406"/>
                          <a:pt x="30569" y="101052"/>
                          <a:pt x="30894" y="101052"/>
                        </a:cubicBezTo>
                        <a:cubicBezTo>
                          <a:pt x="31219" y="100601"/>
                          <a:pt x="32195" y="99699"/>
                          <a:pt x="32195" y="99699"/>
                        </a:cubicBezTo>
                        <a:cubicBezTo>
                          <a:pt x="32195" y="99699"/>
                          <a:pt x="32195" y="99248"/>
                          <a:pt x="32845" y="99699"/>
                        </a:cubicBezTo>
                        <a:cubicBezTo>
                          <a:pt x="33170" y="100601"/>
                          <a:pt x="34146" y="101503"/>
                          <a:pt x="34146" y="101503"/>
                        </a:cubicBezTo>
                        <a:cubicBezTo>
                          <a:pt x="35772" y="101503"/>
                          <a:pt x="35772" y="101503"/>
                          <a:pt x="35772" y="101503"/>
                        </a:cubicBezTo>
                        <a:cubicBezTo>
                          <a:pt x="35772" y="101503"/>
                          <a:pt x="36747" y="101954"/>
                          <a:pt x="36747" y="102406"/>
                        </a:cubicBezTo>
                        <a:cubicBezTo>
                          <a:pt x="36747" y="102857"/>
                          <a:pt x="36422" y="102857"/>
                          <a:pt x="35772" y="103308"/>
                        </a:cubicBezTo>
                        <a:cubicBezTo>
                          <a:pt x="35447" y="103308"/>
                          <a:pt x="34471" y="101954"/>
                          <a:pt x="34471" y="102406"/>
                        </a:cubicBezTo>
                        <a:cubicBezTo>
                          <a:pt x="34146" y="102857"/>
                          <a:pt x="34146" y="103759"/>
                          <a:pt x="34146" y="103759"/>
                        </a:cubicBezTo>
                        <a:cubicBezTo>
                          <a:pt x="32845" y="104661"/>
                          <a:pt x="32845" y="104661"/>
                          <a:pt x="32845" y="104661"/>
                        </a:cubicBezTo>
                        <a:cubicBezTo>
                          <a:pt x="33170" y="105563"/>
                          <a:pt x="33170" y="105563"/>
                          <a:pt x="33170" y="105563"/>
                        </a:cubicBezTo>
                        <a:cubicBezTo>
                          <a:pt x="33170" y="105563"/>
                          <a:pt x="34796" y="106466"/>
                          <a:pt x="34796" y="106917"/>
                        </a:cubicBezTo>
                        <a:cubicBezTo>
                          <a:pt x="34796" y="107368"/>
                          <a:pt x="34796" y="108270"/>
                          <a:pt x="34796" y="108270"/>
                        </a:cubicBezTo>
                        <a:cubicBezTo>
                          <a:pt x="35772" y="108721"/>
                          <a:pt x="35772" y="108721"/>
                          <a:pt x="35772" y="108721"/>
                        </a:cubicBezTo>
                        <a:cubicBezTo>
                          <a:pt x="36422" y="108270"/>
                          <a:pt x="36422" y="108270"/>
                          <a:pt x="36422" y="108270"/>
                        </a:cubicBezTo>
                        <a:cubicBezTo>
                          <a:pt x="36422" y="110075"/>
                          <a:pt x="36422" y="110075"/>
                          <a:pt x="36422" y="110075"/>
                        </a:cubicBezTo>
                        <a:cubicBezTo>
                          <a:pt x="36422" y="111879"/>
                          <a:pt x="36422" y="111879"/>
                          <a:pt x="36422" y="111879"/>
                        </a:cubicBezTo>
                        <a:cubicBezTo>
                          <a:pt x="36422" y="111879"/>
                          <a:pt x="36422" y="111879"/>
                          <a:pt x="36422" y="111879"/>
                        </a:cubicBezTo>
                        <a:cubicBezTo>
                          <a:pt x="36422" y="111879"/>
                          <a:pt x="36422" y="111879"/>
                          <a:pt x="36422" y="111879"/>
                        </a:cubicBezTo>
                        <a:cubicBezTo>
                          <a:pt x="38699" y="110977"/>
                          <a:pt x="40650" y="112781"/>
                          <a:pt x="41626" y="112781"/>
                        </a:cubicBezTo>
                        <a:cubicBezTo>
                          <a:pt x="43577" y="113233"/>
                          <a:pt x="39349" y="116390"/>
                          <a:pt x="40000" y="116390"/>
                        </a:cubicBezTo>
                        <a:cubicBezTo>
                          <a:pt x="40650" y="115939"/>
                          <a:pt x="40000" y="118646"/>
                          <a:pt x="40975" y="119097"/>
                        </a:cubicBezTo>
                        <a:cubicBezTo>
                          <a:pt x="42601" y="119548"/>
                          <a:pt x="43902" y="117744"/>
                          <a:pt x="45853" y="117744"/>
                        </a:cubicBezTo>
                        <a:cubicBezTo>
                          <a:pt x="47479" y="117293"/>
                          <a:pt x="49430" y="118646"/>
                          <a:pt x="50081" y="117744"/>
                        </a:cubicBezTo>
                        <a:cubicBezTo>
                          <a:pt x="51382" y="115488"/>
                          <a:pt x="56585" y="120000"/>
                          <a:pt x="59186" y="117744"/>
                        </a:cubicBezTo>
                        <a:cubicBezTo>
                          <a:pt x="60813" y="115939"/>
                          <a:pt x="67317" y="115037"/>
                          <a:pt x="69593" y="115037"/>
                        </a:cubicBezTo>
                        <a:cubicBezTo>
                          <a:pt x="75447" y="114586"/>
                          <a:pt x="75772" y="114586"/>
                          <a:pt x="78373" y="112330"/>
                        </a:cubicBezTo>
                        <a:cubicBezTo>
                          <a:pt x="78373" y="112330"/>
                          <a:pt x="80000" y="107368"/>
                          <a:pt x="80975" y="105112"/>
                        </a:cubicBezTo>
                        <a:cubicBezTo>
                          <a:pt x="81626" y="103308"/>
                          <a:pt x="83577" y="102406"/>
                          <a:pt x="85528" y="100601"/>
                        </a:cubicBezTo>
                        <a:cubicBezTo>
                          <a:pt x="87154" y="98796"/>
                          <a:pt x="91382" y="96992"/>
                          <a:pt x="92357" y="96541"/>
                        </a:cubicBezTo>
                        <a:cubicBezTo>
                          <a:pt x="93333" y="96541"/>
                          <a:pt x="100162" y="96992"/>
                          <a:pt x="100162" y="96992"/>
                        </a:cubicBezTo>
                        <a:cubicBezTo>
                          <a:pt x="103739" y="95639"/>
                          <a:pt x="103739" y="95639"/>
                          <a:pt x="103739" y="95639"/>
                        </a:cubicBezTo>
                        <a:cubicBezTo>
                          <a:pt x="103739" y="95639"/>
                          <a:pt x="104390" y="99248"/>
                          <a:pt x="105365" y="99699"/>
                        </a:cubicBezTo>
                        <a:cubicBezTo>
                          <a:pt x="109593" y="100601"/>
                          <a:pt x="112195" y="100150"/>
                          <a:pt x="112520" y="96992"/>
                        </a:cubicBezTo>
                        <a:cubicBezTo>
                          <a:pt x="112845" y="94736"/>
                          <a:pt x="111219" y="90676"/>
                          <a:pt x="110894" y="87518"/>
                        </a:cubicBezTo>
                        <a:cubicBezTo>
                          <a:pt x="110569" y="83909"/>
                          <a:pt x="111869" y="80300"/>
                          <a:pt x="111869" y="77142"/>
                        </a:cubicBezTo>
                        <a:cubicBezTo>
                          <a:pt x="111869" y="76691"/>
                          <a:pt x="111219" y="75789"/>
                          <a:pt x="113170" y="72180"/>
                        </a:cubicBezTo>
                        <a:cubicBezTo>
                          <a:pt x="114796" y="68571"/>
                          <a:pt x="119349" y="70375"/>
                          <a:pt x="120000" y="68120"/>
                        </a:cubicBezTo>
                        <a:cubicBezTo>
                          <a:pt x="118048" y="55488"/>
                          <a:pt x="118048" y="55488"/>
                          <a:pt x="118048" y="55488"/>
                        </a:cubicBezTo>
                        <a:cubicBezTo>
                          <a:pt x="117723" y="55488"/>
                          <a:pt x="117723" y="55488"/>
                          <a:pt x="117723" y="55488"/>
                        </a:cubicBezTo>
                        <a:cubicBezTo>
                          <a:pt x="117398" y="55488"/>
                          <a:pt x="117398" y="55488"/>
                          <a:pt x="117398" y="55488"/>
                        </a:cubicBezTo>
                        <a:cubicBezTo>
                          <a:pt x="116747" y="55037"/>
                          <a:pt x="116747" y="55037"/>
                          <a:pt x="116747" y="55037"/>
                        </a:cubicBezTo>
                        <a:cubicBezTo>
                          <a:pt x="116097" y="55037"/>
                          <a:pt x="116097" y="55037"/>
                          <a:pt x="116097" y="55037"/>
                        </a:cubicBezTo>
                        <a:cubicBezTo>
                          <a:pt x="115447" y="54586"/>
                          <a:pt x="115447" y="54586"/>
                          <a:pt x="115447" y="54586"/>
                        </a:cubicBezTo>
                        <a:cubicBezTo>
                          <a:pt x="114796" y="54135"/>
                          <a:pt x="114796" y="54135"/>
                          <a:pt x="114796" y="54135"/>
                        </a:cubicBezTo>
                        <a:cubicBezTo>
                          <a:pt x="114146" y="54135"/>
                          <a:pt x="114146" y="54135"/>
                          <a:pt x="114146" y="54135"/>
                        </a:cubicBezTo>
                        <a:cubicBezTo>
                          <a:pt x="114146" y="54135"/>
                          <a:pt x="114146" y="54135"/>
                          <a:pt x="114146" y="54135"/>
                        </a:cubicBezTo>
                        <a:cubicBezTo>
                          <a:pt x="113821" y="54135"/>
                          <a:pt x="113821" y="54135"/>
                          <a:pt x="113821" y="54135"/>
                        </a:cubicBezTo>
                        <a:cubicBezTo>
                          <a:pt x="111544" y="53684"/>
                          <a:pt x="108617" y="60902"/>
                          <a:pt x="108617" y="60902"/>
                        </a:cubicBezTo>
                        <a:cubicBezTo>
                          <a:pt x="107317" y="64060"/>
                          <a:pt x="107317" y="64060"/>
                          <a:pt x="107317" y="64060"/>
                        </a:cubicBezTo>
                        <a:cubicBezTo>
                          <a:pt x="104065" y="63157"/>
                          <a:pt x="100813" y="62706"/>
                          <a:pt x="98536" y="59097"/>
                        </a:cubicBezTo>
                        <a:cubicBezTo>
                          <a:pt x="98536" y="57744"/>
                          <a:pt x="98536" y="57744"/>
                          <a:pt x="98536" y="57744"/>
                        </a:cubicBezTo>
                        <a:cubicBezTo>
                          <a:pt x="98536" y="57744"/>
                          <a:pt x="98536" y="57744"/>
                          <a:pt x="98536" y="57744"/>
                        </a:cubicBezTo>
                        <a:cubicBezTo>
                          <a:pt x="98536" y="57744"/>
                          <a:pt x="98536" y="57744"/>
                          <a:pt x="98536" y="57744"/>
                        </a:cubicBezTo>
                        <a:cubicBezTo>
                          <a:pt x="98211" y="57293"/>
                          <a:pt x="98211" y="57293"/>
                          <a:pt x="98211" y="57293"/>
                        </a:cubicBezTo>
                        <a:cubicBezTo>
                          <a:pt x="98211" y="57293"/>
                          <a:pt x="97886" y="57293"/>
                          <a:pt x="97886" y="57293"/>
                        </a:cubicBezTo>
                        <a:cubicBezTo>
                          <a:pt x="97560" y="57293"/>
                          <a:pt x="97235" y="56842"/>
                          <a:pt x="97235" y="56842"/>
                        </a:cubicBezTo>
                        <a:cubicBezTo>
                          <a:pt x="97560" y="55939"/>
                          <a:pt x="97560" y="55939"/>
                          <a:pt x="97560" y="55939"/>
                        </a:cubicBezTo>
                        <a:cubicBezTo>
                          <a:pt x="97560" y="55939"/>
                          <a:pt x="97886" y="55488"/>
                          <a:pt x="97886" y="55488"/>
                        </a:cubicBezTo>
                        <a:cubicBezTo>
                          <a:pt x="98211" y="55488"/>
                          <a:pt x="97886" y="55488"/>
                          <a:pt x="97886" y="55037"/>
                        </a:cubicBezTo>
                        <a:cubicBezTo>
                          <a:pt x="97886" y="55037"/>
                          <a:pt x="97886" y="54135"/>
                          <a:pt x="97886" y="53684"/>
                        </a:cubicBezTo>
                        <a:cubicBezTo>
                          <a:pt x="97560" y="53233"/>
                          <a:pt x="97560" y="53233"/>
                          <a:pt x="97560" y="53233"/>
                        </a:cubicBezTo>
                        <a:cubicBezTo>
                          <a:pt x="97560" y="53233"/>
                          <a:pt x="97235" y="52330"/>
                          <a:pt x="96910" y="51879"/>
                        </a:cubicBezTo>
                        <a:cubicBezTo>
                          <a:pt x="96585" y="51879"/>
                          <a:pt x="96910" y="51428"/>
                          <a:pt x="96910" y="51428"/>
                        </a:cubicBezTo>
                        <a:cubicBezTo>
                          <a:pt x="96585" y="50977"/>
                          <a:pt x="96910" y="50977"/>
                          <a:pt x="96910" y="50526"/>
                        </a:cubicBezTo>
                        <a:cubicBezTo>
                          <a:pt x="96910" y="50526"/>
                          <a:pt x="96585" y="49624"/>
                          <a:pt x="96585" y="49624"/>
                        </a:cubicBezTo>
                        <a:cubicBezTo>
                          <a:pt x="96585" y="49624"/>
                          <a:pt x="95934" y="48270"/>
                          <a:pt x="95609" y="47368"/>
                        </a:cubicBezTo>
                        <a:cubicBezTo>
                          <a:pt x="95609" y="46917"/>
                          <a:pt x="95609" y="46466"/>
                          <a:pt x="95609" y="46466"/>
                        </a:cubicBezTo>
                        <a:cubicBezTo>
                          <a:pt x="95934" y="46015"/>
                          <a:pt x="95284" y="45563"/>
                          <a:pt x="95284" y="45563"/>
                        </a:cubicBezTo>
                        <a:cubicBezTo>
                          <a:pt x="95284" y="45563"/>
                          <a:pt x="95284" y="44661"/>
                          <a:pt x="95284" y="44661"/>
                        </a:cubicBezTo>
                        <a:cubicBezTo>
                          <a:pt x="95284" y="44661"/>
                          <a:pt x="95284" y="43759"/>
                          <a:pt x="95284" y="43759"/>
                        </a:cubicBezTo>
                        <a:cubicBezTo>
                          <a:pt x="95609" y="43308"/>
                          <a:pt x="95284" y="42857"/>
                          <a:pt x="95284" y="42406"/>
                        </a:cubicBezTo>
                        <a:cubicBezTo>
                          <a:pt x="95284" y="42406"/>
                          <a:pt x="94634" y="41954"/>
                          <a:pt x="94634" y="41954"/>
                        </a:cubicBezTo>
                        <a:cubicBezTo>
                          <a:pt x="94959" y="41052"/>
                          <a:pt x="94959" y="41052"/>
                          <a:pt x="94959" y="41052"/>
                        </a:cubicBezTo>
                        <a:cubicBezTo>
                          <a:pt x="94959" y="40601"/>
                          <a:pt x="94959" y="40601"/>
                          <a:pt x="94959" y="40601"/>
                        </a:cubicBezTo>
                        <a:cubicBezTo>
                          <a:pt x="94959" y="40601"/>
                          <a:pt x="95284" y="39699"/>
                          <a:pt x="95284" y="39699"/>
                        </a:cubicBezTo>
                        <a:cubicBezTo>
                          <a:pt x="95609" y="39248"/>
                          <a:pt x="95284" y="38796"/>
                          <a:pt x="94959" y="38796"/>
                        </a:cubicBezTo>
                        <a:cubicBezTo>
                          <a:pt x="94634" y="38796"/>
                          <a:pt x="94959" y="38345"/>
                          <a:pt x="94959" y="38345"/>
                        </a:cubicBezTo>
                        <a:cubicBezTo>
                          <a:pt x="95284" y="37443"/>
                          <a:pt x="95284" y="37443"/>
                          <a:pt x="95284" y="37443"/>
                        </a:cubicBezTo>
                        <a:cubicBezTo>
                          <a:pt x="94959" y="36090"/>
                          <a:pt x="94959" y="36090"/>
                          <a:pt x="94959" y="36090"/>
                        </a:cubicBezTo>
                        <a:cubicBezTo>
                          <a:pt x="94959" y="35639"/>
                          <a:pt x="94959" y="35639"/>
                          <a:pt x="94959" y="35639"/>
                        </a:cubicBezTo>
                        <a:cubicBezTo>
                          <a:pt x="94959" y="35639"/>
                          <a:pt x="94634" y="34736"/>
                          <a:pt x="94634" y="34736"/>
                        </a:cubicBezTo>
                        <a:cubicBezTo>
                          <a:pt x="94634" y="34285"/>
                          <a:pt x="94308" y="33383"/>
                          <a:pt x="94308" y="33383"/>
                        </a:cubicBezTo>
                        <a:cubicBezTo>
                          <a:pt x="94308" y="33383"/>
                          <a:pt x="94308" y="32932"/>
                          <a:pt x="94308" y="32932"/>
                        </a:cubicBezTo>
                        <a:cubicBezTo>
                          <a:pt x="94308" y="32481"/>
                          <a:pt x="94308" y="32481"/>
                          <a:pt x="94308" y="32481"/>
                        </a:cubicBezTo>
                        <a:cubicBezTo>
                          <a:pt x="94308" y="32030"/>
                          <a:pt x="93983" y="31578"/>
                          <a:pt x="93658" y="31127"/>
                        </a:cubicBezTo>
                        <a:cubicBezTo>
                          <a:pt x="93333" y="30225"/>
                          <a:pt x="93333" y="30225"/>
                          <a:pt x="93333" y="30225"/>
                        </a:cubicBezTo>
                        <a:cubicBezTo>
                          <a:pt x="93333" y="30225"/>
                          <a:pt x="92682" y="29323"/>
                          <a:pt x="92357" y="28872"/>
                        </a:cubicBezTo>
                        <a:cubicBezTo>
                          <a:pt x="92357" y="27969"/>
                          <a:pt x="92357" y="27969"/>
                          <a:pt x="92032" y="27518"/>
                        </a:cubicBezTo>
                        <a:cubicBezTo>
                          <a:pt x="92032" y="26616"/>
                          <a:pt x="91382" y="25714"/>
                          <a:pt x="91056" y="25714"/>
                        </a:cubicBezTo>
                        <a:cubicBezTo>
                          <a:pt x="91056" y="25714"/>
                          <a:pt x="90731" y="24360"/>
                          <a:pt x="90731" y="23909"/>
                        </a:cubicBezTo>
                        <a:cubicBezTo>
                          <a:pt x="90406" y="23909"/>
                          <a:pt x="89756" y="23458"/>
                          <a:pt x="89756" y="23458"/>
                        </a:cubicBezTo>
                        <a:cubicBezTo>
                          <a:pt x="89430" y="23458"/>
                          <a:pt x="88780" y="23007"/>
                          <a:pt x="88780" y="23007"/>
                        </a:cubicBezTo>
                        <a:cubicBezTo>
                          <a:pt x="87804" y="22556"/>
                          <a:pt x="87804" y="22556"/>
                          <a:pt x="87804" y="22556"/>
                        </a:cubicBezTo>
                        <a:cubicBezTo>
                          <a:pt x="86829" y="21203"/>
                          <a:pt x="86829" y="21203"/>
                          <a:pt x="86829" y="21203"/>
                        </a:cubicBezTo>
                        <a:cubicBezTo>
                          <a:pt x="86829" y="21203"/>
                          <a:pt x="86504" y="21203"/>
                          <a:pt x="86178" y="20751"/>
                        </a:cubicBezTo>
                        <a:cubicBezTo>
                          <a:pt x="86178" y="20751"/>
                          <a:pt x="85853" y="19849"/>
                          <a:pt x="85853" y="19849"/>
                        </a:cubicBezTo>
                        <a:cubicBezTo>
                          <a:pt x="85528" y="18947"/>
                          <a:pt x="85528" y="18947"/>
                          <a:pt x="85528" y="18947"/>
                        </a:cubicBezTo>
                        <a:cubicBezTo>
                          <a:pt x="83577" y="18045"/>
                          <a:pt x="83577" y="18045"/>
                          <a:pt x="83577" y="18045"/>
                        </a:cubicBezTo>
                        <a:cubicBezTo>
                          <a:pt x="83577" y="18045"/>
                          <a:pt x="83252" y="17142"/>
                          <a:pt x="83252" y="17142"/>
                        </a:cubicBezTo>
                        <a:cubicBezTo>
                          <a:pt x="83252" y="16691"/>
                          <a:pt x="82926" y="16691"/>
                          <a:pt x="82926" y="16240"/>
                        </a:cubicBezTo>
                        <a:cubicBezTo>
                          <a:pt x="82926" y="15789"/>
                          <a:pt x="82601" y="15789"/>
                          <a:pt x="82601" y="15338"/>
                        </a:cubicBezTo>
                        <a:cubicBezTo>
                          <a:pt x="82601" y="14887"/>
                          <a:pt x="82276" y="14887"/>
                          <a:pt x="82276" y="14887"/>
                        </a:cubicBezTo>
                        <a:cubicBezTo>
                          <a:pt x="81951" y="14887"/>
                          <a:pt x="81626" y="14887"/>
                          <a:pt x="81626" y="14887"/>
                        </a:cubicBezTo>
                        <a:cubicBezTo>
                          <a:pt x="81626" y="14887"/>
                          <a:pt x="81300" y="14436"/>
                          <a:pt x="81300" y="14436"/>
                        </a:cubicBezTo>
                        <a:cubicBezTo>
                          <a:pt x="81300" y="14436"/>
                          <a:pt x="80650" y="13533"/>
                          <a:pt x="80325" y="13533"/>
                        </a:cubicBezTo>
                        <a:cubicBezTo>
                          <a:pt x="80325" y="13082"/>
                          <a:pt x="80325" y="13082"/>
                          <a:pt x="80325" y="13082"/>
                        </a:cubicBezTo>
                        <a:cubicBezTo>
                          <a:pt x="80325" y="13082"/>
                          <a:pt x="80325" y="13082"/>
                          <a:pt x="80000" y="13082"/>
                        </a:cubicBezTo>
                        <a:cubicBezTo>
                          <a:pt x="79674" y="13082"/>
                          <a:pt x="79674" y="13082"/>
                          <a:pt x="79674" y="12631"/>
                        </a:cubicBezTo>
                        <a:cubicBezTo>
                          <a:pt x="79349" y="12631"/>
                          <a:pt x="79349" y="11729"/>
                          <a:pt x="79024" y="11729"/>
                        </a:cubicBezTo>
                        <a:cubicBezTo>
                          <a:pt x="79024" y="11729"/>
                          <a:pt x="79024" y="11729"/>
                          <a:pt x="78699" y="11729"/>
                        </a:cubicBezTo>
                        <a:cubicBezTo>
                          <a:pt x="78373" y="11729"/>
                          <a:pt x="78048" y="10827"/>
                          <a:pt x="78048" y="10827"/>
                        </a:cubicBezTo>
                        <a:cubicBezTo>
                          <a:pt x="77723" y="10827"/>
                          <a:pt x="78048" y="10375"/>
                          <a:pt x="78048" y="9924"/>
                        </a:cubicBezTo>
                        <a:cubicBezTo>
                          <a:pt x="78048" y="9473"/>
                          <a:pt x="77723" y="9473"/>
                          <a:pt x="77723" y="9473"/>
                        </a:cubicBezTo>
                        <a:cubicBezTo>
                          <a:pt x="77723" y="9473"/>
                          <a:pt x="77723" y="9473"/>
                          <a:pt x="77723" y="9473"/>
                        </a:cubicBezTo>
                        <a:cubicBezTo>
                          <a:pt x="77723" y="9473"/>
                          <a:pt x="77398" y="9473"/>
                          <a:pt x="77398" y="9022"/>
                        </a:cubicBezTo>
                        <a:cubicBezTo>
                          <a:pt x="77398" y="9022"/>
                          <a:pt x="77073" y="8571"/>
                          <a:pt x="77073" y="8120"/>
                        </a:cubicBezTo>
                        <a:cubicBezTo>
                          <a:pt x="77073" y="7669"/>
                          <a:pt x="77073" y="7669"/>
                          <a:pt x="77073" y="7669"/>
                        </a:cubicBezTo>
                        <a:cubicBezTo>
                          <a:pt x="77073" y="7669"/>
                          <a:pt x="76747" y="7218"/>
                          <a:pt x="76747" y="7218"/>
                        </a:cubicBezTo>
                        <a:cubicBezTo>
                          <a:pt x="76422" y="6766"/>
                          <a:pt x="76422" y="6766"/>
                          <a:pt x="76422" y="6766"/>
                        </a:cubicBezTo>
                        <a:cubicBezTo>
                          <a:pt x="76422" y="6315"/>
                          <a:pt x="76422" y="6315"/>
                          <a:pt x="76422" y="6315"/>
                        </a:cubicBezTo>
                        <a:cubicBezTo>
                          <a:pt x="76097" y="6315"/>
                          <a:pt x="76097" y="6315"/>
                          <a:pt x="76097" y="6315"/>
                        </a:cubicBezTo>
                        <a:cubicBezTo>
                          <a:pt x="75772" y="6315"/>
                          <a:pt x="75772" y="5864"/>
                          <a:pt x="75772" y="5413"/>
                        </a:cubicBezTo>
                        <a:cubicBezTo>
                          <a:pt x="75772" y="5413"/>
                          <a:pt x="75772" y="5413"/>
                          <a:pt x="75772" y="5413"/>
                        </a:cubicBezTo>
                        <a:cubicBezTo>
                          <a:pt x="75447" y="4962"/>
                          <a:pt x="75447" y="4962"/>
                          <a:pt x="75447" y="4962"/>
                        </a:cubicBezTo>
                        <a:cubicBezTo>
                          <a:pt x="75121" y="4511"/>
                          <a:pt x="75121" y="4511"/>
                          <a:pt x="75121" y="4511"/>
                        </a:cubicBezTo>
                        <a:cubicBezTo>
                          <a:pt x="74796" y="4060"/>
                          <a:pt x="74796" y="4060"/>
                          <a:pt x="74796" y="4060"/>
                        </a:cubicBezTo>
                        <a:cubicBezTo>
                          <a:pt x="74796" y="4060"/>
                          <a:pt x="74471" y="3609"/>
                          <a:pt x="74471" y="3609"/>
                        </a:cubicBezTo>
                        <a:cubicBezTo>
                          <a:pt x="74146" y="3157"/>
                          <a:pt x="73821" y="2706"/>
                          <a:pt x="73821" y="2706"/>
                        </a:cubicBezTo>
                        <a:cubicBezTo>
                          <a:pt x="73821" y="2706"/>
                          <a:pt x="73821" y="2255"/>
                          <a:pt x="73821" y="2255"/>
                        </a:cubicBezTo>
                        <a:cubicBezTo>
                          <a:pt x="73821" y="2255"/>
                          <a:pt x="73495" y="2255"/>
                          <a:pt x="73495" y="2255"/>
                        </a:cubicBezTo>
                        <a:cubicBezTo>
                          <a:pt x="72845" y="2255"/>
                          <a:pt x="72845" y="2255"/>
                          <a:pt x="72845" y="2255"/>
                        </a:cubicBezTo>
                        <a:cubicBezTo>
                          <a:pt x="72845" y="1353"/>
                          <a:pt x="72845" y="1353"/>
                          <a:pt x="72845" y="1353"/>
                        </a:cubicBezTo>
                        <a:cubicBezTo>
                          <a:pt x="72845" y="1353"/>
                          <a:pt x="72845" y="1353"/>
                          <a:pt x="72520" y="1353"/>
                        </a:cubicBezTo>
                        <a:cubicBezTo>
                          <a:pt x="72195" y="1353"/>
                          <a:pt x="72195" y="902"/>
                          <a:pt x="72195" y="902"/>
                        </a:cubicBezTo>
                        <a:cubicBezTo>
                          <a:pt x="72195" y="451"/>
                          <a:pt x="72195" y="451"/>
                          <a:pt x="72195" y="451"/>
                        </a:cubicBezTo>
                        <a:cubicBezTo>
                          <a:pt x="71219" y="902"/>
                          <a:pt x="71219" y="902"/>
                          <a:pt x="71219" y="902"/>
                        </a:cubicBezTo>
                        <a:cubicBezTo>
                          <a:pt x="71219" y="902"/>
                          <a:pt x="71219" y="902"/>
                          <a:pt x="71219" y="902"/>
                        </a:cubicBezTo>
                        <a:cubicBezTo>
                          <a:pt x="71219" y="902"/>
                          <a:pt x="70569" y="451"/>
                          <a:pt x="70569" y="451"/>
                        </a:cubicBezTo>
                        <a:cubicBezTo>
                          <a:pt x="70569" y="0"/>
                          <a:pt x="70243" y="0"/>
                          <a:pt x="70243" y="0"/>
                        </a:cubicBezTo>
                        <a:cubicBezTo>
                          <a:pt x="69918" y="451"/>
                          <a:pt x="69918" y="451"/>
                          <a:pt x="69918" y="451"/>
                        </a:cubicBezTo>
                        <a:cubicBezTo>
                          <a:pt x="69268" y="451"/>
                          <a:pt x="69268" y="451"/>
                          <a:pt x="69268" y="451"/>
                        </a:cubicBezTo>
                        <a:cubicBezTo>
                          <a:pt x="68943" y="451"/>
                          <a:pt x="68943" y="451"/>
                          <a:pt x="68943" y="451"/>
                        </a:cubicBezTo>
                        <a:cubicBezTo>
                          <a:pt x="68617" y="0"/>
                          <a:pt x="68617" y="0"/>
                          <a:pt x="68617" y="0"/>
                        </a:cubicBezTo>
                        <a:cubicBezTo>
                          <a:pt x="67642" y="451"/>
                          <a:pt x="67317" y="451"/>
                          <a:pt x="67317" y="451"/>
                        </a:cubicBezTo>
                        <a:cubicBezTo>
                          <a:pt x="66341" y="902"/>
                          <a:pt x="64715" y="2255"/>
                          <a:pt x="64715" y="3157"/>
                        </a:cubicBezTo>
                        <a:cubicBezTo>
                          <a:pt x="64390" y="4060"/>
                          <a:pt x="64715" y="6315"/>
                          <a:pt x="64065" y="6766"/>
                        </a:cubicBezTo>
                        <a:cubicBezTo>
                          <a:pt x="63089" y="6766"/>
                          <a:pt x="62113" y="9022"/>
                          <a:pt x="61788" y="9022"/>
                        </a:cubicBezTo>
                        <a:cubicBezTo>
                          <a:pt x="58861" y="11278"/>
                          <a:pt x="58861" y="11278"/>
                          <a:pt x="58861" y="11278"/>
                        </a:cubicBezTo>
                        <a:cubicBezTo>
                          <a:pt x="58861" y="11278"/>
                          <a:pt x="56585" y="12631"/>
                          <a:pt x="55284" y="12631"/>
                        </a:cubicBezTo>
                        <a:cubicBezTo>
                          <a:pt x="53983" y="13082"/>
                          <a:pt x="53008" y="14436"/>
                          <a:pt x="53008" y="14436"/>
                        </a:cubicBezTo>
                        <a:cubicBezTo>
                          <a:pt x="51382" y="17593"/>
                          <a:pt x="51382" y="17593"/>
                          <a:pt x="51382" y="17593"/>
                        </a:cubicBezTo>
                        <a:cubicBezTo>
                          <a:pt x="48780" y="18045"/>
                          <a:pt x="48780" y="18045"/>
                          <a:pt x="48780" y="18045"/>
                        </a:cubicBezTo>
                        <a:cubicBezTo>
                          <a:pt x="47479" y="16240"/>
                          <a:pt x="47479" y="16240"/>
                          <a:pt x="47479" y="16240"/>
                        </a:cubicBezTo>
                        <a:cubicBezTo>
                          <a:pt x="46178" y="16691"/>
                          <a:pt x="46178" y="16691"/>
                          <a:pt x="46178" y="16691"/>
                        </a:cubicBezTo>
                        <a:cubicBezTo>
                          <a:pt x="45853" y="16240"/>
                          <a:pt x="45853" y="16240"/>
                          <a:pt x="45853" y="16240"/>
                        </a:cubicBezTo>
                        <a:cubicBezTo>
                          <a:pt x="45203" y="16691"/>
                          <a:pt x="45203" y="16691"/>
                          <a:pt x="45203" y="16691"/>
                        </a:cubicBezTo>
                        <a:cubicBezTo>
                          <a:pt x="41300" y="16240"/>
                          <a:pt x="41300" y="16240"/>
                          <a:pt x="41300" y="16240"/>
                        </a:cubicBezTo>
                        <a:cubicBezTo>
                          <a:pt x="39349" y="17593"/>
                          <a:pt x="39349" y="17593"/>
                          <a:pt x="39349" y="17593"/>
                        </a:cubicBezTo>
                        <a:cubicBezTo>
                          <a:pt x="35772" y="17142"/>
                          <a:pt x="35772" y="17142"/>
                          <a:pt x="35772" y="17142"/>
                        </a:cubicBezTo>
                        <a:cubicBezTo>
                          <a:pt x="35772" y="17142"/>
                          <a:pt x="33170" y="17593"/>
                          <a:pt x="32520" y="17593"/>
                        </a:cubicBezTo>
                        <a:cubicBezTo>
                          <a:pt x="31544" y="17593"/>
                          <a:pt x="31544" y="17593"/>
                          <a:pt x="31544" y="17593"/>
                        </a:cubicBezTo>
                        <a:cubicBezTo>
                          <a:pt x="30894" y="17142"/>
                          <a:pt x="30243" y="16240"/>
                          <a:pt x="30243" y="16240"/>
                        </a:cubicBezTo>
                        <a:cubicBezTo>
                          <a:pt x="30243" y="16240"/>
                          <a:pt x="28943" y="16691"/>
                          <a:pt x="28617" y="17142"/>
                        </a:cubicBezTo>
                        <a:cubicBezTo>
                          <a:pt x="28292" y="17593"/>
                          <a:pt x="26991" y="19849"/>
                          <a:pt x="26991" y="19849"/>
                        </a:cubicBezTo>
                        <a:cubicBezTo>
                          <a:pt x="26991" y="20300"/>
                          <a:pt x="26991" y="20300"/>
                          <a:pt x="26991" y="20300"/>
                        </a:cubicBezTo>
                        <a:cubicBezTo>
                          <a:pt x="27642" y="22556"/>
                          <a:pt x="27642" y="22556"/>
                          <a:pt x="27642" y="22556"/>
                        </a:cubicBezTo>
                        <a:cubicBezTo>
                          <a:pt x="26341" y="23909"/>
                          <a:pt x="26341" y="23909"/>
                          <a:pt x="26341" y="23909"/>
                        </a:cubicBezTo>
                        <a:cubicBezTo>
                          <a:pt x="26341" y="23909"/>
                          <a:pt x="26341" y="23909"/>
                          <a:pt x="26341" y="23909"/>
                        </a:cubicBezTo>
                        <a:cubicBezTo>
                          <a:pt x="26341" y="23909"/>
                          <a:pt x="26341" y="23909"/>
                          <a:pt x="26341" y="23909"/>
                        </a:cubicBezTo>
                        <a:cubicBezTo>
                          <a:pt x="26341" y="23909"/>
                          <a:pt x="26341" y="23909"/>
                          <a:pt x="26341" y="23909"/>
                        </a:cubicBezTo>
                        <a:cubicBezTo>
                          <a:pt x="26341" y="23909"/>
                          <a:pt x="26341" y="23909"/>
                          <a:pt x="26341" y="23909"/>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812"/>
                          <a:pt x="26016" y="24812"/>
                          <a:pt x="25691" y="24812"/>
                        </a:cubicBezTo>
                        <a:cubicBezTo>
                          <a:pt x="25691" y="25263"/>
                          <a:pt x="25365"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4715" y="25714"/>
                          <a:pt x="24715" y="25714"/>
                          <a:pt x="24715" y="25714"/>
                        </a:cubicBezTo>
                        <a:cubicBezTo>
                          <a:pt x="23739" y="27067"/>
                          <a:pt x="23739" y="27067"/>
                          <a:pt x="23739" y="27067"/>
                        </a:cubicBezTo>
                        <a:cubicBezTo>
                          <a:pt x="22439" y="27518"/>
                          <a:pt x="22439" y="27518"/>
                          <a:pt x="22439" y="2751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85" name="Shape 2049"/>
                  <p:cNvSpPr/>
                  <p:nvPr/>
                </p:nvSpPr>
                <p:spPr>
                  <a:xfrm>
                    <a:off x="6015453" y="2278355"/>
                    <a:ext cx="1400673" cy="943960"/>
                  </a:xfrm>
                  <a:custGeom>
                    <a:avLst/>
                    <a:gdLst/>
                    <a:ahLst/>
                    <a:cxnLst/>
                    <a:rect l="0" t="0" r="0" b="0"/>
                    <a:pathLst>
                      <a:path w="120000" h="120000" extrusionOk="0">
                        <a:moveTo>
                          <a:pt x="27557" y="85714"/>
                        </a:moveTo>
                        <a:cubicBezTo>
                          <a:pt x="27752" y="85714"/>
                          <a:pt x="28338" y="84309"/>
                          <a:pt x="28925" y="84309"/>
                        </a:cubicBezTo>
                        <a:cubicBezTo>
                          <a:pt x="29315" y="84028"/>
                          <a:pt x="29120" y="82622"/>
                          <a:pt x="29315" y="82060"/>
                        </a:cubicBezTo>
                        <a:cubicBezTo>
                          <a:pt x="29511" y="81498"/>
                          <a:pt x="30488" y="80374"/>
                          <a:pt x="31074" y="80093"/>
                        </a:cubicBezTo>
                        <a:cubicBezTo>
                          <a:pt x="31270" y="80093"/>
                          <a:pt x="31270" y="80093"/>
                          <a:pt x="31270" y="80093"/>
                        </a:cubicBezTo>
                        <a:cubicBezTo>
                          <a:pt x="31270" y="79531"/>
                          <a:pt x="31270" y="79531"/>
                          <a:pt x="31270" y="79531"/>
                        </a:cubicBezTo>
                        <a:cubicBezTo>
                          <a:pt x="31270" y="79531"/>
                          <a:pt x="31856" y="79250"/>
                          <a:pt x="31856" y="78969"/>
                        </a:cubicBezTo>
                        <a:cubicBezTo>
                          <a:pt x="32052" y="78969"/>
                          <a:pt x="32052" y="79250"/>
                          <a:pt x="32052" y="79250"/>
                        </a:cubicBezTo>
                        <a:cubicBezTo>
                          <a:pt x="32052" y="79250"/>
                          <a:pt x="32247" y="79531"/>
                          <a:pt x="32442" y="79531"/>
                        </a:cubicBezTo>
                        <a:cubicBezTo>
                          <a:pt x="32442" y="79531"/>
                          <a:pt x="32638" y="79250"/>
                          <a:pt x="32638" y="79250"/>
                        </a:cubicBezTo>
                        <a:cubicBezTo>
                          <a:pt x="32638" y="78969"/>
                          <a:pt x="32638" y="78688"/>
                          <a:pt x="32638" y="78688"/>
                        </a:cubicBezTo>
                        <a:cubicBezTo>
                          <a:pt x="32442" y="78407"/>
                          <a:pt x="32442" y="78126"/>
                          <a:pt x="32442" y="78126"/>
                        </a:cubicBezTo>
                        <a:cubicBezTo>
                          <a:pt x="32442" y="78126"/>
                          <a:pt x="32442" y="78126"/>
                          <a:pt x="32442" y="78126"/>
                        </a:cubicBezTo>
                        <a:cubicBezTo>
                          <a:pt x="32442" y="78126"/>
                          <a:pt x="32638" y="78126"/>
                          <a:pt x="32638" y="78126"/>
                        </a:cubicBezTo>
                        <a:cubicBezTo>
                          <a:pt x="32638" y="78126"/>
                          <a:pt x="32833" y="77845"/>
                          <a:pt x="32833" y="77845"/>
                        </a:cubicBezTo>
                        <a:cubicBezTo>
                          <a:pt x="33224" y="78126"/>
                          <a:pt x="33224" y="78126"/>
                          <a:pt x="33224" y="78126"/>
                        </a:cubicBezTo>
                        <a:cubicBezTo>
                          <a:pt x="33224" y="78126"/>
                          <a:pt x="33420" y="78126"/>
                          <a:pt x="33420" y="78126"/>
                        </a:cubicBezTo>
                        <a:cubicBezTo>
                          <a:pt x="33615" y="78407"/>
                          <a:pt x="33811" y="77845"/>
                          <a:pt x="33811" y="77845"/>
                        </a:cubicBezTo>
                        <a:cubicBezTo>
                          <a:pt x="34006" y="77564"/>
                          <a:pt x="34006" y="77564"/>
                          <a:pt x="34006" y="77564"/>
                        </a:cubicBezTo>
                        <a:cubicBezTo>
                          <a:pt x="34006" y="77564"/>
                          <a:pt x="34006" y="77564"/>
                          <a:pt x="34006" y="77283"/>
                        </a:cubicBezTo>
                        <a:cubicBezTo>
                          <a:pt x="34006" y="77283"/>
                          <a:pt x="34201" y="77283"/>
                          <a:pt x="34397" y="77283"/>
                        </a:cubicBezTo>
                        <a:cubicBezTo>
                          <a:pt x="34397" y="77283"/>
                          <a:pt x="34788" y="77283"/>
                          <a:pt x="34983" y="77283"/>
                        </a:cubicBezTo>
                        <a:cubicBezTo>
                          <a:pt x="35179" y="77283"/>
                          <a:pt x="35179" y="77283"/>
                          <a:pt x="35179" y="77283"/>
                        </a:cubicBezTo>
                        <a:cubicBezTo>
                          <a:pt x="35570" y="77002"/>
                          <a:pt x="35570" y="77002"/>
                          <a:pt x="35570" y="77002"/>
                        </a:cubicBezTo>
                        <a:cubicBezTo>
                          <a:pt x="35570" y="77002"/>
                          <a:pt x="35765" y="76721"/>
                          <a:pt x="35765" y="76721"/>
                        </a:cubicBezTo>
                        <a:cubicBezTo>
                          <a:pt x="35765" y="76440"/>
                          <a:pt x="35765" y="76159"/>
                          <a:pt x="35765" y="76159"/>
                        </a:cubicBezTo>
                        <a:cubicBezTo>
                          <a:pt x="35765" y="75878"/>
                          <a:pt x="36156" y="75878"/>
                          <a:pt x="36156" y="75878"/>
                        </a:cubicBezTo>
                        <a:cubicBezTo>
                          <a:pt x="36156" y="75878"/>
                          <a:pt x="36156" y="75878"/>
                          <a:pt x="36156" y="75878"/>
                        </a:cubicBezTo>
                        <a:cubicBezTo>
                          <a:pt x="36351" y="75878"/>
                          <a:pt x="36351" y="76159"/>
                          <a:pt x="36351" y="76159"/>
                        </a:cubicBezTo>
                        <a:cubicBezTo>
                          <a:pt x="36351" y="76159"/>
                          <a:pt x="36547" y="75878"/>
                          <a:pt x="36547" y="75878"/>
                        </a:cubicBezTo>
                        <a:cubicBezTo>
                          <a:pt x="36547" y="75597"/>
                          <a:pt x="36742" y="75597"/>
                          <a:pt x="36742" y="75597"/>
                        </a:cubicBezTo>
                        <a:cubicBezTo>
                          <a:pt x="36742" y="75597"/>
                          <a:pt x="37133" y="75316"/>
                          <a:pt x="37133" y="75035"/>
                        </a:cubicBezTo>
                        <a:cubicBezTo>
                          <a:pt x="37328" y="74754"/>
                          <a:pt x="37328" y="75035"/>
                          <a:pt x="37328" y="74473"/>
                        </a:cubicBezTo>
                        <a:cubicBezTo>
                          <a:pt x="37328" y="74192"/>
                          <a:pt x="37524" y="74473"/>
                          <a:pt x="37524" y="74754"/>
                        </a:cubicBezTo>
                        <a:cubicBezTo>
                          <a:pt x="37524" y="74754"/>
                          <a:pt x="37524" y="74754"/>
                          <a:pt x="37719" y="75035"/>
                        </a:cubicBezTo>
                        <a:cubicBezTo>
                          <a:pt x="37719" y="75035"/>
                          <a:pt x="37719" y="75035"/>
                          <a:pt x="38110" y="75035"/>
                        </a:cubicBezTo>
                        <a:cubicBezTo>
                          <a:pt x="38306" y="75316"/>
                          <a:pt x="38306" y="74754"/>
                          <a:pt x="38697" y="74754"/>
                        </a:cubicBezTo>
                        <a:cubicBezTo>
                          <a:pt x="39087" y="74754"/>
                          <a:pt x="38892" y="74754"/>
                          <a:pt x="39087" y="75035"/>
                        </a:cubicBezTo>
                        <a:cubicBezTo>
                          <a:pt x="39283" y="75035"/>
                          <a:pt x="39283" y="75035"/>
                          <a:pt x="39478" y="75035"/>
                        </a:cubicBezTo>
                        <a:cubicBezTo>
                          <a:pt x="39674" y="75316"/>
                          <a:pt x="39674" y="75316"/>
                          <a:pt x="39674" y="75316"/>
                        </a:cubicBezTo>
                        <a:cubicBezTo>
                          <a:pt x="39674" y="75316"/>
                          <a:pt x="39869" y="75316"/>
                          <a:pt x="40065" y="75597"/>
                        </a:cubicBezTo>
                        <a:cubicBezTo>
                          <a:pt x="40065"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433" y="76159"/>
                          <a:pt x="41433" y="76159"/>
                          <a:pt x="41433" y="76159"/>
                        </a:cubicBezTo>
                        <a:cubicBezTo>
                          <a:pt x="41433" y="76159"/>
                          <a:pt x="41433" y="76721"/>
                          <a:pt x="41628" y="76721"/>
                        </a:cubicBezTo>
                        <a:cubicBezTo>
                          <a:pt x="41628" y="77002"/>
                          <a:pt x="41628" y="77002"/>
                          <a:pt x="41824" y="77002"/>
                        </a:cubicBezTo>
                        <a:cubicBezTo>
                          <a:pt x="41824" y="77002"/>
                          <a:pt x="42019" y="76440"/>
                          <a:pt x="42019" y="76159"/>
                        </a:cubicBezTo>
                        <a:cubicBezTo>
                          <a:pt x="42019" y="76159"/>
                          <a:pt x="42214" y="76440"/>
                          <a:pt x="42214" y="76440"/>
                        </a:cubicBezTo>
                        <a:cubicBezTo>
                          <a:pt x="42214" y="76440"/>
                          <a:pt x="42214" y="77002"/>
                          <a:pt x="42410" y="77002"/>
                        </a:cubicBezTo>
                        <a:cubicBezTo>
                          <a:pt x="42410" y="76721"/>
                          <a:pt x="42605" y="76721"/>
                          <a:pt x="42605" y="76721"/>
                        </a:cubicBezTo>
                        <a:cubicBezTo>
                          <a:pt x="42801" y="76721"/>
                          <a:pt x="42605" y="76440"/>
                          <a:pt x="42605" y="76440"/>
                        </a:cubicBezTo>
                        <a:cubicBezTo>
                          <a:pt x="42605" y="76440"/>
                          <a:pt x="42801" y="76159"/>
                          <a:pt x="42801" y="76159"/>
                        </a:cubicBezTo>
                        <a:cubicBezTo>
                          <a:pt x="42996" y="76159"/>
                          <a:pt x="43387" y="76159"/>
                          <a:pt x="43387" y="76159"/>
                        </a:cubicBezTo>
                        <a:cubicBezTo>
                          <a:pt x="43583" y="76159"/>
                          <a:pt x="43583" y="76721"/>
                          <a:pt x="43583" y="76721"/>
                        </a:cubicBezTo>
                        <a:cubicBezTo>
                          <a:pt x="43583" y="76721"/>
                          <a:pt x="43387" y="77283"/>
                          <a:pt x="43387" y="77283"/>
                        </a:cubicBezTo>
                        <a:cubicBezTo>
                          <a:pt x="43387" y="77283"/>
                          <a:pt x="43192" y="77564"/>
                          <a:pt x="43192" y="77845"/>
                        </a:cubicBezTo>
                        <a:cubicBezTo>
                          <a:pt x="43192" y="77845"/>
                          <a:pt x="43192" y="77845"/>
                          <a:pt x="43387" y="77564"/>
                        </a:cubicBezTo>
                        <a:cubicBezTo>
                          <a:pt x="43778" y="77564"/>
                          <a:pt x="43583" y="77283"/>
                          <a:pt x="43583" y="77283"/>
                        </a:cubicBezTo>
                        <a:cubicBezTo>
                          <a:pt x="43778" y="76721"/>
                          <a:pt x="43778" y="76721"/>
                          <a:pt x="43778" y="76721"/>
                        </a:cubicBezTo>
                        <a:cubicBezTo>
                          <a:pt x="43778" y="76721"/>
                          <a:pt x="44169" y="77002"/>
                          <a:pt x="44169" y="77283"/>
                        </a:cubicBezTo>
                        <a:cubicBezTo>
                          <a:pt x="44169" y="77283"/>
                          <a:pt x="44169" y="77564"/>
                          <a:pt x="44169" y="77564"/>
                        </a:cubicBezTo>
                        <a:cubicBezTo>
                          <a:pt x="44169" y="77845"/>
                          <a:pt x="44364" y="77845"/>
                          <a:pt x="44364" y="78126"/>
                        </a:cubicBezTo>
                        <a:cubicBezTo>
                          <a:pt x="44560" y="78407"/>
                          <a:pt x="44364" y="78126"/>
                          <a:pt x="44364" y="78126"/>
                        </a:cubicBezTo>
                        <a:cubicBezTo>
                          <a:pt x="44364" y="77845"/>
                          <a:pt x="44560" y="77283"/>
                          <a:pt x="44560" y="77283"/>
                        </a:cubicBezTo>
                        <a:cubicBezTo>
                          <a:pt x="44755" y="76721"/>
                          <a:pt x="44755" y="76721"/>
                          <a:pt x="44755" y="76721"/>
                        </a:cubicBezTo>
                        <a:cubicBezTo>
                          <a:pt x="44755" y="76721"/>
                          <a:pt x="45537" y="76721"/>
                          <a:pt x="46319" y="76721"/>
                        </a:cubicBezTo>
                        <a:cubicBezTo>
                          <a:pt x="47100" y="76721"/>
                          <a:pt x="46514" y="76440"/>
                          <a:pt x="46514" y="76440"/>
                        </a:cubicBezTo>
                        <a:cubicBezTo>
                          <a:pt x="46905" y="76440"/>
                          <a:pt x="46905" y="76440"/>
                          <a:pt x="46905" y="76440"/>
                        </a:cubicBezTo>
                        <a:cubicBezTo>
                          <a:pt x="47100" y="77564"/>
                          <a:pt x="47100" y="77564"/>
                          <a:pt x="47100" y="77564"/>
                        </a:cubicBezTo>
                        <a:cubicBezTo>
                          <a:pt x="47100" y="77564"/>
                          <a:pt x="47491" y="78126"/>
                          <a:pt x="47687" y="78126"/>
                        </a:cubicBezTo>
                        <a:cubicBezTo>
                          <a:pt x="47882" y="78407"/>
                          <a:pt x="47882" y="78407"/>
                          <a:pt x="48273" y="78688"/>
                        </a:cubicBezTo>
                        <a:cubicBezTo>
                          <a:pt x="48859" y="78688"/>
                          <a:pt x="48664" y="78688"/>
                          <a:pt x="48664" y="78688"/>
                        </a:cubicBezTo>
                        <a:cubicBezTo>
                          <a:pt x="48859" y="78688"/>
                          <a:pt x="48859" y="78126"/>
                          <a:pt x="49055" y="77845"/>
                        </a:cubicBezTo>
                        <a:cubicBezTo>
                          <a:pt x="49055" y="77564"/>
                          <a:pt x="49250" y="77564"/>
                          <a:pt x="49250" y="77564"/>
                        </a:cubicBezTo>
                        <a:cubicBezTo>
                          <a:pt x="49250" y="77564"/>
                          <a:pt x="49641" y="78126"/>
                          <a:pt x="49641" y="78126"/>
                        </a:cubicBezTo>
                        <a:cubicBezTo>
                          <a:pt x="49837" y="78407"/>
                          <a:pt x="49837" y="78688"/>
                          <a:pt x="49837" y="78688"/>
                        </a:cubicBezTo>
                        <a:cubicBezTo>
                          <a:pt x="50423" y="78969"/>
                          <a:pt x="50423" y="78969"/>
                          <a:pt x="50423" y="78969"/>
                        </a:cubicBezTo>
                        <a:cubicBezTo>
                          <a:pt x="50423" y="79250"/>
                          <a:pt x="50423" y="79250"/>
                          <a:pt x="50423" y="79250"/>
                        </a:cubicBezTo>
                        <a:cubicBezTo>
                          <a:pt x="50423" y="80093"/>
                          <a:pt x="50423" y="80093"/>
                          <a:pt x="50423" y="80093"/>
                        </a:cubicBezTo>
                        <a:cubicBezTo>
                          <a:pt x="50814" y="80374"/>
                          <a:pt x="50814" y="80374"/>
                          <a:pt x="50814" y="80374"/>
                        </a:cubicBezTo>
                        <a:cubicBezTo>
                          <a:pt x="50618" y="80936"/>
                          <a:pt x="50618" y="80936"/>
                          <a:pt x="50618" y="80936"/>
                        </a:cubicBezTo>
                        <a:cubicBezTo>
                          <a:pt x="50618" y="80936"/>
                          <a:pt x="50814" y="81498"/>
                          <a:pt x="50814" y="81779"/>
                        </a:cubicBezTo>
                        <a:cubicBezTo>
                          <a:pt x="50814" y="81779"/>
                          <a:pt x="51009" y="82341"/>
                          <a:pt x="51009" y="82341"/>
                        </a:cubicBezTo>
                        <a:cubicBezTo>
                          <a:pt x="51009" y="83185"/>
                          <a:pt x="51009" y="83185"/>
                          <a:pt x="51009" y="83185"/>
                        </a:cubicBezTo>
                        <a:cubicBezTo>
                          <a:pt x="50814" y="83747"/>
                          <a:pt x="50814" y="83747"/>
                          <a:pt x="50814" y="83747"/>
                        </a:cubicBezTo>
                        <a:cubicBezTo>
                          <a:pt x="51009" y="84028"/>
                          <a:pt x="51009" y="84028"/>
                          <a:pt x="51009" y="84028"/>
                        </a:cubicBezTo>
                        <a:cubicBezTo>
                          <a:pt x="51009" y="84028"/>
                          <a:pt x="51009" y="84871"/>
                          <a:pt x="51205" y="85152"/>
                        </a:cubicBezTo>
                        <a:cubicBezTo>
                          <a:pt x="51400" y="85714"/>
                          <a:pt x="51596" y="84871"/>
                          <a:pt x="51596" y="84871"/>
                        </a:cubicBezTo>
                        <a:cubicBezTo>
                          <a:pt x="51986" y="84871"/>
                          <a:pt x="51986" y="84871"/>
                          <a:pt x="51986" y="84871"/>
                        </a:cubicBezTo>
                        <a:cubicBezTo>
                          <a:pt x="52377" y="85714"/>
                          <a:pt x="52377" y="85714"/>
                          <a:pt x="52377" y="85714"/>
                        </a:cubicBezTo>
                        <a:cubicBezTo>
                          <a:pt x="52573" y="85714"/>
                          <a:pt x="52573" y="85714"/>
                          <a:pt x="52573" y="85714"/>
                        </a:cubicBezTo>
                        <a:cubicBezTo>
                          <a:pt x="52964" y="85995"/>
                          <a:pt x="52964" y="85995"/>
                          <a:pt x="52964" y="85995"/>
                        </a:cubicBezTo>
                        <a:cubicBezTo>
                          <a:pt x="53159" y="86838"/>
                          <a:pt x="53159" y="86838"/>
                          <a:pt x="53159" y="86838"/>
                        </a:cubicBezTo>
                        <a:cubicBezTo>
                          <a:pt x="53550" y="86557"/>
                          <a:pt x="53550" y="86557"/>
                          <a:pt x="53550" y="86557"/>
                        </a:cubicBezTo>
                        <a:cubicBezTo>
                          <a:pt x="53745" y="85714"/>
                          <a:pt x="53745" y="85714"/>
                          <a:pt x="53745" y="85714"/>
                        </a:cubicBezTo>
                        <a:cubicBezTo>
                          <a:pt x="54136" y="85995"/>
                          <a:pt x="54136" y="85995"/>
                          <a:pt x="54136" y="85995"/>
                        </a:cubicBezTo>
                        <a:cubicBezTo>
                          <a:pt x="54527" y="85995"/>
                          <a:pt x="54527" y="85995"/>
                          <a:pt x="54527" y="85995"/>
                        </a:cubicBezTo>
                        <a:cubicBezTo>
                          <a:pt x="54527" y="87119"/>
                          <a:pt x="54527" y="87119"/>
                          <a:pt x="54527" y="87119"/>
                        </a:cubicBezTo>
                        <a:cubicBezTo>
                          <a:pt x="54527" y="87119"/>
                          <a:pt x="54723" y="87400"/>
                          <a:pt x="54723" y="87681"/>
                        </a:cubicBezTo>
                        <a:cubicBezTo>
                          <a:pt x="54723" y="87681"/>
                          <a:pt x="54723" y="88243"/>
                          <a:pt x="54723" y="88243"/>
                        </a:cubicBezTo>
                        <a:cubicBezTo>
                          <a:pt x="54918" y="88805"/>
                          <a:pt x="54918" y="88805"/>
                          <a:pt x="54918" y="88805"/>
                        </a:cubicBezTo>
                        <a:cubicBezTo>
                          <a:pt x="54332" y="89086"/>
                          <a:pt x="54332" y="89086"/>
                          <a:pt x="54332" y="89086"/>
                        </a:cubicBezTo>
                        <a:cubicBezTo>
                          <a:pt x="54723" y="89367"/>
                          <a:pt x="54723" y="89367"/>
                          <a:pt x="54723" y="89367"/>
                        </a:cubicBezTo>
                        <a:cubicBezTo>
                          <a:pt x="54723" y="89367"/>
                          <a:pt x="55114" y="89367"/>
                          <a:pt x="55309" y="89367"/>
                        </a:cubicBezTo>
                        <a:cubicBezTo>
                          <a:pt x="55504" y="89367"/>
                          <a:pt x="55504" y="90210"/>
                          <a:pt x="55504" y="90210"/>
                        </a:cubicBezTo>
                        <a:cubicBezTo>
                          <a:pt x="55504" y="90210"/>
                          <a:pt x="55504" y="90491"/>
                          <a:pt x="55309" y="90772"/>
                        </a:cubicBezTo>
                        <a:cubicBezTo>
                          <a:pt x="55309" y="90772"/>
                          <a:pt x="55309" y="91053"/>
                          <a:pt x="55309" y="91334"/>
                        </a:cubicBezTo>
                        <a:cubicBezTo>
                          <a:pt x="55504" y="91334"/>
                          <a:pt x="55895" y="91615"/>
                          <a:pt x="56091" y="91615"/>
                        </a:cubicBezTo>
                        <a:cubicBezTo>
                          <a:pt x="56482" y="91615"/>
                          <a:pt x="56482" y="91615"/>
                          <a:pt x="56482" y="91615"/>
                        </a:cubicBezTo>
                        <a:cubicBezTo>
                          <a:pt x="56872" y="91615"/>
                          <a:pt x="56872" y="91615"/>
                          <a:pt x="56872" y="91615"/>
                        </a:cubicBezTo>
                        <a:cubicBezTo>
                          <a:pt x="56872" y="91615"/>
                          <a:pt x="57068" y="91896"/>
                          <a:pt x="57263" y="91896"/>
                        </a:cubicBezTo>
                        <a:cubicBezTo>
                          <a:pt x="57263" y="91615"/>
                          <a:pt x="57654" y="91615"/>
                          <a:pt x="57654" y="91615"/>
                        </a:cubicBezTo>
                        <a:cubicBezTo>
                          <a:pt x="58045" y="92177"/>
                          <a:pt x="58045" y="92177"/>
                          <a:pt x="58045" y="92177"/>
                        </a:cubicBezTo>
                        <a:cubicBezTo>
                          <a:pt x="58436" y="91896"/>
                          <a:pt x="58436" y="91896"/>
                          <a:pt x="58436" y="91896"/>
                        </a:cubicBezTo>
                        <a:cubicBezTo>
                          <a:pt x="58436" y="92459"/>
                          <a:pt x="58436" y="92459"/>
                          <a:pt x="58436" y="92459"/>
                        </a:cubicBezTo>
                        <a:cubicBezTo>
                          <a:pt x="58436" y="92459"/>
                          <a:pt x="58827" y="93583"/>
                          <a:pt x="58827" y="93583"/>
                        </a:cubicBezTo>
                        <a:cubicBezTo>
                          <a:pt x="59022" y="93864"/>
                          <a:pt x="59022" y="94426"/>
                          <a:pt x="59022" y="94707"/>
                        </a:cubicBezTo>
                        <a:cubicBezTo>
                          <a:pt x="59022" y="94988"/>
                          <a:pt x="59218" y="95550"/>
                          <a:pt x="59218" y="95550"/>
                        </a:cubicBezTo>
                        <a:cubicBezTo>
                          <a:pt x="59218" y="95550"/>
                          <a:pt x="59022" y="95550"/>
                          <a:pt x="58827" y="95831"/>
                        </a:cubicBezTo>
                        <a:cubicBezTo>
                          <a:pt x="58631" y="96112"/>
                          <a:pt x="59022" y="96393"/>
                          <a:pt x="59022" y="96393"/>
                        </a:cubicBezTo>
                        <a:cubicBezTo>
                          <a:pt x="59413" y="96393"/>
                          <a:pt x="59413" y="96393"/>
                          <a:pt x="59413" y="96393"/>
                        </a:cubicBezTo>
                        <a:cubicBezTo>
                          <a:pt x="59413" y="96393"/>
                          <a:pt x="59804" y="96955"/>
                          <a:pt x="59804" y="97236"/>
                        </a:cubicBezTo>
                        <a:cubicBezTo>
                          <a:pt x="59999" y="97517"/>
                          <a:pt x="60390" y="97236"/>
                          <a:pt x="60586" y="97236"/>
                        </a:cubicBezTo>
                        <a:cubicBezTo>
                          <a:pt x="60781" y="96955"/>
                          <a:pt x="61172" y="97236"/>
                          <a:pt x="61172" y="97517"/>
                        </a:cubicBezTo>
                        <a:cubicBezTo>
                          <a:pt x="61172" y="97517"/>
                          <a:pt x="60586" y="97798"/>
                          <a:pt x="60390" y="97798"/>
                        </a:cubicBezTo>
                        <a:cubicBezTo>
                          <a:pt x="60195" y="98079"/>
                          <a:pt x="59609" y="98079"/>
                          <a:pt x="59609" y="98079"/>
                        </a:cubicBezTo>
                        <a:cubicBezTo>
                          <a:pt x="59413" y="98922"/>
                          <a:pt x="59413" y="98922"/>
                          <a:pt x="59413" y="98922"/>
                        </a:cubicBezTo>
                        <a:cubicBezTo>
                          <a:pt x="59022" y="99203"/>
                          <a:pt x="59022" y="99203"/>
                          <a:pt x="59022" y="99203"/>
                        </a:cubicBezTo>
                        <a:cubicBezTo>
                          <a:pt x="58827" y="98360"/>
                          <a:pt x="58827" y="98360"/>
                          <a:pt x="58827" y="98360"/>
                        </a:cubicBezTo>
                        <a:cubicBezTo>
                          <a:pt x="58045" y="97517"/>
                          <a:pt x="58045" y="97517"/>
                          <a:pt x="58045" y="97517"/>
                        </a:cubicBezTo>
                        <a:cubicBezTo>
                          <a:pt x="58045" y="98360"/>
                          <a:pt x="58045" y="98360"/>
                          <a:pt x="58045" y="98360"/>
                        </a:cubicBezTo>
                        <a:cubicBezTo>
                          <a:pt x="57654" y="98641"/>
                          <a:pt x="57654" y="98641"/>
                          <a:pt x="57654" y="98641"/>
                        </a:cubicBezTo>
                        <a:cubicBezTo>
                          <a:pt x="57654" y="98641"/>
                          <a:pt x="57654" y="98922"/>
                          <a:pt x="57654" y="99203"/>
                        </a:cubicBezTo>
                        <a:cubicBezTo>
                          <a:pt x="57654" y="99484"/>
                          <a:pt x="57459" y="99484"/>
                          <a:pt x="57459" y="99484"/>
                        </a:cubicBezTo>
                        <a:cubicBezTo>
                          <a:pt x="57068" y="99203"/>
                          <a:pt x="57068" y="99203"/>
                          <a:pt x="57068" y="99203"/>
                        </a:cubicBezTo>
                        <a:cubicBezTo>
                          <a:pt x="57068" y="99203"/>
                          <a:pt x="56677" y="99203"/>
                          <a:pt x="56482" y="99203"/>
                        </a:cubicBezTo>
                        <a:cubicBezTo>
                          <a:pt x="56286" y="99203"/>
                          <a:pt x="56286" y="98641"/>
                          <a:pt x="56286" y="98641"/>
                        </a:cubicBezTo>
                        <a:cubicBezTo>
                          <a:pt x="56091" y="98922"/>
                          <a:pt x="56091" y="98922"/>
                          <a:pt x="56091" y="98922"/>
                        </a:cubicBezTo>
                        <a:cubicBezTo>
                          <a:pt x="56091" y="98922"/>
                          <a:pt x="56091" y="99203"/>
                          <a:pt x="55895" y="99484"/>
                        </a:cubicBezTo>
                        <a:cubicBezTo>
                          <a:pt x="55895" y="99765"/>
                          <a:pt x="55895" y="99484"/>
                          <a:pt x="55504" y="99484"/>
                        </a:cubicBezTo>
                        <a:cubicBezTo>
                          <a:pt x="55309" y="99765"/>
                          <a:pt x="55309" y="99203"/>
                          <a:pt x="55114" y="98922"/>
                        </a:cubicBezTo>
                        <a:cubicBezTo>
                          <a:pt x="55114" y="98360"/>
                          <a:pt x="55114" y="98922"/>
                          <a:pt x="54918" y="98922"/>
                        </a:cubicBezTo>
                        <a:cubicBezTo>
                          <a:pt x="54723" y="98922"/>
                          <a:pt x="55114" y="99765"/>
                          <a:pt x="55114" y="99765"/>
                        </a:cubicBezTo>
                        <a:cubicBezTo>
                          <a:pt x="54918" y="100046"/>
                          <a:pt x="54918" y="100046"/>
                          <a:pt x="54918" y="100046"/>
                        </a:cubicBezTo>
                        <a:cubicBezTo>
                          <a:pt x="54918" y="100046"/>
                          <a:pt x="54918" y="100608"/>
                          <a:pt x="54527" y="100889"/>
                        </a:cubicBezTo>
                        <a:cubicBezTo>
                          <a:pt x="54332" y="100889"/>
                          <a:pt x="54527" y="100327"/>
                          <a:pt x="54527" y="100327"/>
                        </a:cubicBezTo>
                        <a:cubicBezTo>
                          <a:pt x="54527" y="99203"/>
                          <a:pt x="54527" y="99203"/>
                          <a:pt x="54527" y="99203"/>
                        </a:cubicBezTo>
                        <a:cubicBezTo>
                          <a:pt x="54136" y="97798"/>
                          <a:pt x="54136" y="97798"/>
                          <a:pt x="54136" y="97798"/>
                        </a:cubicBezTo>
                        <a:cubicBezTo>
                          <a:pt x="54136" y="97798"/>
                          <a:pt x="53355" y="98922"/>
                          <a:pt x="53159" y="98922"/>
                        </a:cubicBezTo>
                        <a:cubicBezTo>
                          <a:pt x="53159" y="99203"/>
                          <a:pt x="52768" y="100327"/>
                          <a:pt x="52573" y="100327"/>
                        </a:cubicBezTo>
                        <a:cubicBezTo>
                          <a:pt x="52573" y="100608"/>
                          <a:pt x="52573" y="101170"/>
                          <a:pt x="52573" y="101170"/>
                        </a:cubicBezTo>
                        <a:cubicBezTo>
                          <a:pt x="52964" y="102014"/>
                          <a:pt x="52964" y="102014"/>
                          <a:pt x="52964" y="102014"/>
                        </a:cubicBezTo>
                        <a:cubicBezTo>
                          <a:pt x="52964" y="102857"/>
                          <a:pt x="52964" y="102857"/>
                          <a:pt x="52964" y="102857"/>
                        </a:cubicBezTo>
                        <a:cubicBezTo>
                          <a:pt x="53355" y="103419"/>
                          <a:pt x="53355" y="103419"/>
                          <a:pt x="53355" y="103419"/>
                        </a:cubicBezTo>
                        <a:cubicBezTo>
                          <a:pt x="53355" y="103419"/>
                          <a:pt x="53745" y="103419"/>
                          <a:pt x="53941" y="103700"/>
                        </a:cubicBezTo>
                        <a:cubicBezTo>
                          <a:pt x="54136" y="103700"/>
                          <a:pt x="53941" y="104262"/>
                          <a:pt x="53941" y="104262"/>
                        </a:cubicBezTo>
                        <a:cubicBezTo>
                          <a:pt x="53745" y="105386"/>
                          <a:pt x="53745" y="105386"/>
                          <a:pt x="53745" y="105386"/>
                        </a:cubicBezTo>
                        <a:cubicBezTo>
                          <a:pt x="53745" y="105386"/>
                          <a:pt x="53941" y="105667"/>
                          <a:pt x="54136" y="105948"/>
                        </a:cubicBezTo>
                        <a:cubicBezTo>
                          <a:pt x="54136" y="106229"/>
                          <a:pt x="53745" y="106791"/>
                          <a:pt x="53745" y="106791"/>
                        </a:cubicBezTo>
                        <a:cubicBezTo>
                          <a:pt x="53550" y="106791"/>
                          <a:pt x="52964" y="107634"/>
                          <a:pt x="52964" y="107634"/>
                        </a:cubicBezTo>
                        <a:cubicBezTo>
                          <a:pt x="52964" y="107634"/>
                          <a:pt x="52768" y="107915"/>
                          <a:pt x="52573" y="107915"/>
                        </a:cubicBezTo>
                        <a:cubicBezTo>
                          <a:pt x="52377" y="107915"/>
                          <a:pt x="52768" y="108758"/>
                          <a:pt x="52768" y="108758"/>
                        </a:cubicBezTo>
                        <a:cubicBezTo>
                          <a:pt x="52964" y="109601"/>
                          <a:pt x="52964" y="109601"/>
                          <a:pt x="52964" y="109601"/>
                        </a:cubicBezTo>
                        <a:cubicBezTo>
                          <a:pt x="52964" y="109601"/>
                          <a:pt x="52768" y="109882"/>
                          <a:pt x="52768" y="109882"/>
                        </a:cubicBezTo>
                        <a:cubicBezTo>
                          <a:pt x="52573" y="110163"/>
                          <a:pt x="52573" y="110725"/>
                          <a:pt x="52573" y="110725"/>
                        </a:cubicBezTo>
                        <a:cubicBezTo>
                          <a:pt x="52182" y="110725"/>
                          <a:pt x="52182" y="110725"/>
                          <a:pt x="52182" y="110725"/>
                        </a:cubicBezTo>
                        <a:cubicBezTo>
                          <a:pt x="51986" y="111288"/>
                          <a:pt x="51986" y="111288"/>
                          <a:pt x="51986" y="111288"/>
                        </a:cubicBezTo>
                        <a:cubicBezTo>
                          <a:pt x="51986" y="111288"/>
                          <a:pt x="51986" y="112131"/>
                          <a:pt x="51791" y="112131"/>
                        </a:cubicBezTo>
                        <a:cubicBezTo>
                          <a:pt x="51596" y="112131"/>
                          <a:pt x="51791" y="112693"/>
                          <a:pt x="51791" y="112693"/>
                        </a:cubicBezTo>
                        <a:cubicBezTo>
                          <a:pt x="51596" y="113255"/>
                          <a:pt x="51596" y="113255"/>
                          <a:pt x="51596" y="113255"/>
                        </a:cubicBezTo>
                        <a:cubicBezTo>
                          <a:pt x="52377" y="113817"/>
                          <a:pt x="52377" y="113817"/>
                          <a:pt x="52377" y="113817"/>
                        </a:cubicBezTo>
                        <a:cubicBezTo>
                          <a:pt x="52182" y="114379"/>
                          <a:pt x="52182" y="114379"/>
                          <a:pt x="52182" y="114379"/>
                        </a:cubicBezTo>
                        <a:cubicBezTo>
                          <a:pt x="52182" y="114941"/>
                          <a:pt x="52182" y="114941"/>
                          <a:pt x="52182" y="114941"/>
                        </a:cubicBezTo>
                        <a:cubicBezTo>
                          <a:pt x="52377" y="114941"/>
                          <a:pt x="52377" y="114941"/>
                          <a:pt x="52377" y="114941"/>
                        </a:cubicBezTo>
                        <a:cubicBezTo>
                          <a:pt x="52377" y="114941"/>
                          <a:pt x="51986" y="115222"/>
                          <a:pt x="51791" y="115222"/>
                        </a:cubicBezTo>
                        <a:cubicBezTo>
                          <a:pt x="51596" y="115503"/>
                          <a:pt x="51400" y="115222"/>
                          <a:pt x="51205" y="115503"/>
                        </a:cubicBezTo>
                        <a:cubicBezTo>
                          <a:pt x="51009" y="115503"/>
                          <a:pt x="50423" y="115784"/>
                          <a:pt x="50423" y="115784"/>
                        </a:cubicBezTo>
                        <a:cubicBezTo>
                          <a:pt x="50228" y="116908"/>
                          <a:pt x="50228" y="116908"/>
                          <a:pt x="50228" y="116908"/>
                        </a:cubicBezTo>
                        <a:cubicBezTo>
                          <a:pt x="49837" y="116908"/>
                          <a:pt x="49837" y="116908"/>
                          <a:pt x="49837" y="116908"/>
                        </a:cubicBezTo>
                        <a:cubicBezTo>
                          <a:pt x="49837" y="116346"/>
                          <a:pt x="49837" y="116346"/>
                          <a:pt x="49837" y="116346"/>
                        </a:cubicBezTo>
                        <a:cubicBezTo>
                          <a:pt x="49641" y="116065"/>
                          <a:pt x="49641" y="116065"/>
                          <a:pt x="49641" y="116065"/>
                        </a:cubicBezTo>
                        <a:cubicBezTo>
                          <a:pt x="49641" y="116627"/>
                          <a:pt x="49641" y="116908"/>
                          <a:pt x="49641" y="116908"/>
                        </a:cubicBezTo>
                        <a:cubicBezTo>
                          <a:pt x="51596" y="118875"/>
                          <a:pt x="51596" y="118875"/>
                          <a:pt x="51596" y="118875"/>
                        </a:cubicBezTo>
                        <a:cubicBezTo>
                          <a:pt x="54918" y="120000"/>
                          <a:pt x="54918" y="120000"/>
                          <a:pt x="54918" y="120000"/>
                        </a:cubicBezTo>
                        <a:cubicBezTo>
                          <a:pt x="55700" y="118032"/>
                          <a:pt x="55700" y="118032"/>
                          <a:pt x="55700" y="118032"/>
                        </a:cubicBezTo>
                        <a:cubicBezTo>
                          <a:pt x="55700" y="118032"/>
                          <a:pt x="57459" y="113536"/>
                          <a:pt x="58827" y="113817"/>
                        </a:cubicBezTo>
                        <a:cubicBezTo>
                          <a:pt x="59804" y="114098"/>
                          <a:pt x="61172" y="114660"/>
                          <a:pt x="61368" y="114660"/>
                        </a:cubicBezTo>
                        <a:cubicBezTo>
                          <a:pt x="61172" y="112974"/>
                          <a:pt x="59022" y="110163"/>
                          <a:pt x="59413" y="109601"/>
                        </a:cubicBezTo>
                        <a:cubicBezTo>
                          <a:pt x="59804" y="108758"/>
                          <a:pt x="60781" y="106791"/>
                          <a:pt x="61368" y="105667"/>
                        </a:cubicBezTo>
                        <a:cubicBezTo>
                          <a:pt x="61758" y="104543"/>
                          <a:pt x="63713" y="103700"/>
                          <a:pt x="63713" y="103700"/>
                        </a:cubicBezTo>
                        <a:cubicBezTo>
                          <a:pt x="65276" y="99484"/>
                          <a:pt x="65276" y="99484"/>
                          <a:pt x="65276" y="99484"/>
                        </a:cubicBezTo>
                        <a:cubicBezTo>
                          <a:pt x="64885" y="93021"/>
                          <a:pt x="64495" y="91334"/>
                          <a:pt x="69185" y="90491"/>
                        </a:cubicBezTo>
                        <a:cubicBezTo>
                          <a:pt x="69967" y="90210"/>
                          <a:pt x="70944" y="89367"/>
                          <a:pt x="70944" y="89367"/>
                        </a:cubicBezTo>
                        <a:cubicBezTo>
                          <a:pt x="72508" y="88524"/>
                          <a:pt x="72508" y="88524"/>
                          <a:pt x="72508" y="88524"/>
                        </a:cubicBezTo>
                        <a:cubicBezTo>
                          <a:pt x="75439" y="87962"/>
                          <a:pt x="75439" y="87962"/>
                          <a:pt x="75439" y="87962"/>
                        </a:cubicBezTo>
                        <a:cubicBezTo>
                          <a:pt x="73094" y="89929"/>
                          <a:pt x="73094" y="89929"/>
                          <a:pt x="73094" y="89929"/>
                        </a:cubicBezTo>
                        <a:cubicBezTo>
                          <a:pt x="71335" y="92740"/>
                          <a:pt x="71335" y="92740"/>
                          <a:pt x="71335" y="92740"/>
                        </a:cubicBezTo>
                        <a:cubicBezTo>
                          <a:pt x="73680" y="93583"/>
                          <a:pt x="73680" y="93583"/>
                          <a:pt x="73680" y="93583"/>
                        </a:cubicBezTo>
                        <a:cubicBezTo>
                          <a:pt x="73680" y="93583"/>
                          <a:pt x="73680" y="96112"/>
                          <a:pt x="74853" y="95550"/>
                        </a:cubicBezTo>
                        <a:cubicBezTo>
                          <a:pt x="75830" y="94988"/>
                          <a:pt x="78175" y="93583"/>
                          <a:pt x="78566" y="93583"/>
                        </a:cubicBezTo>
                        <a:cubicBezTo>
                          <a:pt x="78957" y="93302"/>
                          <a:pt x="81107" y="92459"/>
                          <a:pt x="81693" y="92459"/>
                        </a:cubicBezTo>
                        <a:cubicBezTo>
                          <a:pt x="82280" y="92459"/>
                          <a:pt x="85407" y="91896"/>
                          <a:pt x="85407" y="91896"/>
                        </a:cubicBezTo>
                        <a:cubicBezTo>
                          <a:pt x="85798" y="94426"/>
                          <a:pt x="85798" y="94426"/>
                          <a:pt x="85798" y="94426"/>
                        </a:cubicBezTo>
                        <a:cubicBezTo>
                          <a:pt x="84429" y="96955"/>
                          <a:pt x="84429" y="96955"/>
                          <a:pt x="84429" y="96955"/>
                        </a:cubicBezTo>
                        <a:cubicBezTo>
                          <a:pt x="82671" y="99484"/>
                          <a:pt x="82671" y="99484"/>
                          <a:pt x="82671" y="99484"/>
                        </a:cubicBezTo>
                        <a:cubicBezTo>
                          <a:pt x="79934" y="103138"/>
                          <a:pt x="79934" y="103138"/>
                          <a:pt x="79934" y="103138"/>
                        </a:cubicBezTo>
                        <a:cubicBezTo>
                          <a:pt x="79934" y="103138"/>
                          <a:pt x="79153" y="105105"/>
                          <a:pt x="79543" y="105386"/>
                        </a:cubicBezTo>
                        <a:cubicBezTo>
                          <a:pt x="79934" y="105667"/>
                          <a:pt x="82866" y="105105"/>
                          <a:pt x="82866" y="105105"/>
                        </a:cubicBezTo>
                        <a:cubicBezTo>
                          <a:pt x="86188" y="105386"/>
                          <a:pt x="86188" y="105386"/>
                          <a:pt x="86188" y="105386"/>
                        </a:cubicBezTo>
                        <a:cubicBezTo>
                          <a:pt x="86188" y="105386"/>
                          <a:pt x="86775" y="105667"/>
                          <a:pt x="87166" y="107353"/>
                        </a:cubicBezTo>
                        <a:cubicBezTo>
                          <a:pt x="87752" y="109320"/>
                          <a:pt x="88143" y="110163"/>
                          <a:pt x="88338" y="110725"/>
                        </a:cubicBezTo>
                        <a:cubicBezTo>
                          <a:pt x="88729" y="111569"/>
                          <a:pt x="89511" y="113255"/>
                          <a:pt x="89511" y="113255"/>
                        </a:cubicBezTo>
                        <a:cubicBezTo>
                          <a:pt x="89511" y="113255"/>
                          <a:pt x="88729" y="114379"/>
                          <a:pt x="89706" y="114098"/>
                        </a:cubicBezTo>
                        <a:cubicBezTo>
                          <a:pt x="90879" y="114098"/>
                          <a:pt x="91661" y="113817"/>
                          <a:pt x="91661" y="113817"/>
                        </a:cubicBezTo>
                        <a:cubicBezTo>
                          <a:pt x="91661" y="113817"/>
                          <a:pt x="91856" y="112131"/>
                          <a:pt x="92247" y="111569"/>
                        </a:cubicBezTo>
                        <a:cubicBezTo>
                          <a:pt x="92833" y="111288"/>
                          <a:pt x="93420" y="110444"/>
                          <a:pt x="93420" y="110444"/>
                        </a:cubicBezTo>
                        <a:cubicBezTo>
                          <a:pt x="93420" y="110444"/>
                          <a:pt x="93224" y="108758"/>
                          <a:pt x="93811" y="108196"/>
                        </a:cubicBezTo>
                        <a:cubicBezTo>
                          <a:pt x="94397" y="107915"/>
                          <a:pt x="95179" y="107634"/>
                          <a:pt x="95960" y="107353"/>
                        </a:cubicBezTo>
                        <a:cubicBezTo>
                          <a:pt x="96742" y="106791"/>
                          <a:pt x="97524" y="104824"/>
                          <a:pt x="97524" y="104824"/>
                        </a:cubicBezTo>
                        <a:cubicBezTo>
                          <a:pt x="98501" y="103700"/>
                          <a:pt x="98501" y="103700"/>
                          <a:pt x="98501" y="103700"/>
                        </a:cubicBezTo>
                        <a:cubicBezTo>
                          <a:pt x="100846" y="102576"/>
                          <a:pt x="100846" y="102576"/>
                          <a:pt x="100846" y="102576"/>
                        </a:cubicBezTo>
                        <a:cubicBezTo>
                          <a:pt x="100651" y="99765"/>
                          <a:pt x="100651" y="99765"/>
                          <a:pt x="100651" y="99765"/>
                        </a:cubicBezTo>
                        <a:cubicBezTo>
                          <a:pt x="100651" y="99765"/>
                          <a:pt x="100846" y="99203"/>
                          <a:pt x="101433" y="99203"/>
                        </a:cubicBezTo>
                        <a:cubicBezTo>
                          <a:pt x="101824" y="98922"/>
                          <a:pt x="105928" y="96955"/>
                          <a:pt x="105928" y="96955"/>
                        </a:cubicBezTo>
                        <a:cubicBezTo>
                          <a:pt x="107100" y="94145"/>
                          <a:pt x="107100" y="94145"/>
                          <a:pt x="107100" y="94145"/>
                        </a:cubicBezTo>
                        <a:cubicBezTo>
                          <a:pt x="107100" y="91334"/>
                          <a:pt x="107100" y="91334"/>
                          <a:pt x="107100" y="91334"/>
                        </a:cubicBezTo>
                        <a:cubicBezTo>
                          <a:pt x="107100" y="91334"/>
                          <a:pt x="107491" y="89648"/>
                          <a:pt x="106710" y="89648"/>
                        </a:cubicBezTo>
                        <a:cubicBezTo>
                          <a:pt x="105928" y="89648"/>
                          <a:pt x="103973" y="92459"/>
                          <a:pt x="103973" y="92459"/>
                        </a:cubicBezTo>
                        <a:cubicBezTo>
                          <a:pt x="101824" y="92740"/>
                          <a:pt x="101824" y="92740"/>
                          <a:pt x="101824" y="92740"/>
                        </a:cubicBezTo>
                        <a:cubicBezTo>
                          <a:pt x="101824" y="92740"/>
                          <a:pt x="100846" y="95269"/>
                          <a:pt x="100456" y="95269"/>
                        </a:cubicBezTo>
                        <a:cubicBezTo>
                          <a:pt x="100065" y="95550"/>
                          <a:pt x="98892" y="96112"/>
                          <a:pt x="98501" y="95831"/>
                        </a:cubicBezTo>
                        <a:cubicBezTo>
                          <a:pt x="98110" y="95831"/>
                          <a:pt x="98697" y="98922"/>
                          <a:pt x="97328" y="95269"/>
                        </a:cubicBezTo>
                        <a:cubicBezTo>
                          <a:pt x="95960" y="91615"/>
                          <a:pt x="95374" y="91615"/>
                          <a:pt x="95374" y="91615"/>
                        </a:cubicBezTo>
                        <a:cubicBezTo>
                          <a:pt x="94006" y="91615"/>
                          <a:pt x="94006" y="91615"/>
                          <a:pt x="94006" y="91615"/>
                        </a:cubicBezTo>
                        <a:cubicBezTo>
                          <a:pt x="94006" y="91615"/>
                          <a:pt x="92833" y="92459"/>
                          <a:pt x="92638" y="91896"/>
                        </a:cubicBezTo>
                        <a:cubicBezTo>
                          <a:pt x="92638" y="91334"/>
                          <a:pt x="92052" y="89648"/>
                          <a:pt x="92052" y="89648"/>
                        </a:cubicBezTo>
                        <a:cubicBezTo>
                          <a:pt x="90097" y="89648"/>
                          <a:pt x="90097" y="89648"/>
                          <a:pt x="90097" y="89648"/>
                        </a:cubicBezTo>
                        <a:cubicBezTo>
                          <a:pt x="89315" y="90210"/>
                          <a:pt x="89315" y="90210"/>
                          <a:pt x="89315" y="90210"/>
                        </a:cubicBezTo>
                        <a:cubicBezTo>
                          <a:pt x="86384" y="89929"/>
                          <a:pt x="86384" y="89929"/>
                          <a:pt x="86384" y="89929"/>
                        </a:cubicBezTo>
                        <a:cubicBezTo>
                          <a:pt x="85211" y="88805"/>
                          <a:pt x="85211" y="88805"/>
                          <a:pt x="85211" y="88805"/>
                        </a:cubicBezTo>
                        <a:cubicBezTo>
                          <a:pt x="86775" y="87681"/>
                          <a:pt x="86775" y="87681"/>
                          <a:pt x="86775" y="87681"/>
                        </a:cubicBezTo>
                        <a:cubicBezTo>
                          <a:pt x="86775" y="87681"/>
                          <a:pt x="87361" y="88524"/>
                          <a:pt x="87557" y="88524"/>
                        </a:cubicBezTo>
                        <a:cubicBezTo>
                          <a:pt x="87947" y="88243"/>
                          <a:pt x="87557" y="87400"/>
                          <a:pt x="87947" y="87119"/>
                        </a:cubicBezTo>
                        <a:cubicBezTo>
                          <a:pt x="88534" y="86838"/>
                          <a:pt x="89120" y="85995"/>
                          <a:pt x="89706" y="86557"/>
                        </a:cubicBezTo>
                        <a:cubicBezTo>
                          <a:pt x="90293" y="86838"/>
                          <a:pt x="89706" y="88524"/>
                          <a:pt x="90684" y="87400"/>
                        </a:cubicBezTo>
                        <a:cubicBezTo>
                          <a:pt x="91661" y="86276"/>
                          <a:pt x="92638" y="86557"/>
                          <a:pt x="92638" y="86557"/>
                        </a:cubicBezTo>
                        <a:cubicBezTo>
                          <a:pt x="93811" y="83747"/>
                          <a:pt x="93811" y="83747"/>
                          <a:pt x="93811" y="83747"/>
                        </a:cubicBezTo>
                        <a:cubicBezTo>
                          <a:pt x="94592" y="81217"/>
                          <a:pt x="94592" y="81217"/>
                          <a:pt x="94592" y="81217"/>
                        </a:cubicBezTo>
                        <a:cubicBezTo>
                          <a:pt x="94592" y="81217"/>
                          <a:pt x="94983" y="81498"/>
                          <a:pt x="95374" y="81779"/>
                        </a:cubicBezTo>
                        <a:cubicBezTo>
                          <a:pt x="95960" y="81779"/>
                          <a:pt x="97328" y="78407"/>
                          <a:pt x="97328" y="78407"/>
                        </a:cubicBezTo>
                        <a:cubicBezTo>
                          <a:pt x="97328" y="78407"/>
                          <a:pt x="97524" y="75035"/>
                          <a:pt x="97915" y="75035"/>
                        </a:cubicBezTo>
                        <a:cubicBezTo>
                          <a:pt x="98306" y="74754"/>
                          <a:pt x="101237" y="73348"/>
                          <a:pt x="101237" y="73348"/>
                        </a:cubicBezTo>
                        <a:cubicBezTo>
                          <a:pt x="103192" y="71662"/>
                          <a:pt x="103192" y="71662"/>
                          <a:pt x="103192" y="71662"/>
                        </a:cubicBezTo>
                        <a:cubicBezTo>
                          <a:pt x="103192" y="71662"/>
                          <a:pt x="104169" y="69695"/>
                          <a:pt x="104560" y="69414"/>
                        </a:cubicBezTo>
                        <a:cubicBezTo>
                          <a:pt x="104951" y="69414"/>
                          <a:pt x="105342" y="68290"/>
                          <a:pt x="105732" y="66885"/>
                        </a:cubicBezTo>
                        <a:cubicBezTo>
                          <a:pt x="106319" y="65761"/>
                          <a:pt x="106710" y="64918"/>
                          <a:pt x="106710" y="64918"/>
                        </a:cubicBezTo>
                        <a:cubicBezTo>
                          <a:pt x="106710" y="64918"/>
                          <a:pt x="109055" y="64074"/>
                          <a:pt x="108859" y="63793"/>
                        </a:cubicBezTo>
                        <a:cubicBezTo>
                          <a:pt x="108859" y="63231"/>
                          <a:pt x="107882" y="62107"/>
                          <a:pt x="109055" y="62107"/>
                        </a:cubicBezTo>
                        <a:cubicBezTo>
                          <a:pt x="110228" y="62107"/>
                          <a:pt x="110228" y="62107"/>
                          <a:pt x="110814" y="61545"/>
                        </a:cubicBezTo>
                        <a:cubicBezTo>
                          <a:pt x="111205" y="61264"/>
                          <a:pt x="111009" y="60983"/>
                          <a:pt x="111205" y="60140"/>
                        </a:cubicBezTo>
                        <a:cubicBezTo>
                          <a:pt x="111596" y="59578"/>
                          <a:pt x="111791" y="58735"/>
                          <a:pt x="111791" y="58173"/>
                        </a:cubicBezTo>
                        <a:cubicBezTo>
                          <a:pt x="111596" y="57611"/>
                          <a:pt x="110618" y="55362"/>
                          <a:pt x="110618" y="54800"/>
                        </a:cubicBezTo>
                        <a:cubicBezTo>
                          <a:pt x="110423" y="53957"/>
                          <a:pt x="110618" y="52271"/>
                          <a:pt x="110618" y="52271"/>
                        </a:cubicBezTo>
                        <a:cubicBezTo>
                          <a:pt x="110618" y="52271"/>
                          <a:pt x="111205" y="51990"/>
                          <a:pt x="111791" y="51709"/>
                        </a:cubicBezTo>
                        <a:cubicBezTo>
                          <a:pt x="112182" y="51147"/>
                          <a:pt x="112964" y="49180"/>
                          <a:pt x="112964" y="49180"/>
                        </a:cubicBezTo>
                        <a:cubicBezTo>
                          <a:pt x="113159" y="47775"/>
                          <a:pt x="113159" y="47775"/>
                          <a:pt x="113159" y="47775"/>
                        </a:cubicBezTo>
                        <a:cubicBezTo>
                          <a:pt x="113159" y="47775"/>
                          <a:pt x="113941" y="46932"/>
                          <a:pt x="114136" y="46932"/>
                        </a:cubicBezTo>
                        <a:cubicBezTo>
                          <a:pt x="114527" y="46651"/>
                          <a:pt x="117654" y="44964"/>
                          <a:pt x="117850" y="44964"/>
                        </a:cubicBezTo>
                        <a:cubicBezTo>
                          <a:pt x="118045" y="44964"/>
                          <a:pt x="119999" y="45245"/>
                          <a:pt x="119413" y="43840"/>
                        </a:cubicBezTo>
                        <a:cubicBezTo>
                          <a:pt x="118827" y="42716"/>
                          <a:pt x="118631" y="42154"/>
                          <a:pt x="118436" y="41311"/>
                        </a:cubicBezTo>
                        <a:cubicBezTo>
                          <a:pt x="118241" y="40468"/>
                          <a:pt x="118241" y="38501"/>
                          <a:pt x="118241" y="38220"/>
                        </a:cubicBezTo>
                        <a:cubicBezTo>
                          <a:pt x="118436" y="37939"/>
                          <a:pt x="119999" y="37096"/>
                          <a:pt x="118241" y="36814"/>
                        </a:cubicBezTo>
                        <a:cubicBezTo>
                          <a:pt x="116482" y="36533"/>
                          <a:pt x="117850" y="35690"/>
                          <a:pt x="117459" y="35128"/>
                        </a:cubicBezTo>
                        <a:cubicBezTo>
                          <a:pt x="116872" y="34566"/>
                          <a:pt x="115700" y="33442"/>
                          <a:pt x="115700" y="33442"/>
                        </a:cubicBezTo>
                        <a:cubicBezTo>
                          <a:pt x="115114" y="33442"/>
                          <a:pt x="115114" y="33442"/>
                          <a:pt x="115114" y="33442"/>
                        </a:cubicBezTo>
                        <a:cubicBezTo>
                          <a:pt x="115309" y="30632"/>
                          <a:pt x="115309" y="30632"/>
                          <a:pt x="115309" y="30632"/>
                        </a:cubicBezTo>
                        <a:cubicBezTo>
                          <a:pt x="115309" y="30632"/>
                          <a:pt x="115895" y="29508"/>
                          <a:pt x="116091" y="29508"/>
                        </a:cubicBezTo>
                        <a:cubicBezTo>
                          <a:pt x="116286" y="29227"/>
                          <a:pt x="116482" y="28103"/>
                          <a:pt x="116091" y="28103"/>
                        </a:cubicBezTo>
                        <a:cubicBezTo>
                          <a:pt x="115700" y="28384"/>
                          <a:pt x="114527" y="28665"/>
                          <a:pt x="114527" y="28665"/>
                        </a:cubicBezTo>
                        <a:cubicBezTo>
                          <a:pt x="114527" y="28665"/>
                          <a:pt x="113550" y="28665"/>
                          <a:pt x="113745" y="28103"/>
                        </a:cubicBezTo>
                        <a:cubicBezTo>
                          <a:pt x="113745" y="27259"/>
                          <a:pt x="114136" y="27259"/>
                          <a:pt x="114723" y="26416"/>
                        </a:cubicBezTo>
                        <a:cubicBezTo>
                          <a:pt x="115309" y="25573"/>
                          <a:pt x="115504" y="25011"/>
                          <a:pt x="115504" y="25011"/>
                        </a:cubicBezTo>
                        <a:cubicBezTo>
                          <a:pt x="115309" y="23325"/>
                          <a:pt x="115309" y="23325"/>
                          <a:pt x="115309" y="23325"/>
                        </a:cubicBezTo>
                        <a:cubicBezTo>
                          <a:pt x="115309" y="23325"/>
                          <a:pt x="115309" y="22201"/>
                          <a:pt x="115114" y="22201"/>
                        </a:cubicBezTo>
                        <a:cubicBezTo>
                          <a:pt x="115114" y="21920"/>
                          <a:pt x="113941" y="18548"/>
                          <a:pt x="113941" y="18548"/>
                        </a:cubicBezTo>
                        <a:cubicBezTo>
                          <a:pt x="113941" y="18548"/>
                          <a:pt x="112768" y="17985"/>
                          <a:pt x="112573" y="18548"/>
                        </a:cubicBezTo>
                        <a:cubicBezTo>
                          <a:pt x="112573" y="19110"/>
                          <a:pt x="112182" y="20234"/>
                          <a:pt x="112182" y="20234"/>
                        </a:cubicBezTo>
                        <a:cubicBezTo>
                          <a:pt x="110814" y="20234"/>
                          <a:pt x="110814" y="20234"/>
                          <a:pt x="110814" y="20234"/>
                        </a:cubicBezTo>
                        <a:cubicBezTo>
                          <a:pt x="110032" y="19391"/>
                          <a:pt x="110032" y="19391"/>
                          <a:pt x="110032" y="19391"/>
                        </a:cubicBezTo>
                        <a:cubicBezTo>
                          <a:pt x="108469" y="18829"/>
                          <a:pt x="108469" y="18829"/>
                          <a:pt x="108469" y="18829"/>
                        </a:cubicBezTo>
                        <a:cubicBezTo>
                          <a:pt x="108469" y="18829"/>
                          <a:pt x="108273" y="19110"/>
                          <a:pt x="108078" y="19391"/>
                        </a:cubicBezTo>
                        <a:cubicBezTo>
                          <a:pt x="108078" y="19672"/>
                          <a:pt x="106514" y="18266"/>
                          <a:pt x="106514" y="18266"/>
                        </a:cubicBezTo>
                        <a:cubicBezTo>
                          <a:pt x="106514" y="18266"/>
                          <a:pt x="105928" y="19391"/>
                          <a:pt x="105732" y="19672"/>
                        </a:cubicBezTo>
                        <a:cubicBezTo>
                          <a:pt x="105732" y="19672"/>
                          <a:pt x="104169" y="19110"/>
                          <a:pt x="104169" y="19110"/>
                        </a:cubicBezTo>
                        <a:cubicBezTo>
                          <a:pt x="102605" y="19391"/>
                          <a:pt x="102605" y="19391"/>
                          <a:pt x="102605" y="19391"/>
                        </a:cubicBezTo>
                        <a:cubicBezTo>
                          <a:pt x="101237" y="19672"/>
                          <a:pt x="101237" y="19672"/>
                          <a:pt x="101237" y="19672"/>
                        </a:cubicBezTo>
                        <a:cubicBezTo>
                          <a:pt x="100065" y="18829"/>
                          <a:pt x="100065" y="18829"/>
                          <a:pt x="100065" y="18829"/>
                        </a:cubicBezTo>
                        <a:cubicBezTo>
                          <a:pt x="99674" y="19672"/>
                          <a:pt x="99674" y="19672"/>
                          <a:pt x="99674" y="19672"/>
                        </a:cubicBezTo>
                        <a:cubicBezTo>
                          <a:pt x="99869" y="21077"/>
                          <a:pt x="99869" y="21077"/>
                          <a:pt x="99869" y="21077"/>
                        </a:cubicBezTo>
                        <a:cubicBezTo>
                          <a:pt x="98892" y="21920"/>
                          <a:pt x="98892" y="21920"/>
                          <a:pt x="98892" y="21920"/>
                        </a:cubicBezTo>
                        <a:cubicBezTo>
                          <a:pt x="97719" y="20796"/>
                          <a:pt x="97719" y="20796"/>
                          <a:pt x="97719" y="20796"/>
                        </a:cubicBezTo>
                        <a:cubicBezTo>
                          <a:pt x="96742" y="20515"/>
                          <a:pt x="96742" y="20515"/>
                          <a:pt x="96742" y="20515"/>
                        </a:cubicBezTo>
                        <a:cubicBezTo>
                          <a:pt x="95374" y="18548"/>
                          <a:pt x="95374" y="18548"/>
                          <a:pt x="95374" y="18548"/>
                        </a:cubicBezTo>
                        <a:cubicBezTo>
                          <a:pt x="94201" y="17985"/>
                          <a:pt x="94201" y="17985"/>
                          <a:pt x="94201" y="17985"/>
                        </a:cubicBezTo>
                        <a:cubicBezTo>
                          <a:pt x="93029" y="17142"/>
                          <a:pt x="93029" y="17142"/>
                          <a:pt x="93029" y="17142"/>
                        </a:cubicBezTo>
                        <a:cubicBezTo>
                          <a:pt x="93029" y="17142"/>
                          <a:pt x="92442" y="19391"/>
                          <a:pt x="92247" y="19672"/>
                        </a:cubicBezTo>
                        <a:cubicBezTo>
                          <a:pt x="92052" y="19672"/>
                          <a:pt x="91074" y="20234"/>
                          <a:pt x="90879" y="20234"/>
                        </a:cubicBezTo>
                        <a:cubicBezTo>
                          <a:pt x="90488" y="20515"/>
                          <a:pt x="90293" y="21920"/>
                          <a:pt x="90293" y="21920"/>
                        </a:cubicBezTo>
                        <a:cubicBezTo>
                          <a:pt x="89315" y="22763"/>
                          <a:pt x="89315" y="22763"/>
                          <a:pt x="89315" y="22763"/>
                        </a:cubicBezTo>
                        <a:cubicBezTo>
                          <a:pt x="89315" y="22763"/>
                          <a:pt x="88729" y="22201"/>
                          <a:pt x="88338" y="22201"/>
                        </a:cubicBezTo>
                        <a:cubicBezTo>
                          <a:pt x="88143" y="22201"/>
                          <a:pt x="87947" y="22482"/>
                          <a:pt x="87947" y="22482"/>
                        </a:cubicBezTo>
                        <a:cubicBezTo>
                          <a:pt x="87557" y="23325"/>
                          <a:pt x="87557" y="23325"/>
                          <a:pt x="87557" y="23325"/>
                        </a:cubicBezTo>
                        <a:cubicBezTo>
                          <a:pt x="87557" y="23325"/>
                          <a:pt x="87361" y="23325"/>
                          <a:pt x="86775" y="22763"/>
                        </a:cubicBezTo>
                        <a:cubicBezTo>
                          <a:pt x="86384" y="22482"/>
                          <a:pt x="85798" y="21920"/>
                          <a:pt x="85798" y="21920"/>
                        </a:cubicBezTo>
                        <a:cubicBezTo>
                          <a:pt x="85211" y="21639"/>
                          <a:pt x="85211" y="21639"/>
                          <a:pt x="85211" y="21639"/>
                        </a:cubicBezTo>
                        <a:cubicBezTo>
                          <a:pt x="85211" y="21639"/>
                          <a:pt x="83452" y="22763"/>
                          <a:pt x="83257" y="23044"/>
                        </a:cubicBezTo>
                        <a:cubicBezTo>
                          <a:pt x="83257" y="23325"/>
                          <a:pt x="82866" y="24168"/>
                          <a:pt x="82866" y="24168"/>
                        </a:cubicBezTo>
                        <a:cubicBezTo>
                          <a:pt x="81889" y="23044"/>
                          <a:pt x="81889" y="23044"/>
                          <a:pt x="81889" y="23044"/>
                        </a:cubicBezTo>
                        <a:cubicBezTo>
                          <a:pt x="80716" y="21920"/>
                          <a:pt x="80716" y="21920"/>
                          <a:pt x="80716" y="21920"/>
                        </a:cubicBezTo>
                        <a:cubicBezTo>
                          <a:pt x="80521" y="19953"/>
                          <a:pt x="80521" y="19953"/>
                          <a:pt x="80521" y="19953"/>
                        </a:cubicBezTo>
                        <a:cubicBezTo>
                          <a:pt x="78371" y="17142"/>
                          <a:pt x="78371" y="17142"/>
                          <a:pt x="78371" y="17142"/>
                        </a:cubicBezTo>
                        <a:cubicBezTo>
                          <a:pt x="77980" y="14332"/>
                          <a:pt x="77980" y="14332"/>
                          <a:pt x="77980" y="14332"/>
                        </a:cubicBezTo>
                        <a:cubicBezTo>
                          <a:pt x="76416" y="12646"/>
                          <a:pt x="76416" y="12646"/>
                          <a:pt x="76416" y="12646"/>
                        </a:cubicBezTo>
                        <a:cubicBezTo>
                          <a:pt x="75439" y="14332"/>
                          <a:pt x="75439" y="14332"/>
                          <a:pt x="75439" y="14332"/>
                        </a:cubicBezTo>
                        <a:cubicBezTo>
                          <a:pt x="73876" y="14051"/>
                          <a:pt x="73876" y="14051"/>
                          <a:pt x="73876" y="14051"/>
                        </a:cubicBezTo>
                        <a:cubicBezTo>
                          <a:pt x="72312" y="14613"/>
                          <a:pt x="72312" y="14613"/>
                          <a:pt x="72312" y="14613"/>
                        </a:cubicBezTo>
                        <a:cubicBezTo>
                          <a:pt x="72312" y="14613"/>
                          <a:pt x="71335" y="16018"/>
                          <a:pt x="71335" y="15456"/>
                        </a:cubicBezTo>
                        <a:cubicBezTo>
                          <a:pt x="71140" y="14894"/>
                          <a:pt x="71530" y="13770"/>
                          <a:pt x="71530" y="13208"/>
                        </a:cubicBezTo>
                        <a:cubicBezTo>
                          <a:pt x="71335" y="12927"/>
                          <a:pt x="70358" y="13770"/>
                          <a:pt x="70553" y="12646"/>
                        </a:cubicBezTo>
                        <a:cubicBezTo>
                          <a:pt x="70749" y="12084"/>
                          <a:pt x="70553" y="11241"/>
                          <a:pt x="70358" y="10960"/>
                        </a:cubicBezTo>
                        <a:cubicBezTo>
                          <a:pt x="69967" y="10398"/>
                          <a:pt x="68794" y="10398"/>
                          <a:pt x="69185" y="9274"/>
                        </a:cubicBezTo>
                        <a:cubicBezTo>
                          <a:pt x="69576" y="8430"/>
                          <a:pt x="70553" y="7868"/>
                          <a:pt x="70553" y="7868"/>
                        </a:cubicBezTo>
                        <a:cubicBezTo>
                          <a:pt x="70553" y="7306"/>
                          <a:pt x="70553" y="7306"/>
                          <a:pt x="70553" y="7306"/>
                        </a:cubicBezTo>
                        <a:cubicBezTo>
                          <a:pt x="69771" y="6182"/>
                          <a:pt x="69771" y="6182"/>
                          <a:pt x="69771" y="6182"/>
                        </a:cubicBezTo>
                        <a:cubicBezTo>
                          <a:pt x="67622" y="4777"/>
                          <a:pt x="67622" y="4777"/>
                          <a:pt x="67622" y="4777"/>
                        </a:cubicBezTo>
                        <a:cubicBezTo>
                          <a:pt x="67622" y="4777"/>
                          <a:pt x="67426" y="3091"/>
                          <a:pt x="67035" y="3091"/>
                        </a:cubicBezTo>
                        <a:cubicBezTo>
                          <a:pt x="66840" y="2810"/>
                          <a:pt x="66254" y="1967"/>
                          <a:pt x="66254" y="1967"/>
                        </a:cubicBezTo>
                        <a:cubicBezTo>
                          <a:pt x="66254" y="1967"/>
                          <a:pt x="65667" y="843"/>
                          <a:pt x="64885" y="562"/>
                        </a:cubicBezTo>
                        <a:cubicBezTo>
                          <a:pt x="64104" y="0"/>
                          <a:pt x="63517" y="2529"/>
                          <a:pt x="63517" y="2529"/>
                        </a:cubicBezTo>
                        <a:cubicBezTo>
                          <a:pt x="62736" y="1405"/>
                          <a:pt x="62736" y="1405"/>
                          <a:pt x="62736" y="1405"/>
                        </a:cubicBezTo>
                        <a:cubicBezTo>
                          <a:pt x="61172" y="2248"/>
                          <a:pt x="61172" y="2248"/>
                          <a:pt x="61172" y="2248"/>
                        </a:cubicBezTo>
                        <a:cubicBezTo>
                          <a:pt x="59999" y="4777"/>
                          <a:pt x="59999" y="4777"/>
                          <a:pt x="59999" y="4777"/>
                        </a:cubicBezTo>
                        <a:cubicBezTo>
                          <a:pt x="59218" y="5058"/>
                          <a:pt x="59218" y="5058"/>
                          <a:pt x="59218" y="5058"/>
                        </a:cubicBezTo>
                        <a:cubicBezTo>
                          <a:pt x="58045" y="5339"/>
                          <a:pt x="58045" y="5339"/>
                          <a:pt x="58045" y="5339"/>
                        </a:cubicBezTo>
                        <a:cubicBezTo>
                          <a:pt x="56286" y="5901"/>
                          <a:pt x="56286" y="5901"/>
                          <a:pt x="56286" y="5901"/>
                        </a:cubicBezTo>
                        <a:cubicBezTo>
                          <a:pt x="55895" y="7587"/>
                          <a:pt x="55895" y="7587"/>
                          <a:pt x="55895" y="7587"/>
                        </a:cubicBezTo>
                        <a:cubicBezTo>
                          <a:pt x="56091" y="9274"/>
                          <a:pt x="56091" y="9274"/>
                          <a:pt x="56091" y="9274"/>
                        </a:cubicBezTo>
                        <a:cubicBezTo>
                          <a:pt x="55114" y="10398"/>
                          <a:pt x="55114" y="10398"/>
                          <a:pt x="55114" y="10398"/>
                        </a:cubicBezTo>
                        <a:cubicBezTo>
                          <a:pt x="52768" y="10117"/>
                          <a:pt x="52768" y="10117"/>
                          <a:pt x="52768" y="10117"/>
                        </a:cubicBezTo>
                        <a:cubicBezTo>
                          <a:pt x="51205" y="10679"/>
                          <a:pt x="51205" y="10679"/>
                          <a:pt x="51205" y="10679"/>
                        </a:cubicBezTo>
                        <a:cubicBezTo>
                          <a:pt x="50423" y="12365"/>
                          <a:pt x="50423" y="12365"/>
                          <a:pt x="50423" y="12365"/>
                        </a:cubicBezTo>
                        <a:cubicBezTo>
                          <a:pt x="48078" y="12365"/>
                          <a:pt x="48078" y="12365"/>
                          <a:pt x="48078" y="12365"/>
                        </a:cubicBezTo>
                        <a:cubicBezTo>
                          <a:pt x="47687" y="15737"/>
                          <a:pt x="47687" y="15737"/>
                          <a:pt x="47687" y="15737"/>
                        </a:cubicBezTo>
                        <a:cubicBezTo>
                          <a:pt x="47100" y="17985"/>
                          <a:pt x="47100" y="17985"/>
                          <a:pt x="47100" y="17985"/>
                        </a:cubicBezTo>
                        <a:cubicBezTo>
                          <a:pt x="46514" y="20515"/>
                          <a:pt x="46514" y="20515"/>
                          <a:pt x="46514" y="20515"/>
                        </a:cubicBezTo>
                        <a:cubicBezTo>
                          <a:pt x="46905" y="21920"/>
                          <a:pt x="46905" y="21920"/>
                          <a:pt x="46905" y="21920"/>
                        </a:cubicBezTo>
                        <a:cubicBezTo>
                          <a:pt x="47491" y="23887"/>
                          <a:pt x="47491" y="23887"/>
                          <a:pt x="47491" y="23887"/>
                        </a:cubicBezTo>
                        <a:cubicBezTo>
                          <a:pt x="48664" y="25854"/>
                          <a:pt x="48664" y="25854"/>
                          <a:pt x="48664" y="25854"/>
                        </a:cubicBezTo>
                        <a:cubicBezTo>
                          <a:pt x="48664" y="25854"/>
                          <a:pt x="48664" y="25854"/>
                          <a:pt x="48664" y="25854"/>
                        </a:cubicBezTo>
                        <a:cubicBezTo>
                          <a:pt x="47491" y="26416"/>
                          <a:pt x="47491" y="26416"/>
                          <a:pt x="47491" y="26416"/>
                        </a:cubicBezTo>
                        <a:cubicBezTo>
                          <a:pt x="46710" y="26697"/>
                          <a:pt x="46710" y="26697"/>
                          <a:pt x="46710" y="26697"/>
                        </a:cubicBezTo>
                        <a:cubicBezTo>
                          <a:pt x="45928" y="25011"/>
                          <a:pt x="45928" y="25011"/>
                          <a:pt x="45928" y="25011"/>
                        </a:cubicBezTo>
                        <a:cubicBezTo>
                          <a:pt x="44755" y="24449"/>
                          <a:pt x="44755" y="24449"/>
                          <a:pt x="44755" y="24449"/>
                        </a:cubicBezTo>
                        <a:cubicBezTo>
                          <a:pt x="43387" y="25292"/>
                          <a:pt x="43387" y="25292"/>
                          <a:pt x="43387" y="25292"/>
                        </a:cubicBezTo>
                        <a:cubicBezTo>
                          <a:pt x="42019" y="25854"/>
                          <a:pt x="42019" y="25854"/>
                          <a:pt x="42019" y="25854"/>
                        </a:cubicBezTo>
                        <a:cubicBezTo>
                          <a:pt x="41628" y="25854"/>
                          <a:pt x="41628" y="25854"/>
                          <a:pt x="41628" y="25854"/>
                        </a:cubicBezTo>
                        <a:cubicBezTo>
                          <a:pt x="41237" y="26978"/>
                          <a:pt x="41237" y="26978"/>
                          <a:pt x="41237" y="26978"/>
                        </a:cubicBezTo>
                        <a:cubicBezTo>
                          <a:pt x="40065" y="27822"/>
                          <a:pt x="40065" y="27822"/>
                          <a:pt x="40065" y="27822"/>
                        </a:cubicBezTo>
                        <a:cubicBezTo>
                          <a:pt x="40065" y="27822"/>
                          <a:pt x="39674" y="27259"/>
                          <a:pt x="39478" y="26978"/>
                        </a:cubicBezTo>
                        <a:cubicBezTo>
                          <a:pt x="39283" y="26697"/>
                          <a:pt x="38697" y="26135"/>
                          <a:pt x="38697" y="26135"/>
                        </a:cubicBezTo>
                        <a:cubicBezTo>
                          <a:pt x="38697" y="26135"/>
                          <a:pt x="38501" y="25573"/>
                          <a:pt x="38306" y="25292"/>
                        </a:cubicBezTo>
                        <a:cubicBezTo>
                          <a:pt x="38110" y="25292"/>
                          <a:pt x="36938" y="26416"/>
                          <a:pt x="36938" y="26416"/>
                        </a:cubicBezTo>
                        <a:cubicBezTo>
                          <a:pt x="36938" y="26416"/>
                          <a:pt x="35960" y="27259"/>
                          <a:pt x="35960" y="27540"/>
                        </a:cubicBezTo>
                        <a:cubicBezTo>
                          <a:pt x="36156" y="27540"/>
                          <a:pt x="35960" y="28946"/>
                          <a:pt x="35960" y="28946"/>
                        </a:cubicBezTo>
                        <a:cubicBezTo>
                          <a:pt x="34592" y="27259"/>
                          <a:pt x="34592" y="27259"/>
                          <a:pt x="34592" y="27259"/>
                        </a:cubicBezTo>
                        <a:cubicBezTo>
                          <a:pt x="33615" y="28384"/>
                          <a:pt x="33615" y="28384"/>
                          <a:pt x="33615" y="28384"/>
                        </a:cubicBezTo>
                        <a:cubicBezTo>
                          <a:pt x="32833" y="27540"/>
                          <a:pt x="32833" y="27540"/>
                          <a:pt x="32833" y="27540"/>
                        </a:cubicBezTo>
                        <a:cubicBezTo>
                          <a:pt x="32442" y="27259"/>
                          <a:pt x="32442" y="27259"/>
                          <a:pt x="32442" y="27259"/>
                        </a:cubicBezTo>
                        <a:cubicBezTo>
                          <a:pt x="31270" y="29227"/>
                          <a:pt x="31270" y="29227"/>
                          <a:pt x="31270" y="29227"/>
                        </a:cubicBezTo>
                        <a:cubicBezTo>
                          <a:pt x="30488" y="28665"/>
                          <a:pt x="30488" y="28665"/>
                          <a:pt x="30488" y="28665"/>
                        </a:cubicBezTo>
                        <a:cubicBezTo>
                          <a:pt x="30097" y="30632"/>
                          <a:pt x="30097" y="30632"/>
                          <a:pt x="30097" y="30632"/>
                        </a:cubicBezTo>
                        <a:cubicBezTo>
                          <a:pt x="29120" y="29508"/>
                          <a:pt x="29120" y="29508"/>
                          <a:pt x="29120" y="29508"/>
                        </a:cubicBezTo>
                        <a:cubicBezTo>
                          <a:pt x="29120" y="29508"/>
                          <a:pt x="28143" y="29227"/>
                          <a:pt x="27947" y="29227"/>
                        </a:cubicBezTo>
                        <a:cubicBezTo>
                          <a:pt x="27752" y="29227"/>
                          <a:pt x="27166" y="30351"/>
                          <a:pt x="27166" y="30351"/>
                        </a:cubicBezTo>
                        <a:cubicBezTo>
                          <a:pt x="26188" y="29227"/>
                          <a:pt x="26188" y="29227"/>
                          <a:pt x="26188" y="29227"/>
                        </a:cubicBezTo>
                        <a:cubicBezTo>
                          <a:pt x="25407" y="28384"/>
                          <a:pt x="25407" y="28384"/>
                          <a:pt x="25407" y="28384"/>
                        </a:cubicBezTo>
                        <a:cubicBezTo>
                          <a:pt x="25407" y="28384"/>
                          <a:pt x="23257" y="28665"/>
                          <a:pt x="23061" y="28665"/>
                        </a:cubicBezTo>
                        <a:cubicBezTo>
                          <a:pt x="22866" y="28665"/>
                          <a:pt x="21498" y="28384"/>
                          <a:pt x="21498" y="28384"/>
                        </a:cubicBezTo>
                        <a:cubicBezTo>
                          <a:pt x="19739" y="28946"/>
                          <a:pt x="19739" y="28946"/>
                          <a:pt x="19739" y="28946"/>
                        </a:cubicBezTo>
                        <a:cubicBezTo>
                          <a:pt x="17198" y="28946"/>
                          <a:pt x="17198" y="28946"/>
                          <a:pt x="17198" y="28946"/>
                        </a:cubicBezTo>
                        <a:cubicBezTo>
                          <a:pt x="14853" y="29227"/>
                          <a:pt x="14853" y="29227"/>
                          <a:pt x="14853" y="29227"/>
                        </a:cubicBezTo>
                        <a:cubicBezTo>
                          <a:pt x="13094" y="29227"/>
                          <a:pt x="13094" y="29227"/>
                          <a:pt x="13094" y="29227"/>
                        </a:cubicBezTo>
                        <a:cubicBezTo>
                          <a:pt x="11726" y="30632"/>
                          <a:pt x="11726" y="30632"/>
                          <a:pt x="11726" y="30632"/>
                        </a:cubicBezTo>
                        <a:cubicBezTo>
                          <a:pt x="10358" y="30913"/>
                          <a:pt x="10358" y="30913"/>
                          <a:pt x="10358" y="30913"/>
                        </a:cubicBezTo>
                        <a:cubicBezTo>
                          <a:pt x="8794" y="31194"/>
                          <a:pt x="8794" y="31194"/>
                          <a:pt x="8794" y="31194"/>
                        </a:cubicBezTo>
                        <a:cubicBezTo>
                          <a:pt x="8599" y="31194"/>
                          <a:pt x="8599" y="31194"/>
                          <a:pt x="8599" y="31194"/>
                        </a:cubicBezTo>
                        <a:cubicBezTo>
                          <a:pt x="8403" y="31475"/>
                          <a:pt x="8403" y="31475"/>
                          <a:pt x="8403" y="31475"/>
                        </a:cubicBezTo>
                        <a:cubicBezTo>
                          <a:pt x="7817" y="32037"/>
                          <a:pt x="7817" y="32037"/>
                          <a:pt x="7817" y="32037"/>
                        </a:cubicBezTo>
                        <a:cubicBezTo>
                          <a:pt x="7817" y="32318"/>
                          <a:pt x="7817" y="32318"/>
                          <a:pt x="7817" y="32318"/>
                        </a:cubicBezTo>
                        <a:cubicBezTo>
                          <a:pt x="7426" y="32880"/>
                          <a:pt x="7426" y="32880"/>
                          <a:pt x="7426" y="32880"/>
                        </a:cubicBezTo>
                        <a:cubicBezTo>
                          <a:pt x="7231" y="34285"/>
                          <a:pt x="7231" y="34285"/>
                          <a:pt x="7231" y="34285"/>
                        </a:cubicBezTo>
                        <a:cubicBezTo>
                          <a:pt x="7035" y="34847"/>
                          <a:pt x="6644" y="35409"/>
                          <a:pt x="6449" y="35971"/>
                        </a:cubicBezTo>
                        <a:cubicBezTo>
                          <a:pt x="6449" y="35971"/>
                          <a:pt x="6449" y="35971"/>
                          <a:pt x="6449" y="35971"/>
                        </a:cubicBezTo>
                        <a:cubicBezTo>
                          <a:pt x="6449" y="35971"/>
                          <a:pt x="5863" y="35690"/>
                          <a:pt x="5863" y="36252"/>
                        </a:cubicBezTo>
                        <a:cubicBezTo>
                          <a:pt x="5863" y="36533"/>
                          <a:pt x="5863" y="36533"/>
                          <a:pt x="5863" y="36533"/>
                        </a:cubicBezTo>
                        <a:cubicBezTo>
                          <a:pt x="5276" y="36814"/>
                          <a:pt x="4299" y="36252"/>
                          <a:pt x="4299" y="36252"/>
                        </a:cubicBezTo>
                        <a:cubicBezTo>
                          <a:pt x="3322" y="37096"/>
                          <a:pt x="3322" y="37096"/>
                          <a:pt x="3322" y="37096"/>
                        </a:cubicBezTo>
                        <a:cubicBezTo>
                          <a:pt x="3322" y="37377"/>
                          <a:pt x="3322" y="37658"/>
                          <a:pt x="3517" y="37658"/>
                        </a:cubicBezTo>
                        <a:cubicBezTo>
                          <a:pt x="3713" y="37939"/>
                          <a:pt x="3713" y="37939"/>
                          <a:pt x="3713" y="38220"/>
                        </a:cubicBezTo>
                        <a:cubicBezTo>
                          <a:pt x="3908" y="38220"/>
                          <a:pt x="3908" y="38501"/>
                          <a:pt x="3908" y="38501"/>
                        </a:cubicBezTo>
                        <a:cubicBezTo>
                          <a:pt x="4299" y="39906"/>
                          <a:pt x="4299" y="39906"/>
                          <a:pt x="4299" y="39906"/>
                        </a:cubicBezTo>
                        <a:cubicBezTo>
                          <a:pt x="4299" y="41030"/>
                          <a:pt x="4299" y="41030"/>
                          <a:pt x="4299" y="41030"/>
                        </a:cubicBezTo>
                        <a:cubicBezTo>
                          <a:pt x="4299" y="41030"/>
                          <a:pt x="4299" y="41873"/>
                          <a:pt x="4690" y="41873"/>
                        </a:cubicBezTo>
                        <a:cubicBezTo>
                          <a:pt x="5081" y="41873"/>
                          <a:pt x="5276" y="42154"/>
                          <a:pt x="5276" y="42716"/>
                        </a:cubicBezTo>
                        <a:cubicBezTo>
                          <a:pt x="5276" y="43278"/>
                          <a:pt x="6254" y="43840"/>
                          <a:pt x="6254" y="43840"/>
                        </a:cubicBezTo>
                        <a:cubicBezTo>
                          <a:pt x="6254" y="43840"/>
                          <a:pt x="6254" y="44964"/>
                          <a:pt x="6449" y="45245"/>
                        </a:cubicBezTo>
                        <a:cubicBezTo>
                          <a:pt x="6840" y="45526"/>
                          <a:pt x="7231" y="45807"/>
                          <a:pt x="7817" y="45807"/>
                        </a:cubicBezTo>
                        <a:cubicBezTo>
                          <a:pt x="8403" y="46088"/>
                          <a:pt x="8208" y="47213"/>
                          <a:pt x="8599" y="47494"/>
                        </a:cubicBezTo>
                        <a:cubicBezTo>
                          <a:pt x="8990" y="47775"/>
                          <a:pt x="9381" y="48337"/>
                          <a:pt x="8990" y="48337"/>
                        </a:cubicBezTo>
                        <a:cubicBezTo>
                          <a:pt x="8794" y="48618"/>
                          <a:pt x="8208" y="48618"/>
                          <a:pt x="8208" y="48618"/>
                        </a:cubicBezTo>
                        <a:cubicBezTo>
                          <a:pt x="8208" y="48618"/>
                          <a:pt x="8013" y="48899"/>
                          <a:pt x="8013" y="49461"/>
                        </a:cubicBezTo>
                        <a:cubicBezTo>
                          <a:pt x="8208" y="49742"/>
                          <a:pt x="8208" y="49742"/>
                          <a:pt x="8208" y="49742"/>
                        </a:cubicBezTo>
                        <a:cubicBezTo>
                          <a:pt x="8990" y="51147"/>
                          <a:pt x="8990" y="51147"/>
                          <a:pt x="8990" y="51147"/>
                        </a:cubicBezTo>
                        <a:cubicBezTo>
                          <a:pt x="8990" y="52833"/>
                          <a:pt x="8990" y="52833"/>
                          <a:pt x="8990" y="52833"/>
                        </a:cubicBezTo>
                        <a:cubicBezTo>
                          <a:pt x="8990" y="52833"/>
                          <a:pt x="8990" y="53395"/>
                          <a:pt x="8990" y="53957"/>
                        </a:cubicBezTo>
                        <a:cubicBezTo>
                          <a:pt x="8990" y="54238"/>
                          <a:pt x="8794" y="54800"/>
                          <a:pt x="8403" y="54800"/>
                        </a:cubicBezTo>
                        <a:cubicBezTo>
                          <a:pt x="8403" y="54800"/>
                          <a:pt x="8403" y="54800"/>
                          <a:pt x="8403" y="54800"/>
                        </a:cubicBezTo>
                        <a:cubicBezTo>
                          <a:pt x="8403" y="54800"/>
                          <a:pt x="8403" y="54800"/>
                          <a:pt x="8403" y="54800"/>
                        </a:cubicBezTo>
                        <a:cubicBezTo>
                          <a:pt x="8208" y="54800"/>
                          <a:pt x="8208" y="54800"/>
                          <a:pt x="8208" y="54800"/>
                        </a:cubicBezTo>
                        <a:cubicBezTo>
                          <a:pt x="8013" y="55081"/>
                          <a:pt x="8013" y="55644"/>
                          <a:pt x="7817" y="55644"/>
                        </a:cubicBezTo>
                        <a:cubicBezTo>
                          <a:pt x="7622" y="55925"/>
                          <a:pt x="7231" y="55081"/>
                          <a:pt x="7035" y="55925"/>
                        </a:cubicBezTo>
                        <a:cubicBezTo>
                          <a:pt x="6840" y="57049"/>
                          <a:pt x="6449" y="57892"/>
                          <a:pt x="6449" y="58173"/>
                        </a:cubicBezTo>
                        <a:cubicBezTo>
                          <a:pt x="6254" y="58454"/>
                          <a:pt x="5667" y="58735"/>
                          <a:pt x="5667" y="59297"/>
                        </a:cubicBezTo>
                        <a:cubicBezTo>
                          <a:pt x="5472" y="59859"/>
                          <a:pt x="5472" y="59297"/>
                          <a:pt x="5081" y="60702"/>
                        </a:cubicBezTo>
                        <a:cubicBezTo>
                          <a:pt x="4690" y="62107"/>
                          <a:pt x="4495" y="62669"/>
                          <a:pt x="4495" y="62669"/>
                        </a:cubicBezTo>
                        <a:cubicBezTo>
                          <a:pt x="2736" y="66042"/>
                          <a:pt x="2736" y="66042"/>
                          <a:pt x="2736" y="66042"/>
                        </a:cubicBezTo>
                        <a:cubicBezTo>
                          <a:pt x="2736" y="66042"/>
                          <a:pt x="1758" y="68290"/>
                          <a:pt x="1758" y="68571"/>
                        </a:cubicBezTo>
                        <a:cubicBezTo>
                          <a:pt x="1758" y="68852"/>
                          <a:pt x="1758" y="69976"/>
                          <a:pt x="1758" y="69976"/>
                        </a:cubicBezTo>
                        <a:cubicBezTo>
                          <a:pt x="2540" y="71100"/>
                          <a:pt x="2540" y="71100"/>
                          <a:pt x="2540" y="71100"/>
                        </a:cubicBezTo>
                        <a:cubicBezTo>
                          <a:pt x="2540" y="72224"/>
                          <a:pt x="2540" y="72224"/>
                          <a:pt x="2540" y="72224"/>
                        </a:cubicBezTo>
                        <a:cubicBezTo>
                          <a:pt x="2540" y="72224"/>
                          <a:pt x="2540" y="73067"/>
                          <a:pt x="2736" y="73348"/>
                        </a:cubicBezTo>
                        <a:cubicBezTo>
                          <a:pt x="2931" y="73348"/>
                          <a:pt x="2931" y="73348"/>
                          <a:pt x="2931" y="73348"/>
                        </a:cubicBezTo>
                        <a:cubicBezTo>
                          <a:pt x="2736" y="74192"/>
                          <a:pt x="2736" y="74192"/>
                          <a:pt x="2736" y="74192"/>
                        </a:cubicBezTo>
                        <a:cubicBezTo>
                          <a:pt x="2736" y="74192"/>
                          <a:pt x="2931" y="75035"/>
                          <a:pt x="3127" y="75035"/>
                        </a:cubicBezTo>
                        <a:cubicBezTo>
                          <a:pt x="3127" y="75035"/>
                          <a:pt x="3517" y="75316"/>
                          <a:pt x="3517" y="75316"/>
                        </a:cubicBezTo>
                        <a:cubicBezTo>
                          <a:pt x="3517" y="75316"/>
                          <a:pt x="3908" y="75878"/>
                          <a:pt x="3908" y="75878"/>
                        </a:cubicBezTo>
                        <a:cubicBezTo>
                          <a:pt x="4104" y="76159"/>
                          <a:pt x="3908" y="76721"/>
                          <a:pt x="3908" y="76721"/>
                        </a:cubicBezTo>
                        <a:cubicBezTo>
                          <a:pt x="3908" y="76721"/>
                          <a:pt x="3908" y="77002"/>
                          <a:pt x="3713" y="77002"/>
                        </a:cubicBezTo>
                        <a:cubicBezTo>
                          <a:pt x="3517" y="77002"/>
                          <a:pt x="3517" y="77002"/>
                          <a:pt x="3127" y="77002"/>
                        </a:cubicBezTo>
                        <a:cubicBezTo>
                          <a:pt x="3127" y="76721"/>
                          <a:pt x="3127" y="76721"/>
                          <a:pt x="2931" y="76721"/>
                        </a:cubicBezTo>
                        <a:cubicBezTo>
                          <a:pt x="2540" y="76721"/>
                          <a:pt x="2540" y="76721"/>
                          <a:pt x="2540" y="76721"/>
                        </a:cubicBezTo>
                        <a:cubicBezTo>
                          <a:pt x="2345" y="76721"/>
                          <a:pt x="2345" y="76721"/>
                          <a:pt x="2149" y="76721"/>
                        </a:cubicBezTo>
                        <a:cubicBezTo>
                          <a:pt x="1954" y="76721"/>
                          <a:pt x="1954" y="76721"/>
                          <a:pt x="1954" y="76721"/>
                        </a:cubicBezTo>
                        <a:cubicBezTo>
                          <a:pt x="1758" y="76721"/>
                          <a:pt x="1758" y="76721"/>
                          <a:pt x="1563" y="77002"/>
                        </a:cubicBezTo>
                        <a:cubicBezTo>
                          <a:pt x="1563" y="77283"/>
                          <a:pt x="1563" y="77283"/>
                          <a:pt x="1563" y="77283"/>
                        </a:cubicBezTo>
                        <a:cubicBezTo>
                          <a:pt x="1563" y="77283"/>
                          <a:pt x="1368" y="77564"/>
                          <a:pt x="1368" y="77845"/>
                        </a:cubicBezTo>
                        <a:cubicBezTo>
                          <a:pt x="1172" y="77845"/>
                          <a:pt x="1172" y="78407"/>
                          <a:pt x="1172" y="78407"/>
                        </a:cubicBezTo>
                        <a:cubicBezTo>
                          <a:pt x="1172" y="78407"/>
                          <a:pt x="1172" y="78688"/>
                          <a:pt x="1172" y="78688"/>
                        </a:cubicBezTo>
                        <a:cubicBezTo>
                          <a:pt x="1172" y="78688"/>
                          <a:pt x="1172" y="79250"/>
                          <a:pt x="1172" y="79250"/>
                        </a:cubicBezTo>
                        <a:cubicBezTo>
                          <a:pt x="977" y="79812"/>
                          <a:pt x="977" y="79812"/>
                          <a:pt x="977" y="79812"/>
                        </a:cubicBezTo>
                        <a:cubicBezTo>
                          <a:pt x="977" y="79812"/>
                          <a:pt x="781" y="80093"/>
                          <a:pt x="977" y="80374"/>
                        </a:cubicBezTo>
                        <a:cubicBezTo>
                          <a:pt x="977" y="80374"/>
                          <a:pt x="977" y="80655"/>
                          <a:pt x="977" y="80655"/>
                        </a:cubicBezTo>
                        <a:cubicBezTo>
                          <a:pt x="1172" y="80936"/>
                          <a:pt x="1172" y="80936"/>
                          <a:pt x="1172" y="80936"/>
                        </a:cubicBezTo>
                        <a:cubicBezTo>
                          <a:pt x="781" y="81498"/>
                          <a:pt x="781" y="81498"/>
                          <a:pt x="781" y="81498"/>
                        </a:cubicBezTo>
                        <a:cubicBezTo>
                          <a:pt x="781" y="82060"/>
                          <a:pt x="781" y="82060"/>
                          <a:pt x="781" y="82060"/>
                        </a:cubicBezTo>
                        <a:cubicBezTo>
                          <a:pt x="781" y="82060"/>
                          <a:pt x="977" y="82341"/>
                          <a:pt x="781" y="82622"/>
                        </a:cubicBezTo>
                        <a:cubicBezTo>
                          <a:pt x="781" y="82622"/>
                          <a:pt x="586" y="82903"/>
                          <a:pt x="586" y="82903"/>
                        </a:cubicBezTo>
                        <a:cubicBezTo>
                          <a:pt x="586" y="82903"/>
                          <a:pt x="195" y="83466"/>
                          <a:pt x="195" y="83466"/>
                        </a:cubicBezTo>
                        <a:cubicBezTo>
                          <a:pt x="195" y="83466"/>
                          <a:pt x="195" y="83747"/>
                          <a:pt x="195" y="83747"/>
                        </a:cubicBezTo>
                        <a:cubicBezTo>
                          <a:pt x="195" y="83747"/>
                          <a:pt x="0" y="84309"/>
                          <a:pt x="0" y="84309"/>
                        </a:cubicBezTo>
                        <a:cubicBezTo>
                          <a:pt x="0" y="84309"/>
                          <a:pt x="0" y="85152"/>
                          <a:pt x="0" y="85152"/>
                        </a:cubicBezTo>
                        <a:cubicBezTo>
                          <a:pt x="0" y="85152"/>
                          <a:pt x="195" y="85433"/>
                          <a:pt x="195" y="85433"/>
                        </a:cubicBezTo>
                        <a:cubicBezTo>
                          <a:pt x="195" y="85433"/>
                          <a:pt x="195" y="85714"/>
                          <a:pt x="195" y="85995"/>
                        </a:cubicBezTo>
                        <a:cubicBezTo>
                          <a:pt x="0" y="85995"/>
                          <a:pt x="195" y="86276"/>
                          <a:pt x="195" y="86557"/>
                        </a:cubicBezTo>
                        <a:cubicBezTo>
                          <a:pt x="195" y="86557"/>
                          <a:pt x="195" y="86838"/>
                          <a:pt x="195" y="86838"/>
                        </a:cubicBezTo>
                        <a:cubicBezTo>
                          <a:pt x="0" y="87400"/>
                          <a:pt x="0" y="87400"/>
                          <a:pt x="0" y="87400"/>
                        </a:cubicBezTo>
                        <a:cubicBezTo>
                          <a:pt x="0" y="87400"/>
                          <a:pt x="0" y="87400"/>
                          <a:pt x="0" y="87400"/>
                        </a:cubicBezTo>
                        <a:cubicBezTo>
                          <a:pt x="0" y="87681"/>
                          <a:pt x="0" y="87681"/>
                          <a:pt x="0" y="87681"/>
                        </a:cubicBezTo>
                        <a:cubicBezTo>
                          <a:pt x="0" y="88243"/>
                          <a:pt x="0" y="88243"/>
                          <a:pt x="0" y="88243"/>
                        </a:cubicBezTo>
                        <a:cubicBezTo>
                          <a:pt x="390" y="88243"/>
                          <a:pt x="390" y="88243"/>
                          <a:pt x="390" y="88243"/>
                        </a:cubicBezTo>
                        <a:cubicBezTo>
                          <a:pt x="586" y="87962"/>
                          <a:pt x="586" y="87962"/>
                          <a:pt x="586" y="87962"/>
                        </a:cubicBezTo>
                        <a:cubicBezTo>
                          <a:pt x="1563" y="87400"/>
                          <a:pt x="1563" y="87400"/>
                          <a:pt x="1563" y="87400"/>
                        </a:cubicBezTo>
                        <a:cubicBezTo>
                          <a:pt x="2149" y="88243"/>
                          <a:pt x="2149" y="88243"/>
                          <a:pt x="2149" y="88243"/>
                        </a:cubicBezTo>
                        <a:cubicBezTo>
                          <a:pt x="2736" y="89086"/>
                          <a:pt x="2736" y="89086"/>
                          <a:pt x="2736" y="89086"/>
                        </a:cubicBezTo>
                        <a:cubicBezTo>
                          <a:pt x="3713" y="89086"/>
                          <a:pt x="3713" y="89086"/>
                          <a:pt x="3713" y="89086"/>
                        </a:cubicBezTo>
                        <a:cubicBezTo>
                          <a:pt x="4299" y="90210"/>
                          <a:pt x="4299" y="90210"/>
                          <a:pt x="4299" y="90210"/>
                        </a:cubicBezTo>
                        <a:cubicBezTo>
                          <a:pt x="4885" y="91053"/>
                          <a:pt x="4885" y="91053"/>
                          <a:pt x="4885" y="91053"/>
                        </a:cubicBezTo>
                        <a:cubicBezTo>
                          <a:pt x="5863" y="90772"/>
                          <a:pt x="5863" y="90772"/>
                          <a:pt x="5863" y="90772"/>
                        </a:cubicBezTo>
                        <a:cubicBezTo>
                          <a:pt x="6840" y="91615"/>
                          <a:pt x="6840" y="91615"/>
                          <a:pt x="6840" y="91615"/>
                        </a:cubicBezTo>
                        <a:cubicBezTo>
                          <a:pt x="6644" y="92459"/>
                          <a:pt x="6644" y="92459"/>
                          <a:pt x="6644" y="92459"/>
                        </a:cubicBezTo>
                        <a:cubicBezTo>
                          <a:pt x="6644" y="92459"/>
                          <a:pt x="7426" y="91053"/>
                          <a:pt x="7622" y="90772"/>
                        </a:cubicBezTo>
                        <a:cubicBezTo>
                          <a:pt x="7817" y="90491"/>
                          <a:pt x="8599" y="90210"/>
                          <a:pt x="8599" y="90210"/>
                        </a:cubicBezTo>
                        <a:cubicBezTo>
                          <a:pt x="8599" y="90210"/>
                          <a:pt x="8990" y="90772"/>
                          <a:pt x="9381" y="91053"/>
                        </a:cubicBezTo>
                        <a:cubicBezTo>
                          <a:pt x="9967" y="91053"/>
                          <a:pt x="9967" y="91053"/>
                          <a:pt x="9967" y="91053"/>
                        </a:cubicBezTo>
                        <a:cubicBezTo>
                          <a:pt x="10358" y="91053"/>
                          <a:pt x="11921" y="90772"/>
                          <a:pt x="11921" y="90772"/>
                        </a:cubicBezTo>
                        <a:cubicBezTo>
                          <a:pt x="14071" y="91053"/>
                          <a:pt x="14071" y="91053"/>
                          <a:pt x="14071" y="91053"/>
                        </a:cubicBezTo>
                        <a:cubicBezTo>
                          <a:pt x="15244" y="90210"/>
                          <a:pt x="15244" y="90210"/>
                          <a:pt x="15244" y="90210"/>
                        </a:cubicBezTo>
                        <a:cubicBezTo>
                          <a:pt x="17589" y="90491"/>
                          <a:pt x="17589" y="90491"/>
                          <a:pt x="17589" y="90491"/>
                        </a:cubicBezTo>
                        <a:cubicBezTo>
                          <a:pt x="17980" y="90210"/>
                          <a:pt x="17980" y="90210"/>
                          <a:pt x="17980" y="90210"/>
                        </a:cubicBezTo>
                        <a:cubicBezTo>
                          <a:pt x="18175" y="90491"/>
                          <a:pt x="18175" y="90491"/>
                          <a:pt x="18175" y="90491"/>
                        </a:cubicBezTo>
                        <a:cubicBezTo>
                          <a:pt x="18957" y="90210"/>
                          <a:pt x="18957" y="90210"/>
                          <a:pt x="18957" y="90210"/>
                        </a:cubicBezTo>
                        <a:cubicBezTo>
                          <a:pt x="19739" y="91334"/>
                          <a:pt x="19739" y="91334"/>
                          <a:pt x="19739" y="91334"/>
                        </a:cubicBezTo>
                        <a:cubicBezTo>
                          <a:pt x="21302" y="91053"/>
                          <a:pt x="21302" y="91053"/>
                          <a:pt x="21302" y="91053"/>
                        </a:cubicBezTo>
                        <a:cubicBezTo>
                          <a:pt x="22280" y="89086"/>
                          <a:pt x="22280" y="89086"/>
                          <a:pt x="22280" y="89086"/>
                        </a:cubicBezTo>
                        <a:cubicBezTo>
                          <a:pt x="22280" y="89086"/>
                          <a:pt x="22866" y="88243"/>
                          <a:pt x="23648" y="87962"/>
                        </a:cubicBezTo>
                        <a:cubicBezTo>
                          <a:pt x="24429" y="87962"/>
                          <a:pt x="25798" y="87119"/>
                          <a:pt x="25798" y="87119"/>
                        </a:cubicBezTo>
                        <a:lnTo>
                          <a:pt x="27557" y="8571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86" name="Shape 2050"/>
                  <p:cNvSpPr/>
                  <p:nvPr/>
                </p:nvSpPr>
                <p:spPr>
                  <a:xfrm>
                    <a:off x="5078737" y="538527"/>
                    <a:ext cx="643166" cy="1694015"/>
                  </a:xfrm>
                  <a:custGeom>
                    <a:avLst/>
                    <a:gdLst/>
                    <a:ahLst/>
                    <a:cxnLst/>
                    <a:rect l="0" t="0" r="0" b="0"/>
                    <a:pathLst>
                      <a:path w="120000" h="120000" extrusionOk="0">
                        <a:moveTo>
                          <a:pt x="108510" y="13785"/>
                        </a:moveTo>
                        <a:cubicBezTo>
                          <a:pt x="108510" y="13629"/>
                          <a:pt x="108510" y="13629"/>
                          <a:pt x="108510" y="13629"/>
                        </a:cubicBezTo>
                        <a:cubicBezTo>
                          <a:pt x="108510" y="13629"/>
                          <a:pt x="107659" y="13002"/>
                          <a:pt x="108085" y="12689"/>
                        </a:cubicBezTo>
                        <a:cubicBezTo>
                          <a:pt x="108085" y="12689"/>
                          <a:pt x="108085" y="12689"/>
                          <a:pt x="108085" y="12532"/>
                        </a:cubicBezTo>
                        <a:cubicBezTo>
                          <a:pt x="108085" y="12375"/>
                          <a:pt x="108085" y="12375"/>
                          <a:pt x="108085" y="12375"/>
                        </a:cubicBezTo>
                        <a:cubicBezTo>
                          <a:pt x="106382" y="12532"/>
                          <a:pt x="106382" y="12532"/>
                          <a:pt x="106382" y="12532"/>
                        </a:cubicBezTo>
                        <a:cubicBezTo>
                          <a:pt x="105106" y="11906"/>
                          <a:pt x="105106" y="11906"/>
                          <a:pt x="105106" y="11906"/>
                        </a:cubicBezTo>
                        <a:cubicBezTo>
                          <a:pt x="105531" y="11122"/>
                          <a:pt x="105531" y="11122"/>
                          <a:pt x="105531" y="11122"/>
                        </a:cubicBezTo>
                        <a:cubicBezTo>
                          <a:pt x="104680" y="9242"/>
                          <a:pt x="104680" y="9242"/>
                          <a:pt x="104680" y="9242"/>
                        </a:cubicBezTo>
                        <a:cubicBezTo>
                          <a:pt x="105531" y="8302"/>
                          <a:pt x="105531" y="8302"/>
                          <a:pt x="105531" y="8302"/>
                        </a:cubicBezTo>
                        <a:cubicBezTo>
                          <a:pt x="102978" y="7832"/>
                          <a:pt x="102978" y="7832"/>
                          <a:pt x="102978" y="7832"/>
                        </a:cubicBezTo>
                        <a:cubicBezTo>
                          <a:pt x="101276" y="6892"/>
                          <a:pt x="101276" y="6892"/>
                          <a:pt x="101276" y="6892"/>
                        </a:cubicBezTo>
                        <a:cubicBezTo>
                          <a:pt x="101276" y="6892"/>
                          <a:pt x="100851" y="7206"/>
                          <a:pt x="100425" y="7049"/>
                        </a:cubicBezTo>
                        <a:cubicBezTo>
                          <a:pt x="100000" y="6892"/>
                          <a:pt x="97872" y="5639"/>
                          <a:pt x="97872" y="5639"/>
                        </a:cubicBezTo>
                        <a:cubicBezTo>
                          <a:pt x="94042" y="5169"/>
                          <a:pt x="94042" y="5169"/>
                          <a:pt x="94042" y="5169"/>
                        </a:cubicBezTo>
                        <a:cubicBezTo>
                          <a:pt x="92340" y="4856"/>
                          <a:pt x="92340" y="4856"/>
                          <a:pt x="92340" y="4856"/>
                        </a:cubicBezTo>
                        <a:cubicBezTo>
                          <a:pt x="90212" y="4699"/>
                          <a:pt x="90212" y="4699"/>
                          <a:pt x="90212" y="4699"/>
                        </a:cubicBezTo>
                        <a:cubicBezTo>
                          <a:pt x="90212" y="4699"/>
                          <a:pt x="89787" y="5013"/>
                          <a:pt x="89361" y="4699"/>
                        </a:cubicBezTo>
                        <a:cubicBezTo>
                          <a:pt x="88936" y="4386"/>
                          <a:pt x="88085" y="4073"/>
                          <a:pt x="88085" y="4073"/>
                        </a:cubicBezTo>
                        <a:cubicBezTo>
                          <a:pt x="86382" y="4229"/>
                          <a:pt x="86382" y="4229"/>
                          <a:pt x="86382" y="4229"/>
                        </a:cubicBezTo>
                        <a:cubicBezTo>
                          <a:pt x="85106" y="3603"/>
                          <a:pt x="85106" y="3603"/>
                          <a:pt x="85106" y="3603"/>
                        </a:cubicBezTo>
                        <a:cubicBezTo>
                          <a:pt x="85106" y="3603"/>
                          <a:pt x="84680" y="3603"/>
                          <a:pt x="84255" y="3603"/>
                        </a:cubicBezTo>
                        <a:cubicBezTo>
                          <a:pt x="83829" y="3446"/>
                          <a:pt x="82978" y="3289"/>
                          <a:pt x="82978" y="3289"/>
                        </a:cubicBezTo>
                        <a:cubicBezTo>
                          <a:pt x="81702" y="2506"/>
                          <a:pt x="81702" y="2506"/>
                          <a:pt x="81702" y="2506"/>
                        </a:cubicBezTo>
                        <a:cubicBezTo>
                          <a:pt x="80000" y="2193"/>
                          <a:pt x="80000" y="2193"/>
                          <a:pt x="80000" y="2193"/>
                        </a:cubicBezTo>
                        <a:cubicBezTo>
                          <a:pt x="77872" y="1879"/>
                          <a:pt x="77872" y="1879"/>
                          <a:pt x="77872" y="1879"/>
                        </a:cubicBezTo>
                        <a:cubicBezTo>
                          <a:pt x="77872" y="1253"/>
                          <a:pt x="77872" y="1253"/>
                          <a:pt x="77872" y="1253"/>
                        </a:cubicBezTo>
                        <a:cubicBezTo>
                          <a:pt x="74893" y="626"/>
                          <a:pt x="74893" y="626"/>
                          <a:pt x="74893" y="626"/>
                        </a:cubicBezTo>
                        <a:cubicBezTo>
                          <a:pt x="74893" y="626"/>
                          <a:pt x="74468" y="313"/>
                          <a:pt x="74893" y="313"/>
                        </a:cubicBezTo>
                        <a:cubicBezTo>
                          <a:pt x="75319" y="156"/>
                          <a:pt x="76595" y="156"/>
                          <a:pt x="77446" y="156"/>
                        </a:cubicBezTo>
                        <a:cubicBezTo>
                          <a:pt x="75319" y="0"/>
                          <a:pt x="75319" y="0"/>
                          <a:pt x="75319" y="0"/>
                        </a:cubicBezTo>
                        <a:cubicBezTo>
                          <a:pt x="72765" y="783"/>
                          <a:pt x="72765" y="783"/>
                          <a:pt x="72765" y="783"/>
                        </a:cubicBezTo>
                        <a:cubicBezTo>
                          <a:pt x="71489" y="783"/>
                          <a:pt x="71489" y="783"/>
                          <a:pt x="71489" y="783"/>
                        </a:cubicBezTo>
                        <a:cubicBezTo>
                          <a:pt x="71489" y="783"/>
                          <a:pt x="70638" y="939"/>
                          <a:pt x="70638" y="1096"/>
                        </a:cubicBezTo>
                        <a:cubicBezTo>
                          <a:pt x="71063" y="1253"/>
                          <a:pt x="71914" y="2663"/>
                          <a:pt x="72340" y="2976"/>
                        </a:cubicBezTo>
                        <a:cubicBezTo>
                          <a:pt x="72765" y="3133"/>
                          <a:pt x="72765" y="4229"/>
                          <a:pt x="71063" y="5013"/>
                        </a:cubicBezTo>
                        <a:cubicBezTo>
                          <a:pt x="72765" y="5639"/>
                          <a:pt x="72765" y="5639"/>
                          <a:pt x="72765" y="5639"/>
                        </a:cubicBezTo>
                        <a:cubicBezTo>
                          <a:pt x="71063" y="6422"/>
                          <a:pt x="71063" y="6422"/>
                          <a:pt x="71063" y="6422"/>
                        </a:cubicBezTo>
                        <a:cubicBezTo>
                          <a:pt x="68510" y="6579"/>
                          <a:pt x="68510" y="6579"/>
                          <a:pt x="68510" y="6579"/>
                        </a:cubicBezTo>
                        <a:cubicBezTo>
                          <a:pt x="68510" y="6579"/>
                          <a:pt x="65957" y="6422"/>
                          <a:pt x="65531" y="6266"/>
                        </a:cubicBezTo>
                        <a:cubicBezTo>
                          <a:pt x="65106" y="6109"/>
                          <a:pt x="62978" y="5796"/>
                          <a:pt x="62553" y="5796"/>
                        </a:cubicBezTo>
                        <a:cubicBezTo>
                          <a:pt x="61702" y="5953"/>
                          <a:pt x="55744" y="5796"/>
                          <a:pt x="55744" y="5796"/>
                        </a:cubicBezTo>
                        <a:cubicBezTo>
                          <a:pt x="54468" y="6422"/>
                          <a:pt x="54893" y="9712"/>
                          <a:pt x="55319" y="10182"/>
                        </a:cubicBezTo>
                        <a:cubicBezTo>
                          <a:pt x="54468" y="10809"/>
                          <a:pt x="54468" y="10809"/>
                          <a:pt x="54468" y="10809"/>
                        </a:cubicBezTo>
                        <a:cubicBezTo>
                          <a:pt x="52340" y="10809"/>
                          <a:pt x="52340" y="10809"/>
                          <a:pt x="52340" y="10809"/>
                        </a:cubicBezTo>
                        <a:cubicBezTo>
                          <a:pt x="48085" y="10026"/>
                          <a:pt x="48085" y="10026"/>
                          <a:pt x="48085" y="10026"/>
                        </a:cubicBezTo>
                        <a:cubicBezTo>
                          <a:pt x="46382" y="11279"/>
                          <a:pt x="46382" y="11279"/>
                          <a:pt x="46382" y="11279"/>
                        </a:cubicBezTo>
                        <a:cubicBezTo>
                          <a:pt x="46382" y="11279"/>
                          <a:pt x="44680" y="11906"/>
                          <a:pt x="44680" y="12219"/>
                        </a:cubicBezTo>
                        <a:cubicBezTo>
                          <a:pt x="44680" y="12375"/>
                          <a:pt x="43829" y="13002"/>
                          <a:pt x="43829" y="13002"/>
                        </a:cubicBezTo>
                        <a:cubicBezTo>
                          <a:pt x="43829" y="13159"/>
                          <a:pt x="43829" y="14255"/>
                          <a:pt x="43829" y="14255"/>
                        </a:cubicBezTo>
                        <a:cubicBezTo>
                          <a:pt x="42978" y="14882"/>
                          <a:pt x="42978" y="14882"/>
                          <a:pt x="42978" y="14882"/>
                        </a:cubicBezTo>
                        <a:cubicBezTo>
                          <a:pt x="40425" y="15509"/>
                          <a:pt x="40425" y="15509"/>
                          <a:pt x="40425" y="15509"/>
                        </a:cubicBezTo>
                        <a:cubicBezTo>
                          <a:pt x="40425" y="16292"/>
                          <a:pt x="40425" y="16292"/>
                          <a:pt x="40425" y="16292"/>
                        </a:cubicBezTo>
                        <a:cubicBezTo>
                          <a:pt x="40425" y="16292"/>
                          <a:pt x="41702" y="17232"/>
                          <a:pt x="42553" y="17389"/>
                        </a:cubicBezTo>
                        <a:cubicBezTo>
                          <a:pt x="42978" y="17702"/>
                          <a:pt x="43829" y="18955"/>
                          <a:pt x="43829" y="18955"/>
                        </a:cubicBezTo>
                        <a:cubicBezTo>
                          <a:pt x="43829" y="18955"/>
                          <a:pt x="42553" y="20052"/>
                          <a:pt x="42127" y="20365"/>
                        </a:cubicBezTo>
                        <a:cubicBezTo>
                          <a:pt x="41702" y="20678"/>
                          <a:pt x="38297" y="22245"/>
                          <a:pt x="38297" y="22245"/>
                        </a:cubicBezTo>
                        <a:cubicBezTo>
                          <a:pt x="36170" y="24281"/>
                          <a:pt x="36170" y="24281"/>
                          <a:pt x="36170" y="24281"/>
                        </a:cubicBezTo>
                        <a:cubicBezTo>
                          <a:pt x="36170" y="25691"/>
                          <a:pt x="36170" y="25691"/>
                          <a:pt x="36170" y="25691"/>
                        </a:cubicBezTo>
                        <a:cubicBezTo>
                          <a:pt x="35744" y="26475"/>
                          <a:pt x="35744" y="26475"/>
                          <a:pt x="35744" y="26475"/>
                        </a:cubicBezTo>
                        <a:cubicBezTo>
                          <a:pt x="32765" y="27571"/>
                          <a:pt x="32765" y="27571"/>
                          <a:pt x="32765" y="27571"/>
                        </a:cubicBezTo>
                        <a:cubicBezTo>
                          <a:pt x="28936" y="27728"/>
                          <a:pt x="28936" y="27728"/>
                          <a:pt x="28936" y="27728"/>
                        </a:cubicBezTo>
                        <a:cubicBezTo>
                          <a:pt x="27659" y="28198"/>
                          <a:pt x="27659" y="28198"/>
                          <a:pt x="27659" y="28198"/>
                        </a:cubicBezTo>
                        <a:cubicBezTo>
                          <a:pt x="29787" y="30861"/>
                          <a:pt x="29787" y="30861"/>
                          <a:pt x="29787" y="30861"/>
                        </a:cubicBezTo>
                        <a:cubicBezTo>
                          <a:pt x="28936" y="32114"/>
                          <a:pt x="28936" y="32114"/>
                          <a:pt x="28936" y="32114"/>
                        </a:cubicBezTo>
                        <a:cubicBezTo>
                          <a:pt x="28510" y="33211"/>
                          <a:pt x="28510" y="33211"/>
                          <a:pt x="28510" y="33211"/>
                        </a:cubicBezTo>
                        <a:cubicBezTo>
                          <a:pt x="28510" y="33211"/>
                          <a:pt x="27659" y="34151"/>
                          <a:pt x="28085" y="34308"/>
                        </a:cubicBezTo>
                        <a:cubicBezTo>
                          <a:pt x="28510" y="34621"/>
                          <a:pt x="28936" y="35248"/>
                          <a:pt x="28936" y="35248"/>
                        </a:cubicBezTo>
                        <a:cubicBezTo>
                          <a:pt x="27234" y="35718"/>
                          <a:pt x="27234" y="35718"/>
                          <a:pt x="27234" y="35718"/>
                        </a:cubicBezTo>
                        <a:cubicBezTo>
                          <a:pt x="27659" y="36657"/>
                          <a:pt x="27659" y="36657"/>
                          <a:pt x="27659" y="36657"/>
                        </a:cubicBezTo>
                        <a:cubicBezTo>
                          <a:pt x="21276" y="40731"/>
                          <a:pt x="21276" y="40731"/>
                          <a:pt x="21276" y="40731"/>
                        </a:cubicBezTo>
                        <a:cubicBezTo>
                          <a:pt x="22127" y="41514"/>
                          <a:pt x="22127" y="41514"/>
                          <a:pt x="22127" y="41514"/>
                        </a:cubicBezTo>
                        <a:cubicBezTo>
                          <a:pt x="25957" y="41827"/>
                          <a:pt x="25957" y="41827"/>
                          <a:pt x="25957" y="41827"/>
                        </a:cubicBezTo>
                        <a:cubicBezTo>
                          <a:pt x="26382" y="44334"/>
                          <a:pt x="26382" y="44334"/>
                          <a:pt x="26382" y="44334"/>
                        </a:cubicBezTo>
                        <a:cubicBezTo>
                          <a:pt x="25106" y="45430"/>
                          <a:pt x="25106" y="45430"/>
                          <a:pt x="25106" y="45430"/>
                        </a:cubicBezTo>
                        <a:cubicBezTo>
                          <a:pt x="24680" y="45744"/>
                          <a:pt x="24680" y="45744"/>
                          <a:pt x="24680" y="45744"/>
                        </a:cubicBezTo>
                        <a:cubicBezTo>
                          <a:pt x="14468" y="45900"/>
                          <a:pt x="14468" y="45900"/>
                          <a:pt x="14468" y="45900"/>
                        </a:cubicBezTo>
                        <a:cubicBezTo>
                          <a:pt x="8936" y="48563"/>
                          <a:pt x="8936" y="48563"/>
                          <a:pt x="8936" y="48563"/>
                        </a:cubicBezTo>
                        <a:cubicBezTo>
                          <a:pt x="8085" y="50130"/>
                          <a:pt x="8085" y="50130"/>
                          <a:pt x="8085" y="50130"/>
                        </a:cubicBezTo>
                        <a:cubicBezTo>
                          <a:pt x="7659" y="51227"/>
                          <a:pt x="7659" y="51227"/>
                          <a:pt x="7659" y="51227"/>
                        </a:cubicBezTo>
                        <a:cubicBezTo>
                          <a:pt x="7659" y="51227"/>
                          <a:pt x="6382" y="51853"/>
                          <a:pt x="6382" y="52167"/>
                        </a:cubicBezTo>
                        <a:cubicBezTo>
                          <a:pt x="6382" y="52323"/>
                          <a:pt x="6382" y="53263"/>
                          <a:pt x="6382" y="53263"/>
                        </a:cubicBezTo>
                        <a:cubicBezTo>
                          <a:pt x="8085" y="54516"/>
                          <a:pt x="8085" y="54516"/>
                          <a:pt x="8085" y="54516"/>
                        </a:cubicBezTo>
                        <a:cubicBezTo>
                          <a:pt x="8085" y="55456"/>
                          <a:pt x="8085" y="55456"/>
                          <a:pt x="8085" y="55456"/>
                        </a:cubicBezTo>
                        <a:cubicBezTo>
                          <a:pt x="7234" y="55926"/>
                          <a:pt x="7234" y="55926"/>
                          <a:pt x="7234" y="55926"/>
                        </a:cubicBezTo>
                        <a:cubicBezTo>
                          <a:pt x="7659" y="57023"/>
                          <a:pt x="7659" y="57023"/>
                          <a:pt x="7659" y="57023"/>
                        </a:cubicBezTo>
                        <a:cubicBezTo>
                          <a:pt x="7659" y="57023"/>
                          <a:pt x="8085" y="57336"/>
                          <a:pt x="7659" y="57493"/>
                        </a:cubicBezTo>
                        <a:cubicBezTo>
                          <a:pt x="6808" y="57806"/>
                          <a:pt x="6808" y="58120"/>
                          <a:pt x="7234" y="58433"/>
                        </a:cubicBezTo>
                        <a:cubicBezTo>
                          <a:pt x="7234" y="58590"/>
                          <a:pt x="10212" y="60626"/>
                          <a:pt x="10212" y="60626"/>
                        </a:cubicBezTo>
                        <a:cubicBezTo>
                          <a:pt x="10638" y="65483"/>
                          <a:pt x="10638" y="65483"/>
                          <a:pt x="10638" y="65483"/>
                        </a:cubicBezTo>
                        <a:cubicBezTo>
                          <a:pt x="11914" y="66736"/>
                          <a:pt x="11914" y="66736"/>
                          <a:pt x="11914" y="66736"/>
                        </a:cubicBezTo>
                        <a:cubicBezTo>
                          <a:pt x="14893" y="67519"/>
                          <a:pt x="14893" y="67519"/>
                          <a:pt x="14893" y="67519"/>
                        </a:cubicBezTo>
                        <a:cubicBezTo>
                          <a:pt x="17446" y="68302"/>
                          <a:pt x="17446" y="68302"/>
                          <a:pt x="17446" y="68302"/>
                        </a:cubicBezTo>
                        <a:cubicBezTo>
                          <a:pt x="17872" y="69712"/>
                          <a:pt x="17872" y="69712"/>
                          <a:pt x="17872" y="69712"/>
                        </a:cubicBezTo>
                        <a:cubicBezTo>
                          <a:pt x="17872" y="69712"/>
                          <a:pt x="17021" y="70809"/>
                          <a:pt x="17021" y="70966"/>
                        </a:cubicBezTo>
                        <a:cubicBezTo>
                          <a:pt x="17446" y="71122"/>
                          <a:pt x="14893" y="71122"/>
                          <a:pt x="14893" y="71122"/>
                        </a:cubicBezTo>
                        <a:cubicBezTo>
                          <a:pt x="12765" y="71279"/>
                          <a:pt x="12765" y="71279"/>
                          <a:pt x="12765" y="71279"/>
                        </a:cubicBezTo>
                        <a:cubicBezTo>
                          <a:pt x="10638" y="72062"/>
                          <a:pt x="10638" y="72062"/>
                          <a:pt x="10638" y="72062"/>
                        </a:cubicBezTo>
                        <a:cubicBezTo>
                          <a:pt x="11489" y="73002"/>
                          <a:pt x="11489" y="73002"/>
                          <a:pt x="11489" y="73002"/>
                        </a:cubicBezTo>
                        <a:cubicBezTo>
                          <a:pt x="12765" y="74412"/>
                          <a:pt x="12765" y="74412"/>
                          <a:pt x="12765" y="74412"/>
                        </a:cubicBezTo>
                        <a:cubicBezTo>
                          <a:pt x="15319" y="75509"/>
                          <a:pt x="15319" y="75509"/>
                          <a:pt x="15319" y="75509"/>
                        </a:cubicBezTo>
                        <a:cubicBezTo>
                          <a:pt x="16170" y="76449"/>
                          <a:pt x="16170" y="76449"/>
                          <a:pt x="16170" y="76449"/>
                        </a:cubicBezTo>
                        <a:cubicBezTo>
                          <a:pt x="14893" y="77389"/>
                          <a:pt x="14893" y="77389"/>
                          <a:pt x="14893" y="77389"/>
                        </a:cubicBezTo>
                        <a:cubicBezTo>
                          <a:pt x="14042" y="77859"/>
                          <a:pt x="14042" y="77859"/>
                          <a:pt x="14042" y="77859"/>
                        </a:cubicBezTo>
                        <a:cubicBezTo>
                          <a:pt x="14893" y="78642"/>
                          <a:pt x="14893" y="78642"/>
                          <a:pt x="14893" y="78642"/>
                        </a:cubicBezTo>
                        <a:cubicBezTo>
                          <a:pt x="14893" y="79425"/>
                          <a:pt x="14893" y="79425"/>
                          <a:pt x="14893" y="79425"/>
                        </a:cubicBezTo>
                        <a:cubicBezTo>
                          <a:pt x="14893" y="79425"/>
                          <a:pt x="14042" y="79895"/>
                          <a:pt x="14042" y="80052"/>
                        </a:cubicBezTo>
                        <a:cubicBezTo>
                          <a:pt x="14042" y="80208"/>
                          <a:pt x="12340" y="80678"/>
                          <a:pt x="12340" y="80678"/>
                        </a:cubicBezTo>
                        <a:cubicBezTo>
                          <a:pt x="11063" y="81148"/>
                          <a:pt x="11063" y="81148"/>
                          <a:pt x="11063" y="81148"/>
                        </a:cubicBezTo>
                        <a:cubicBezTo>
                          <a:pt x="9787" y="81305"/>
                          <a:pt x="9787" y="81305"/>
                          <a:pt x="9787" y="81305"/>
                        </a:cubicBezTo>
                        <a:cubicBezTo>
                          <a:pt x="9787" y="81305"/>
                          <a:pt x="8936" y="81148"/>
                          <a:pt x="8510" y="81305"/>
                        </a:cubicBezTo>
                        <a:cubicBezTo>
                          <a:pt x="8510" y="81305"/>
                          <a:pt x="7659" y="81618"/>
                          <a:pt x="7659" y="81618"/>
                        </a:cubicBezTo>
                        <a:cubicBezTo>
                          <a:pt x="7659" y="82088"/>
                          <a:pt x="7659" y="82088"/>
                          <a:pt x="7659" y="82088"/>
                        </a:cubicBezTo>
                        <a:cubicBezTo>
                          <a:pt x="8510" y="82402"/>
                          <a:pt x="8510" y="82402"/>
                          <a:pt x="8510" y="82402"/>
                        </a:cubicBezTo>
                        <a:cubicBezTo>
                          <a:pt x="8085" y="83185"/>
                          <a:pt x="8085" y="83185"/>
                          <a:pt x="8085" y="83185"/>
                        </a:cubicBezTo>
                        <a:cubicBezTo>
                          <a:pt x="6808" y="83655"/>
                          <a:pt x="6808" y="83655"/>
                          <a:pt x="6808" y="83655"/>
                        </a:cubicBezTo>
                        <a:cubicBezTo>
                          <a:pt x="5531" y="83812"/>
                          <a:pt x="5531" y="83812"/>
                          <a:pt x="5531" y="83812"/>
                        </a:cubicBezTo>
                        <a:cubicBezTo>
                          <a:pt x="6382" y="84751"/>
                          <a:pt x="6382" y="84751"/>
                          <a:pt x="6382" y="84751"/>
                        </a:cubicBezTo>
                        <a:cubicBezTo>
                          <a:pt x="8085" y="85848"/>
                          <a:pt x="8085" y="85848"/>
                          <a:pt x="8085" y="85848"/>
                        </a:cubicBezTo>
                        <a:cubicBezTo>
                          <a:pt x="8085" y="86788"/>
                          <a:pt x="8085" y="86788"/>
                          <a:pt x="8085" y="86788"/>
                        </a:cubicBezTo>
                        <a:cubicBezTo>
                          <a:pt x="6808" y="87728"/>
                          <a:pt x="6808" y="87728"/>
                          <a:pt x="6808" y="87728"/>
                        </a:cubicBezTo>
                        <a:cubicBezTo>
                          <a:pt x="6382" y="88825"/>
                          <a:pt x="6382" y="88825"/>
                          <a:pt x="6382" y="88825"/>
                        </a:cubicBezTo>
                        <a:cubicBezTo>
                          <a:pt x="5957" y="89765"/>
                          <a:pt x="5957" y="89765"/>
                          <a:pt x="5957" y="89765"/>
                        </a:cubicBezTo>
                        <a:cubicBezTo>
                          <a:pt x="5106" y="89921"/>
                          <a:pt x="5106" y="89921"/>
                          <a:pt x="5106" y="89921"/>
                        </a:cubicBezTo>
                        <a:cubicBezTo>
                          <a:pt x="3829" y="89921"/>
                          <a:pt x="3829" y="89921"/>
                          <a:pt x="3829" y="89921"/>
                        </a:cubicBezTo>
                        <a:cubicBezTo>
                          <a:pt x="3829" y="89921"/>
                          <a:pt x="3829" y="88981"/>
                          <a:pt x="3404" y="88825"/>
                        </a:cubicBezTo>
                        <a:cubicBezTo>
                          <a:pt x="3404" y="88825"/>
                          <a:pt x="425" y="87885"/>
                          <a:pt x="425" y="87885"/>
                        </a:cubicBezTo>
                        <a:cubicBezTo>
                          <a:pt x="425" y="88825"/>
                          <a:pt x="425" y="88825"/>
                          <a:pt x="425" y="88825"/>
                        </a:cubicBezTo>
                        <a:cubicBezTo>
                          <a:pt x="0" y="89921"/>
                          <a:pt x="0" y="89921"/>
                          <a:pt x="0" y="89921"/>
                        </a:cubicBezTo>
                        <a:cubicBezTo>
                          <a:pt x="0" y="89921"/>
                          <a:pt x="425" y="90548"/>
                          <a:pt x="851" y="90704"/>
                        </a:cubicBezTo>
                        <a:cubicBezTo>
                          <a:pt x="1276" y="90861"/>
                          <a:pt x="1702" y="91958"/>
                          <a:pt x="1702" y="91958"/>
                        </a:cubicBezTo>
                        <a:cubicBezTo>
                          <a:pt x="1276" y="93054"/>
                          <a:pt x="1276" y="93054"/>
                          <a:pt x="1276" y="93054"/>
                        </a:cubicBezTo>
                        <a:cubicBezTo>
                          <a:pt x="1276" y="93054"/>
                          <a:pt x="2127" y="93838"/>
                          <a:pt x="2127" y="93838"/>
                        </a:cubicBezTo>
                        <a:cubicBezTo>
                          <a:pt x="2127" y="93994"/>
                          <a:pt x="2553" y="94621"/>
                          <a:pt x="2553" y="94621"/>
                        </a:cubicBezTo>
                        <a:cubicBezTo>
                          <a:pt x="4255" y="94464"/>
                          <a:pt x="4255" y="94464"/>
                          <a:pt x="4255" y="94464"/>
                        </a:cubicBezTo>
                        <a:cubicBezTo>
                          <a:pt x="3829" y="93994"/>
                          <a:pt x="3829" y="93994"/>
                          <a:pt x="3829" y="93994"/>
                        </a:cubicBezTo>
                        <a:cubicBezTo>
                          <a:pt x="5106" y="94621"/>
                          <a:pt x="5106" y="94621"/>
                          <a:pt x="5106" y="94621"/>
                        </a:cubicBezTo>
                        <a:cubicBezTo>
                          <a:pt x="5106" y="94621"/>
                          <a:pt x="4255" y="94778"/>
                          <a:pt x="5106" y="94621"/>
                        </a:cubicBezTo>
                        <a:cubicBezTo>
                          <a:pt x="5531" y="94621"/>
                          <a:pt x="6382" y="94308"/>
                          <a:pt x="6382" y="94308"/>
                        </a:cubicBezTo>
                        <a:cubicBezTo>
                          <a:pt x="5957" y="94778"/>
                          <a:pt x="5957" y="94778"/>
                          <a:pt x="5957" y="94778"/>
                        </a:cubicBezTo>
                        <a:cubicBezTo>
                          <a:pt x="5106" y="95404"/>
                          <a:pt x="5106" y="95404"/>
                          <a:pt x="5106" y="95404"/>
                        </a:cubicBezTo>
                        <a:cubicBezTo>
                          <a:pt x="5531" y="95561"/>
                          <a:pt x="5531" y="95561"/>
                          <a:pt x="5531" y="95561"/>
                        </a:cubicBezTo>
                        <a:cubicBezTo>
                          <a:pt x="6808" y="95718"/>
                          <a:pt x="6808" y="95718"/>
                          <a:pt x="6808" y="95718"/>
                        </a:cubicBezTo>
                        <a:cubicBezTo>
                          <a:pt x="5106" y="96501"/>
                          <a:pt x="5106" y="96501"/>
                          <a:pt x="5106" y="96501"/>
                        </a:cubicBezTo>
                        <a:cubicBezTo>
                          <a:pt x="5106" y="96501"/>
                          <a:pt x="5957" y="96971"/>
                          <a:pt x="6382" y="97127"/>
                        </a:cubicBezTo>
                        <a:cubicBezTo>
                          <a:pt x="6382" y="97127"/>
                          <a:pt x="8085" y="96657"/>
                          <a:pt x="8085" y="96657"/>
                        </a:cubicBezTo>
                        <a:cubicBezTo>
                          <a:pt x="8085" y="96657"/>
                          <a:pt x="8085" y="96814"/>
                          <a:pt x="8085" y="96971"/>
                        </a:cubicBezTo>
                        <a:cubicBezTo>
                          <a:pt x="8085" y="96971"/>
                          <a:pt x="6808" y="97441"/>
                          <a:pt x="6808" y="97754"/>
                        </a:cubicBezTo>
                        <a:cubicBezTo>
                          <a:pt x="7234" y="97911"/>
                          <a:pt x="9361" y="97597"/>
                          <a:pt x="8936" y="97754"/>
                        </a:cubicBezTo>
                        <a:cubicBezTo>
                          <a:pt x="8510" y="97911"/>
                          <a:pt x="8510" y="98224"/>
                          <a:pt x="8510" y="98224"/>
                        </a:cubicBezTo>
                        <a:cubicBezTo>
                          <a:pt x="8510" y="98224"/>
                          <a:pt x="7234" y="98694"/>
                          <a:pt x="8085" y="98851"/>
                        </a:cubicBezTo>
                        <a:cubicBezTo>
                          <a:pt x="8510" y="99007"/>
                          <a:pt x="9787" y="99164"/>
                          <a:pt x="9361" y="99164"/>
                        </a:cubicBezTo>
                        <a:cubicBezTo>
                          <a:pt x="9361" y="99321"/>
                          <a:pt x="8085" y="99634"/>
                          <a:pt x="8085" y="99634"/>
                        </a:cubicBezTo>
                        <a:cubicBezTo>
                          <a:pt x="8085" y="99634"/>
                          <a:pt x="7659" y="99947"/>
                          <a:pt x="8085" y="100104"/>
                        </a:cubicBezTo>
                        <a:cubicBezTo>
                          <a:pt x="8510" y="100261"/>
                          <a:pt x="9787" y="100261"/>
                          <a:pt x="9787" y="100261"/>
                        </a:cubicBezTo>
                        <a:cubicBezTo>
                          <a:pt x="9787" y="100261"/>
                          <a:pt x="9787" y="99947"/>
                          <a:pt x="9787" y="100104"/>
                        </a:cubicBezTo>
                        <a:cubicBezTo>
                          <a:pt x="9787" y="100261"/>
                          <a:pt x="9361" y="100574"/>
                          <a:pt x="9361" y="100574"/>
                        </a:cubicBezTo>
                        <a:cubicBezTo>
                          <a:pt x="9361" y="100574"/>
                          <a:pt x="8936" y="100887"/>
                          <a:pt x="9361" y="101044"/>
                        </a:cubicBezTo>
                        <a:cubicBezTo>
                          <a:pt x="9787" y="101044"/>
                          <a:pt x="10638" y="101044"/>
                          <a:pt x="10638" y="101044"/>
                        </a:cubicBezTo>
                        <a:cubicBezTo>
                          <a:pt x="10638" y="101044"/>
                          <a:pt x="10638" y="101201"/>
                          <a:pt x="10638" y="101514"/>
                        </a:cubicBezTo>
                        <a:cubicBezTo>
                          <a:pt x="10638" y="101671"/>
                          <a:pt x="10638" y="102140"/>
                          <a:pt x="10638" y="102140"/>
                        </a:cubicBezTo>
                        <a:cubicBezTo>
                          <a:pt x="10638" y="102297"/>
                          <a:pt x="10638" y="102610"/>
                          <a:pt x="10638" y="102610"/>
                        </a:cubicBezTo>
                        <a:cubicBezTo>
                          <a:pt x="10638" y="102610"/>
                          <a:pt x="10212" y="102767"/>
                          <a:pt x="11489" y="102767"/>
                        </a:cubicBezTo>
                        <a:cubicBezTo>
                          <a:pt x="12340" y="102767"/>
                          <a:pt x="12340" y="102610"/>
                          <a:pt x="12765" y="102610"/>
                        </a:cubicBezTo>
                        <a:cubicBezTo>
                          <a:pt x="13191" y="102610"/>
                          <a:pt x="13191" y="102767"/>
                          <a:pt x="13617" y="102924"/>
                        </a:cubicBezTo>
                        <a:cubicBezTo>
                          <a:pt x="13617" y="103237"/>
                          <a:pt x="13617" y="103394"/>
                          <a:pt x="13617" y="103550"/>
                        </a:cubicBezTo>
                        <a:cubicBezTo>
                          <a:pt x="14042" y="103707"/>
                          <a:pt x="15744" y="105274"/>
                          <a:pt x="15744" y="105274"/>
                        </a:cubicBezTo>
                        <a:cubicBezTo>
                          <a:pt x="15744" y="105274"/>
                          <a:pt x="16170" y="105900"/>
                          <a:pt x="16595" y="106057"/>
                        </a:cubicBezTo>
                        <a:cubicBezTo>
                          <a:pt x="16595" y="106214"/>
                          <a:pt x="17021" y="106370"/>
                          <a:pt x="17446" y="106527"/>
                        </a:cubicBezTo>
                        <a:cubicBezTo>
                          <a:pt x="17446" y="106527"/>
                          <a:pt x="18297" y="106997"/>
                          <a:pt x="18297" y="106997"/>
                        </a:cubicBezTo>
                        <a:cubicBezTo>
                          <a:pt x="19574" y="107310"/>
                          <a:pt x="19574" y="107310"/>
                          <a:pt x="19574" y="107310"/>
                        </a:cubicBezTo>
                        <a:cubicBezTo>
                          <a:pt x="21276" y="108407"/>
                          <a:pt x="21276" y="108407"/>
                          <a:pt x="21276" y="108407"/>
                        </a:cubicBezTo>
                        <a:cubicBezTo>
                          <a:pt x="21276" y="108407"/>
                          <a:pt x="22553" y="108877"/>
                          <a:pt x="22553" y="108877"/>
                        </a:cubicBezTo>
                        <a:cubicBezTo>
                          <a:pt x="22978" y="108877"/>
                          <a:pt x="23829" y="108563"/>
                          <a:pt x="23829" y="108563"/>
                        </a:cubicBezTo>
                        <a:cubicBezTo>
                          <a:pt x="23829" y="108563"/>
                          <a:pt x="25106" y="108720"/>
                          <a:pt x="25106" y="108877"/>
                        </a:cubicBezTo>
                        <a:cubicBezTo>
                          <a:pt x="24680" y="108877"/>
                          <a:pt x="24255" y="109503"/>
                          <a:pt x="24255" y="109660"/>
                        </a:cubicBezTo>
                        <a:cubicBezTo>
                          <a:pt x="24680" y="109817"/>
                          <a:pt x="24680" y="110130"/>
                          <a:pt x="24680" y="110130"/>
                        </a:cubicBezTo>
                        <a:cubicBezTo>
                          <a:pt x="23829" y="110287"/>
                          <a:pt x="23829" y="110287"/>
                          <a:pt x="23829" y="110287"/>
                        </a:cubicBezTo>
                        <a:cubicBezTo>
                          <a:pt x="22978" y="110443"/>
                          <a:pt x="22978" y="110443"/>
                          <a:pt x="22978" y="110443"/>
                        </a:cubicBezTo>
                        <a:cubicBezTo>
                          <a:pt x="21276" y="110443"/>
                          <a:pt x="21276" y="110443"/>
                          <a:pt x="21276" y="110443"/>
                        </a:cubicBezTo>
                        <a:cubicBezTo>
                          <a:pt x="20851" y="111070"/>
                          <a:pt x="20851" y="111070"/>
                          <a:pt x="20851" y="111070"/>
                        </a:cubicBezTo>
                        <a:cubicBezTo>
                          <a:pt x="22553" y="111383"/>
                          <a:pt x="22553" y="111383"/>
                          <a:pt x="22553" y="111383"/>
                        </a:cubicBezTo>
                        <a:cubicBezTo>
                          <a:pt x="22553" y="111383"/>
                          <a:pt x="23404" y="111697"/>
                          <a:pt x="23829" y="111697"/>
                        </a:cubicBezTo>
                        <a:cubicBezTo>
                          <a:pt x="23829" y="111853"/>
                          <a:pt x="23829" y="112480"/>
                          <a:pt x="23829" y="112480"/>
                        </a:cubicBezTo>
                        <a:cubicBezTo>
                          <a:pt x="23404" y="112480"/>
                          <a:pt x="21702" y="112480"/>
                          <a:pt x="21702" y="112480"/>
                        </a:cubicBezTo>
                        <a:cubicBezTo>
                          <a:pt x="21702" y="112480"/>
                          <a:pt x="20851" y="112950"/>
                          <a:pt x="20851" y="112950"/>
                        </a:cubicBezTo>
                        <a:cubicBezTo>
                          <a:pt x="20851" y="113107"/>
                          <a:pt x="20425" y="113107"/>
                          <a:pt x="21276" y="113577"/>
                        </a:cubicBezTo>
                        <a:cubicBezTo>
                          <a:pt x="21702" y="113890"/>
                          <a:pt x="23829" y="114830"/>
                          <a:pt x="23829" y="114830"/>
                        </a:cubicBezTo>
                        <a:cubicBezTo>
                          <a:pt x="23829" y="114830"/>
                          <a:pt x="25531" y="115770"/>
                          <a:pt x="25531" y="115770"/>
                        </a:cubicBezTo>
                        <a:cubicBezTo>
                          <a:pt x="25531" y="115926"/>
                          <a:pt x="26808" y="116553"/>
                          <a:pt x="26808" y="116553"/>
                        </a:cubicBezTo>
                        <a:cubicBezTo>
                          <a:pt x="27234" y="116553"/>
                          <a:pt x="27234" y="117180"/>
                          <a:pt x="27234" y="117180"/>
                        </a:cubicBezTo>
                        <a:cubicBezTo>
                          <a:pt x="26808" y="117493"/>
                          <a:pt x="26808" y="117493"/>
                          <a:pt x="26808" y="117493"/>
                        </a:cubicBezTo>
                        <a:cubicBezTo>
                          <a:pt x="26382" y="117963"/>
                          <a:pt x="26382" y="117963"/>
                          <a:pt x="26382" y="117963"/>
                        </a:cubicBezTo>
                        <a:cubicBezTo>
                          <a:pt x="25957" y="118433"/>
                          <a:pt x="25957" y="118433"/>
                          <a:pt x="25957" y="118433"/>
                        </a:cubicBezTo>
                        <a:cubicBezTo>
                          <a:pt x="26382" y="118746"/>
                          <a:pt x="26382" y="118746"/>
                          <a:pt x="26382" y="118746"/>
                        </a:cubicBezTo>
                        <a:cubicBezTo>
                          <a:pt x="25957" y="119060"/>
                          <a:pt x="25957" y="119060"/>
                          <a:pt x="25957" y="119060"/>
                        </a:cubicBezTo>
                        <a:cubicBezTo>
                          <a:pt x="25106" y="119530"/>
                          <a:pt x="25106" y="119530"/>
                          <a:pt x="25106" y="119530"/>
                        </a:cubicBezTo>
                        <a:cubicBezTo>
                          <a:pt x="27234" y="119686"/>
                          <a:pt x="27234" y="119686"/>
                          <a:pt x="27234" y="119686"/>
                        </a:cubicBezTo>
                        <a:cubicBezTo>
                          <a:pt x="29787" y="119530"/>
                          <a:pt x="29787" y="119530"/>
                          <a:pt x="29787" y="119530"/>
                        </a:cubicBezTo>
                        <a:cubicBezTo>
                          <a:pt x="29787" y="119530"/>
                          <a:pt x="30212" y="119843"/>
                          <a:pt x="30212" y="119843"/>
                        </a:cubicBezTo>
                        <a:cubicBezTo>
                          <a:pt x="30638" y="120000"/>
                          <a:pt x="32765" y="119843"/>
                          <a:pt x="32765" y="119843"/>
                        </a:cubicBezTo>
                        <a:cubicBezTo>
                          <a:pt x="34468" y="119530"/>
                          <a:pt x="34468" y="119530"/>
                          <a:pt x="34468" y="119530"/>
                        </a:cubicBezTo>
                        <a:cubicBezTo>
                          <a:pt x="35744" y="119216"/>
                          <a:pt x="35744" y="119216"/>
                          <a:pt x="35744" y="119216"/>
                        </a:cubicBezTo>
                        <a:cubicBezTo>
                          <a:pt x="35744" y="118903"/>
                          <a:pt x="35744" y="118903"/>
                          <a:pt x="35744" y="118903"/>
                        </a:cubicBezTo>
                        <a:cubicBezTo>
                          <a:pt x="35744" y="118903"/>
                          <a:pt x="36595" y="118433"/>
                          <a:pt x="36595" y="118433"/>
                        </a:cubicBezTo>
                        <a:cubicBezTo>
                          <a:pt x="37021" y="118433"/>
                          <a:pt x="38297" y="118590"/>
                          <a:pt x="38297" y="118590"/>
                        </a:cubicBezTo>
                        <a:cubicBezTo>
                          <a:pt x="38297" y="118590"/>
                          <a:pt x="39574" y="118590"/>
                          <a:pt x="39574" y="118746"/>
                        </a:cubicBezTo>
                        <a:cubicBezTo>
                          <a:pt x="39574" y="118903"/>
                          <a:pt x="40425" y="119060"/>
                          <a:pt x="40425" y="119060"/>
                        </a:cubicBezTo>
                        <a:cubicBezTo>
                          <a:pt x="41702" y="119060"/>
                          <a:pt x="41702" y="119060"/>
                          <a:pt x="41702" y="119060"/>
                        </a:cubicBezTo>
                        <a:cubicBezTo>
                          <a:pt x="42978" y="118903"/>
                          <a:pt x="42978" y="118903"/>
                          <a:pt x="42978" y="118903"/>
                        </a:cubicBezTo>
                        <a:cubicBezTo>
                          <a:pt x="44680" y="118746"/>
                          <a:pt x="44680" y="118746"/>
                          <a:pt x="44680" y="118746"/>
                        </a:cubicBezTo>
                        <a:cubicBezTo>
                          <a:pt x="44680" y="118746"/>
                          <a:pt x="44255" y="118433"/>
                          <a:pt x="44680" y="118433"/>
                        </a:cubicBezTo>
                        <a:cubicBezTo>
                          <a:pt x="45106" y="118433"/>
                          <a:pt x="46382" y="118433"/>
                          <a:pt x="46382" y="118433"/>
                        </a:cubicBezTo>
                        <a:cubicBezTo>
                          <a:pt x="46382" y="118433"/>
                          <a:pt x="46808" y="118746"/>
                          <a:pt x="47234" y="118746"/>
                        </a:cubicBezTo>
                        <a:cubicBezTo>
                          <a:pt x="47234" y="118746"/>
                          <a:pt x="48085" y="118433"/>
                          <a:pt x="47659" y="118276"/>
                        </a:cubicBezTo>
                        <a:cubicBezTo>
                          <a:pt x="47234" y="118120"/>
                          <a:pt x="45531" y="117806"/>
                          <a:pt x="45531" y="117806"/>
                        </a:cubicBezTo>
                        <a:cubicBezTo>
                          <a:pt x="45531" y="117806"/>
                          <a:pt x="44680" y="117336"/>
                          <a:pt x="44680" y="117180"/>
                        </a:cubicBezTo>
                        <a:cubicBezTo>
                          <a:pt x="44255" y="117023"/>
                          <a:pt x="44255" y="116553"/>
                          <a:pt x="43829" y="116396"/>
                        </a:cubicBezTo>
                        <a:cubicBezTo>
                          <a:pt x="43404" y="116396"/>
                          <a:pt x="42978" y="116240"/>
                          <a:pt x="42978" y="115926"/>
                        </a:cubicBezTo>
                        <a:cubicBezTo>
                          <a:pt x="43404" y="115456"/>
                          <a:pt x="43404" y="115300"/>
                          <a:pt x="43404" y="115300"/>
                        </a:cubicBezTo>
                        <a:cubicBezTo>
                          <a:pt x="43404" y="115143"/>
                          <a:pt x="43404" y="114516"/>
                          <a:pt x="43404" y="114516"/>
                        </a:cubicBezTo>
                        <a:cubicBezTo>
                          <a:pt x="43404" y="114516"/>
                          <a:pt x="42978" y="114203"/>
                          <a:pt x="44255" y="113890"/>
                        </a:cubicBezTo>
                        <a:cubicBezTo>
                          <a:pt x="45531" y="113577"/>
                          <a:pt x="45531" y="113263"/>
                          <a:pt x="45957" y="113420"/>
                        </a:cubicBezTo>
                        <a:cubicBezTo>
                          <a:pt x="46382" y="113577"/>
                          <a:pt x="47234" y="113890"/>
                          <a:pt x="47659" y="113890"/>
                        </a:cubicBezTo>
                        <a:cubicBezTo>
                          <a:pt x="47659" y="114046"/>
                          <a:pt x="48085" y="114046"/>
                          <a:pt x="48510" y="114203"/>
                        </a:cubicBezTo>
                        <a:cubicBezTo>
                          <a:pt x="48510" y="114360"/>
                          <a:pt x="48085" y="114516"/>
                          <a:pt x="48936" y="114516"/>
                        </a:cubicBezTo>
                        <a:cubicBezTo>
                          <a:pt x="49361" y="114516"/>
                          <a:pt x="50212" y="114516"/>
                          <a:pt x="50212" y="114516"/>
                        </a:cubicBezTo>
                        <a:cubicBezTo>
                          <a:pt x="50212" y="114516"/>
                          <a:pt x="50638" y="114516"/>
                          <a:pt x="50638" y="114360"/>
                        </a:cubicBezTo>
                        <a:cubicBezTo>
                          <a:pt x="50638" y="114203"/>
                          <a:pt x="50638" y="113733"/>
                          <a:pt x="50212" y="113733"/>
                        </a:cubicBezTo>
                        <a:cubicBezTo>
                          <a:pt x="49787" y="113577"/>
                          <a:pt x="49361" y="113420"/>
                          <a:pt x="49361" y="113420"/>
                        </a:cubicBezTo>
                        <a:cubicBezTo>
                          <a:pt x="49361" y="113420"/>
                          <a:pt x="50212" y="113263"/>
                          <a:pt x="48936" y="113107"/>
                        </a:cubicBezTo>
                        <a:cubicBezTo>
                          <a:pt x="47659" y="112793"/>
                          <a:pt x="47659" y="112637"/>
                          <a:pt x="48085" y="112480"/>
                        </a:cubicBezTo>
                        <a:cubicBezTo>
                          <a:pt x="48936" y="112323"/>
                          <a:pt x="50638" y="112480"/>
                          <a:pt x="50638" y="112480"/>
                        </a:cubicBezTo>
                        <a:cubicBezTo>
                          <a:pt x="51914" y="112323"/>
                          <a:pt x="51914" y="112323"/>
                          <a:pt x="51914" y="112323"/>
                        </a:cubicBezTo>
                        <a:cubicBezTo>
                          <a:pt x="51914" y="112323"/>
                          <a:pt x="52765" y="112010"/>
                          <a:pt x="53617" y="112167"/>
                        </a:cubicBezTo>
                        <a:cubicBezTo>
                          <a:pt x="54042" y="112323"/>
                          <a:pt x="55744" y="112167"/>
                          <a:pt x="55744" y="112167"/>
                        </a:cubicBezTo>
                        <a:cubicBezTo>
                          <a:pt x="57872" y="112323"/>
                          <a:pt x="57872" y="112323"/>
                          <a:pt x="57872" y="112323"/>
                        </a:cubicBezTo>
                        <a:cubicBezTo>
                          <a:pt x="58723" y="112010"/>
                          <a:pt x="58723" y="112010"/>
                          <a:pt x="58723" y="112010"/>
                        </a:cubicBezTo>
                        <a:cubicBezTo>
                          <a:pt x="60851" y="112323"/>
                          <a:pt x="60851" y="112323"/>
                          <a:pt x="60851" y="112323"/>
                        </a:cubicBezTo>
                        <a:cubicBezTo>
                          <a:pt x="60851" y="112323"/>
                          <a:pt x="60425" y="112323"/>
                          <a:pt x="61702" y="112480"/>
                        </a:cubicBezTo>
                        <a:cubicBezTo>
                          <a:pt x="62553" y="112480"/>
                          <a:pt x="63829" y="112167"/>
                          <a:pt x="63829" y="112010"/>
                        </a:cubicBezTo>
                        <a:cubicBezTo>
                          <a:pt x="64255" y="112010"/>
                          <a:pt x="65957" y="110913"/>
                          <a:pt x="65957" y="110913"/>
                        </a:cubicBezTo>
                        <a:cubicBezTo>
                          <a:pt x="67234" y="107780"/>
                          <a:pt x="67234" y="107780"/>
                          <a:pt x="67234" y="107780"/>
                        </a:cubicBezTo>
                        <a:cubicBezTo>
                          <a:pt x="67234" y="107780"/>
                          <a:pt x="68936" y="107310"/>
                          <a:pt x="68510" y="107310"/>
                        </a:cubicBezTo>
                        <a:cubicBezTo>
                          <a:pt x="68510" y="107154"/>
                          <a:pt x="68510" y="106057"/>
                          <a:pt x="68510" y="105900"/>
                        </a:cubicBezTo>
                        <a:cubicBezTo>
                          <a:pt x="68510" y="105744"/>
                          <a:pt x="69361" y="104647"/>
                          <a:pt x="69361" y="104647"/>
                        </a:cubicBezTo>
                        <a:cubicBezTo>
                          <a:pt x="69361" y="104647"/>
                          <a:pt x="71063" y="104177"/>
                          <a:pt x="70212" y="103707"/>
                        </a:cubicBezTo>
                        <a:cubicBezTo>
                          <a:pt x="69787" y="103237"/>
                          <a:pt x="69361" y="102454"/>
                          <a:pt x="69361" y="102454"/>
                        </a:cubicBezTo>
                        <a:cubicBezTo>
                          <a:pt x="69361" y="102454"/>
                          <a:pt x="68936" y="101671"/>
                          <a:pt x="68936" y="101514"/>
                        </a:cubicBezTo>
                        <a:cubicBezTo>
                          <a:pt x="68936" y="101357"/>
                          <a:pt x="70638" y="100574"/>
                          <a:pt x="70638" y="100574"/>
                        </a:cubicBezTo>
                        <a:cubicBezTo>
                          <a:pt x="69361" y="99164"/>
                          <a:pt x="69361" y="99164"/>
                          <a:pt x="69361" y="99164"/>
                        </a:cubicBezTo>
                        <a:cubicBezTo>
                          <a:pt x="69361" y="99164"/>
                          <a:pt x="70212" y="98694"/>
                          <a:pt x="70212" y="98537"/>
                        </a:cubicBezTo>
                        <a:cubicBezTo>
                          <a:pt x="70212" y="98381"/>
                          <a:pt x="69361" y="96971"/>
                          <a:pt x="69361" y="96971"/>
                        </a:cubicBezTo>
                        <a:cubicBezTo>
                          <a:pt x="69361" y="96657"/>
                          <a:pt x="69361" y="96657"/>
                          <a:pt x="69361" y="96657"/>
                        </a:cubicBezTo>
                        <a:cubicBezTo>
                          <a:pt x="69361" y="96657"/>
                          <a:pt x="70638" y="95874"/>
                          <a:pt x="70212" y="95718"/>
                        </a:cubicBezTo>
                        <a:cubicBezTo>
                          <a:pt x="70212" y="95561"/>
                          <a:pt x="70212" y="94778"/>
                          <a:pt x="70212" y="94778"/>
                        </a:cubicBezTo>
                        <a:cubicBezTo>
                          <a:pt x="69361" y="93838"/>
                          <a:pt x="69361" y="93838"/>
                          <a:pt x="69361" y="93838"/>
                        </a:cubicBezTo>
                        <a:cubicBezTo>
                          <a:pt x="69361" y="93838"/>
                          <a:pt x="70212" y="93681"/>
                          <a:pt x="69787" y="93524"/>
                        </a:cubicBezTo>
                        <a:cubicBezTo>
                          <a:pt x="69361" y="93211"/>
                          <a:pt x="68936" y="93054"/>
                          <a:pt x="68936" y="93054"/>
                        </a:cubicBezTo>
                        <a:cubicBezTo>
                          <a:pt x="68936" y="92741"/>
                          <a:pt x="68936" y="92741"/>
                          <a:pt x="68936" y="92741"/>
                        </a:cubicBezTo>
                        <a:cubicBezTo>
                          <a:pt x="69361" y="92428"/>
                          <a:pt x="69361" y="92428"/>
                          <a:pt x="69361" y="92428"/>
                        </a:cubicBezTo>
                        <a:cubicBezTo>
                          <a:pt x="70212" y="92114"/>
                          <a:pt x="70212" y="92114"/>
                          <a:pt x="70212" y="92114"/>
                        </a:cubicBezTo>
                        <a:cubicBezTo>
                          <a:pt x="69787" y="91174"/>
                          <a:pt x="69787" y="91174"/>
                          <a:pt x="69787" y="91174"/>
                        </a:cubicBezTo>
                        <a:cubicBezTo>
                          <a:pt x="68085" y="91018"/>
                          <a:pt x="68085" y="91018"/>
                          <a:pt x="68085" y="91018"/>
                        </a:cubicBezTo>
                        <a:cubicBezTo>
                          <a:pt x="68085" y="91018"/>
                          <a:pt x="68085" y="90704"/>
                          <a:pt x="68510" y="90704"/>
                        </a:cubicBezTo>
                        <a:cubicBezTo>
                          <a:pt x="69361" y="90548"/>
                          <a:pt x="72340" y="90078"/>
                          <a:pt x="72340" y="90078"/>
                        </a:cubicBezTo>
                        <a:cubicBezTo>
                          <a:pt x="72340" y="90078"/>
                          <a:pt x="73191" y="89608"/>
                          <a:pt x="73617" y="89608"/>
                        </a:cubicBezTo>
                        <a:cubicBezTo>
                          <a:pt x="73617" y="89451"/>
                          <a:pt x="77021" y="88668"/>
                          <a:pt x="77021" y="88668"/>
                        </a:cubicBezTo>
                        <a:cubicBezTo>
                          <a:pt x="77021" y="88668"/>
                          <a:pt x="77021" y="88198"/>
                          <a:pt x="77021" y="88041"/>
                        </a:cubicBezTo>
                        <a:cubicBezTo>
                          <a:pt x="77446" y="88041"/>
                          <a:pt x="77446" y="87885"/>
                          <a:pt x="77446" y="87571"/>
                        </a:cubicBezTo>
                        <a:cubicBezTo>
                          <a:pt x="77872" y="87571"/>
                          <a:pt x="77021" y="86161"/>
                          <a:pt x="77021" y="85691"/>
                        </a:cubicBezTo>
                        <a:cubicBezTo>
                          <a:pt x="77446" y="85378"/>
                          <a:pt x="78297" y="86005"/>
                          <a:pt x="78297" y="86005"/>
                        </a:cubicBezTo>
                        <a:cubicBezTo>
                          <a:pt x="78723" y="86475"/>
                          <a:pt x="78723" y="86475"/>
                          <a:pt x="78723" y="86475"/>
                        </a:cubicBezTo>
                        <a:cubicBezTo>
                          <a:pt x="78723" y="87415"/>
                          <a:pt x="78723" y="87415"/>
                          <a:pt x="78723" y="87415"/>
                        </a:cubicBezTo>
                        <a:cubicBezTo>
                          <a:pt x="80000" y="87571"/>
                          <a:pt x="80000" y="87571"/>
                          <a:pt x="80000" y="87571"/>
                        </a:cubicBezTo>
                        <a:cubicBezTo>
                          <a:pt x="80425" y="88041"/>
                          <a:pt x="80425" y="88041"/>
                          <a:pt x="80425" y="88041"/>
                        </a:cubicBezTo>
                        <a:cubicBezTo>
                          <a:pt x="80425" y="88041"/>
                          <a:pt x="80000" y="88511"/>
                          <a:pt x="80425" y="88511"/>
                        </a:cubicBezTo>
                        <a:cubicBezTo>
                          <a:pt x="80851" y="88355"/>
                          <a:pt x="80851" y="88355"/>
                          <a:pt x="80851" y="88355"/>
                        </a:cubicBezTo>
                        <a:cubicBezTo>
                          <a:pt x="81276" y="87415"/>
                          <a:pt x="81276" y="87415"/>
                          <a:pt x="81276" y="87415"/>
                        </a:cubicBezTo>
                        <a:cubicBezTo>
                          <a:pt x="81276" y="87415"/>
                          <a:pt x="82978" y="87415"/>
                          <a:pt x="82553" y="87101"/>
                        </a:cubicBezTo>
                        <a:cubicBezTo>
                          <a:pt x="82553" y="86945"/>
                          <a:pt x="82127" y="86631"/>
                          <a:pt x="82553" y="86631"/>
                        </a:cubicBezTo>
                        <a:cubicBezTo>
                          <a:pt x="85106" y="86475"/>
                          <a:pt x="84255" y="86475"/>
                          <a:pt x="85531" y="86161"/>
                        </a:cubicBezTo>
                        <a:cubicBezTo>
                          <a:pt x="85531" y="86161"/>
                          <a:pt x="86382" y="85535"/>
                          <a:pt x="86382" y="85535"/>
                        </a:cubicBezTo>
                        <a:cubicBezTo>
                          <a:pt x="86382" y="85378"/>
                          <a:pt x="86808" y="85065"/>
                          <a:pt x="86808" y="85065"/>
                        </a:cubicBezTo>
                        <a:cubicBezTo>
                          <a:pt x="85957" y="84908"/>
                          <a:pt x="85957" y="84908"/>
                          <a:pt x="85957" y="84908"/>
                        </a:cubicBezTo>
                        <a:cubicBezTo>
                          <a:pt x="85531" y="84438"/>
                          <a:pt x="85531" y="84438"/>
                          <a:pt x="85531" y="84438"/>
                        </a:cubicBezTo>
                        <a:cubicBezTo>
                          <a:pt x="85531" y="84438"/>
                          <a:pt x="85957" y="84125"/>
                          <a:pt x="86382" y="84281"/>
                        </a:cubicBezTo>
                        <a:cubicBezTo>
                          <a:pt x="86382" y="84438"/>
                          <a:pt x="86808" y="84751"/>
                          <a:pt x="87234" y="84751"/>
                        </a:cubicBezTo>
                        <a:cubicBezTo>
                          <a:pt x="87659" y="84751"/>
                          <a:pt x="88936" y="84281"/>
                          <a:pt x="88936" y="84281"/>
                        </a:cubicBezTo>
                        <a:cubicBezTo>
                          <a:pt x="88936" y="83812"/>
                          <a:pt x="85957" y="83185"/>
                          <a:pt x="85106" y="83028"/>
                        </a:cubicBezTo>
                        <a:cubicBezTo>
                          <a:pt x="85106" y="82402"/>
                          <a:pt x="89361" y="81618"/>
                          <a:pt x="89361" y="81462"/>
                        </a:cubicBezTo>
                        <a:cubicBezTo>
                          <a:pt x="89787" y="81305"/>
                          <a:pt x="89787" y="81305"/>
                          <a:pt x="89787" y="81148"/>
                        </a:cubicBezTo>
                        <a:cubicBezTo>
                          <a:pt x="89787" y="80992"/>
                          <a:pt x="89361" y="80835"/>
                          <a:pt x="88936" y="80992"/>
                        </a:cubicBezTo>
                        <a:cubicBezTo>
                          <a:pt x="88936" y="80992"/>
                          <a:pt x="88510" y="81305"/>
                          <a:pt x="88085" y="81305"/>
                        </a:cubicBezTo>
                        <a:cubicBezTo>
                          <a:pt x="88085" y="81305"/>
                          <a:pt x="87234" y="81305"/>
                          <a:pt x="87234" y="81305"/>
                        </a:cubicBezTo>
                        <a:cubicBezTo>
                          <a:pt x="87234" y="81305"/>
                          <a:pt x="86808" y="80992"/>
                          <a:pt x="87234" y="80835"/>
                        </a:cubicBezTo>
                        <a:cubicBezTo>
                          <a:pt x="87659" y="80678"/>
                          <a:pt x="87234" y="80678"/>
                          <a:pt x="88085" y="80522"/>
                        </a:cubicBezTo>
                        <a:cubicBezTo>
                          <a:pt x="88510" y="80365"/>
                          <a:pt x="88936" y="80365"/>
                          <a:pt x="89361" y="80365"/>
                        </a:cubicBezTo>
                        <a:cubicBezTo>
                          <a:pt x="89361" y="80208"/>
                          <a:pt x="89787" y="80052"/>
                          <a:pt x="90212" y="80052"/>
                        </a:cubicBezTo>
                        <a:cubicBezTo>
                          <a:pt x="90638" y="80052"/>
                          <a:pt x="92765" y="79582"/>
                          <a:pt x="92765" y="79582"/>
                        </a:cubicBezTo>
                        <a:cubicBezTo>
                          <a:pt x="93191" y="79268"/>
                          <a:pt x="93191" y="79268"/>
                          <a:pt x="93191" y="79268"/>
                        </a:cubicBezTo>
                        <a:cubicBezTo>
                          <a:pt x="93191" y="79268"/>
                          <a:pt x="91914" y="78798"/>
                          <a:pt x="91914" y="78798"/>
                        </a:cubicBezTo>
                        <a:cubicBezTo>
                          <a:pt x="91914" y="78798"/>
                          <a:pt x="89787" y="78172"/>
                          <a:pt x="89787" y="78172"/>
                        </a:cubicBezTo>
                        <a:cubicBezTo>
                          <a:pt x="89787" y="78172"/>
                          <a:pt x="88936" y="78172"/>
                          <a:pt x="88936" y="78015"/>
                        </a:cubicBezTo>
                        <a:cubicBezTo>
                          <a:pt x="88936" y="78015"/>
                          <a:pt x="88085" y="77702"/>
                          <a:pt x="88085" y="77702"/>
                        </a:cubicBezTo>
                        <a:cubicBezTo>
                          <a:pt x="87234" y="76919"/>
                          <a:pt x="86382" y="77545"/>
                          <a:pt x="84680" y="77232"/>
                        </a:cubicBezTo>
                        <a:cubicBezTo>
                          <a:pt x="84680" y="77232"/>
                          <a:pt x="83829" y="76605"/>
                          <a:pt x="83829" y="76605"/>
                        </a:cubicBezTo>
                        <a:cubicBezTo>
                          <a:pt x="83829" y="76605"/>
                          <a:pt x="84680" y="76605"/>
                          <a:pt x="84680" y="76449"/>
                        </a:cubicBezTo>
                        <a:cubicBezTo>
                          <a:pt x="84680" y="76135"/>
                          <a:pt x="83829" y="75822"/>
                          <a:pt x="83829" y="75822"/>
                        </a:cubicBezTo>
                        <a:cubicBezTo>
                          <a:pt x="82978" y="75509"/>
                          <a:pt x="82978" y="75509"/>
                          <a:pt x="82978" y="75509"/>
                        </a:cubicBezTo>
                        <a:cubicBezTo>
                          <a:pt x="81276" y="74882"/>
                          <a:pt x="81702" y="76292"/>
                          <a:pt x="80425" y="75039"/>
                        </a:cubicBezTo>
                        <a:cubicBezTo>
                          <a:pt x="80425" y="75039"/>
                          <a:pt x="80000" y="75039"/>
                          <a:pt x="79574" y="74725"/>
                        </a:cubicBezTo>
                        <a:cubicBezTo>
                          <a:pt x="79148" y="74569"/>
                          <a:pt x="77872" y="74099"/>
                          <a:pt x="77872" y="74099"/>
                        </a:cubicBezTo>
                        <a:cubicBezTo>
                          <a:pt x="77872" y="74099"/>
                          <a:pt x="77446" y="73629"/>
                          <a:pt x="77446" y="73629"/>
                        </a:cubicBezTo>
                        <a:cubicBezTo>
                          <a:pt x="77021" y="73629"/>
                          <a:pt x="76595" y="73159"/>
                          <a:pt x="76595" y="73159"/>
                        </a:cubicBezTo>
                        <a:cubicBezTo>
                          <a:pt x="74468" y="73629"/>
                          <a:pt x="74468" y="73629"/>
                          <a:pt x="74468" y="73629"/>
                        </a:cubicBezTo>
                        <a:cubicBezTo>
                          <a:pt x="73191" y="74099"/>
                          <a:pt x="73191" y="74099"/>
                          <a:pt x="73191" y="74099"/>
                        </a:cubicBezTo>
                        <a:cubicBezTo>
                          <a:pt x="73191" y="74099"/>
                          <a:pt x="72765" y="73785"/>
                          <a:pt x="72765" y="73785"/>
                        </a:cubicBezTo>
                        <a:cubicBezTo>
                          <a:pt x="72765" y="73785"/>
                          <a:pt x="72765" y="73159"/>
                          <a:pt x="72765" y="73159"/>
                        </a:cubicBezTo>
                        <a:cubicBezTo>
                          <a:pt x="72765" y="73159"/>
                          <a:pt x="71489" y="73002"/>
                          <a:pt x="71063" y="73002"/>
                        </a:cubicBezTo>
                        <a:cubicBezTo>
                          <a:pt x="71063" y="73002"/>
                          <a:pt x="69787" y="73002"/>
                          <a:pt x="69787" y="73002"/>
                        </a:cubicBezTo>
                        <a:cubicBezTo>
                          <a:pt x="68085" y="72845"/>
                          <a:pt x="68085" y="72845"/>
                          <a:pt x="68085" y="72845"/>
                        </a:cubicBezTo>
                        <a:cubicBezTo>
                          <a:pt x="68085" y="72375"/>
                          <a:pt x="68085" y="72375"/>
                          <a:pt x="68085" y="72375"/>
                        </a:cubicBezTo>
                        <a:cubicBezTo>
                          <a:pt x="68085" y="72375"/>
                          <a:pt x="68936" y="72062"/>
                          <a:pt x="68510" y="71906"/>
                        </a:cubicBezTo>
                        <a:cubicBezTo>
                          <a:pt x="68510" y="71749"/>
                          <a:pt x="67234" y="71436"/>
                          <a:pt x="67234" y="71436"/>
                        </a:cubicBezTo>
                        <a:cubicBezTo>
                          <a:pt x="67234" y="71122"/>
                          <a:pt x="67234" y="71122"/>
                          <a:pt x="67234" y="71122"/>
                        </a:cubicBezTo>
                        <a:cubicBezTo>
                          <a:pt x="65957" y="70496"/>
                          <a:pt x="65957" y="70496"/>
                          <a:pt x="65957" y="70496"/>
                        </a:cubicBezTo>
                        <a:cubicBezTo>
                          <a:pt x="65957" y="70496"/>
                          <a:pt x="66808" y="70026"/>
                          <a:pt x="66808" y="70026"/>
                        </a:cubicBezTo>
                        <a:cubicBezTo>
                          <a:pt x="66808" y="69869"/>
                          <a:pt x="65106" y="68459"/>
                          <a:pt x="65106" y="68459"/>
                        </a:cubicBezTo>
                        <a:cubicBezTo>
                          <a:pt x="65106" y="68459"/>
                          <a:pt x="65957" y="67832"/>
                          <a:pt x="65957" y="67676"/>
                        </a:cubicBezTo>
                        <a:cubicBezTo>
                          <a:pt x="65957" y="67676"/>
                          <a:pt x="65106" y="67049"/>
                          <a:pt x="65106" y="67049"/>
                        </a:cubicBezTo>
                        <a:cubicBezTo>
                          <a:pt x="64255" y="67049"/>
                          <a:pt x="64255" y="67049"/>
                          <a:pt x="64255" y="67049"/>
                        </a:cubicBezTo>
                        <a:cubicBezTo>
                          <a:pt x="64255" y="66422"/>
                          <a:pt x="64255" y="66422"/>
                          <a:pt x="64255" y="66422"/>
                        </a:cubicBezTo>
                        <a:cubicBezTo>
                          <a:pt x="64680" y="65953"/>
                          <a:pt x="64680" y="65953"/>
                          <a:pt x="64680" y="65953"/>
                        </a:cubicBezTo>
                        <a:cubicBezTo>
                          <a:pt x="63829" y="65639"/>
                          <a:pt x="63829" y="65639"/>
                          <a:pt x="63829" y="65639"/>
                        </a:cubicBezTo>
                        <a:cubicBezTo>
                          <a:pt x="63829" y="65639"/>
                          <a:pt x="64255" y="65326"/>
                          <a:pt x="64680" y="65326"/>
                        </a:cubicBezTo>
                        <a:cubicBezTo>
                          <a:pt x="64680" y="65326"/>
                          <a:pt x="64680" y="64699"/>
                          <a:pt x="64680" y="64699"/>
                        </a:cubicBezTo>
                        <a:cubicBezTo>
                          <a:pt x="64680" y="64699"/>
                          <a:pt x="65106" y="64386"/>
                          <a:pt x="65531" y="64386"/>
                        </a:cubicBezTo>
                        <a:cubicBezTo>
                          <a:pt x="65531" y="64386"/>
                          <a:pt x="66808" y="64699"/>
                          <a:pt x="66808" y="64699"/>
                        </a:cubicBezTo>
                        <a:cubicBezTo>
                          <a:pt x="66808" y="64699"/>
                          <a:pt x="68085" y="64856"/>
                          <a:pt x="68085" y="64699"/>
                        </a:cubicBezTo>
                        <a:cubicBezTo>
                          <a:pt x="68085" y="64699"/>
                          <a:pt x="67659" y="64229"/>
                          <a:pt x="67659" y="64229"/>
                        </a:cubicBezTo>
                        <a:cubicBezTo>
                          <a:pt x="67659" y="64073"/>
                          <a:pt x="66808" y="63759"/>
                          <a:pt x="66808" y="63759"/>
                        </a:cubicBezTo>
                        <a:cubicBezTo>
                          <a:pt x="66382" y="63603"/>
                          <a:pt x="66382" y="62819"/>
                          <a:pt x="66382" y="62819"/>
                        </a:cubicBezTo>
                        <a:cubicBezTo>
                          <a:pt x="66382" y="62819"/>
                          <a:pt x="65531" y="62193"/>
                          <a:pt x="65957" y="62193"/>
                        </a:cubicBezTo>
                        <a:cubicBezTo>
                          <a:pt x="65957" y="62193"/>
                          <a:pt x="66382" y="61879"/>
                          <a:pt x="66382" y="61879"/>
                        </a:cubicBezTo>
                        <a:cubicBezTo>
                          <a:pt x="66808" y="60783"/>
                          <a:pt x="66808" y="60783"/>
                          <a:pt x="66808" y="60783"/>
                        </a:cubicBezTo>
                        <a:cubicBezTo>
                          <a:pt x="67234" y="59843"/>
                          <a:pt x="67234" y="59843"/>
                          <a:pt x="67234" y="59843"/>
                        </a:cubicBezTo>
                        <a:cubicBezTo>
                          <a:pt x="65957" y="59373"/>
                          <a:pt x="65957" y="59373"/>
                          <a:pt x="65957" y="59373"/>
                        </a:cubicBezTo>
                        <a:cubicBezTo>
                          <a:pt x="65531" y="59060"/>
                          <a:pt x="65531" y="59060"/>
                          <a:pt x="65531" y="59060"/>
                        </a:cubicBezTo>
                        <a:cubicBezTo>
                          <a:pt x="64680" y="58746"/>
                          <a:pt x="64680" y="58746"/>
                          <a:pt x="64680" y="58746"/>
                        </a:cubicBezTo>
                        <a:cubicBezTo>
                          <a:pt x="65531" y="57806"/>
                          <a:pt x="65531" y="57806"/>
                          <a:pt x="65531" y="57806"/>
                        </a:cubicBezTo>
                        <a:cubicBezTo>
                          <a:pt x="67234" y="57806"/>
                          <a:pt x="67234" y="57806"/>
                          <a:pt x="67234" y="57806"/>
                        </a:cubicBezTo>
                        <a:cubicBezTo>
                          <a:pt x="68085" y="57336"/>
                          <a:pt x="68085" y="57336"/>
                          <a:pt x="68085" y="57336"/>
                        </a:cubicBezTo>
                        <a:cubicBezTo>
                          <a:pt x="68085" y="57336"/>
                          <a:pt x="69361" y="57023"/>
                          <a:pt x="69361" y="56866"/>
                        </a:cubicBezTo>
                        <a:cubicBezTo>
                          <a:pt x="69361" y="56866"/>
                          <a:pt x="69787" y="56240"/>
                          <a:pt x="69787" y="56240"/>
                        </a:cubicBezTo>
                        <a:cubicBezTo>
                          <a:pt x="69361" y="55770"/>
                          <a:pt x="69361" y="55770"/>
                          <a:pt x="69361" y="55770"/>
                        </a:cubicBezTo>
                        <a:cubicBezTo>
                          <a:pt x="70212" y="55926"/>
                          <a:pt x="70212" y="55926"/>
                          <a:pt x="70212" y="55926"/>
                        </a:cubicBezTo>
                        <a:cubicBezTo>
                          <a:pt x="70212" y="55456"/>
                          <a:pt x="70212" y="55456"/>
                          <a:pt x="70212" y="55456"/>
                        </a:cubicBezTo>
                        <a:cubicBezTo>
                          <a:pt x="70212" y="55456"/>
                          <a:pt x="70638" y="54986"/>
                          <a:pt x="70638" y="54986"/>
                        </a:cubicBezTo>
                        <a:cubicBezTo>
                          <a:pt x="71063" y="54986"/>
                          <a:pt x="71489" y="54830"/>
                          <a:pt x="71489" y="54830"/>
                        </a:cubicBezTo>
                        <a:cubicBezTo>
                          <a:pt x="71489" y="54830"/>
                          <a:pt x="72340" y="54203"/>
                          <a:pt x="72340" y="54203"/>
                        </a:cubicBezTo>
                        <a:cubicBezTo>
                          <a:pt x="72340" y="54203"/>
                          <a:pt x="72765" y="54360"/>
                          <a:pt x="73191" y="54203"/>
                        </a:cubicBezTo>
                        <a:cubicBezTo>
                          <a:pt x="73617" y="54046"/>
                          <a:pt x="73617" y="54046"/>
                          <a:pt x="73617" y="53890"/>
                        </a:cubicBezTo>
                        <a:cubicBezTo>
                          <a:pt x="74042" y="53577"/>
                          <a:pt x="74893" y="52950"/>
                          <a:pt x="74893" y="52950"/>
                        </a:cubicBezTo>
                        <a:cubicBezTo>
                          <a:pt x="74893" y="52950"/>
                          <a:pt x="74893" y="52793"/>
                          <a:pt x="74893" y="52637"/>
                        </a:cubicBezTo>
                        <a:cubicBezTo>
                          <a:pt x="75319" y="52637"/>
                          <a:pt x="76170" y="52637"/>
                          <a:pt x="76170" y="52480"/>
                        </a:cubicBezTo>
                        <a:cubicBezTo>
                          <a:pt x="75744" y="52323"/>
                          <a:pt x="74893" y="51853"/>
                          <a:pt x="74893" y="51853"/>
                        </a:cubicBezTo>
                        <a:cubicBezTo>
                          <a:pt x="76170" y="51383"/>
                          <a:pt x="76170" y="51383"/>
                          <a:pt x="76170" y="51383"/>
                        </a:cubicBezTo>
                        <a:cubicBezTo>
                          <a:pt x="76170" y="51383"/>
                          <a:pt x="77446" y="50913"/>
                          <a:pt x="77446" y="50913"/>
                        </a:cubicBezTo>
                        <a:cubicBezTo>
                          <a:pt x="77446" y="51070"/>
                          <a:pt x="77872" y="51070"/>
                          <a:pt x="78297" y="50913"/>
                        </a:cubicBezTo>
                        <a:cubicBezTo>
                          <a:pt x="78297" y="50913"/>
                          <a:pt x="78723" y="50757"/>
                          <a:pt x="79148" y="50600"/>
                        </a:cubicBezTo>
                        <a:cubicBezTo>
                          <a:pt x="79148" y="50600"/>
                          <a:pt x="79574" y="50443"/>
                          <a:pt x="80000" y="50443"/>
                        </a:cubicBezTo>
                        <a:cubicBezTo>
                          <a:pt x="80000" y="50287"/>
                          <a:pt x="80425" y="49973"/>
                          <a:pt x="80425" y="49817"/>
                        </a:cubicBezTo>
                        <a:cubicBezTo>
                          <a:pt x="80425" y="49817"/>
                          <a:pt x="81276" y="49033"/>
                          <a:pt x="81276" y="49033"/>
                        </a:cubicBezTo>
                        <a:cubicBezTo>
                          <a:pt x="81276" y="48563"/>
                          <a:pt x="81276" y="48563"/>
                          <a:pt x="81276" y="48563"/>
                        </a:cubicBezTo>
                        <a:cubicBezTo>
                          <a:pt x="81702" y="48407"/>
                          <a:pt x="81702" y="48407"/>
                          <a:pt x="81702" y="48407"/>
                        </a:cubicBezTo>
                        <a:cubicBezTo>
                          <a:pt x="82553" y="48093"/>
                          <a:pt x="82553" y="48093"/>
                          <a:pt x="82553" y="48093"/>
                        </a:cubicBezTo>
                        <a:cubicBezTo>
                          <a:pt x="82553" y="48093"/>
                          <a:pt x="83404" y="47937"/>
                          <a:pt x="83404" y="48093"/>
                        </a:cubicBezTo>
                        <a:cubicBezTo>
                          <a:pt x="83404" y="48093"/>
                          <a:pt x="82978" y="48407"/>
                          <a:pt x="82978" y="48407"/>
                        </a:cubicBezTo>
                        <a:cubicBezTo>
                          <a:pt x="84255" y="48407"/>
                          <a:pt x="84255" y="48407"/>
                          <a:pt x="84255" y="48407"/>
                        </a:cubicBezTo>
                        <a:cubicBezTo>
                          <a:pt x="84255" y="48407"/>
                          <a:pt x="84255" y="48093"/>
                          <a:pt x="84255" y="48250"/>
                        </a:cubicBezTo>
                        <a:cubicBezTo>
                          <a:pt x="84680" y="48250"/>
                          <a:pt x="85106" y="48407"/>
                          <a:pt x="85106" y="48407"/>
                        </a:cubicBezTo>
                        <a:cubicBezTo>
                          <a:pt x="85106" y="48250"/>
                          <a:pt x="85531" y="47937"/>
                          <a:pt x="85531" y="47937"/>
                        </a:cubicBezTo>
                        <a:cubicBezTo>
                          <a:pt x="85531" y="47467"/>
                          <a:pt x="85531" y="47467"/>
                          <a:pt x="85531" y="47467"/>
                        </a:cubicBezTo>
                        <a:cubicBezTo>
                          <a:pt x="85531" y="47467"/>
                          <a:pt x="86382" y="47154"/>
                          <a:pt x="86808" y="46997"/>
                        </a:cubicBezTo>
                        <a:cubicBezTo>
                          <a:pt x="86808" y="46840"/>
                          <a:pt x="88085" y="46370"/>
                          <a:pt x="88085" y="46370"/>
                        </a:cubicBezTo>
                        <a:cubicBezTo>
                          <a:pt x="89361" y="46214"/>
                          <a:pt x="89361" y="46214"/>
                          <a:pt x="89361" y="46214"/>
                        </a:cubicBezTo>
                        <a:cubicBezTo>
                          <a:pt x="89361" y="46214"/>
                          <a:pt x="89787" y="46057"/>
                          <a:pt x="90212" y="46057"/>
                        </a:cubicBezTo>
                        <a:cubicBezTo>
                          <a:pt x="90212" y="46057"/>
                          <a:pt x="91489" y="45430"/>
                          <a:pt x="91489" y="45430"/>
                        </a:cubicBezTo>
                        <a:cubicBezTo>
                          <a:pt x="91489" y="45430"/>
                          <a:pt x="91489" y="45274"/>
                          <a:pt x="91914" y="45117"/>
                        </a:cubicBezTo>
                        <a:cubicBezTo>
                          <a:pt x="91914" y="44960"/>
                          <a:pt x="92765" y="44960"/>
                          <a:pt x="92765" y="44804"/>
                        </a:cubicBezTo>
                        <a:cubicBezTo>
                          <a:pt x="93191" y="44804"/>
                          <a:pt x="94042" y="44020"/>
                          <a:pt x="94042" y="44020"/>
                        </a:cubicBezTo>
                        <a:cubicBezTo>
                          <a:pt x="94042" y="44020"/>
                          <a:pt x="94468" y="44020"/>
                          <a:pt x="94468" y="43864"/>
                        </a:cubicBezTo>
                        <a:cubicBezTo>
                          <a:pt x="94468" y="43550"/>
                          <a:pt x="94893" y="43237"/>
                          <a:pt x="94893" y="43237"/>
                        </a:cubicBezTo>
                        <a:cubicBezTo>
                          <a:pt x="95744" y="42610"/>
                          <a:pt x="95744" y="42610"/>
                          <a:pt x="95744" y="42610"/>
                        </a:cubicBezTo>
                        <a:cubicBezTo>
                          <a:pt x="95744" y="41671"/>
                          <a:pt x="95744" y="41671"/>
                          <a:pt x="95744" y="41671"/>
                        </a:cubicBezTo>
                        <a:cubicBezTo>
                          <a:pt x="96595" y="40887"/>
                          <a:pt x="96595" y="40887"/>
                          <a:pt x="96595" y="40887"/>
                        </a:cubicBezTo>
                        <a:cubicBezTo>
                          <a:pt x="96595" y="40887"/>
                          <a:pt x="97021" y="40731"/>
                          <a:pt x="97021" y="40574"/>
                        </a:cubicBezTo>
                        <a:cubicBezTo>
                          <a:pt x="97446" y="40574"/>
                          <a:pt x="97872" y="40104"/>
                          <a:pt x="97872" y="40104"/>
                        </a:cubicBezTo>
                        <a:cubicBezTo>
                          <a:pt x="97872" y="40104"/>
                          <a:pt x="99148" y="39477"/>
                          <a:pt x="99148" y="39477"/>
                        </a:cubicBezTo>
                        <a:cubicBezTo>
                          <a:pt x="99148" y="39477"/>
                          <a:pt x="99574" y="39007"/>
                          <a:pt x="99574" y="38851"/>
                        </a:cubicBezTo>
                        <a:cubicBezTo>
                          <a:pt x="100000" y="38851"/>
                          <a:pt x="100000" y="38851"/>
                          <a:pt x="100000" y="38851"/>
                        </a:cubicBezTo>
                        <a:cubicBezTo>
                          <a:pt x="100000" y="38381"/>
                          <a:pt x="100000" y="38381"/>
                          <a:pt x="100000" y="38381"/>
                        </a:cubicBezTo>
                        <a:cubicBezTo>
                          <a:pt x="99148" y="37754"/>
                          <a:pt x="99148" y="37754"/>
                          <a:pt x="99148" y="37754"/>
                        </a:cubicBezTo>
                        <a:cubicBezTo>
                          <a:pt x="97446" y="37284"/>
                          <a:pt x="97446" y="37284"/>
                          <a:pt x="97446" y="37284"/>
                        </a:cubicBezTo>
                        <a:cubicBezTo>
                          <a:pt x="96170" y="37284"/>
                          <a:pt x="96170" y="37284"/>
                          <a:pt x="96170" y="37284"/>
                        </a:cubicBezTo>
                        <a:cubicBezTo>
                          <a:pt x="95319" y="36971"/>
                          <a:pt x="95319" y="36971"/>
                          <a:pt x="95319" y="36971"/>
                        </a:cubicBezTo>
                        <a:cubicBezTo>
                          <a:pt x="95744" y="36657"/>
                          <a:pt x="95744" y="36657"/>
                          <a:pt x="95744" y="36657"/>
                        </a:cubicBezTo>
                        <a:cubicBezTo>
                          <a:pt x="94893" y="36187"/>
                          <a:pt x="94893" y="36187"/>
                          <a:pt x="94893" y="36187"/>
                        </a:cubicBezTo>
                        <a:cubicBezTo>
                          <a:pt x="94468" y="35874"/>
                          <a:pt x="94468" y="35874"/>
                          <a:pt x="94468" y="35874"/>
                        </a:cubicBezTo>
                        <a:cubicBezTo>
                          <a:pt x="93617" y="35561"/>
                          <a:pt x="93617" y="35561"/>
                          <a:pt x="93617" y="35561"/>
                        </a:cubicBezTo>
                        <a:cubicBezTo>
                          <a:pt x="93617" y="35561"/>
                          <a:pt x="94468" y="35091"/>
                          <a:pt x="94468" y="35091"/>
                        </a:cubicBezTo>
                        <a:cubicBezTo>
                          <a:pt x="94468" y="35091"/>
                          <a:pt x="94893" y="34934"/>
                          <a:pt x="94893" y="34778"/>
                        </a:cubicBezTo>
                        <a:cubicBezTo>
                          <a:pt x="94893" y="34778"/>
                          <a:pt x="95744" y="34308"/>
                          <a:pt x="95744" y="34308"/>
                        </a:cubicBezTo>
                        <a:cubicBezTo>
                          <a:pt x="95744" y="34308"/>
                          <a:pt x="96595" y="33838"/>
                          <a:pt x="96595" y="33838"/>
                        </a:cubicBezTo>
                        <a:cubicBezTo>
                          <a:pt x="96595" y="33838"/>
                          <a:pt x="97021" y="33681"/>
                          <a:pt x="97021" y="33524"/>
                        </a:cubicBezTo>
                        <a:cubicBezTo>
                          <a:pt x="97021" y="33368"/>
                          <a:pt x="96595" y="32741"/>
                          <a:pt x="96595" y="32741"/>
                        </a:cubicBezTo>
                        <a:cubicBezTo>
                          <a:pt x="96595" y="32741"/>
                          <a:pt x="96595" y="32271"/>
                          <a:pt x="97021" y="32271"/>
                        </a:cubicBezTo>
                        <a:cubicBezTo>
                          <a:pt x="97021" y="32114"/>
                          <a:pt x="97446" y="31958"/>
                          <a:pt x="97446" y="31958"/>
                        </a:cubicBezTo>
                        <a:cubicBezTo>
                          <a:pt x="97446" y="31958"/>
                          <a:pt x="97872" y="31958"/>
                          <a:pt x="98297" y="32114"/>
                        </a:cubicBezTo>
                        <a:cubicBezTo>
                          <a:pt x="98723" y="32114"/>
                          <a:pt x="98723" y="31801"/>
                          <a:pt x="98723" y="31801"/>
                        </a:cubicBezTo>
                        <a:cubicBezTo>
                          <a:pt x="98723" y="31801"/>
                          <a:pt x="98723" y="31331"/>
                          <a:pt x="98297" y="31331"/>
                        </a:cubicBezTo>
                        <a:cubicBezTo>
                          <a:pt x="97872" y="31331"/>
                          <a:pt x="97446" y="31018"/>
                          <a:pt x="97446" y="31018"/>
                        </a:cubicBezTo>
                        <a:cubicBezTo>
                          <a:pt x="97446" y="31018"/>
                          <a:pt x="97872" y="30861"/>
                          <a:pt x="97872" y="30861"/>
                        </a:cubicBezTo>
                        <a:cubicBezTo>
                          <a:pt x="97872" y="30704"/>
                          <a:pt x="98723" y="30548"/>
                          <a:pt x="98723" y="30548"/>
                        </a:cubicBezTo>
                        <a:cubicBezTo>
                          <a:pt x="100000" y="30391"/>
                          <a:pt x="100000" y="30391"/>
                          <a:pt x="100000" y="30391"/>
                        </a:cubicBezTo>
                        <a:cubicBezTo>
                          <a:pt x="99574" y="29921"/>
                          <a:pt x="99574" y="29921"/>
                          <a:pt x="99574" y="29921"/>
                        </a:cubicBezTo>
                        <a:cubicBezTo>
                          <a:pt x="99574" y="29451"/>
                          <a:pt x="99574" y="29451"/>
                          <a:pt x="99574" y="29451"/>
                        </a:cubicBezTo>
                        <a:cubicBezTo>
                          <a:pt x="99574" y="29451"/>
                          <a:pt x="101276" y="29608"/>
                          <a:pt x="101276" y="29608"/>
                        </a:cubicBezTo>
                        <a:cubicBezTo>
                          <a:pt x="101276" y="29765"/>
                          <a:pt x="101702" y="30078"/>
                          <a:pt x="102127" y="30078"/>
                        </a:cubicBezTo>
                        <a:cubicBezTo>
                          <a:pt x="102127" y="29921"/>
                          <a:pt x="102127" y="29608"/>
                          <a:pt x="102127" y="29608"/>
                        </a:cubicBezTo>
                        <a:cubicBezTo>
                          <a:pt x="102127" y="29608"/>
                          <a:pt x="102553" y="29138"/>
                          <a:pt x="102978" y="29295"/>
                        </a:cubicBezTo>
                        <a:cubicBezTo>
                          <a:pt x="103829" y="29451"/>
                          <a:pt x="104255" y="29138"/>
                          <a:pt x="104680" y="29138"/>
                        </a:cubicBezTo>
                        <a:cubicBezTo>
                          <a:pt x="104680" y="28981"/>
                          <a:pt x="105106" y="28668"/>
                          <a:pt x="105106" y="28668"/>
                        </a:cubicBezTo>
                        <a:cubicBezTo>
                          <a:pt x="105106" y="28668"/>
                          <a:pt x="105531" y="28198"/>
                          <a:pt x="105106" y="28041"/>
                        </a:cubicBezTo>
                        <a:cubicBezTo>
                          <a:pt x="104680" y="28041"/>
                          <a:pt x="104255" y="28041"/>
                          <a:pt x="104255" y="27885"/>
                        </a:cubicBezTo>
                        <a:cubicBezTo>
                          <a:pt x="104255" y="27885"/>
                          <a:pt x="104680" y="27571"/>
                          <a:pt x="105106" y="27571"/>
                        </a:cubicBezTo>
                        <a:cubicBezTo>
                          <a:pt x="105531" y="27571"/>
                          <a:pt x="105531" y="27571"/>
                          <a:pt x="106382" y="27415"/>
                        </a:cubicBezTo>
                        <a:cubicBezTo>
                          <a:pt x="106808" y="27258"/>
                          <a:pt x="106808" y="27101"/>
                          <a:pt x="106808" y="27101"/>
                        </a:cubicBezTo>
                        <a:cubicBezTo>
                          <a:pt x="106808" y="27101"/>
                          <a:pt x="108085" y="26945"/>
                          <a:pt x="108085" y="26945"/>
                        </a:cubicBezTo>
                        <a:cubicBezTo>
                          <a:pt x="109787" y="26631"/>
                          <a:pt x="109787" y="26631"/>
                          <a:pt x="109787" y="26631"/>
                        </a:cubicBezTo>
                        <a:cubicBezTo>
                          <a:pt x="109787" y="26318"/>
                          <a:pt x="109787" y="26318"/>
                          <a:pt x="109787" y="26318"/>
                        </a:cubicBezTo>
                        <a:cubicBezTo>
                          <a:pt x="109787" y="26318"/>
                          <a:pt x="110638" y="26318"/>
                          <a:pt x="110638" y="26318"/>
                        </a:cubicBezTo>
                        <a:cubicBezTo>
                          <a:pt x="111063" y="26318"/>
                          <a:pt x="111489" y="26475"/>
                          <a:pt x="111489" y="26475"/>
                        </a:cubicBezTo>
                        <a:cubicBezTo>
                          <a:pt x="111489" y="26475"/>
                          <a:pt x="112340" y="26475"/>
                          <a:pt x="112340" y="26475"/>
                        </a:cubicBezTo>
                        <a:cubicBezTo>
                          <a:pt x="112340" y="26318"/>
                          <a:pt x="111914" y="26161"/>
                          <a:pt x="112340" y="26161"/>
                        </a:cubicBezTo>
                        <a:cubicBezTo>
                          <a:pt x="112765" y="26318"/>
                          <a:pt x="112765" y="26318"/>
                          <a:pt x="112765" y="26475"/>
                        </a:cubicBezTo>
                        <a:cubicBezTo>
                          <a:pt x="113191" y="26475"/>
                          <a:pt x="113191" y="26475"/>
                          <a:pt x="113191" y="26475"/>
                        </a:cubicBezTo>
                        <a:cubicBezTo>
                          <a:pt x="113617" y="26475"/>
                          <a:pt x="114042" y="26631"/>
                          <a:pt x="114468" y="26788"/>
                        </a:cubicBezTo>
                        <a:cubicBezTo>
                          <a:pt x="114468" y="26788"/>
                          <a:pt x="114468" y="26945"/>
                          <a:pt x="114468" y="27101"/>
                        </a:cubicBezTo>
                        <a:cubicBezTo>
                          <a:pt x="114468" y="27258"/>
                          <a:pt x="114468" y="27258"/>
                          <a:pt x="114468" y="27415"/>
                        </a:cubicBezTo>
                        <a:cubicBezTo>
                          <a:pt x="114468" y="27571"/>
                          <a:pt x="114468" y="27571"/>
                          <a:pt x="114468" y="27571"/>
                        </a:cubicBezTo>
                        <a:cubicBezTo>
                          <a:pt x="114468" y="27571"/>
                          <a:pt x="115744" y="27885"/>
                          <a:pt x="115744" y="27728"/>
                        </a:cubicBezTo>
                        <a:cubicBezTo>
                          <a:pt x="115744" y="27571"/>
                          <a:pt x="115744" y="27728"/>
                          <a:pt x="115744" y="27415"/>
                        </a:cubicBezTo>
                        <a:cubicBezTo>
                          <a:pt x="115319" y="27258"/>
                          <a:pt x="115744" y="27101"/>
                          <a:pt x="115744" y="26945"/>
                        </a:cubicBezTo>
                        <a:cubicBezTo>
                          <a:pt x="115319" y="26788"/>
                          <a:pt x="114893" y="26475"/>
                          <a:pt x="114893" y="26318"/>
                        </a:cubicBezTo>
                        <a:cubicBezTo>
                          <a:pt x="114893" y="26318"/>
                          <a:pt x="115319" y="26161"/>
                          <a:pt x="115744" y="26161"/>
                        </a:cubicBezTo>
                        <a:cubicBezTo>
                          <a:pt x="116170" y="26161"/>
                          <a:pt x="115744" y="26005"/>
                          <a:pt x="116170" y="26161"/>
                        </a:cubicBezTo>
                        <a:cubicBezTo>
                          <a:pt x="116595" y="26318"/>
                          <a:pt x="116595" y="26475"/>
                          <a:pt x="117021" y="26475"/>
                        </a:cubicBezTo>
                        <a:cubicBezTo>
                          <a:pt x="117446" y="26475"/>
                          <a:pt x="117446" y="26475"/>
                          <a:pt x="117446" y="26475"/>
                        </a:cubicBezTo>
                        <a:cubicBezTo>
                          <a:pt x="117446" y="26631"/>
                          <a:pt x="117872" y="26788"/>
                          <a:pt x="117872" y="26945"/>
                        </a:cubicBezTo>
                        <a:cubicBezTo>
                          <a:pt x="117872" y="27101"/>
                          <a:pt x="117872" y="27101"/>
                          <a:pt x="117872" y="27258"/>
                        </a:cubicBezTo>
                        <a:cubicBezTo>
                          <a:pt x="117872" y="27258"/>
                          <a:pt x="118723" y="27728"/>
                          <a:pt x="118723" y="27728"/>
                        </a:cubicBezTo>
                        <a:cubicBezTo>
                          <a:pt x="118723" y="27728"/>
                          <a:pt x="119574" y="27415"/>
                          <a:pt x="119574" y="27415"/>
                        </a:cubicBezTo>
                        <a:cubicBezTo>
                          <a:pt x="119574" y="27258"/>
                          <a:pt x="119574" y="27101"/>
                          <a:pt x="119574" y="27101"/>
                        </a:cubicBezTo>
                        <a:cubicBezTo>
                          <a:pt x="119574" y="26945"/>
                          <a:pt x="119574" y="26788"/>
                          <a:pt x="119574" y="26788"/>
                        </a:cubicBezTo>
                        <a:cubicBezTo>
                          <a:pt x="119574" y="26631"/>
                          <a:pt x="118297" y="26161"/>
                          <a:pt x="118297" y="26161"/>
                        </a:cubicBezTo>
                        <a:cubicBezTo>
                          <a:pt x="118297" y="26161"/>
                          <a:pt x="118297" y="26005"/>
                          <a:pt x="118723" y="25848"/>
                        </a:cubicBezTo>
                        <a:cubicBezTo>
                          <a:pt x="118723" y="25848"/>
                          <a:pt x="119148" y="25691"/>
                          <a:pt x="120000" y="25535"/>
                        </a:cubicBezTo>
                        <a:cubicBezTo>
                          <a:pt x="117446" y="23498"/>
                          <a:pt x="117446" y="23498"/>
                          <a:pt x="117446" y="23498"/>
                        </a:cubicBezTo>
                        <a:cubicBezTo>
                          <a:pt x="114893" y="23028"/>
                          <a:pt x="114893" y="23028"/>
                          <a:pt x="114893" y="23028"/>
                        </a:cubicBezTo>
                        <a:cubicBezTo>
                          <a:pt x="113191" y="22402"/>
                          <a:pt x="113191" y="22402"/>
                          <a:pt x="113191" y="22402"/>
                        </a:cubicBezTo>
                        <a:cubicBezTo>
                          <a:pt x="113191" y="21618"/>
                          <a:pt x="113191" y="21618"/>
                          <a:pt x="113191" y="21618"/>
                        </a:cubicBezTo>
                        <a:cubicBezTo>
                          <a:pt x="111914" y="20992"/>
                          <a:pt x="111914" y="20992"/>
                          <a:pt x="111914" y="20992"/>
                        </a:cubicBezTo>
                        <a:cubicBezTo>
                          <a:pt x="111914" y="20992"/>
                          <a:pt x="112340" y="20522"/>
                          <a:pt x="112340" y="20365"/>
                        </a:cubicBezTo>
                        <a:cubicBezTo>
                          <a:pt x="112765" y="20208"/>
                          <a:pt x="113617" y="19425"/>
                          <a:pt x="113617" y="19425"/>
                        </a:cubicBezTo>
                        <a:cubicBezTo>
                          <a:pt x="113617" y="19425"/>
                          <a:pt x="113191" y="18798"/>
                          <a:pt x="113191" y="18642"/>
                        </a:cubicBezTo>
                        <a:cubicBezTo>
                          <a:pt x="113191" y="18485"/>
                          <a:pt x="113617" y="17702"/>
                          <a:pt x="113617" y="17702"/>
                        </a:cubicBezTo>
                        <a:cubicBezTo>
                          <a:pt x="113191" y="16919"/>
                          <a:pt x="113191" y="16919"/>
                          <a:pt x="113191" y="16919"/>
                        </a:cubicBezTo>
                        <a:cubicBezTo>
                          <a:pt x="108085" y="14725"/>
                          <a:pt x="108085" y="14725"/>
                          <a:pt x="108085" y="14725"/>
                        </a:cubicBezTo>
                        <a:cubicBezTo>
                          <a:pt x="108510" y="13785"/>
                          <a:pt x="108510" y="13785"/>
                          <a:pt x="108510" y="13785"/>
                        </a:cubicBezTo>
                        <a:cubicBezTo>
                          <a:pt x="108510" y="13785"/>
                          <a:pt x="108510" y="13785"/>
                          <a:pt x="108510" y="13785"/>
                        </a:cubicBezTo>
                        <a:close/>
                        <a:moveTo>
                          <a:pt x="70212" y="111227"/>
                        </a:moveTo>
                        <a:cubicBezTo>
                          <a:pt x="70212" y="111227"/>
                          <a:pt x="70212" y="111227"/>
                          <a:pt x="70212" y="111227"/>
                        </a:cubicBezTo>
                        <a:cubicBezTo>
                          <a:pt x="70638" y="109973"/>
                          <a:pt x="70638" y="109973"/>
                          <a:pt x="70638" y="109973"/>
                        </a:cubicBezTo>
                        <a:cubicBezTo>
                          <a:pt x="70638" y="109973"/>
                          <a:pt x="69787" y="109503"/>
                          <a:pt x="69787" y="109503"/>
                        </a:cubicBezTo>
                        <a:cubicBezTo>
                          <a:pt x="69787" y="109347"/>
                          <a:pt x="69361" y="109033"/>
                          <a:pt x="69361" y="108563"/>
                        </a:cubicBezTo>
                        <a:cubicBezTo>
                          <a:pt x="69787" y="108093"/>
                          <a:pt x="69787" y="107937"/>
                          <a:pt x="70212" y="107624"/>
                        </a:cubicBezTo>
                        <a:cubicBezTo>
                          <a:pt x="70212" y="107310"/>
                          <a:pt x="71063" y="107154"/>
                          <a:pt x="71063" y="106840"/>
                        </a:cubicBezTo>
                        <a:cubicBezTo>
                          <a:pt x="71063" y="106370"/>
                          <a:pt x="71063" y="106214"/>
                          <a:pt x="71489" y="105900"/>
                        </a:cubicBezTo>
                        <a:cubicBezTo>
                          <a:pt x="71489" y="105587"/>
                          <a:pt x="71914" y="105274"/>
                          <a:pt x="72340" y="105274"/>
                        </a:cubicBezTo>
                        <a:cubicBezTo>
                          <a:pt x="72340" y="105117"/>
                          <a:pt x="73191" y="104490"/>
                          <a:pt x="73191" y="104490"/>
                        </a:cubicBezTo>
                        <a:cubicBezTo>
                          <a:pt x="73617" y="103707"/>
                          <a:pt x="73617" y="103707"/>
                          <a:pt x="73617" y="103707"/>
                        </a:cubicBezTo>
                        <a:cubicBezTo>
                          <a:pt x="73617" y="103707"/>
                          <a:pt x="74468" y="102924"/>
                          <a:pt x="74468" y="102767"/>
                        </a:cubicBezTo>
                        <a:cubicBezTo>
                          <a:pt x="74468" y="102610"/>
                          <a:pt x="74042" y="101984"/>
                          <a:pt x="74042" y="101827"/>
                        </a:cubicBezTo>
                        <a:cubicBezTo>
                          <a:pt x="74468" y="101671"/>
                          <a:pt x="75319" y="101357"/>
                          <a:pt x="75319" y="101357"/>
                        </a:cubicBezTo>
                        <a:cubicBezTo>
                          <a:pt x="76595" y="101357"/>
                          <a:pt x="76595" y="101357"/>
                          <a:pt x="76595" y="101357"/>
                        </a:cubicBezTo>
                        <a:cubicBezTo>
                          <a:pt x="76595" y="101357"/>
                          <a:pt x="76595" y="101827"/>
                          <a:pt x="76170" y="101984"/>
                        </a:cubicBezTo>
                        <a:cubicBezTo>
                          <a:pt x="75744" y="101984"/>
                          <a:pt x="75319" y="102140"/>
                          <a:pt x="75319" y="102140"/>
                        </a:cubicBezTo>
                        <a:cubicBezTo>
                          <a:pt x="75319" y="102297"/>
                          <a:pt x="76170" y="102610"/>
                          <a:pt x="76170" y="102610"/>
                        </a:cubicBezTo>
                        <a:cubicBezTo>
                          <a:pt x="76170" y="103237"/>
                          <a:pt x="76170" y="103237"/>
                          <a:pt x="76170" y="103237"/>
                        </a:cubicBezTo>
                        <a:cubicBezTo>
                          <a:pt x="75319" y="103864"/>
                          <a:pt x="75319" y="103864"/>
                          <a:pt x="75319" y="103864"/>
                        </a:cubicBezTo>
                        <a:cubicBezTo>
                          <a:pt x="74468" y="104647"/>
                          <a:pt x="74468" y="104647"/>
                          <a:pt x="74468" y="104647"/>
                        </a:cubicBezTo>
                        <a:cubicBezTo>
                          <a:pt x="74468" y="105430"/>
                          <a:pt x="74468" y="105430"/>
                          <a:pt x="74468" y="105430"/>
                        </a:cubicBezTo>
                        <a:cubicBezTo>
                          <a:pt x="74042" y="105900"/>
                          <a:pt x="74042" y="105900"/>
                          <a:pt x="74042" y="105900"/>
                        </a:cubicBezTo>
                        <a:cubicBezTo>
                          <a:pt x="73617" y="106370"/>
                          <a:pt x="73617" y="106370"/>
                          <a:pt x="73617" y="106370"/>
                        </a:cubicBezTo>
                        <a:cubicBezTo>
                          <a:pt x="72765" y="107310"/>
                          <a:pt x="72765" y="107310"/>
                          <a:pt x="72765" y="107310"/>
                        </a:cubicBezTo>
                        <a:cubicBezTo>
                          <a:pt x="73191" y="108093"/>
                          <a:pt x="73191" y="108093"/>
                          <a:pt x="73191" y="108093"/>
                        </a:cubicBezTo>
                        <a:cubicBezTo>
                          <a:pt x="71914" y="109033"/>
                          <a:pt x="71914" y="109033"/>
                          <a:pt x="71914" y="109033"/>
                        </a:cubicBezTo>
                        <a:cubicBezTo>
                          <a:pt x="71914" y="109033"/>
                          <a:pt x="71914" y="109503"/>
                          <a:pt x="71914" y="109660"/>
                        </a:cubicBezTo>
                        <a:cubicBezTo>
                          <a:pt x="71914" y="109817"/>
                          <a:pt x="71914" y="110757"/>
                          <a:pt x="71914" y="110757"/>
                        </a:cubicBezTo>
                        <a:cubicBezTo>
                          <a:pt x="71914" y="110757"/>
                          <a:pt x="71914" y="111227"/>
                          <a:pt x="71489" y="111227"/>
                        </a:cubicBezTo>
                        <a:cubicBezTo>
                          <a:pt x="71063" y="111227"/>
                          <a:pt x="70212" y="111227"/>
                          <a:pt x="70212" y="111227"/>
                        </a:cubicBezTo>
                        <a:close/>
                        <a:moveTo>
                          <a:pt x="87659" y="101671"/>
                        </a:moveTo>
                        <a:cubicBezTo>
                          <a:pt x="87659" y="101671"/>
                          <a:pt x="87659" y="101671"/>
                          <a:pt x="87659" y="101671"/>
                        </a:cubicBezTo>
                        <a:cubicBezTo>
                          <a:pt x="87234" y="101357"/>
                          <a:pt x="87234" y="101357"/>
                          <a:pt x="87234" y="101357"/>
                        </a:cubicBezTo>
                        <a:cubicBezTo>
                          <a:pt x="88510" y="101201"/>
                          <a:pt x="88510" y="101201"/>
                          <a:pt x="88510" y="101201"/>
                        </a:cubicBezTo>
                        <a:cubicBezTo>
                          <a:pt x="88510" y="101201"/>
                          <a:pt x="88085" y="100574"/>
                          <a:pt x="88085" y="100417"/>
                        </a:cubicBezTo>
                        <a:cubicBezTo>
                          <a:pt x="88085" y="100261"/>
                          <a:pt x="87659" y="100417"/>
                          <a:pt x="87234" y="100104"/>
                        </a:cubicBezTo>
                        <a:cubicBezTo>
                          <a:pt x="86808" y="99947"/>
                          <a:pt x="86808" y="99477"/>
                          <a:pt x="86808" y="99477"/>
                        </a:cubicBezTo>
                        <a:cubicBezTo>
                          <a:pt x="86808" y="99321"/>
                          <a:pt x="87234" y="98851"/>
                          <a:pt x="87234" y="98851"/>
                        </a:cubicBezTo>
                        <a:cubicBezTo>
                          <a:pt x="87234" y="98851"/>
                          <a:pt x="88510" y="98224"/>
                          <a:pt x="89361" y="97911"/>
                        </a:cubicBezTo>
                        <a:cubicBezTo>
                          <a:pt x="90638" y="97441"/>
                          <a:pt x="90212" y="97441"/>
                          <a:pt x="90212" y="97127"/>
                        </a:cubicBezTo>
                        <a:cubicBezTo>
                          <a:pt x="89787" y="96971"/>
                          <a:pt x="90638" y="96814"/>
                          <a:pt x="90638" y="96814"/>
                        </a:cubicBezTo>
                        <a:cubicBezTo>
                          <a:pt x="91914" y="96344"/>
                          <a:pt x="91914" y="96344"/>
                          <a:pt x="91914" y="96344"/>
                        </a:cubicBezTo>
                        <a:cubicBezTo>
                          <a:pt x="92765" y="95561"/>
                          <a:pt x="92765" y="95561"/>
                          <a:pt x="92765" y="95561"/>
                        </a:cubicBezTo>
                        <a:cubicBezTo>
                          <a:pt x="92765" y="95561"/>
                          <a:pt x="94042" y="96031"/>
                          <a:pt x="94042" y="96031"/>
                        </a:cubicBezTo>
                        <a:cubicBezTo>
                          <a:pt x="94468" y="96031"/>
                          <a:pt x="94468" y="95874"/>
                          <a:pt x="94468" y="95718"/>
                        </a:cubicBezTo>
                        <a:cubicBezTo>
                          <a:pt x="94468" y="95561"/>
                          <a:pt x="95319" y="95561"/>
                          <a:pt x="95319" y="95561"/>
                        </a:cubicBezTo>
                        <a:cubicBezTo>
                          <a:pt x="95744" y="95561"/>
                          <a:pt x="97021" y="95404"/>
                          <a:pt x="97021" y="95404"/>
                        </a:cubicBezTo>
                        <a:cubicBezTo>
                          <a:pt x="97446" y="95091"/>
                          <a:pt x="97446" y="95091"/>
                          <a:pt x="97446" y="95091"/>
                        </a:cubicBezTo>
                        <a:cubicBezTo>
                          <a:pt x="97446" y="95091"/>
                          <a:pt x="99148" y="94934"/>
                          <a:pt x="100000" y="95091"/>
                        </a:cubicBezTo>
                        <a:cubicBezTo>
                          <a:pt x="100425" y="95248"/>
                          <a:pt x="99574" y="95248"/>
                          <a:pt x="99574" y="95404"/>
                        </a:cubicBezTo>
                        <a:cubicBezTo>
                          <a:pt x="99574" y="95561"/>
                          <a:pt x="99574" y="95561"/>
                          <a:pt x="99574" y="95718"/>
                        </a:cubicBezTo>
                        <a:cubicBezTo>
                          <a:pt x="99574" y="95874"/>
                          <a:pt x="99148" y="96031"/>
                          <a:pt x="97872" y="96031"/>
                        </a:cubicBezTo>
                        <a:cubicBezTo>
                          <a:pt x="96595" y="96187"/>
                          <a:pt x="97446" y="96501"/>
                          <a:pt x="97446" y="96501"/>
                        </a:cubicBezTo>
                        <a:cubicBezTo>
                          <a:pt x="97446" y="96501"/>
                          <a:pt x="97446" y="97127"/>
                          <a:pt x="97446" y="97127"/>
                        </a:cubicBezTo>
                        <a:cubicBezTo>
                          <a:pt x="97021" y="97284"/>
                          <a:pt x="96170" y="97597"/>
                          <a:pt x="95319" y="97597"/>
                        </a:cubicBezTo>
                        <a:cubicBezTo>
                          <a:pt x="94893" y="97754"/>
                          <a:pt x="94893" y="98067"/>
                          <a:pt x="94893" y="98067"/>
                        </a:cubicBezTo>
                        <a:cubicBezTo>
                          <a:pt x="94893" y="98224"/>
                          <a:pt x="95319" y="98537"/>
                          <a:pt x="95319" y="98851"/>
                        </a:cubicBezTo>
                        <a:cubicBezTo>
                          <a:pt x="95319" y="99007"/>
                          <a:pt x="95319" y="99007"/>
                          <a:pt x="95744" y="99321"/>
                        </a:cubicBezTo>
                        <a:cubicBezTo>
                          <a:pt x="95744" y="99477"/>
                          <a:pt x="96595" y="99477"/>
                          <a:pt x="97021" y="99477"/>
                        </a:cubicBezTo>
                        <a:cubicBezTo>
                          <a:pt x="97021" y="99634"/>
                          <a:pt x="97872" y="99947"/>
                          <a:pt x="97446" y="100104"/>
                        </a:cubicBezTo>
                        <a:cubicBezTo>
                          <a:pt x="97021" y="100261"/>
                          <a:pt x="96595" y="100417"/>
                          <a:pt x="96170" y="100417"/>
                        </a:cubicBezTo>
                        <a:cubicBezTo>
                          <a:pt x="96170" y="100574"/>
                          <a:pt x="95319" y="101044"/>
                          <a:pt x="95319" y="101044"/>
                        </a:cubicBezTo>
                        <a:cubicBezTo>
                          <a:pt x="95319" y="101044"/>
                          <a:pt x="95744" y="101357"/>
                          <a:pt x="95319" y="101671"/>
                        </a:cubicBezTo>
                        <a:cubicBezTo>
                          <a:pt x="95319" y="101984"/>
                          <a:pt x="94468" y="101827"/>
                          <a:pt x="94042" y="101984"/>
                        </a:cubicBezTo>
                        <a:cubicBezTo>
                          <a:pt x="94042" y="101984"/>
                          <a:pt x="92765" y="102454"/>
                          <a:pt x="92765" y="102454"/>
                        </a:cubicBezTo>
                        <a:cubicBezTo>
                          <a:pt x="92340" y="102454"/>
                          <a:pt x="91914" y="103080"/>
                          <a:pt x="91914" y="103394"/>
                        </a:cubicBezTo>
                        <a:cubicBezTo>
                          <a:pt x="91914" y="103550"/>
                          <a:pt x="91914" y="103864"/>
                          <a:pt x="91914" y="104020"/>
                        </a:cubicBezTo>
                        <a:cubicBezTo>
                          <a:pt x="91914" y="104177"/>
                          <a:pt x="91914" y="104020"/>
                          <a:pt x="91063" y="104490"/>
                        </a:cubicBezTo>
                        <a:cubicBezTo>
                          <a:pt x="89787" y="104960"/>
                          <a:pt x="90212" y="104647"/>
                          <a:pt x="88936" y="104490"/>
                        </a:cubicBezTo>
                        <a:cubicBezTo>
                          <a:pt x="87234" y="104490"/>
                          <a:pt x="88936" y="104334"/>
                          <a:pt x="89361" y="104020"/>
                        </a:cubicBezTo>
                        <a:cubicBezTo>
                          <a:pt x="89787" y="103707"/>
                          <a:pt x="90212" y="103394"/>
                          <a:pt x="90212" y="103394"/>
                        </a:cubicBezTo>
                        <a:cubicBezTo>
                          <a:pt x="89787" y="102767"/>
                          <a:pt x="89787" y="102767"/>
                          <a:pt x="89787" y="102767"/>
                        </a:cubicBezTo>
                        <a:cubicBezTo>
                          <a:pt x="88936" y="102297"/>
                          <a:pt x="88936" y="102297"/>
                          <a:pt x="88936" y="102297"/>
                        </a:cubicBezTo>
                        <a:lnTo>
                          <a:pt x="87659" y="101671"/>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87" name="Shape 2051"/>
                  <p:cNvSpPr/>
                  <p:nvPr/>
                </p:nvSpPr>
                <p:spPr>
                  <a:xfrm>
                    <a:off x="4686242" y="235947"/>
                    <a:ext cx="1226963" cy="1680165"/>
                  </a:xfrm>
                  <a:custGeom>
                    <a:avLst/>
                    <a:gdLst/>
                    <a:ahLst/>
                    <a:cxnLst/>
                    <a:rect l="0" t="0" r="0" b="0"/>
                    <a:pathLst>
                      <a:path w="120000" h="120000" extrusionOk="0">
                        <a:moveTo>
                          <a:pt x="82527" y="9000"/>
                        </a:moveTo>
                        <a:cubicBezTo>
                          <a:pt x="82081" y="9000"/>
                          <a:pt x="81412" y="9157"/>
                          <a:pt x="81412" y="8842"/>
                        </a:cubicBezTo>
                        <a:cubicBezTo>
                          <a:pt x="81412" y="8684"/>
                          <a:pt x="80743" y="8210"/>
                          <a:pt x="80743" y="8210"/>
                        </a:cubicBezTo>
                        <a:cubicBezTo>
                          <a:pt x="80743" y="8052"/>
                          <a:pt x="80297" y="7736"/>
                          <a:pt x="80966" y="7578"/>
                        </a:cubicBezTo>
                        <a:cubicBezTo>
                          <a:pt x="81412" y="7263"/>
                          <a:pt x="82973" y="6789"/>
                          <a:pt x="83197" y="6789"/>
                        </a:cubicBezTo>
                        <a:cubicBezTo>
                          <a:pt x="83197" y="6789"/>
                          <a:pt x="83866" y="6000"/>
                          <a:pt x="84089" y="5842"/>
                        </a:cubicBezTo>
                        <a:cubicBezTo>
                          <a:pt x="84312" y="5842"/>
                          <a:pt x="85650" y="5842"/>
                          <a:pt x="85650" y="5842"/>
                        </a:cubicBezTo>
                        <a:cubicBezTo>
                          <a:pt x="85650" y="5842"/>
                          <a:pt x="85873" y="6000"/>
                          <a:pt x="86319" y="6000"/>
                        </a:cubicBezTo>
                        <a:cubicBezTo>
                          <a:pt x="86765" y="6157"/>
                          <a:pt x="87657" y="5684"/>
                          <a:pt x="87211" y="6157"/>
                        </a:cubicBezTo>
                        <a:cubicBezTo>
                          <a:pt x="86542" y="6473"/>
                          <a:pt x="86319" y="6631"/>
                          <a:pt x="86096" y="6631"/>
                        </a:cubicBezTo>
                        <a:cubicBezTo>
                          <a:pt x="85873" y="6789"/>
                          <a:pt x="84758" y="7421"/>
                          <a:pt x="84758" y="7736"/>
                        </a:cubicBezTo>
                        <a:cubicBezTo>
                          <a:pt x="84535" y="8052"/>
                          <a:pt x="84758" y="8052"/>
                          <a:pt x="84535" y="8210"/>
                        </a:cubicBezTo>
                        <a:cubicBezTo>
                          <a:pt x="84089" y="8368"/>
                          <a:pt x="82750" y="8842"/>
                          <a:pt x="82527" y="9000"/>
                        </a:cubicBezTo>
                        <a:close/>
                        <a:moveTo>
                          <a:pt x="85427" y="9631"/>
                        </a:moveTo>
                        <a:cubicBezTo>
                          <a:pt x="85427" y="9631"/>
                          <a:pt x="85427" y="9631"/>
                          <a:pt x="85427" y="9631"/>
                        </a:cubicBezTo>
                        <a:cubicBezTo>
                          <a:pt x="85427" y="9631"/>
                          <a:pt x="86096" y="9789"/>
                          <a:pt x="86096" y="9631"/>
                        </a:cubicBezTo>
                        <a:cubicBezTo>
                          <a:pt x="86096" y="9631"/>
                          <a:pt x="86319" y="9315"/>
                          <a:pt x="86319" y="8842"/>
                        </a:cubicBezTo>
                        <a:cubicBezTo>
                          <a:pt x="86542" y="8368"/>
                          <a:pt x="86988" y="8368"/>
                          <a:pt x="87211" y="8210"/>
                        </a:cubicBezTo>
                        <a:cubicBezTo>
                          <a:pt x="87434" y="8052"/>
                          <a:pt x="87211" y="8052"/>
                          <a:pt x="87434" y="7736"/>
                        </a:cubicBezTo>
                        <a:cubicBezTo>
                          <a:pt x="87434" y="7421"/>
                          <a:pt x="87211" y="7421"/>
                          <a:pt x="86765" y="7263"/>
                        </a:cubicBezTo>
                        <a:cubicBezTo>
                          <a:pt x="86096" y="7263"/>
                          <a:pt x="86096" y="7578"/>
                          <a:pt x="85650" y="7578"/>
                        </a:cubicBezTo>
                        <a:cubicBezTo>
                          <a:pt x="85427" y="7736"/>
                          <a:pt x="85427" y="8052"/>
                          <a:pt x="85650" y="8210"/>
                        </a:cubicBezTo>
                        <a:cubicBezTo>
                          <a:pt x="85650" y="8368"/>
                          <a:pt x="85204" y="8526"/>
                          <a:pt x="84758" y="8684"/>
                        </a:cubicBezTo>
                        <a:cubicBezTo>
                          <a:pt x="84312" y="9000"/>
                          <a:pt x="84312" y="9315"/>
                          <a:pt x="84312" y="9315"/>
                        </a:cubicBezTo>
                        <a:cubicBezTo>
                          <a:pt x="85427" y="9631"/>
                          <a:pt x="85427" y="9631"/>
                          <a:pt x="85427" y="9631"/>
                        </a:cubicBezTo>
                        <a:close/>
                        <a:moveTo>
                          <a:pt x="80966" y="19894"/>
                        </a:moveTo>
                        <a:cubicBezTo>
                          <a:pt x="80966" y="19894"/>
                          <a:pt x="80966" y="19894"/>
                          <a:pt x="80966" y="19894"/>
                        </a:cubicBezTo>
                        <a:cubicBezTo>
                          <a:pt x="81858" y="20052"/>
                          <a:pt x="81858" y="20052"/>
                          <a:pt x="81858" y="20052"/>
                        </a:cubicBezTo>
                        <a:cubicBezTo>
                          <a:pt x="83420" y="21315"/>
                          <a:pt x="83420" y="21315"/>
                          <a:pt x="83420" y="21315"/>
                        </a:cubicBezTo>
                        <a:cubicBezTo>
                          <a:pt x="84758" y="22421"/>
                          <a:pt x="84758" y="22421"/>
                          <a:pt x="84758" y="22421"/>
                        </a:cubicBezTo>
                        <a:cubicBezTo>
                          <a:pt x="84758" y="22421"/>
                          <a:pt x="86765" y="23526"/>
                          <a:pt x="87211" y="23684"/>
                        </a:cubicBezTo>
                        <a:cubicBezTo>
                          <a:pt x="87657" y="23842"/>
                          <a:pt x="90111" y="24157"/>
                          <a:pt x="90334" y="24315"/>
                        </a:cubicBezTo>
                        <a:cubicBezTo>
                          <a:pt x="91003" y="23684"/>
                          <a:pt x="91003" y="23684"/>
                          <a:pt x="91003" y="23684"/>
                        </a:cubicBezTo>
                        <a:cubicBezTo>
                          <a:pt x="91895" y="23210"/>
                          <a:pt x="91895" y="23210"/>
                          <a:pt x="91895" y="23210"/>
                        </a:cubicBezTo>
                        <a:cubicBezTo>
                          <a:pt x="91672" y="22894"/>
                          <a:pt x="91672" y="22894"/>
                          <a:pt x="91672" y="22894"/>
                        </a:cubicBezTo>
                        <a:cubicBezTo>
                          <a:pt x="92788" y="22421"/>
                          <a:pt x="92788" y="22421"/>
                          <a:pt x="92788" y="22421"/>
                        </a:cubicBezTo>
                        <a:cubicBezTo>
                          <a:pt x="93680" y="22894"/>
                          <a:pt x="93680" y="22894"/>
                          <a:pt x="93680" y="22894"/>
                        </a:cubicBezTo>
                        <a:cubicBezTo>
                          <a:pt x="95910" y="23210"/>
                          <a:pt x="95910" y="23210"/>
                          <a:pt x="95910" y="23210"/>
                        </a:cubicBezTo>
                        <a:cubicBezTo>
                          <a:pt x="96802" y="23684"/>
                          <a:pt x="96802" y="23684"/>
                          <a:pt x="96802" y="23684"/>
                        </a:cubicBezTo>
                        <a:cubicBezTo>
                          <a:pt x="96802" y="23684"/>
                          <a:pt x="96802" y="23684"/>
                          <a:pt x="97026" y="23684"/>
                        </a:cubicBezTo>
                        <a:cubicBezTo>
                          <a:pt x="97026" y="23684"/>
                          <a:pt x="97026" y="23684"/>
                          <a:pt x="97026" y="23684"/>
                        </a:cubicBezTo>
                        <a:cubicBezTo>
                          <a:pt x="97026" y="23684"/>
                          <a:pt x="97026" y="23684"/>
                          <a:pt x="97026" y="23684"/>
                        </a:cubicBezTo>
                        <a:cubicBezTo>
                          <a:pt x="97249" y="23526"/>
                          <a:pt x="97249" y="23526"/>
                          <a:pt x="97249" y="23526"/>
                        </a:cubicBezTo>
                        <a:cubicBezTo>
                          <a:pt x="97249" y="23526"/>
                          <a:pt x="97249" y="23526"/>
                          <a:pt x="97249" y="23526"/>
                        </a:cubicBezTo>
                        <a:cubicBezTo>
                          <a:pt x="97249" y="23526"/>
                          <a:pt x="97249" y="23526"/>
                          <a:pt x="97249" y="23526"/>
                        </a:cubicBezTo>
                        <a:cubicBezTo>
                          <a:pt x="97249" y="23526"/>
                          <a:pt x="97249" y="23526"/>
                          <a:pt x="97249" y="23526"/>
                        </a:cubicBezTo>
                        <a:cubicBezTo>
                          <a:pt x="97249" y="23526"/>
                          <a:pt x="97472" y="23526"/>
                          <a:pt x="97472" y="23526"/>
                        </a:cubicBezTo>
                        <a:cubicBezTo>
                          <a:pt x="97472" y="23526"/>
                          <a:pt x="97472" y="23526"/>
                          <a:pt x="97472" y="23526"/>
                        </a:cubicBezTo>
                        <a:cubicBezTo>
                          <a:pt x="97472" y="23526"/>
                          <a:pt x="97472" y="23526"/>
                          <a:pt x="97472" y="23526"/>
                        </a:cubicBezTo>
                        <a:cubicBezTo>
                          <a:pt x="97472" y="23526"/>
                          <a:pt x="97472" y="23526"/>
                          <a:pt x="97472" y="23526"/>
                        </a:cubicBezTo>
                        <a:cubicBezTo>
                          <a:pt x="97472" y="23526"/>
                          <a:pt x="97472" y="23526"/>
                          <a:pt x="97472"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210"/>
                          <a:pt x="97695" y="23210"/>
                          <a:pt x="97695" y="23210"/>
                        </a:cubicBezTo>
                        <a:cubicBezTo>
                          <a:pt x="97695" y="23052"/>
                          <a:pt x="97695" y="22105"/>
                          <a:pt x="97695" y="22105"/>
                        </a:cubicBezTo>
                        <a:cubicBezTo>
                          <a:pt x="97695" y="22105"/>
                          <a:pt x="97026" y="21789"/>
                          <a:pt x="97695" y="21473"/>
                        </a:cubicBezTo>
                        <a:cubicBezTo>
                          <a:pt x="98364" y="21000"/>
                          <a:pt x="99256" y="20526"/>
                          <a:pt x="99256" y="20526"/>
                        </a:cubicBezTo>
                        <a:cubicBezTo>
                          <a:pt x="99256" y="20526"/>
                          <a:pt x="99702" y="20368"/>
                          <a:pt x="99702" y="19894"/>
                        </a:cubicBezTo>
                        <a:cubicBezTo>
                          <a:pt x="99702" y="19421"/>
                          <a:pt x="99256" y="18157"/>
                          <a:pt x="99256" y="18157"/>
                        </a:cubicBezTo>
                        <a:cubicBezTo>
                          <a:pt x="99256" y="18157"/>
                          <a:pt x="98810" y="17368"/>
                          <a:pt x="98810" y="17052"/>
                        </a:cubicBezTo>
                        <a:cubicBezTo>
                          <a:pt x="99256" y="15157"/>
                          <a:pt x="98141" y="13894"/>
                          <a:pt x="98810" y="13578"/>
                        </a:cubicBezTo>
                        <a:cubicBezTo>
                          <a:pt x="98810" y="13578"/>
                          <a:pt x="98810" y="13578"/>
                          <a:pt x="98810" y="13578"/>
                        </a:cubicBezTo>
                        <a:cubicBezTo>
                          <a:pt x="98810" y="13578"/>
                          <a:pt x="98810" y="13578"/>
                          <a:pt x="98810" y="13578"/>
                        </a:cubicBezTo>
                        <a:cubicBezTo>
                          <a:pt x="99256" y="13421"/>
                          <a:pt x="99256" y="13421"/>
                          <a:pt x="99256" y="13421"/>
                        </a:cubicBezTo>
                        <a:cubicBezTo>
                          <a:pt x="99925" y="13105"/>
                          <a:pt x="99925" y="13105"/>
                          <a:pt x="99925" y="13105"/>
                        </a:cubicBezTo>
                        <a:cubicBezTo>
                          <a:pt x="99925" y="13105"/>
                          <a:pt x="99925" y="12947"/>
                          <a:pt x="99925" y="12947"/>
                        </a:cubicBezTo>
                        <a:cubicBezTo>
                          <a:pt x="99925" y="12157"/>
                          <a:pt x="98587" y="11368"/>
                          <a:pt x="100148" y="11210"/>
                        </a:cubicBezTo>
                        <a:cubicBezTo>
                          <a:pt x="100817" y="10894"/>
                          <a:pt x="100817" y="10894"/>
                          <a:pt x="100817" y="10894"/>
                        </a:cubicBezTo>
                        <a:cubicBezTo>
                          <a:pt x="102825" y="10894"/>
                          <a:pt x="102825" y="10894"/>
                          <a:pt x="102825" y="10894"/>
                        </a:cubicBezTo>
                        <a:cubicBezTo>
                          <a:pt x="103271" y="9947"/>
                          <a:pt x="103271" y="9947"/>
                          <a:pt x="103271" y="9947"/>
                        </a:cubicBezTo>
                        <a:cubicBezTo>
                          <a:pt x="104163" y="9315"/>
                          <a:pt x="104163" y="9315"/>
                          <a:pt x="104163" y="9315"/>
                        </a:cubicBezTo>
                        <a:cubicBezTo>
                          <a:pt x="104832" y="9315"/>
                          <a:pt x="105724" y="9157"/>
                          <a:pt x="106171" y="9315"/>
                        </a:cubicBezTo>
                        <a:cubicBezTo>
                          <a:pt x="106617" y="9789"/>
                          <a:pt x="106617" y="10105"/>
                          <a:pt x="107509" y="10263"/>
                        </a:cubicBezTo>
                        <a:cubicBezTo>
                          <a:pt x="110185" y="10894"/>
                          <a:pt x="110185" y="10894"/>
                          <a:pt x="110185" y="10894"/>
                        </a:cubicBezTo>
                        <a:cubicBezTo>
                          <a:pt x="111524" y="11052"/>
                          <a:pt x="111524" y="11052"/>
                          <a:pt x="111524" y="11052"/>
                        </a:cubicBezTo>
                        <a:cubicBezTo>
                          <a:pt x="111524" y="11052"/>
                          <a:pt x="111524" y="11052"/>
                          <a:pt x="111524" y="11052"/>
                        </a:cubicBezTo>
                        <a:cubicBezTo>
                          <a:pt x="111747" y="11052"/>
                          <a:pt x="111747" y="11052"/>
                          <a:pt x="111747" y="11052"/>
                        </a:cubicBezTo>
                        <a:cubicBezTo>
                          <a:pt x="111747" y="11052"/>
                          <a:pt x="111747" y="11052"/>
                          <a:pt x="111747" y="11052"/>
                        </a:cubicBezTo>
                        <a:cubicBezTo>
                          <a:pt x="112193" y="11368"/>
                          <a:pt x="112193" y="11368"/>
                          <a:pt x="112193" y="11368"/>
                        </a:cubicBezTo>
                        <a:cubicBezTo>
                          <a:pt x="112193" y="11368"/>
                          <a:pt x="112193" y="11368"/>
                          <a:pt x="112193" y="11368"/>
                        </a:cubicBezTo>
                        <a:cubicBezTo>
                          <a:pt x="112193" y="11368"/>
                          <a:pt x="112193" y="11368"/>
                          <a:pt x="112193" y="11368"/>
                        </a:cubicBezTo>
                        <a:cubicBezTo>
                          <a:pt x="112193" y="11368"/>
                          <a:pt x="112193" y="11368"/>
                          <a:pt x="112193" y="11368"/>
                        </a:cubicBezTo>
                        <a:cubicBezTo>
                          <a:pt x="112193" y="11684"/>
                          <a:pt x="112193" y="12000"/>
                          <a:pt x="112416" y="12157"/>
                        </a:cubicBezTo>
                        <a:cubicBezTo>
                          <a:pt x="112416" y="12473"/>
                          <a:pt x="112639" y="12947"/>
                          <a:pt x="112639" y="12947"/>
                        </a:cubicBezTo>
                        <a:cubicBezTo>
                          <a:pt x="112639" y="12947"/>
                          <a:pt x="112416" y="13421"/>
                          <a:pt x="112416" y="13736"/>
                        </a:cubicBezTo>
                        <a:cubicBezTo>
                          <a:pt x="112193" y="13894"/>
                          <a:pt x="112193" y="14368"/>
                          <a:pt x="112193" y="14526"/>
                        </a:cubicBezTo>
                        <a:cubicBezTo>
                          <a:pt x="112193" y="14684"/>
                          <a:pt x="112193" y="14842"/>
                          <a:pt x="112193" y="15000"/>
                        </a:cubicBezTo>
                        <a:cubicBezTo>
                          <a:pt x="112193" y="15315"/>
                          <a:pt x="112416" y="15789"/>
                          <a:pt x="112639" y="15947"/>
                        </a:cubicBezTo>
                        <a:cubicBezTo>
                          <a:pt x="112639" y="16105"/>
                          <a:pt x="113754" y="16578"/>
                          <a:pt x="113754" y="16578"/>
                        </a:cubicBezTo>
                        <a:cubicBezTo>
                          <a:pt x="113754" y="16578"/>
                          <a:pt x="113754" y="16578"/>
                          <a:pt x="113531" y="16736"/>
                        </a:cubicBezTo>
                        <a:cubicBezTo>
                          <a:pt x="113531" y="16736"/>
                          <a:pt x="113531" y="16894"/>
                          <a:pt x="113754" y="16894"/>
                        </a:cubicBezTo>
                        <a:cubicBezTo>
                          <a:pt x="114200" y="16894"/>
                          <a:pt x="114869" y="16736"/>
                          <a:pt x="114869" y="16736"/>
                        </a:cubicBezTo>
                        <a:cubicBezTo>
                          <a:pt x="114869" y="16736"/>
                          <a:pt x="114869" y="15315"/>
                          <a:pt x="114646" y="14842"/>
                        </a:cubicBezTo>
                        <a:cubicBezTo>
                          <a:pt x="114423" y="14210"/>
                          <a:pt x="115539" y="13578"/>
                          <a:pt x="115539" y="13578"/>
                        </a:cubicBezTo>
                        <a:cubicBezTo>
                          <a:pt x="117100" y="12473"/>
                          <a:pt x="117100" y="12473"/>
                          <a:pt x="117100" y="12473"/>
                        </a:cubicBezTo>
                        <a:cubicBezTo>
                          <a:pt x="116877" y="11210"/>
                          <a:pt x="116877" y="11210"/>
                          <a:pt x="116877" y="11210"/>
                        </a:cubicBezTo>
                        <a:cubicBezTo>
                          <a:pt x="118661" y="11368"/>
                          <a:pt x="118661" y="11368"/>
                          <a:pt x="118661" y="11368"/>
                        </a:cubicBezTo>
                        <a:cubicBezTo>
                          <a:pt x="118661" y="11368"/>
                          <a:pt x="120000" y="10894"/>
                          <a:pt x="119553" y="10263"/>
                        </a:cubicBezTo>
                        <a:cubicBezTo>
                          <a:pt x="119107" y="9473"/>
                          <a:pt x="118661" y="8210"/>
                          <a:pt x="118215" y="8526"/>
                        </a:cubicBezTo>
                        <a:cubicBezTo>
                          <a:pt x="117546" y="8842"/>
                          <a:pt x="116431" y="9789"/>
                          <a:pt x="116431" y="9789"/>
                        </a:cubicBezTo>
                        <a:cubicBezTo>
                          <a:pt x="116208" y="8210"/>
                          <a:pt x="116208" y="8210"/>
                          <a:pt x="116208" y="8210"/>
                        </a:cubicBezTo>
                        <a:cubicBezTo>
                          <a:pt x="114423" y="8684"/>
                          <a:pt x="114423" y="8684"/>
                          <a:pt x="114423" y="8684"/>
                        </a:cubicBezTo>
                        <a:cubicBezTo>
                          <a:pt x="112639" y="8368"/>
                          <a:pt x="112639" y="8368"/>
                          <a:pt x="112639" y="8368"/>
                        </a:cubicBezTo>
                        <a:cubicBezTo>
                          <a:pt x="112639" y="8368"/>
                          <a:pt x="111970" y="7736"/>
                          <a:pt x="111301" y="7894"/>
                        </a:cubicBezTo>
                        <a:cubicBezTo>
                          <a:pt x="110631" y="7894"/>
                          <a:pt x="109516" y="7894"/>
                          <a:pt x="109516" y="7894"/>
                        </a:cubicBezTo>
                        <a:cubicBezTo>
                          <a:pt x="109516" y="7894"/>
                          <a:pt x="108624" y="7421"/>
                          <a:pt x="109070" y="7263"/>
                        </a:cubicBezTo>
                        <a:cubicBezTo>
                          <a:pt x="109739" y="7263"/>
                          <a:pt x="111078" y="7421"/>
                          <a:pt x="111747" y="7263"/>
                        </a:cubicBezTo>
                        <a:cubicBezTo>
                          <a:pt x="112193" y="7263"/>
                          <a:pt x="115762" y="6631"/>
                          <a:pt x="115762" y="6631"/>
                        </a:cubicBezTo>
                        <a:cubicBezTo>
                          <a:pt x="115985" y="5526"/>
                          <a:pt x="115985" y="5526"/>
                          <a:pt x="115985" y="5526"/>
                        </a:cubicBezTo>
                        <a:cubicBezTo>
                          <a:pt x="117546" y="4578"/>
                          <a:pt x="117546" y="4578"/>
                          <a:pt x="117546" y="4578"/>
                        </a:cubicBezTo>
                        <a:cubicBezTo>
                          <a:pt x="114869" y="3157"/>
                          <a:pt x="114869" y="3157"/>
                          <a:pt x="114869" y="3157"/>
                        </a:cubicBezTo>
                        <a:cubicBezTo>
                          <a:pt x="113754" y="1894"/>
                          <a:pt x="113754" y="1894"/>
                          <a:pt x="113754" y="1894"/>
                        </a:cubicBezTo>
                        <a:cubicBezTo>
                          <a:pt x="113754" y="1894"/>
                          <a:pt x="113531" y="1421"/>
                          <a:pt x="113085" y="1421"/>
                        </a:cubicBezTo>
                        <a:cubicBezTo>
                          <a:pt x="112416" y="1421"/>
                          <a:pt x="110631" y="2052"/>
                          <a:pt x="110631" y="2052"/>
                        </a:cubicBezTo>
                        <a:cubicBezTo>
                          <a:pt x="109293" y="1421"/>
                          <a:pt x="109293" y="1421"/>
                          <a:pt x="109293" y="1421"/>
                        </a:cubicBezTo>
                        <a:cubicBezTo>
                          <a:pt x="107286" y="1578"/>
                          <a:pt x="107286" y="1578"/>
                          <a:pt x="107286" y="1578"/>
                        </a:cubicBezTo>
                        <a:cubicBezTo>
                          <a:pt x="104386" y="947"/>
                          <a:pt x="104386" y="947"/>
                          <a:pt x="104386" y="947"/>
                        </a:cubicBezTo>
                        <a:cubicBezTo>
                          <a:pt x="104386" y="1421"/>
                          <a:pt x="104386" y="1421"/>
                          <a:pt x="104386" y="1421"/>
                        </a:cubicBezTo>
                        <a:cubicBezTo>
                          <a:pt x="104386" y="1421"/>
                          <a:pt x="103494" y="1263"/>
                          <a:pt x="103271" y="947"/>
                        </a:cubicBezTo>
                        <a:cubicBezTo>
                          <a:pt x="103271" y="631"/>
                          <a:pt x="103271" y="315"/>
                          <a:pt x="103271" y="315"/>
                        </a:cubicBezTo>
                        <a:cubicBezTo>
                          <a:pt x="102156" y="473"/>
                          <a:pt x="102156" y="473"/>
                          <a:pt x="102156" y="473"/>
                        </a:cubicBezTo>
                        <a:cubicBezTo>
                          <a:pt x="101710" y="473"/>
                          <a:pt x="101710" y="473"/>
                          <a:pt x="101710" y="473"/>
                        </a:cubicBezTo>
                        <a:cubicBezTo>
                          <a:pt x="100371" y="0"/>
                          <a:pt x="100371" y="0"/>
                          <a:pt x="100371" y="0"/>
                        </a:cubicBezTo>
                        <a:cubicBezTo>
                          <a:pt x="99702" y="947"/>
                          <a:pt x="99702" y="947"/>
                          <a:pt x="99702" y="947"/>
                        </a:cubicBezTo>
                        <a:cubicBezTo>
                          <a:pt x="100594" y="2052"/>
                          <a:pt x="100594" y="2052"/>
                          <a:pt x="100594" y="2052"/>
                        </a:cubicBezTo>
                        <a:cubicBezTo>
                          <a:pt x="99702" y="3315"/>
                          <a:pt x="99702" y="3315"/>
                          <a:pt x="99702" y="3315"/>
                        </a:cubicBezTo>
                        <a:cubicBezTo>
                          <a:pt x="100371" y="4105"/>
                          <a:pt x="100371" y="4105"/>
                          <a:pt x="100371" y="4105"/>
                        </a:cubicBezTo>
                        <a:cubicBezTo>
                          <a:pt x="100371" y="5210"/>
                          <a:pt x="100371" y="5210"/>
                          <a:pt x="100371" y="5210"/>
                        </a:cubicBezTo>
                        <a:cubicBezTo>
                          <a:pt x="99479" y="6473"/>
                          <a:pt x="99479" y="6473"/>
                          <a:pt x="99479" y="6473"/>
                        </a:cubicBezTo>
                        <a:cubicBezTo>
                          <a:pt x="98141" y="5684"/>
                          <a:pt x="98141" y="5684"/>
                          <a:pt x="98141" y="5684"/>
                        </a:cubicBezTo>
                        <a:cubicBezTo>
                          <a:pt x="98364" y="4578"/>
                          <a:pt x="98364" y="4578"/>
                          <a:pt x="98364" y="4578"/>
                        </a:cubicBezTo>
                        <a:cubicBezTo>
                          <a:pt x="99033" y="3315"/>
                          <a:pt x="99033" y="3315"/>
                          <a:pt x="99033" y="3315"/>
                        </a:cubicBezTo>
                        <a:cubicBezTo>
                          <a:pt x="98141" y="2052"/>
                          <a:pt x="98141" y="2052"/>
                          <a:pt x="98141" y="2052"/>
                        </a:cubicBezTo>
                        <a:cubicBezTo>
                          <a:pt x="96356" y="3157"/>
                          <a:pt x="96356" y="3157"/>
                          <a:pt x="96356" y="3157"/>
                        </a:cubicBezTo>
                        <a:cubicBezTo>
                          <a:pt x="96356" y="4736"/>
                          <a:pt x="96356" y="4736"/>
                          <a:pt x="96356" y="4736"/>
                        </a:cubicBezTo>
                        <a:cubicBezTo>
                          <a:pt x="95464" y="5842"/>
                          <a:pt x="95464" y="5842"/>
                          <a:pt x="95464" y="5842"/>
                        </a:cubicBezTo>
                        <a:cubicBezTo>
                          <a:pt x="95464" y="7263"/>
                          <a:pt x="95464" y="7263"/>
                          <a:pt x="95464" y="7263"/>
                        </a:cubicBezTo>
                        <a:cubicBezTo>
                          <a:pt x="95018" y="8368"/>
                          <a:pt x="95018" y="8368"/>
                          <a:pt x="95018" y="8368"/>
                        </a:cubicBezTo>
                        <a:cubicBezTo>
                          <a:pt x="94795" y="9789"/>
                          <a:pt x="94795" y="9789"/>
                          <a:pt x="94795" y="9789"/>
                        </a:cubicBezTo>
                        <a:cubicBezTo>
                          <a:pt x="94795" y="9789"/>
                          <a:pt x="94795" y="10105"/>
                          <a:pt x="94349" y="10105"/>
                        </a:cubicBezTo>
                        <a:cubicBezTo>
                          <a:pt x="93903" y="10263"/>
                          <a:pt x="93011" y="9947"/>
                          <a:pt x="93011" y="9947"/>
                        </a:cubicBezTo>
                        <a:cubicBezTo>
                          <a:pt x="93011" y="7894"/>
                          <a:pt x="93011" y="7894"/>
                          <a:pt x="93011" y="7894"/>
                        </a:cubicBezTo>
                        <a:cubicBezTo>
                          <a:pt x="93457" y="6789"/>
                          <a:pt x="93457" y="6789"/>
                          <a:pt x="93457" y="6789"/>
                        </a:cubicBezTo>
                        <a:cubicBezTo>
                          <a:pt x="94126" y="5842"/>
                          <a:pt x="94126" y="5842"/>
                          <a:pt x="94126" y="5842"/>
                        </a:cubicBezTo>
                        <a:cubicBezTo>
                          <a:pt x="95018" y="4578"/>
                          <a:pt x="95018" y="4578"/>
                          <a:pt x="95018" y="4578"/>
                        </a:cubicBezTo>
                        <a:cubicBezTo>
                          <a:pt x="95018" y="4578"/>
                          <a:pt x="95018" y="3789"/>
                          <a:pt x="94795" y="3631"/>
                        </a:cubicBezTo>
                        <a:cubicBezTo>
                          <a:pt x="94795" y="3631"/>
                          <a:pt x="94349" y="3473"/>
                          <a:pt x="94572" y="3473"/>
                        </a:cubicBezTo>
                        <a:cubicBezTo>
                          <a:pt x="94572" y="3315"/>
                          <a:pt x="95464" y="2684"/>
                          <a:pt x="95464" y="2684"/>
                        </a:cubicBezTo>
                        <a:cubicBezTo>
                          <a:pt x="95464" y="2684"/>
                          <a:pt x="95464" y="2210"/>
                          <a:pt x="94795" y="1894"/>
                        </a:cubicBezTo>
                        <a:cubicBezTo>
                          <a:pt x="94349" y="1736"/>
                          <a:pt x="93903" y="1421"/>
                          <a:pt x="93457" y="1578"/>
                        </a:cubicBezTo>
                        <a:cubicBezTo>
                          <a:pt x="93234" y="1736"/>
                          <a:pt x="92118" y="2052"/>
                          <a:pt x="92118" y="2210"/>
                        </a:cubicBezTo>
                        <a:cubicBezTo>
                          <a:pt x="91895" y="2368"/>
                          <a:pt x="92118" y="2684"/>
                          <a:pt x="92342" y="2842"/>
                        </a:cubicBezTo>
                        <a:cubicBezTo>
                          <a:pt x="92565" y="2842"/>
                          <a:pt x="92788" y="3000"/>
                          <a:pt x="93011" y="3000"/>
                        </a:cubicBezTo>
                        <a:cubicBezTo>
                          <a:pt x="93011" y="3157"/>
                          <a:pt x="93234" y="3631"/>
                          <a:pt x="93011" y="3789"/>
                        </a:cubicBezTo>
                        <a:cubicBezTo>
                          <a:pt x="92788" y="3947"/>
                          <a:pt x="93011" y="4421"/>
                          <a:pt x="92342" y="4263"/>
                        </a:cubicBezTo>
                        <a:cubicBezTo>
                          <a:pt x="91895" y="4105"/>
                          <a:pt x="90557" y="3473"/>
                          <a:pt x="90557" y="3473"/>
                        </a:cubicBezTo>
                        <a:cubicBezTo>
                          <a:pt x="90334" y="3473"/>
                          <a:pt x="90557" y="2842"/>
                          <a:pt x="90111" y="3473"/>
                        </a:cubicBezTo>
                        <a:cubicBezTo>
                          <a:pt x="89665" y="3947"/>
                          <a:pt x="89442" y="4105"/>
                          <a:pt x="89665" y="4421"/>
                        </a:cubicBezTo>
                        <a:cubicBezTo>
                          <a:pt x="89888" y="4736"/>
                          <a:pt x="90111" y="4736"/>
                          <a:pt x="90111" y="4894"/>
                        </a:cubicBezTo>
                        <a:cubicBezTo>
                          <a:pt x="90111" y="5052"/>
                          <a:pt x="89219" y="5052"/>
                          <a:pt x="89219" y="5210"/>
                        </a:cubicBezTo>
                        <a:cubicBezTo>
                          <a:pt x="89219" y="5368"/>
                          <a:pt x="88996" y="5526"/>
                          <a:pt x="89442" y="5842"/>
                        </a:cubicBezTo>
                        <a:cubicBezTo>
                          <a:pt x="89888" y="6000"/>
                          <a:pt x="90334" y="6157"/>
                          <a:pt x="90334" y="6157"/>
                        </a:cubicBezTo>
                        <a:cubicBezTo>
                          <a:pt x="90334" y="6157"/>
                          <a:pt x="90780" y="6631"/>
                          <a:pt x="90557" y="6631"/>
                        </a:cubicBezTo>
                        <a:cubicBezTo>
                          <a:pt x="90557" y="6789"/>
                          <a:pt x="89219" y="6631"/>
                          <a:pt x="89219" y="6789"/>
                        </a:cubicBezTo>
                        <a:cubicBezTo>
                          <a:pt x="89219" y="6947"/>
                          <a:pt x="89219" y="7263"/>
                          <a:pt x="89219" y="7421"/>
                        </a:cubicBezTo>
                        <a:cubicBezTo>
                          <a:pt x="89219" y="7578"/>
                          <a:pt x="89219" y="7894"/>
                          <a:pt x="89219" y="7894"/>
                        </a:cubicBezTo>
                        <a:cubicBezTo>
                          <a:pt x="89219" y="8052"/>
                          <a:pt x="88327" y="8052"/>
                          <a:pt x="88104" y="8210"/>
                        </a:cubicBezTo>
                        <a:cubicBezTo>
                          <a:pt x="87657" y="8368"/>
                          <a:pt x="87434" y="8842"/>
                          <a:pt x="87434" y="9157"/>
                        </a:cubicBezTo>
                        <a:cubicBezTo>
                          <a:pt x="87211" y="9473"/>
                          <a:pt x="87211" y="9789"/>
                          <a:pt x="87211" y="9947"/>
                        </a:cubicBezTo>
                        <a:cubicBezTo>
                          <a:pt x="87211" y="10105"/>
                          <a:pt x="86765" y="10421"/>
                          <a:pt x="86765" y="10421"/>
                        </a:cubicBezTo>
                        <a:cubicBezTo>
                          <a:pt x="86765" y="10421"/>
                          <a:pt x="86765" y="10578"/>
                          <a:pt x="86319" y="10421"/>
                        </a:cubicBezTo>
                        <a:cubicBezTo>
                          <a:pt x="85873" y="10421"/>
                          <a:pt x="84312" y="9789"/>
                          <a:pt x="84089" y="9789"/>
                        </a:cubicBezTo>
                        <a:cubicBezTo>
                          <a:pt x="83643" y="9789"/>
                          <a:pt x="83197" y="9947"/>
                          <a:pt x="83197" y="10263"/>
                        </a:cubicBezTo>
                        <a:cubicBezTo>
                          <a:pt x="83197" y="10421"/>
                          <a:pt x="83866" y="10894"/>
                          <a:pt x="84089" y="10894"/>
                        </a:cubicBezTo>
                        <a:cubicBezTo>
                          <a:pt x="84089" y="10894"/>
                          <a:pt x="85204" y="11052"/>
                          <a:pt x="85427" y="11210"/>
                        </a:cubicBezTo>
                        <a:cubicBezTo>
                          <a:pt x="85427" y="11368"/>
                          <a:pt x="85427" y="12473"/>
                          <a:pt x="85427" y="12473"/>
                        </a:cubicBezTo>
                        <a:cubicBezTo>
                          <a:pt x="85427" y="12473"/>
                          <a:pt x="86319" y="13736"/>
                          <a:pt x="84758" y="12631"/>
                        </a:cubicBezTo>
                        <a:cubicBezTo>
                          <a:pt x="82973" y="11526"/>
                          <a:pt x="82973" y="11368"/>
                          <a:pt x="82750" y="11210"/>
                        </a:cubicBezTo>
                        <a:cubicBezTo>
                          <a:pt x="82527" y="11210"/>
                          <a:pt x="80966" y="10894"/>
                          <a:pt x="80966" y="10894"/>
                        </a:cubicBezTo>
                        <a:cubicBezTo>
                          <a:pt x="80966" y="10894"/>
                          <a:pt x="80743" y="10421"/>
                          <a:pt x="80520" y="10894"/>
                        </a:cubicBezTo>
                        <a:cubicBezTo>
                          <a:pt x="80297" y="11210"/>
                          <a:pt x="80966" y="12000"/>
                          <a:pt x="80966" y="12000"/>
                        </a:cubicBezTo>
                        <a:cubicBezTo>
                          <a:pt x="80743" y="11842"/>
                          <a:pt x="80743" y="11842"/>
                          <a:pt x="80743" y="11842"/>
                        </a:cubicBezTo>
                        <a:cubicBezTo>
                          <a:pt x="80743" y="11842"/>
                          <a:pt x="80074" y="11526"/>
                          <a:pt x="79628" y="11368"/>
                        </a:cubicBezTo>
                        <a:cubicBezTo>
                          <a:pt x="79405" y="11052"/>
                          <a:pt x="78736" y="11368"/>
                          <a:pt x="78736" y="11368"/>
                        </a:cubicBezTo>
                        <a:cubicBezTo>
                          <a:pt x="78736" y="11368"/>
                          <a:pt x="78513" y="11526"/>
                          <a:pt x="78066" y="11842"/>
                        </a:cubicBezTo>
                        <a:cubicBezTo>
                          <a:pt x="77843" y="12000"/>
                          <a:pt x="76951" y="11368"/>
                          <a:pt x="77843" y="12157"/>
                        </a:cubicBezTo>
                        <a:cubicBezTo>
                          <a:pt x="78513" y="12789"/>
                          <a:pt x="79182" y="12947"/>
                          <a:pt x="79405" y="13105"/>
                        </a:cubicBezTo>
                        <a:cubicBezTo>
                          <a:pt x="79405" y="13105"/>
                          <a:pt x="80297" y="13263"/>
                          <a:pt x="80520" y="13421"/>
                        </a:cubicBezTo>
                        <a:cubicBezTo>
                          <a:pt x="80743" y="13578"/>
                          <a:pt x="80743" y="14052"/>
                          <a:pt x="80743" y="14210"/>
                        </a:cubicBezTo>
                        <a:cubicBezTo>
                          <a:pt x="80743" y="14210"/>
                          <a:pt x="81412" y="14842"/>
                          <a:pt x="80297" y="14368"/>
                        </a:cubicBezTo>
                        <a:cubicBezTo>
                          <a:pt x="79182" y="13736"/>
                          <a:pt x="79182" y="13578"/>
                          <a:pt x="78736" y="13578"/>
                        </a:cubicBezTo>
                        <a:cubicBezTo>
                          <a:pt x="78513" y="13578"/>
                          <a:pt x="78066" y="13894"/>
                          <a:pt x="78066" y="13894"/>
                        </a:cubicBezTo>
                        <a:cubicBezTo>
                          <a:pt x="78066" y="13894"/>
                          <a:pt x="76728" y="13736"/>
                          <a:pt x="76728" y="13263"/>
                        </a:cubicBezTo>
                        <a:cubicBezTo>
                          <a:pt x="76505" y="12789"/>
                          <a:pt x="76951" y="12000"/>
                          <a:pt x="76059" y="12157"/>
                        </a:cubicBezTo>
                        <a:cubicBezTo>
                          <a:pt x="74944" y="12157"/>
                          <a:pt x="74721" y="12473"/>
                          <a:pt x="74721" y="12631"/>
                        </a:cubicBezTo>
                        <a:cubicBezTo>
                          <a:pt x="74721" y="12789"/>
                          <a:pt x="74052" y="12947"/>
                          <a:pt x="74721" y="13421"/>
                        </a:cubicBezTo>
                        <a:cubicBezTo>
                          <a:pt x="75390" y="13894"/>
                          <a:pt x="75836" y="14210"/>
                          <a:pt x="76059" y="14210"/>
                        </a:cubicBezTo>
                        <a:cubicBezTo>
                          <a:pt x="76059" y="14210"/>
                          <a:pt x="77397" y="14210"/>
                          <a:pt x="76728" y="14368"/>
                        </a:cubicBezTo>
                        <a:cubicBezTo>
                          <a:pt x="76282" y="14684"/>
                          <a:pt x="75390" y="14684"/>
                          <a:pt x="75167" y="14684"/>
                        </a:cubicBezTo>
                        <a:cubicBezTo>
                          <a:pt x="74944" y="14684"/>
                          <a:pt x="75167" y="14526"/>
                          <a:pt x="74944" y="14684"/>
                        </a:cubicBezTo>
                        <a:cubicBezTo>
                          <a:pt x="74498" y="14842"/>
                          <a:pt x="73382" y="15631"/>
                          <a:pt x="73382" y="15631"/>
                        </a:cubicBezTo>
                        <a:cubicBezTo>
                          <a:pt x="73382" y="15631"/>
                          <a:pt x="73159" y="15315"/>
                          <a:pt x="73159" y="15157"/>
                        </a:cubicBezTo>
                        <a:cubicBezTo>
                          <a:pt x="73159" y="15000"/>
                          <a:pt x="74052" y="14684"/>
                          <a:pt x="74052" y="14368"/>
                        </a:cubicBezTo>
                        <a:cubicBezTo>
                          <a:pt x="74052" y="14052"/>
                          <a:pt x="73605" y="12947"/>
                          <a:pt x="73605" y="12947"/>
                        </a:cubicBezTo>
                        <a:cubicBezTo>
                          <a:pt x="73605" y="12947"/>
                          <a:pt x="72713" y="12631"/>
                          <a:pt x="72713" y="12631"/>
                        </a:cubicBezTo>
                        <a:cubicBezTo>
                          <a:pt x="72490" y="12473"/>
                          <a:pt x="71821" y="12157"/>
                          <a:pt x="71598" y="12315"/>
                        </a:cubicBezTo>
                        <a:cubicBezTo>
                          <a:pt x="71375" y="12473"/>
                          <a:pt x="70929" y="12947"/>
                          <a:pt x="71375" y="13263"/>
                        </a:cubicBezTo>
                        <a:cubicBezTo>
                          <a:pt x="71821" y="13736"/>
                          <a:pt x="72267" y="14052"/>
                          <a:pt x="72044" y="14052"/>
                        </a:cubicBezTo>
                        <a:cubicBezTo>
                          <a:pt x="71598" y="14210"/>
                          <a:pt x="71375" y="14368"/>
                          <a:pt x="71152" y="14210"/>
                        </a:cubicBezTo>
                        <a:cubicBezTo>
                          <a:pt x="70929" y="14210"/>
                          <a:pt x="70483" y="13894"/>
                          <a:pt x="69814" y="14052"/>
                        </a:cubicBezTo>
                        <a:cubicBezTo>
                          <a:pt x="69144" y="14210"/>
                          <a:pt x="68475" y="15157"/>
                          <a:pt x="68475" y="15157"/>
                        </a:cubicBezTo>
                        <a:cubicBezTo>
                          <a:pt x="68475" y="15157"/>
                          <a:pt x="69144" y="16105"/>
                          <a:pt x="69368" y="16263"/>
                        </a:cubicBezTo>
                        <a:cubicBezTo>
                          <a:pt x="69591" y="16263"/>
                          <a:pt x="69814" y="16578"/>
                          <a:pt x="69814" y="16894"/>
                        </a:cubicBezTo>
                        <a:cubicBezTo>
                          <a:pt x="69591" y="17210"/>
                          <a:pt x="69814" y="16736"/>
                          <a:pt x="69368" y="16894"/>
                        </a:cubicBezTo>
                        <a:cubicBezTo>
                          <a:pt x="68698" y="17052"/>
                          <a:pt x="68475" y="17210"/>
                          <a:pt x="68029" y="17210"/>
                        </a:cubicBezTo>
                        <a:cubicBezTo>
                          <a:pt x="67583" y="17210"/>
                          <a:pt x="66468" y="18157"/>
                          <a:pt x="66468" y="18157"/>
                        </a:cubicBezTo>
                        <a:cubicBezTo>
                          <a:pt x="67137" y="18789"/>
                          <a:pt x="67137" y="18789"/>
                          <a:pt x="67137" y="18789"/>
                        </a:cubicBezTo>
                        <a:cubicBezTo>
                          <a:pt x="67137" y="18789"/>
                          <a:pt x="65353" y="19263"/>
                          <a:pt x="64907" y="19421"/>
                        </a:cubicBezTo>
                        <a:cubicBezTo>
                          <a:pt x="64684" y="19421"/>
                          <a:pt x="65576" y="19263"/>
                          <a:pt x="64460" y="19421"/>
                        </a:cubicBezTo>
                        <a:cubicBezTo>
                          <a:pt x="63568" y="19736"/>
                          <a:pt x="62899" y="20368"/>
                          <a:pt x="62676" y="20684"/>
                        </a:cubicBezTo>
                        <a:cubicBezTo>
                          <a:pt x="62676" y="20842"/>
                          <a:pt x="61784" y="20842"/>
                          <a:pt x="61784" y="21315"/>
                        </a:cubicBezTo>
                        <a:cubicBezTo>
                          <a:pt x="61784" y="21631"/>
                          <a:pt x="62007" y="22263"/>
                          <a:pt x="61784" y="22421"/>
                        </a:cubicBezTo>
                        <a:cubicBezTo>
                          <a:pt x="61784" y="22578"/>
                          <a:pt x="61784" y="22578"/>
                          <a:pt x="61784" y="22894"/>
                        </a:cubicBezTo>
                        <a:cubicBezTo>
                          <a:pt x="61784" y="23210"/>
                          <a:pt x="61561" y="23526"/>
                          <a:pt x="62230" y="23526"/>
                        </a:cubicBezTo>
                        <a:cubicBezTo>
                          <a:pt x="62899" y="23526"/>
                          <a:pt x="63791" y="23210"/>
                          <a:pt x="64014" y="23052"/>
                        </a:cubicBezTo>
                        <a:cubicBezTo>
                          <a:pt x="64014" y="22894"/>
                          <a:pt x="64237" y="22263"/>
                          <a:pt x="64460" y="22578"/>
                        </a:cubicBezTo>
                        <a:cubicBezTo>
                          <a:pt x="64907" y="22736"/>
                          <a:pt x="64907" y="23368"/>
                          <a:pt x="64907" y="23368"/>
                        </a:cubicBezTo>
                        <a:cubicBezTo>
                          <a:pt x="64907" y="23368"/>
                          <a:pt x="64907" y="24000"/>
                          <a:pt x="64907" y="24157"/>
                        </a:cubicBezTo>
                        <a:cubicBezTo>
                          <a:pt x="64684" y="24473"/>
                          <a:pt x="66245" y="24157"/>
                          <a:pt x="64684" y="24631"/>
                        </a:cubicBezTo>
                        <a:cubicBezTo>
                          <a:pt x="63122" y="25263"/>
                          <a:pt x="62676" y="25263"/>
                          <a:pt x="62676" y="25421"/>
                        </a:cubicBezTo>
                        <a:cubicBezTo>
                          <a:pt x="62676" y="25736"/>
                          <a:pt x="63568" y="26526"/>
                          <a:pt x="62453" y="26210"/>
                        </a:cubicBezTo>
                        <a:cubicBezTo>
                          <a:pt x="61338" y="26052"/>
                          <a:pt x="61338" y="26210"/>
                          <a:pt x="61338" y="26052"/>
                        </a:cubicBezTo>
                        <a:cubicBezTo>
                          <a:pt x="61115" y="25894"/>
                          <a:pt x="61561" y="26842"/>
                          <a:pt x="60223" y="25421"/>
                        </a:cubicBezTo>
                        <a:cubicBezTo>
                          <a:pt x="58884" y="24000"/>
                          <a:pt x="58884" y="24157"/>
                          <a:pt x="58884" y="23842"/>
                        </a:cubicBezTo>
                        <a:cubicBezTo>
                          <a:pt x="58884" y="23526"/>
                          <a:pt x="58661" y="22421"/>
                          <a:pt x="58661" y="22421"/>
                        </a:cubicBezTo>
                        <a:cubicBezTo>
                          <a:pt x="58661" y="22421"/>
                          <a:pt x="58438" y="21315"/>
                          <a:pt x="57769" y="21789"/>
                        </a:cubicBezTo>
                        <a:cubicBezTo>
                          <a:pt x="56877" y="22263"/>
                          <a:pt x="56877" y="23052"/>
                          <a:pt x="56877" y="23052"/>
                        </a:cubicBezTo>
                        <a:cubicBezTo>
                          <a:pt x="56877" y="23052"/>
                          <a:pt x="55762" y="23842"/>
                          <a:pt x="55539" y="24000"/>
                        </a:cubicBezTo>
                        <a:cubicBezTo>
                          <a:pt x="55315" y="24000"/>
                          <a:pt x="54869" y="24000"/>
                          <a:pt x="54200" y="24315"/>
                        </a:cubicBezTo>
                        <a:cubicBezTo>
                          <a:pt x="53754" y="24789"/>
                          <a:pt x="52193" y="26368"/>
                          <a:pt x="52193" y="26368"/>
                        </a:cubicBezTo>
                        <a:cubicBezTo>
                          <a:pt x="52193" y="26368"/>
                          <a:pt x="51301" y="27473"/>
                          <a:pt x="51524" y="27789"/>
                        </a:cubicBezTo>
                        <a:cubicBezTo>
                          <a:pt x="51747" y="28105"/>
                          <a:pt x="52416" y="28578"/>
                          <a:pt x="52416" y="28578"/>
                        </a:cubicBezTo>
                        <a:cubicBezTo>
                          <a:pt x="52416" y="28578"/>
                          <a:pt x="52639" y="28421"/>
                          <a:pt x="52639" y="28894"/>
                        </a:cubicBezTo>
                        <a:cubicBezTo>
                          <a:pt x="52639" y="29368"/>
                          <a:pt x="53754" y="29526"/>
                          <a:pt x="53754" y="29526"/>
                        </a:cubicBezTo>
                        <a:cubicBezTo>
                          <a:pt x="53754" y="29526"/>
                          <a:pt x="54200" y="29684"/>
                          <a:pt x="53754" y="30000"/>
                        </a:cubicBezTo>
                        <a:cubicBezTo>
                          <a:pt x="53085" y="30315"/>
                          <a:pt x="51301" y="30473"/>
                          <a:pt x="51301" y="30473"/>
                        </a:cubicBezTo>
                        <a:cubicBezTo>
                          <a:pt x="49516" y="30473"/>
                          <a:pt x="49516" y="30473"/>
                          <a:pt x="49516" y="30473"/>
                        </a:cubicBezTo>
                        <a:cubicBezTo>
                          <a:pt x="49516" y="30473"/>
                          <a:pt x="48624" y="31263"/>
                          <a:pt x="48401" y="31263"/>
                        </a:cubicBezTo>
                        <a:cubicBezTo>
                          <a:pt x="47955" y="31421"/>
                          <a:pt x="47286" y="31736"/>
                          <a:pt x="47063" y="32210"/>
                        </a:cubicBezTo>
                        <a:cubicBezTo>
                          <a:pt x="47063" y="32526"/>
                          <a:pt x="45055" y="33789"/>
                          <a:pt x="45055" y="33789"/>
                        </a:cubicBezTo>
                        <a:cubicBezTo>
                          <a:pt x="45055" y="33789"/>
                          <a:pt x="45055" y="34263"/>
                          <a:pt x="45055" y="34421"/>
                        </a:cubicBezTo>
                        <a:cubicBezTo>
                          <a:pt x="45055" y="34578"/>
                          <a:pt x="44163" y="34894"/>
                          <a:pt x="44609" y="35052"/>
                        </a:cubicBezTo>
                        <a:cubicBezTo>
                          <a:pt x="45055" y="35210"/>
                          <a:pt x="45724" y="35368"/>
                          <a:pt x="46171" y="34736"/>
                        </a:cubicBezTo>
                        <a:cubicBezTo>
                          <a:pt x="46617" y="34263"/>
                          <a:pt x="46617" y="33473"/>
                          <a:pt x="46617" y="33473"/>
                        </a:cubicBezTo>
                        <a:cubicBezTo>
                          <a:pt x="46617" y="33473"/>
                          <a:pt x="47063" y="33157"/>
                          <a:pt x="47509" y="33157"/>
                        </a:cubicBezTo>
                        <a:cubicBezTo>
                          <a:pt x="48178" y="33157"/>
                          <a:pt x="48847" y="32684"/>
                          <a:pt x="49516" y="32526"/>
                        </a:cubicBezTo>
                        <a:cubicBezTo>
                          <a:pt x="50185" y="32526"/>
                          <a:pt x="51078" y="31736"/>
                          <a:pt x="51301" y="31736"/>
                        </a:cubicBezTo>
                        <a:cubicBezTo>
                          <a:pt x="51747" y="31736"/>
                          <a:pt x="51524" y="31894"/>
                          <a:pt x="52416" y="31736"/>
                        </a:cubicBezTo>
                        <a:cubicBezTo>
                          <a:pt x="53308" y="31736"/>
                          <a:pt x="54200" y="31736"/>
                          <a:pt x="54423" y="31578"/>
                        </a:cubicBezTo>
                        <a:cubicBezTo>
                          <a:pt x="54869" y="31421"/>
                          <a:pt x="56654" y="32210"/>
                          <a:pt x="56877" y="32368"/>
                        </a:cubicBezTo>
                        <a:cubicBezTo>
                          <a:pt x="56877" y="32526"/>
                          <a:pt x="55315" y="32684"/>
                          <a:pt x="55985" y="33000"/>
                        </a:cubicBezTo>
                        <a:cubicBezTo>
                          <a:pt x="56877" y="33315"/>
                          <a:pt x="56877" y="33473"/>
                          <a:pt x="57100" y="33473"/>
                        </a:cubicBezTo>
                        <a:cubicBezTo>
                          <a:pt x="57323" y="33473"/>
                          <a:pt x="57769" y="33315"/>
                          <a:pt x="58438" y="33157"/>
                        </a:cubicBezTo>
                        <a:cubicBezTo>
                          <a:pt x="58884" y="32842"/>
                          <a:pt x="57992" y="32368"/>
                          <a:pt x="59330" y="32684"/>
                        </a:cubicBezTo>
                        <a:cubicBezTo>
                          <a:pt x="60446" y="33000"/>
                          <a:pt x="60446" y="33315"/>
                          <a:pt x="60446" y="33315"/>
                        </a:cubicBezTo>
                        <a:cubicBezTo>
                          <a:pt x="60223" y="33631"/>
                          <a:pt x="60223" y="33631"/>
                          <a:pt x="60223" y="33631"/>
                        </a:cubicBezTo>
                        <a:cubicBezTo>
                          <a:pt x="59330" y="33789"/>
                          <a:pt x="59330" y="33789"/>
                          <a:pt x="59330" y="33789"/>
                        </a:cubicBezTo>
                        <a:cubicBezTo>
                          <a:pt x="57992" y="33631"/>
                          <a:pt x="57992" y="33631"/>
                          <a:pt x="57992" y="33631"/>
                        </a:cubicBezTo>
                        <a:cubicBezTo>
                          <a:pt x="57100" y="33947"/>
                          <a:pt x="57100" y="33947"/>
                          <a:pt x="57100" y="33947"/>
                        </a:cubicBezTo>
                        <a:cubicBezTo>
                          <a:pt x="57100" y="33947"/>
                          <a:pt x="56877" y="34105"/>
                          <a:pt x="56654" y="34105"/>
                        </a:cubicBezTo>
                        <a:cubicBezTo>
                          <a:pt x="56654" y="34105"/>
                          <a:pt x="54646" y="34263"/>
                          <a:pt x="54646" y="34263"/>
                        </a:cubicBezTo>
                        <a:cubicBezTo>
                          <a:pt x="53754" y="35210"/>
                          <a:pt x="53754" y="35210"/>
                          <a:pt x="53754" y="35210"/>
                        </a:cubicBezTo>
                        <a:cubicBezTo>
                          <a:pt x="53754" y="35210"/>
                          <a:pt x="54423" y="35842"/>
                          <a:pt x="54423" y="35842"/>
                        </a:cubicBezTo>
                        <a:cubicBezTo>
                          <a:pt x="54646" y="35842"/>
                          <a:pt x="55985" y="35526"/>
                          <a:pt x="55985" y="35684"/>
                        </a:cubicBezTo>
                        <a:cubicBezTo>
                          <a:pt x="56208" y="35684"/>
                          <a:pt x="56431" y="36000"/>
                          <a:pt x="56208" y="36157"/>
                        </a:cubicBezTo>
                        <a:cubicBezTo>
                          <a:pt x="56208" y="36315"/>
                          <a:pt x="55315" y="36789"/>
                          <a:pt x="55315" y="36789"/>
                        </a:cubicBezTo>
                        <a:cubicBezTo>
                          <a:pt x="54869" y="37421"/>
                          <a:pt x="54869" y="37421"/>
                          <a:pt x="54869" y="37421"/>
                        </a:cubicBezTo>
                        <a:cubicBezTo>
                          <a:pt x="54869" y="37421"/>
                          <a:pt x="55762" y="37578"/>
                          <a:pt x="55985" y="37578"/>
                        </a:cubicBezTo>
                        <a:cubicBezTo>
                          <a:pt x="55985" y="37578"/>
                          <a:pt x="57323" y="37578"/>
                          <a:pt x="57100" y="37736"/>
                        </a:cubicBezTo>
                        <a:cubicBezTo>
                          <a:pt x="57100" y="37736"/>
                          <a:pt x="55092" y="37894"/>
                          <a:pt x="55092" y="37894"/>
                        </a:cubicBezTo>
                        <a:cubicBezTo>
                          <a:pt x="55092" y="37894"/>
                          <a:pt x="53308" y="37736"/>
                          <a:pt x="53531" y="37736"/>
                        </a:cubicBezTo>
                        <a:cubicBezTo>
                          <a:pt x="53531" y="37894"/>
                          <a:pt x="53308" y="38210"/>
                          <a:pt x="53308" y="38368"/>
                        </a:cubicBezTo>
                        <a:cubicBezTo>
                          <a:pt x="53308" y="38368"/>
                          <a:pt x="52862" y="38842"/>
                          <a:pt x="52862" y="38842"/>
                        </a:cubicBezTo>
                        <a:cubicBezTo>
                          <a:pt x="52639" y="38842"/>
                          <a:pt x="52193" y="38842"/>
                          <a:pt x="51970" y="39000"/>
                        </a:cubicBezTo>
                        <a:cubicBezTo>
                          <a:pt x="51970" y="39157"/>
                          <a:pt x="51747" y="39473"/>
                          <a:pt x="51747" y="39789"/>
                        </a:cubicBezTo>
                        <a:cubicBezTo>
                          <a:pt x="51747" y="39947"/>
                          <a:pt x="52416" y="40421"/>
                          <a:pt x="52416" y="40421"/>
                        </a:cubicBezTo>
                        <a:cubicBezTo>
                          <a:pt x="52193" y="40736"/>
                          <a:pt x="52193" y="40736"/>
                          <a:pt x="52193" y="40736"/>
                        </a:cubicBezTo>
                        <a:cubicBezTo>
                          <a:pt x="51301" y="41368"/>
                          <a:pt x="51301" y="41368"/>
                          <a:pt x="51301" y="41368"/>
                        </a:cubicBezTo>
                        <a:cubicBezTo>
                          <a:pt x="51301" y="41368"/>
                          <a:pt x="50855" y="41526"/>
                          <a:pt x="50855" y="41684"/>
                        </a:cubicBezTo>
                        <a:cubicBezTo>
                          <a:pt x="51078" y="41684"/>
                          <a:pt x="50185" y="42000"/>
                          <a:pt x="50185" y="42000"/>
                        </a:cubicBezTo>
                        <a:cubicBezTo>
                          <a:pt x="48624" y="42631"/>
                          <a:pt x="48624" y="42631"/>
                          <a:pt x="48624" y="42631"/>
                        </a:cubicBezTo>
                        <a:cubicBezTo>
                          <a:pt x="48624" y="42631"/>
                          <a:pt x="48847" y="43105"/>
                          <a:pt x="48847" y="43263"/>
                        </a:cubicBezTo>
                        <a:cubicBezTo>
                          <a:pt x="48847" y="43263"/>
                          <a:pt x="49516" y="43578"/>
                          <a:pt x="49070" y="43894"/>
                        </a:cubicBezTo>
                        <a:cubicBezTo>
                          <a:pt x="48624" y="44052"/>
                          <a:pt x="48178" y="44210"/>
                          <a:pt x="47955" y="44368"/>
                        </a:cubicBezTo>
                        <a:cubicBezTo>
                          <a:pt x="47955" y="44368"/>
                          <a:pt x="47509" y="44526"/>
                          <a:pt x="47509" y="45000"/>
                        </a:cubicBezTo>
                        <a:cubicBezTo>
                          <a:pt x="47732" y="45315"/>
                          <a:pt x="47286" y="45789"/>
                          <a:pt x="47063" y="45789"/>
                        </a:cubicBezTo>
                        <a:cubicBezTo>
                          <a:pt x="47063" y="45789"/>
                          <a:pt x="46617" y="45947"/>
                          <a:pt x="46617" y="46421"/>
                        </a:cubicBezTo>
                        <a:cubicBezTo>
                          <a:pt x="46840" y="46736"/>
                          <a:pt x="46617" y="47842"/>
                          <a:pt x="46617" y="47842"/>
                        </a:cubicBezTo>
                        <a:cubicBezTo>
                          <a:pt x="46617" y="47842"/>
                          <a:pt x="47286" y="48473"/>
                          <a:pt x="47509" y="48473"/>
                        </a:cubicBezTo>
                        <a:cubicBezTo>
                          <a:pt x="47509" y="48473"/>
                          <a:pt x="48624" y="48157"/>
                          <a:pt x="48847" y="48315"/>
                        </a:cubicBezTo>
                        <a:cubicBezTo>
                          <a:pt x="49293" y="48315"/>
                          <a:pt x="49962" y="48631"/>
                          <a:pt x="49962" y="48631"/>
                        </a:cubicBezTo>
                        <a:cubicBezTo>
                          <a:pt x="49962" y="48631"/>
                          <a:pt x="49739" y="49421"/>
                          <a:pt x="49516" y="49578"/>
                        </a:cubicBezTo>
                        <a:cubicBezTo>
                          <a:pt x="49293" y="49578"/>
                          <a:pt x="47955" y="49736"/>
                          <a:pt x="47955" y="49736"/>
                        </a:cubicBezTo>
                        <a:cubicBezTo>
                          <a:pt x="47955" y="49736"/>
                          <a:pt x="47286" y="49421"/>
                          <a:pt x="47063" y="49421"/>
                        </a:cubicBezTo>
                        <a:cubicBezTo>
                          <a:pt x="46840" y="49578"/>
                          <a:pt x="45724" y="50368"/>
                          <a:pt x="45724" y="50368"/>
                        </a:cubicBezTo>
                        <a:cubicBezTo>
                          <a:pt x="45724" y="50368"/>
                          <a:pt x="45724" y="50842"/>
                          <a:pt x="45501" y="50842"/>
                        </a:cubicBezTo>
                        <a:cubicBezTo>
                          <a:pt x="45055" y="51000"/>
                          <a:pt x="44832" y="50684"/>
                          <a:pt x="44832" y="51000"/>
                        </a:cubicBezTo>
                        <a:cubicBezTo>
                          <a:pt x="44832" y="51157"/>
                          <a:pt x="44832" y="51631"/>
                          <a:pt x="44832" y="51789"/>
                        </a:cubicBezTo>
                        <a:cubicBezTo>
                          <a:pt x="44832" y="52105"/>
                          <a:pt x="44832" y="52578"/>
                          <a:pt x="44832" y="52578"/>
                        </a:cubicBezTo>
                        <a:cubicBezTo>
                          <a:pt x="44832" y="52578"/>
                          <a:pt x="44386" y="53210"/>
                          <a:pt x="44163" y="53526"/>
                        </a:cubicBezTo>
                        <a:cubicBezTo>
                          <a:pt x="43940" y="53842"/>
                          <a:pt x="43494" y="54631"/>
                          <a:pt x="43494" y="54789"/>
                        </a:cubicBezTo>
                        <a:cubicBezTo>
                          <a:pt x="43717" y="54947"/>
                          <a:pt x="44163" y="55736"/>
                          <a:pt x="44163" y="55736"/>
                        </a:cubicBezTo>
                        <a:cubicBezTo>
                          <a:pt x="42602" y="56368"/>
                          <a:pt x="42602" y="56368"/>
                          <a:pt x="42602" y="56368"/>
                        </a:cubicBezTo>
                        <a:cubicBezTo>
                          <a:pt x="43048" y="57157"/>
                          <a:pt x="43048" y="57157"/>
                          <a:pt x="43048" y="57157"/>
                        </a:cubicBezTo>
                        <a:cubicBezTo>
                          <a:pt x="43048" y="57157"/>
                          <a:pt x="43271" y="57157"/>
                          <a:pt x="43271" y="57315"/>
                        </a:cubicBezTo>
                        <a:cubicBezTo>
                          <a:pt x="43271" y="57631"/>
                          <a:pt x="42156" y="58105"/>
                          <a:pt x="42156" y="58105"/>
                        </a:cubicBezTo>
                        <a:cubicBezTo>
                          <a:pt x="42156" y="58105"/>
                          <a:pt x="42156" y="58894"/>
                          <a:pt x="42156" y="59052"/>
                        </a:cubicBezTo>
                        <a:cubicBezTo>
                          <a:pt x="42156" y="59210"/>
                          <a:pt x="41040" y="58578"/>
                          <a:pt x="41040" y="58578"/>
                        </a:cubicBezTo>
                        <a:cubicBezTo>
                          <a:pt x="40148" y="58736"/>
                          <a:pt x="40148" y="58736"/>
                          <a:pt x="40148" y="58736"/>
                        </a:cubicBezTo>
                        <a:cubicBezTo>
                          <a:pt x="40148" y="59368"/>
                          <a:pt x="40148" y="59368"/>
                          <a:pt x="40148" y="59368"/>
                        </a:cubicBezTo>
                        <a:cubicBezTo>
                          <a:pt x="39702" y="60000"/>
                          <a:pt x="39702" y="60000"/>
                          <a:pt x="39702" y="60000"/>
                        </a:cubicBezTo>
                        <a:cubicBezTo>
                          <a:pt x="38141" y="60000"/>
                          <a:pt x="38141" y="60000"/>
                          <a:pt x="38141" y="60000"/>
                        </a:cubicBezTo>
                        <a:cubicBezTo>
                          <a:pt x="38141" y="60000"/>
                          <a:pt x="36802" y="60631"/>
                          <a:pt x="36802" y="60631"/>
                        </a:cubicBezTo>
                        <a:cubicBezTo>
                          <a:pt x="37026" y="60789"/>
                          <a:pt x="36356" y="61263"/>
                          <a:pt x="37026" y="61263"/>
                        </a:cubicBezTo>
                        <a:cubicBezTo>
                          <a:pt x="37472" y="61263"/>
                          <a:pt x="37695" y="61263"/>
                          <a:pt x="37918" y="61263"/>
                        </a:cubicBezTo>
                        <a:cubicBezTo>
                          <a:pt x="38364" y="61105"/>
                          <a:pt x="39256" y="60789"/>
                          <a:pt x="39479" y="60789"/>
                        </a:cubicBezTo>
                        <a:cubicBezTo>
                          <a:pt x="39702" y="60789"/>
                          <a:pt x="40371" y="60789"/>
                          <a:pt x="39925" y="61105"/>
                        </a:cubicBezTo>
                        <a:cubicBezTo>
                          <a:pt x="39479" y="61421"/>
                          <a:pt x="39033" y="61421"/>
                          <a:pt x="38810" y="61578"/>
                        </a:cubicBezTo>
                        <a:cubicBezTo>
                          <a:pt x="38364" y="61736"/>
                          <a:pt x="37695" y="61736"/>
                          <a:pt x="37695" y="62210"/>
                        </a:cubicBezTo>
                        <a:cubicBezTo>
                          <a:pt x="37695" y="62684"/>
                          <a:pt x="37472" y="63157"/>
                          <a:pt x="37472" y="63157"/>
                        </a:cubicBezTo>
                        <a:cubicBezTo>
                          <a:pt x="39033" y="62842"/>
                          <a:pt x="39033" y="62842"/>
                          <a:pt x="39033" y="62842"/>
                        </a:cubicBezTo>
                        <a:cubicBezTo>
                          <a:pt x="39033" y="62842"/>
                          <a:pt x="39479" y="62684"/>
                          <a:pt x="39479" y="63157"/>
                        </a:cubicBezTo>
                        <a:cubicBezTo>
                          <a:pt x="39702" y="63789"/>
                          <a:pt x="39033" y="63947"/>
                          <a:pt x="38587" y="63947"/>
                        </a:cubicBezTo>
                        <a:cubicBezTo>
                          <a:pt x="38364" y="63947"/>
                          <a:pt x="37249" y="63315"/>
                          <a:pt x="37249" y="63315"/>
                        </a:cubicBezTo>
                        <a:cubicBezTo>
                          <a:pt x="36356" y="63789"/>
                          <a:pt x="36356" y="63789"/>
                          <a:pt x="36356" y="63789"/>
                        </a:cubicBezTo>
                        <a:cubicBezTo>
                          <a:pt x="36356" y="63789"/>
                          <a:pt x="36133" y="63631"/>
                          <a:pt x="35241" y="64105"/>
                        </a:cubicBezTo>
                        <a:cubicBezTo>
                          <a:pt x="34349" y="64736"/>
                          <a:pt x="33903" y="65526"/>
                          <a:pt x="33903" y="65684"/>
                        </a:cubicBezTo>
                        <a:cubicBezTo>
                          <a:pt x="33903" y="65842"/>
                          <a:pt x="33903" y="66157"/>
                          <a:pt x="33234" y="66473"/>
                        </a:cubicBezTo>
                        <a:cubicBezTo>
                          <a:pt x="32788" y="66631"/>
                          <a:pt x="32118" y="67105"/>
                          <a:pt x="32118" y="67105"/>
                        </a:cubicBezTo>
                        <a:cubicBezTo>
                          <a:pt x="32118" y="67105"/>
                          <a:pt x="31895" y="67578"/>
                          <a:pt x="31672" y="67894"/>
                        </a:cubicBezTo>
                        <a:cubicBezTo>
                          <a:pt x="31449" y="68210"/>
                          <a:pt x="31449" y="68210"/>
                          <a:pt x="31449" y="68210"/>
                        </a:cubicBezTo>
                        <a:cubicBezTo>
                          <a:pt x="32342" y="68842"/>
                          <a:pt x="32342" y="68842"/>
                          <a:pt x="32342" y="68842"/>
                        </a:cubicBezTo>
                        <a:cubicBezTo>
                          <a:pt x="30780" y="69473"/>
                          <a:pt x="30780" y="69473"/>
                          <a:pt x="30780" y="69473"/>
                        </a:cubicBezTo>
                        <a:cubicBezTo>
                          <a:pt x="30111" y="69789"/>
                          <a:pt x="30111" y="69789"/>
                          <a:pt x="30111" y="69789"/>
                        </a:cubicBezTo>
                        <a:cubicBezTo>
                          <a:pt x="30111" y="69789"/>
                          <a:pt x="28773" y="70736"/>
                          <a:pt x="29665" y="70894"/>
                        </a:cubicBezTo>
                        <a:cubicBezTo>
                          <a:pt x="30780" y="71052"/>
                          <a:pt x="31449" y="71052"/>
                          <a:pt x="31449" y="71052"/>
                        </a:cubicBezTo>
                        <a:cubicBezTo>
                          <a:pt x="31449" y="71052"/>
                          <a:pt x="31226" y="72000"/>
                          <a:pt x="31449" y="72000"/>
                        </a:cubicBezTo>
                        <a:cubicBezTo>
                          <a:pt x="31672" y="72000"/>
                          <a:pt x="33680" y="72000"/>
                          <a:pt x="33680" y="72000"/>
                        </a:cubicBezTo>
                        <a:cubicBezTo>
                          <a:pt x="34795" y="71368"/>
                          <a:pt x="34795" y="71368"/>
                          <a:pt x="34795" y="71368"/>
                        </a:cubicBezTo>
                        <a:cubicBezTo>
                          <a:pt x="35464" y="71052"/>
                          <a:pt x="35464" y="71052"/>
                          <a:pt x="35464" y="71052"/>
                        </a:cubicBezTo>
                        <a:cubicBezTo>
                          <a:pt x="35910" y="71684"/>
                          <a:pt x="35910" y="71684"/>
                          <a:pt x="35910" y="71684"/>
                        </a:cubicBezTo>
                        <a:cubicBezTo>
                          <a:pt x="35910" y="71684"/>
                          <a:pt x="35464" y="72157"/>
                          <a:pt x="35018" y="72157"/>
                        </a:cubicBezTo>
                        <a:cubicBezTo>
                          <a:pt x="34349" y="72157"/>
                          <a:pt x="34572" y="72157"/>
                          <a:pt x="34126" y="72473"/>
                        </a:cubicBezTo>
                        <a:cubicBezTo>
                          <a:pt x="33457" y="72947"/>
                          <a:pt x="33234" y="73105"/>
                          <a:pt x="32788" y="73105"/>
                        </a:cubicBezTo>
                        <a:cubicBezTo>
                          <a:pt x="32565" y="73105"/>
                          <a:pt x="32118" y="73578"/>
                          <a:pt x="31672" y="72947"/>
                        </a:cubicBezTo>
                        <a:cubicBezTo>
                          <a:pt x="31449" y="72473"/>
                          <a:pt x="31003" y="72000"/>
                          <a:pt x="31003" y="72000"/>
                        </a:cubicBezTo>
                        <a:cubicBezTo>
                          <a:pt x="28996" y="71368"/>
                          <a:pt x="28996" y="71368"/>
                          <a:pt x="28996" y="71368"/>
                        </a:cubicBezTo>
                        <a:cubicBezTo>
                          <a:pt x="28550" y="71526"/>
                          <a:pt x="28550" y="71526"/>
                          <a:pt x="28550" y="71526"/>
                        </a:cubicBezTo>
                        <a:cubicBezTo>
                          <a:pt x="28550" y="71526"/>
                          <a:pt x="28327" y="72157"/>
                          <a:pt x="28104" y="72157"/>
                        </a:cubicBezTo>
                        <a:cubicBezTo>
                          <a:pt x="27881" y="72157"/>
                          <a:pt x="26542" y="72157"/>
                          <a:pt x="26096" y="72157"/>
                        </a:cubicBezTo>
                        <a:cubicBezTo>
                          <a:pt x="25873" y="72157"/>
                          <a:pt x="25427" y="72157"/>
                          <a:pt x="25427" y="72000"/>
                        </a:cubicBezTo>
                        <a:cubicBezTo>
                          <a:pt x="25204" y="71684"/>
                          <a:pt x="25427" y="71684"/>
                          <a:pt x="25204" y="71526"/>
                        </a:cubicBezTo>
                        <a:cubicBezTo>
                          <a:pt x="24981" y="71368"/>
                          <a:pt x="24535" y="70736"/>
                          <a:pt x="24089" y="70894"/>
                        </a:cubicBezTo>
                        <a:cubicBezTo>
                          <a:pt x="23866" y="70894"/>
                          <a:pt x="22750" y="71210"/>
                          <a:pt x="22750" y="71210"/>
                        </a:cubicBezTo>
                        <a:cubicBezTo>
                          <a:pt x="22527" y="72473"/>
                          <a:pt x="22527" y="72473"/>
                          <a:pt x="22527" y="72473"/>
                        </a:cubicBezTo>
                        <a:cubicBezTo>
                          <a:pt x="22527" y="72473"/>
                          <a:pt x="21858" y="72473"/>
                          <a:pt x="22081" y="72789"/>
                        </a:cubicBezTo>
                        <a:cubicBezTo>
                          <a:pt x="22081" y="73105"/>
                          <a:pt x="22973" y="73421"/>
                          <a:pt x="22973" y="73421"/>
                        </a:cubicBezTo>
                        <a:cubicBezTo>
                          <a:pt x="22973" y="73421"/>
                          <a:pt x="23420" y="73736"/>
                          <a:pt x="23420" y="73894"/>
                        </a:cubicBezTo>
                        <a:cubicBezTo>
                          <a:pt x="23643" y="74210"/>
                          <a:pt x="22973" y="74526"/>
                          <a:pt x="22973" y="74526"/>
                        </a:cubicBezTo>
                        <a:cubicBezTo>
                          <a:pt x="22973" y="74526"/>
                          <a:pt x="21858" y="74526"/>
                          <a:pt x="21635" y="74842"/>
                        </a:cubicBezTo>
                        <a:cubicBezTo>
                          <a:pt x="21635" y="75000"/>
                          <a:pt x="21858" y="75473"/>
                          <a:pt x="21635" y="75473"/>
                        </a:cubicBezTo>
                        <a:cubicBezTo>
                          <a:pt x="21412" y="75631"/>
                          <a:pt x="21189" y="75947"/>
                          <a:pt x="21189" y="76105"/>
                        </a:cubicBezTo>
                        <a:cubicBezTo>
                          <a:pt x="21189" y="76105"/>
                          <a:pt x="21635" y="76894"/>
                          <a:pt x="21635" y="76894"/>
                        </a:cubicBezTo>
                        <a:cubicBezTo>
                          <a:pt x="21635" y="76894"/>
                          <a:pt x="21635" y="77526"/>
                          <a:pt x="21189" y="77210"/>
                        </a:cubicBezTo>
                        <a:cubicBezTo>
                          <a:pt x="20743" y="76894"/>
                          <a:pt x="19405" y="76421"/>
                          <a:pt x="19405" y="76421"/>
                        </a:cubicBezTo>
                        <a:cubicBezTo>
                          <a:pt x="18513" y="75947"/>
                          <a:pt x="18513" y="75947"/>
                          <a:pt x="18513" y="75947"/>
                        </a:cubicBezTo>
                        <a:cubicBezTo>
                          <a:pt x="18513" y="75947"/>
                          <a:pt x="17620" y="76421"/>
                          <a:pt x="17397" y="76421"/>
                        </a:cubicBezTo>
                        <a:cubicBezTo>
                          <a:pt x="17397" y="76578"/>
                          <a:pt x="15836" y="76421"/>
                          <a:pt x="15390" y="76578"/>
                        </a:cubicBezTo>
                        <a:cubicBezTo>
                          <a:pt x="15167" y="76736"/>
                          <a:pt x="15167" y="76894"/>
                          <a:pt x="14944" y="77210"/>
                        </a:cubicBezTo>
                        <a:cubicBezTo>
                          <a:pt x="14498" y="77526"/>
                          <a:pt x="13828" y="77526"/>
                          <a:pt x="14498" y="78000"/>
                        </a:cubicBezTo>
                        <a:cubicBezTo>
                          <a:pt x="14944" y="78473"/>
                          <a:pt x="16059" y="78631"/>
                          <a:pt x="16059" y="78631"/>
                        </a:cubicBezTo>
                        <a:cubicBezTo>
                          <a:pt x="16059" y="78631"/>
                          <a:pt x="16505" y="78789"/>
                          <a:pt x="16059" y="79263"/>
                        </a:cubicBezTo>
                        <a:cubicBezTo>
                          <a:pt x="15613" y="79894"/>
                          <a:pt x="14721" y="79421"/>
                          <a:pt x="14498" y="79421"/>
                        </a:cubicBezTo>
                        <a:cubicBezTo>
                          <a:pt x="14275" y="79263"/>
                          <a:pt x="13382" y="78789"/>
                          <a:pt x="13159" y="78947"/>
                        </a:cubicBezTo>
                        <a:cubicBezTo>
                          <a:pt x="12936" y="79105"/>
                          <a:pt x="12267" y="79894"/>
                          <a:pt x="12267" y="79894"/>
                        </a:cubicBezTo>
                        <a:cubicBezTo>
                          <a:pt x="12267" y="79894"/>
                          <a:pt x="11598" y="80052"/>
                          <a:pt x="11375" y="79894"/>
                        </a:cubicBezTo>
                        <a:cubicBezTo>
                          <a:pt x="11152" y="79894"/>
                          <a:pt x="10483" y="79105"/>
                          <a:pt x="10260" y="79263"/>
                        </a:cubicBezTo>
                        <a:cubicBezTo>
                          <a:pt x="10037" y="79421"/>
                          <a:pt x="9814" y="79736"/>
                          <a:pt x="9814" y="79894"/>
                        </a:cubicBezTo>
                        <a:cubicBezTo>
                          <a:pt x="9814" y="80052"/>
                          <a:pt x="10260" y="80368"/>
                          <a:pt x="10037" y="80526"/>
                        </a:cubicBezTo>
                        <a:cubicBezTo>
                          <a:pt x="10037" y="80684"/>
                          <a:pt x="8921" y="80842"/>
                          <a:pt x="8698" y="81000"/>
                        </a:cubicBezTo>
                        <a:cubicBezTo>
                          <a:pt x="8698" y="81157"/>
                          <a:pt x="8698" y="80842"/>
                          <a:pt x="8252" y="81473"/>
                        </a:cubicBezTo>
                        <a:cubicBezTo>
                          <a:pt x="8029" y="82105"/>
                          <a:pt x="8252" y="82105"/>
                          <a:pt x="8029" y="82105"/>
                        </a:cubicBezTo>
                        <a:cubicBezTo>
                          <a:pt x="7583" y="82263"/>
                          <a:pt x="6691" y="81789"/>
                          <a:pt x="6691" y="81789"/>
                        </a:cubicBezTo>
                        <a:cubicBezTo>
                          <a:pt x="6691" y="81789"/>
                          <a:pt x="6022" y="81315"/>
                          <a:pt x="6022" y="81789"/>
                        </a:cubicBezTo>
                        <a:cubicBezTo>
                          <a:pt x="6022" y="82421"/>
                          <a:pt x="5799" y="83052"/>
                          <a:pt x="5799" y="83052"/>
                        </a:cubicBezTo>
                        <a:cubicBezTo>
                          <a:pt x="6468" y="83368"/>
                          <a:pt x="6468" y="83368"/>
                          <a:pt x="6468" y="83368"/>
                        </a:cubicBezTo>
                        <a:cubicBezTo>
                          <a:pt x="6468" y="83368"/>
                          <a:pt x="6245" y="83684"/>
                          <a:pt x="6022" y="83684"/>
                        </a:cubicBezTo>
                        <a:cubicBezTo>
                          <a:pt x="6022" y="83684"/>
                          <a:pt x="5576" y="83526"/>
                          <a:pt x="5353" y="83210"/>
                        </a:cubicBezTo>
                        <a:cubicBezTo>
                          <a:pt x="5130" y="83052"/>
                          <a:pt x="5353" y="83052"/>
                          <a:pt x="4684" y="82894"/>
                        </a:cubicBezTo>
                        <a:cubicBezTo>
                          <a:pt x="4014" y="82736"/>
                          <a:pt x="3568" y="82421"/>
                          <a:pt x="3568" y="82736"/>
                        </a:cubicBezTo>
                        <a:cubicBezTo>
                          <a:pt x="3568" y="82894"/>
                          <a:pt x="3345" y="83210"/>
                          <a:pt x="3568" y="83368"/>
                        </a:cubicBezTo>
                        <a:cubicBezTo>
                          <a:pt x="3791" y="83684"/>
                          <a:pt x="4237" y="84000"/>
                          <a:pt x="4237" y="84000"/>
                        </a:cubicBezTo>
                        <a:cubicBezTo>
                          <a:pt x="4460" y="84000"/>
                          <a:pt x="4460" y="84000"/>
                          <a:pt x="4460" y="84000"/>
                        </a:cubicBezTo>
                        <a:cubicBezTo>
                          <a:pt x="4460" y="84000"/>
                          <a:pt x="4237" y="84473"/>
                          <a:pt x="4014" y="84473"/>
                        </a:cubicBezTo>
                        <a:cubicBezTo>
                          <a:pt x="3791" y="84631"/>
                          <a:pt x="3568" y="84315"/>
                          <a:pt x="3345" y="84315"/>
                        </a:cubicBezTo>
                        <a:cubicBezTo>
                          <a:pt x="3345" y="84315"/>
                          <a:pt x="2676" y="84631"/>
                          <a:pt x="2676" y="84631"/>
                        </a:cubicBezTo>
                        <a:cubicBezTo>
                          <a:pt x="2676" y="84631"/>
                          <a:pt x="2899" y="84947"/>
                          <a:pt x="2899" y="85105"/>
                        </a:cubicBezTo>
                        <a:cubicBezTo>
                          <a:pt x="2899" y="85263"/>
                          <a:pt x="2230" y="85421"/>
                          <a:pt x="2230" y="85578"/>
                        </a:cubicBezTo>
                        <a:cubicBezTo>
                          <a:pt x="2007" y="85578"/>
                          <a:pt x="1784" y="85736"/>
                          <a:pt x="1784" y="85894"/>
                        </a:cubicBezTo>
                        <a:cubicBezTo>
                          <a:pt x="1784" y="86052"/>
                          <a:pt x="2007" y="86526"/>
                          <a:pt x="2230" y="86368"/>
                        </a:cubicBezTo>
                        <a:cubicBezTo>
                          <a:pt x="2453" y="86368"/>
                          <a:pt x="3568" y="86526"/>
                          <a:pt x="3568" y="86526"/>
                        </a:cubicBezTo>
                        <a:cubicBezTo>
                          <a:pt x="3568" y="86526"/>
                          <a:pt x="3345" y="86842"/>
                          <a:pt x="3122" y="87000"/>
                        </a:cubicBezTo>
                        <a:cubicBezTo>
                          <a:pt x="2899" y="87000"/>
                          <a:pt x="2676" y="87315"/>
                          <a:pt x="2453" y="87473"/>
                        </a:cubicBezTo>
                        <a:cubicBezTo>
                          <a:pt x="2230" y="87789"/>
                          <a:pt x="2676" y="88421"/>
                          <a:pt x="3122" y="88578"/>
                        </a:cubicBezTo>
                        <a:cubicBezTo>
                          <a:pt x="3791" y="88736"/>
                          <a:pt x="4460" y="88736"/>
                          <a:pt x="4460" y="89052"/>
                        </a:cubicBezTo>
                        <a:cubicBezTo>
                          <a:pt x="4237" y="89210"/>
                          <a:pt x="3122" y="89842"/>
                          <a:pt x="2899" y="90000"/>
                        </a:cubicBezTo>
                        <a:cubicBezTo>
                          <a:pt x="2676" y="90000"/>
                          <a:pt x="2230" y="90157"/>
                          <a:pt x="2230" y="90473"/>
                        </a:cubicBezTo>
                        <a:cubicBezTo>
                          <a:pt x="2230" y="90789"/>
                          <a:pt x="2230" y="90947"/>
                          <a:pt x="1784" y="91105"/>
                        </a:cubicBezTo>
                        <a:cubicBezTo>
                          <a:pt x="1338" y="91263"/>
                          <a:pt x="1115" y="91105"/>
                          <a:pt x="1115" y="91578"/>
                        </a:cubicBezTo>
                        <a:cubicBezTo>
                          <a:pt x="1115" y="91894"/>
                          <a:pt x="1338" y="92052"/>
                          <a:pt x="1561" y="92052"/>
                        </a:cubicBezTo>
                        <a:cubicBezTo>
                          <a:pt x="1784" y="92052"/>
                          <a:pt x="1784" y="92052"/>
                          <a:pt x="1784" y="92052"/>
                        </a:cubicBezTo>
                        <a:cubicBezTo>
                          <a:pt x="3568" y="91894"/>
                          <a:pt x="3568" y="91894"/>
                          <a:pt x="3568" y="91894"/>
                        </a:cubicBezTo>
                        <a:cubicBezTo>
                          <a:pt x="3568" y="91894"/>
                          <a:pt x="3345" y="92368"/>
                          <a:pt x="3345" y="92526"/>
                        </a:cubicBezTo>
                        <a:cubicBezTo>
                          <a:pt x="3345" y="92684"/>
                          <a:pt x="2007" y="93631"/>
                          <a:pt x="2007" y="93631"/>
                        </a:cubicBezTo>
                        <a:cubicBezTo>
                          <a:pt x="2007" y="93631"/>
                          <a:pt x="2230" y="94105"/>
                          <a:pt x="2007" y="94105"/>
                        </a:cubicBezTo>
                        <a:cubicBezTo>
                          <a:pt x="1561" y="94263"/>
                          <a:pt x="1115" y="94421"/>
                          <a:pt x="892" y="94578"/>
                        </a:cubicBezTo>
                        <a:cubicBezTo>
                          <a:pt x="892" y="94736"/>
                          <a:pt x="892" y="95052"/>
                          <a:pt x="892" y="95210"/>
                        </a:cubicBezTo>
                        <a:cubicBezTo>
                          <a:pt x="1115" y="95526"/>
                          <a:pt x="1561" y="96000"/>
                          <a:pt x="1561" y="96157"/>
                        </a:cubicBezTo>
                        <a:cubicBezTo>
                          <a:pt x="1784" y="96315"/>
                          <a:pt x="1338" y="96631"/>
                          <a:pt x="1338" y="96631"/>
                        </a:cubicBezTo>
                        <a:cubicBezTo>
                          <a:pt x="892" y="97894"/>
                          <a:pt x="892" y="97894"/>
                          <a:pt x="892" y="97894"/>
                        </a:cubicBezTo>
                        <a:cubicBezTo>
                          <a:pt x="892" y="97894"/>
                          <a:pt x="892" y="98526"/>
                          <a:pt x="892" y="98684"/>
                        </a:cubicBezTo>
                        <a:cubicBezTo>
                          <a:pt x="892" y="98842"/>
                          <a:pt x="0" y="99000"/>
                          <a:pt x="446" y="99473"/>
                        </a:cubicBezTo>
                        <a:cubicBezTo>
                          <a:pt x="892" y="99789"/>
                          <a:pt x="1115" y="99947"/>
                          <a:pt x="1338" y="100105"/>
                        </a:cubicBezTo>
                        <a:cubicBezTo>
                          <a:pt x="1784" y="100105"/>
                          <a:pt x="2899" y="100105"/>
                          <a:pt x="2899" y="100263"/>
                        </a:cubicBezTo>
                        <a:cubicBezTo>
                          <a:pt x="2899" y="100263"/>
                          <a:pt x="2899" y="100421"/>
                          <a:pt x="2230" y="100578"/>
                        </a:cubicBezTo>
                        <a:cubicBezTo>
                          <a:pt x="1784" y="100578"/>
                          <a:pt x="1338" y="100421"/>
                          <a:pt x="1338" y="100736"/>
                        </a:cubicBezTo>
                        <a:cubicBezTo>
                          <a:pt x="1115" y="100894"/>
                          <a:pt x="223" y="101842"/>
                          <a:pt x="223" y="101842"/>
                        </a:cubicBezTo>
                        <a:cubicBezTo>
                          <a:pt x="1338" y="102789"/>
                          <a:pt x="1338" y="102789"/>
                          <a:pt x="1338" y="102789"/>
                        </a:cubicBezTo>
                        <a:cubicBezTo>
                          <a:pt x="1338" y="102789"/>
                          <a:pt x="1784" y="102473"/>
                          <a:pt x="2007" y="102473"/>
                        </a:cubicBezTo>
                        <a:cubicBezTo>
                          <a:pt x="2230" y="102315"/>
                          <a:pt x="2899" y="102473"/>
                          <a:pt x="2899" y="102631"/>
                        </a:cubicBezTo>
                        <a:cubicBezTo>
                          <a:pt x="2899" y="102631"/>
                          <a:pt x="2453" y="103105"/>
                          <a:pt x="2230" y="103105"/>
                        </a:cubicBezTo>
                        <a:cubicBezTo>
                          <a:pt x="2230" y="103263"/>
                          <a:pt x="1561" y="103421"/>
                          <a:pt x="1561" y="103578"/>
                        </a:cubicBezTo>
                        <a:cubicBezTo>
                          <a:pt x="1561" y="103578"/>
                          <a:pt x="2230" y="104210"/>
                          <a:pt x="2230" y="104210"/>
                        </a:cubicBezTo>
                        <a:cubicBezTo>
                          <a:pt x="2230" y="104210"/>
                          <a:pt x="2676" y="104210"/>
                          <a:pt x="2676" y="104526"/>
                        </a:cubicBezTo>
                        <a:cubicBezTo>
                          <a:pt x="2676" y="104684"/>
                          <a:pt x="1784" y="105000"/>
                          <a:pt x="1784" y="105000"/>
                        </a:cubicBezTo>
                        <a:cubicBezTo>
                          <a:pt x="2007" y="105473"/>
                          <a:pt x="2007" y="105473"/>
                          <a:pt x="2007" y="105473"/>
                        </a:cubicBezTo>
                        <a:cubicBezTo>
                          <a:pt x="1338" y="106421"/>
                          <a:pt x="1338" y="106421"/>
                          <a:pt x="1338" y="106421"/>
                        </a:cubicBezTo>
                        <a:cubicBezTo>
                          <a:pt x="2453" y="106894"/>
                          <a:pt x="2453" y="106894"/>
                          <a:pt x="2453" y="106894"/>
                        </a:cubicBezTo>
                        <a:cubicBezTo>
                          <a:pt x="2453" y="106894"/>
                          <a:pt x="3345" y="106894"/>
                          <a:pt x="3122" y="107368"/>
                        </a:cubicBezTo>
                        <a:cubicBezTo>
                          <a:pt x="2676" y="107684"/>
                          <a:pt x="2007" y="108000"/>
                          <a:pt x="2007" y="108157"/>
                        </a:cubicBezTo>
                        <a:cubicBezTo>
                          <a:pt x="2007" y="108473"/>
                          <a:pt x="1784" y="108789"/>
                          <a:pt x="2230" y="108947"/>
                        </a:cubicBezTo>
                        <a:cubicBezTo>
                          <a:pt x="2676" y="108947"/>
                          <a:pt x="2676" y="109105"/>
                          <a:pt x="2899" y="108947"/>
                        </a:cubicBezTo>
                        <a:cubicBezTo>
                          <a:pt x="3345" y="108789"/>
                          <a:pt x="3791" y="108631"/>
                          <a:pt x="3791" y="108631"/>
                        </a:cubicBezTo>
                        <a:cubicBezTo>
                          <a:pt x="3791" y="108631"/>
                          <a:pt x="4460" y="108315"/>
                          <a:pt x="4907" y="108315"/>
                        </a:cubicBezTo>
                        <a:cubicBezTo>
                          <a:pt x="5130" y="108315"/>
                          <a:pt x="5576" y="108473"/>
                          <a:pt x="5799" y="108631"/>
                        </a:cubicBezTo>
                        <a:cubicBezTo>
                          <a:pt x="5799" y="108789"/>
                          <a:pt x="5799" y="108947"/>
                          <a:pt x="6022" y="109105"/>
                        </a:cubicBezTo>
                        <a:cubicBezTo>
                          <a:pt x="6245" y="109105"/>
                          <a:pt x="5799" y="109894"/>
                          <a:pt x="5799" y="109894"/>
                        </a:cubicBezTo>
                        <a:cubicBezTo>
                          <a:pt x="5130" y="110526"/>
                          <a:pt x="5130" y="110526"/>
                          <a:pt x="5130" y="110526"/>
                        </a:cubicBezTo>
                        <a:cubicBezTo>
                          <a:pt x="5130" y="110526"/>
                          <a:pt x="5799" y="111157"/>
                          <a:pt x="5576" y="111157"/>
                        </a:cubicBezTo>
                        <a:cubicBezTo>
                          <a:pt x="5576" y="111157"/>
                          <a:pt x="4460" y="111315"/>
                          <a:pt x="4237" y="111315"/>
                        </a:cubicBezTo>
                        <a:cubicBezTo>
                          <a:pt x="4014" y="111315"/>
                          <a:pt x="3791" y="111157"/>
                          <a:pt x="3791" y="111473"/>
                        </a:cubicBezTo>
                        <a:cubicBezTo>
                          <a:pt x="3568" y="111789"/>
                          <a:pt x="2899" y="112578"/>
                          <a:pt x="2899" y="112578"/>
                        </a:cubicBezTo>
                        <a:cubicBezTo>
                          <a:pt x="2899" y="112578"/>
                          <a:pt x="2676" y="112894"/>
                          <a:pt x="2899" y="113210"/>
                        </a:cubicBezTo>
                        <a:cubicBezTo>
                          <a:pt x="3122" y="113526"/>
                          <a:pt x="4014" y="114631"/>
                          <a:pt x="4014" y="114631"/>
                        </a:cubicBezTo>
                        <a:cubicBezTo>
                          <a:pt x="4014" y="114789"/>
                          <a:pt x="4460" y="115263"/>
                          <a:pt x="5130" y="115578"/>
                        </a:cubicBezTo>
                        <a:cubicBezTo>
                          <a:pt x="5799" y="115894"/>
                          <a:pt x="6245" y="115894"/>
                          <a:pt x="6245" y="116210"/>
                        </a:cubicBezTo>
                        <a:cubicBezTo>
                          <a:pt x="6468" y="116526"/>
                          <a:pt x="6468" y="116526"/>
                          <a:pt x="6468" y="116526"/>
                        </a:cubicBezTo>
                        <a:cubicBezTo>
                          <a:pt x="7360" y="117157"/>
                          <a:pt x="7360" y="117157"/>
                          <a:pt x="7360" y="117157"/>
                        </a:cubicBezTo>
                        <a:cubicBezTo>
                          <a:pt x="7360" y="117157"/>
                          <a:pt x="7806" y="117315"/>
                          <a:pt x="8475" y="117315"/>
                        </a:cubicBezTo>
                        <a:cubicBezTo>
                          <a:pt x="9144" y="117473"/>
                          <a:pt x="10037" y="117473"/>
                          <a:pt x="10037" y="117631"/>
                        </a:cubicBezTo>
                        <a:cubicBezTo>
                          <a:pt x="10260" y="117631"/>
                          <a:pt x="9368" y="118105"/>
                          <a:pt x="9368" y="118105"/>
                        </a:cubicBezTo>
                        <a:cubicBezTo>
                          <a:pt x="9368" y="118105"/>
                          <a:pt x="8252" y="118736"/>
                          <a:pt x="8698" y="118894"/>
                        </a:cubicBezTo>
                        <a:cubicBezTo>
                          <a:pt x="9144" y="119052"/>
                          <a:pt x="12267" y="119526"/>
                          <a:pt x="12267" y="119526"/>
                        </a:cubicBezTo>
                        <a:cubicBezTo>
                          <a:pt x="12267" y="119526"/>
                          <a:pt x="12713" y="119684"/>
                          <a:pt x="12713" y="119842"/>
                        </a:cubicBezTo>
                        <a:cubicBezTo>
                          <a:pt x="12713" y="120000"/>
                          <a:pt x="13382" y="119684"/>
                          <a:pt x="13382" y="119684"/>
                        </a:cubicBezTo>
                        <a:cubicBezTo>
                          <a:pt x="13605" y="119526"/>
                          <a:pt x="14498" y="119842"/>
                          <a:pt x="14721" y="119842"/>
                        </a:cubicBezTo>
                        <a:cubicBezTo>
                          <a:pt x="14721" y="119842"/>
                          <a:pt x="16059" y="119684"/>
                          <a:pt x="16059" y="119684"/>
                        </a:cubicBezTo>
                        <a:cubicBezTo>
                          <a:pt x="17174" y="119368"/>
                          <a:pt x="17174" y="119368"/>
                          <a:pt x="17174" y="119368"/>
                        </a:cubicBezTo>
                        <a:cubicBezTo>
                          <a:pt x="17174" y="119368"/>
                          <a:pt x="17843" y="118578"/>
                          <a:pt x="18289" y="118736"/>
                        </a:cubicBezTo>
                        <a:cubicBezTo>
                          <a:pt x="18959" y="118894"/>
                          <a:pt x="18736" y="119210"/>
                          <a:pt x="19182" y="119210"/>
                        </a:cubicBezTo>
                        <a:cubicBezTo>
                          <a:pt x="19405" y="119210"/>
                          <a:pt x="19851" y="119210"/>
                          <a:pt x="20297" y="118736"/>
                        </a:cubicBezTo>
                        <a:cubicBezTo>
                          <a:pt x="20743" y="118421"/>
                          <a:pt x="21189" y="118105"/>
                          <a:pt x="21412" y="117947"/>
                        </a:cubicBezTo>
                        <a:cubicBezTo>
                          <a:pt x="21635" y="117947"/>
                          <a:pt x="24312" y="116842"/>
                          <a:pt x="24312" y="116842"/>
                        </a:cubicBezTo>
                        <a:cubicBezTo>
                          <a:pt x="26096" y="114631"/>
                          <a:pt x="26096" y="114631"/>
                          <a:pt x="26096" y="114631"/>
                        </a:cubicBezTo>
                        <a:cubicBezTo>
                          <a:pt x="26765" y="113052"/>
                          <a:pt x="26765" y="113052"/>
                          <a:pt x="26765" y="113052"/>
                        </a:cubicBezTo>
                        <a:cubicBezTo>
                          <a:pt x="26765" y="113052"/>
                          <a:pt x="27657" y="112263"/>
                          <a:pt x="28327" y="112263"/>
                        </a:cubicBezTo>
                        <a:cubicBezTo>
                          <a:pt x="28773" y="112263"/>
                          <a:pt x="30334" y="111789"/>
                          <a:pt x="30111" y="111473"/>
                        </a:cubicBezTo>
                        <a:cubicBezTo>
                          <a:pt x="30111" y="111000"/>
                          <a:pt x="30780" y="110842"/>
                          <a:pt x="30780" y="111473"/>
                        </a:cubicBezTo>
                        <a:cubicBezTo>
                          <a:pt x="31003" y="112105"/>
                          <a:pt x="30780" y="112736"/>
                          <a:pt x="31226" y="112421"/>
                        </a:cubicBezTo>
                        <a:cubicBezTo>
                          <a:pt x="31895" y="112105"/>
                          <a:pt x="33011" y="111157"/>
                          <a:pt x="33011" y="111157"/>
                        </a:cubicBezTo>
                        <a:cubicBezTo>
                          <a:pt x="33011" y="111157"/>
                          <a:pt x="33680" y="110684"/>
                          <a:pt x="34126" y="110526"/>
                        </a:cubicBezTo>
                        <a:cubicBezTo>
                          <a:pt x="34572" y="110526"/>
                          <a:pt x="35241" y="109421"/>
                          <a:pt x="35241" y="109421"/>
                        </a:cubicBezTo>
                        <a:cubicBezTo>
                          <a:pt x="35241" y="109421"/>
                          <a:pt x="36133" y="108947"/>
                          <a:pt x="36579" y="109421"/>
                        </a:cubicBezTo>
                        <a:cubicBezTo>
                          <a:pt x="36802" y="110052"/>
                          <a:pt x="37695" y="110842"/>
                          <a:pt x="37695" y="111157"/>
                        </a:cubicBezTo>
                        <a:cubicBezTo>
                          <a:pt x="37695" y="111157"/>
                          <a:pt x="38141" y="111315"/>
                          <a:pt x="38587" y="111473"/>
                        </a:cubicBezTo>
                        <a:cubicBezTo>
                          <a:pt x="38587" y="111157"/>
                          <a:pt x="38587" y="111157"/>
                          <a:pt x="38587" y="111157"/>
                        </a:cubicBezTo>
                        <a:cubicBezTo>
                          <a:pt x="38587" y="110210"/>
                          <a:pt x="38587" y="110210"/>
                          <a:pt x="38587" y="110210"/>
                        </a:cubicBezTo>
                        <a:cubicBezTo>
                          <a:pt x="38587" y="110210"/>
                          <a:pt x="40148" y="111157"/>
                          <a:pt x="40148" y="111157"/>
                        </a:cubicBezTo>
                        <a:cubicBezTo>
                          <a:pt x="40371" y="111315"/>
                          <a:pt x="40371" y="112263"/>
                          <a:pt x="40371" y="112263"/>
                        </a:cubicBezTo>
                        <a:cubicBezTo>
                          <a:pt x="40817" y="112263"/>
                          <a:pt x="40817" y="112263"/>
                          <a:pt x="40817" y="112263"/>
                        </a:cubicBezTo>
                        <a:cubicBezTo>
                          <a:pt x="40817" y="112105"/>
                          <a:pt x="40817" y="112105"/>
                          <a:pt x="40817" y="112105"/>
                        </a:cubicBezTo>
                        <a:cubicBezTo>
                          <a:pt x="41263" y="112263"/>
                          <a:pt x="41263" y="112263"/>
                          <a:pt x="41263" y="112263"/>
                        </a:cubicBezTo>
                        <a:cubicBezTo>
                          <a:pt x="41486" y="112105"/>
                          <a:pt x="41486" y="112105"/>
                          <a:pt x="41486" y="112105"/>
                        </a:cubicBezTo>
                        <a:cubicBezTo>
                          <a:pt x="41710" y="111157"/>
                          <a:pt x="41710" y="111157"/>
                          <a:pt x="41710" y="111157"/>
                        </a:cubicBezTo>
                        <a:cubicBezTo>
                          <a:pt x="41933" y="110052"/>
                          <a:pt x="41933" y="110052"/>
                          <a:pt x="41933" y="110052"/>
                        </a:cubicBezTo>
                        <a:cubicBezTo>
                          <a:pt x="42602" y="109105"/>
                          <a:pt x="42602" y="109105"/>
                          <a:pt x="42602" y="109105"/>
                        </a:cubicBezTo>
                        <a:cubicBezTo>
                          <a:pt x="42602" y="108157"/>
                          <a:pt x="42602" y="108157"/>
                          <a:pt x="42602" y="108157"/>
                        </a:cubicBezTo>
                        <a:cubicBezTo>
                          <a:pt x="41710" y="107052"/>
                          <a:pt x="41710" y="107052"/>
                          <a:pt x="41710" y="107052"/>
                        </a:cubicBezTo>
                        <a:cubicBezTo>
                          <a:pt x="41263" y="106105"/>
                          <a:pt x="41263" y="106105"/>
                          <a:pt x="41263" y="106105"/>
                        </a:cubicBezTo>
                        <a:cubicBezTo>
                          <a:pt x="41933" y="105947"/>
                          <a:pt x="41933" y="105947"/>
                          <a:pt x="41933" y="105947"/>
                        </a:cubicBezTo>
                        <a:cubicBezTo>
                          <a:pt x="41933" y="105789"/>
                          <a:pt x="41933" y="105789"/>
                          <a:pt x="41933" y="105789"/>
                        </a:cubicBezTo>
                        <a:cubicBezTo>
                          <a:pt x="42156" y="105789"/>
                          <a:pt x="42156" y="105789"/>
                          <a:pt x="42156" y="105789"/>
                        </a:cubicBezTo>
                        <a:cubicBezTo>
                          <a:pt x="42602" y="105473"/>
                          <a:pt x="42602" y="105473"/>
                          <a:pt x="42602" y="105473"/>
                        </a:cubicBezTo>
                        <a:cubicBezTo>
                          <a:pt x="42825" y="104684"/>
                          <a:pt x="42825" y="104684"/>
                          <a:pt x="42825" y="104684"/>
                        </a:cubicBezTo>
                        <a:cubicBezTo>
                          <a:pt x="42379" y="104368"/>
                          <a:pt x="42379" y="104368"/>
                          <a:pt x="42379" y="104368"/>
                        </a:cubicBezTo>
                        <a:cubicBezTo>
                          <a:pt x="42379" y="103894"/>
                          <a:pt x="42379" y="103894"/>
                          <a:pt x="42379" y="103894"/>
                        </a:cubicBezTo>
                        <a:cubicBezTo>
                          <a:pt x="42379" y="103894"/>
                          <a:pt x="42825" y="103578"/>
                          <a:pt x="42825" y="103578"/>
                        </a:cubicBezTo>
                        <a:cubicBezTo>
                          <a:pt x="42825" y="103578"/>
                          <a:pt x="42825" y="103578"/>
                          <a:pt x="42825" y="103578"/>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271" y="103421"/>
                          <a:pt x="43271" y="103421"/>
                          <a:pt x="43271" y="103421"/>
                        </a:cubicBezTo>
                        <a:cubicBezTo>
                          <a:pt x="43271" y="103421"/>
                          <a:pt x="43271" y="103421"/>
                          <a:pt x="43271" y="103421"/>
                        </a:cubicBezTo>
                        <a:cubicBezTo>
                          <a:pt x="43271" y="103421"/>
                          <a:pt x="43271" y="103421"/>
                          <a:pt x="43271" y="103421"/>
                        </a:cubicBezTo>
                        <a:cubicBezTo>
                          <a:pt x="43271" y="103421"/>
                          <a:pt x="43271" y="103421"/>
                          <a:pt x="43271" y="103421"/>
                        </a:cubicBezTo>
                        <a:cubicBezTo>
                          <a:pt x="43271" y="103421"/>
                          <a:pt x="43494" y="103263"/>
                          <a:pt x="43494" y="103263"/>
                        </a:cubicBezTo>
                        <a:cubicBezTo>
                          <a:pt x="43717" y="103263"/>
                          <a:pt x="44163" y="103263"/>
                          <a:pt x="44163" y="103263"/>
                        </a:cubicBezTo>
                        <a:cubicBezTo>
                          <a:pt x="44386" y="103263"/>
                          <a:pt x="44386" y="103263"/>
                          <a:pt x="44386" y="103263"/>
                        </a:cubicBezTo>
                        <a:cubicBezTo>
                          <a:pt x="44832" y="102947"/>
                          <a:pt x="44832" y="102947"/>
                          <a:pt x="44832" y="102947"/>
                        </a:cubicBezTo>
                        <a:cubicBezTo>
                          <a:pt x="44832" y="102947"/>
                          <a:pt x="45724" y="102473"/>
                          <a:pt x="45724" y="102315"/>
                        </a:cubicBezTo>
                        <a:cubicBezTo>
                          <a:pt x="45724" y="102157"/>
                          <a:pt x="46171" y="101684"/>
                          <a:pt x="46171" y="101684"/>
                        </a:cubicBezTo>
                        <a:cubicBezTo>
                          <a:pt x="46171" y="100894"/>
                          <a:pt x="46171" y="100894"/>
                          <a:pt x="46171" y="100894"/>
                        </a:cubicBezTo>
                        <a:cubicBezTo>
                          <a:pt x="45724" y="100105"/>
                          <a:pt x="45724" y="100105"/>
                          <a:pt x="45724" y="100105"/>
                        </a:cubicBezTo>
                        <a:cubicBezTo>
                          <a:pt x="46171" y="99631"/>
                          <a:pt x="46171" y="99631"/>
                          <a:pt x="46171" y="99631"/>
                        </a:cubicBezTo>
                        <a:cubicBezTo>
                          <a:pt x="46840" y="98684"/>
                          <a:pt x="46840" y="98684"/>
                          <a:pt x="46840" y="98684"/>
                        </a:cubicBezTo>
                        <a:cubicBezTo>
                          <a:pt x="46394" y="97736"/>
                          <a:pt x="46394" y="97736"/>
                          <a:pt x="46394" y="97736"/>
                        </a:cubicBezTo>
                        <a:cubicBezTo>
                          <a:pt x="45055" y="96631"/>
                          <a:pt x="45055" y="96631"/>
                          <a:pt x="45055" y="96631"/>
                        </a:cubicBezTo>
                        <a:cubicBezTo>
                          <a:pt x="44386" y="95210"/>
                          <a:pt x="44386" y="95210"/>
                          <a:pt x="44386" y="95210"/>
                        </a:cubicBezTo>
                        <a:cubicBezTo>
                          <a:pt x="43940" y="94263"/>
                          <a:pt x="43940" y="94263"/>
                          <a:pt x="43940" y="94263"/>
                        </a:cubicBezTo>
                        <a:cubicBezTo>
                          <a:pt x="45055" y="93473"/>
                          <a:pt x="45055" y="93473"/>
                          <a:pt x="45055" y="93473"/>
                        </a:cubicBezTo>
                        <a:cubicBezTo>
                          <a:pt x="45278" y="93315"/>
                          <a:pt x="45278" y="93315"/>
                          <a:pt x="45278" y="93315"/>
                        </a:cubicBezTo>
                        <a:cubicBezTo>
                          <a:pt x="45278" y="93315"/>
                          <a:pt x="45278" y="93315"/>
                          <a:pt x="45278" y="93315"/>
                        </a:cubicBezTo>
                        <a:cubicBezTo>
                          <a:pt x="45501" y="93315"/>
                          <a:pt x="45501" y="93315"/>
                          <a:pt x="45501" y="93315"/>
                        </a:cubicBezTo>
                        <a:cubicBezTo>
                          <a:pt x="46171" y="93315"/>
                          <a:pt x="46171" y="93315"/>
                          <a:pt x="46171" y="93315"/>
                        </a:cubicBezTo>
                        <a:cubicBezTo>
                          <a:pt x="46171" y="93315"/>
                          <a:pt x="47286" y="93315"/>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000"/>
                          <a:pt x="47286" y="93000"/>
                          <a:pt x="47286" y="93000"/>
                        </a:cubicBezTo>
                        <a:cubicBezTo>
                          <a:pt x="47286" y="93000"/>
                          <a:pt x="47286" y="93000"/>
                          <a:pt x="47286" y="93000"/>
                        </a:cubicBezTo>
                        <a:cubicBezTo>
                          <a:pt x="47286" y="93000"/>
                          <a:pt x="47286" y="93000"/>
                          <a:pt x="47286" y="93000"/>
                        </a:cubicBezTo>
                        <a:cubicBezTo>
                          <a:pt x="47286" y="93000"/>
                          <a:pt x="47286" y="93000"/>
                          <a:pt x="47286" y="93000"/>
                        </a:cubicBezTo>
                        <a:cubicBezTo>
                          <a:pt x="47509" y="93000"/>
                          <a:pt x="47509" y="93000"/>
                          <a:pt x="47509" y="93000"/>
                        </a:cubicBezTo>
                        <a:cubicBezTo>
                          <a:pt x="47509" y="93000"/>
                          <a:pt x="47509" y="93000"/>
                          <a:pt x="47509" y="93000"/>
                        </a:cubicBezTo>
                        <a:cubicBezTo>
                          <a:pt x="47509" y="93000"/>
                          <a:pt x="47509" y="93000"/>
                          <a:pt x="47509" y="93000"/>
                        </a:cubicBezTo>
                        <a:cubicBezTo>
                          <a:pt x="47509" y="93000"/>
                          <a:pt x="47509" y="93000"/>
                          <a:pt x="47509" y="93000"/>
                        </a:cubicBezTo>
                        <a:cubicBezTo>
                          <a:pt x="47509" y="93000"/>
                          <a:pt x="47509" y="93000"/>
                          <a:pt x="47509" y="93000"/>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526"/>
                          <a:pt x="47509" y="92526"/>
                          <a:pt x="47509" y="92526"/>
                        </a:cubicBezTo>
                        <a:cubicBezTo>
                          <a:pt x="47509" y="92526"/>
                          <a:pt x="47509" y="92526"/>
                          <a:pt x="47509" y="92526"/>
                        </a:cubicBezTo>
                        <a:cubicBezTo>
                          <a:pt x="47509" y="92526"/>
                          <a:pt x="47509" y="92526"/>
                          <a:pt x="47509" y="92526"/>
                        </a:cubicBezTo>
                        <a:cubicBezTo>
                          <a:pt x="47509" y="92526"/>
                          <a:pt x="47509" y="92526"/>
                          <a:pt x="47509" y="92526"/>
                        </a:cubicBezTo>
                        <a:cubicBezTo>
                          <a:pt x="47509" y="92526"/>
                          <a:pt x="47509" y="92526"/>
                          <a:pt x="47509" y="92526"/>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732" y="92052"/>
                          <a:pt x="47732" y="92052"/>
                          <a:pt x="47732" y="92052"/>
                        </a:cubicBezTo>
                        <a:cubicBezTo>
                          <a:pt x="47732" y="92052"/>
                          <a:pt x="47732" y="92052"/>
                          <a:pt x="47732" y="92052"/>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509" y="90473"/>
                          <a:pt x="47509" y="90473"/>
                          <a:pt x="47509" y="90473"/>
                        </a:cubicBezTo>
                        <a:cubicBezTo>
                          <a:pt x="46171" y="89684"/>
                          <a:pt x="46171" y="89684"/>
                          <a:pt x="46171" y="89684"/>
                        </a:cubicBezTo>
                        <a:cubicBezTo>
                          <a:pt x="44609" y="88894"/>
                          <a:pt x="44609" y="88894"/>
                          <a:pt x="44609" y="88894"/>
                        </a:cubicBezTo>
                        <a:cubicBezTo>
                          <a:pt x="43940" y="87631"/>
                          <a:pt x="43940" y="87631"/>
                          <a:pt x="43940" y="87631"/>
                        </a:cubicBezTo>
                        <a:cubicBezTo>
                          <a:pt x="43717" y="82736"/>
                          <a:pt x="43717" y="82736"/>
                          <a:pt x="43717" y="82736"/>
                        </a:cubicBezTo>
                        <a:cubicBezTo>
                          <a:pt x="43717" y="82736"/>
                          <a:pt x="42156" y="80684"/>
                          <a:pt x="42156" y="80526"/>
                        </a:cubicBezTo>
                        <a:cubicBezTo>
                          <a:pt x="41933" y="80210"/>
                          <a:pt x="41933" y="79894"/>
                          <a:pt x="42379" y="79578"/>
                        </a:cubicBezTo>
                        <a:cubicBezTo>
                          <a:pt x="42602" y="79421"/>
                          <a:pt x="42379" y="79105"/>
                          <a:pt x="42379" y="79105"/>
                        </a:cubicBezTo>
                        <a:cubicBezTo>
                          <a:pt x="42156" y="78000"/>
                          <a:pt x="42156" y="78000"/>
                          <a:pt x="42156" y="78000"/>
                        </a:cubicBezTo>
                        <a:cubicBezTo>
                          <a:pt x="42602" y="77526"/>
                          <a:pt x="42602" y="77526"/>
                          <a:pt x="42602" y="77526"/>
                        </a:cubicBezTo>
                        <a:cubicBezTo>
                          <a:pt x="42602" y="76578"/>
                          <a:pt x="42602" y="76578"/>
                          <a:pt x="42602" y="76578"/>
                        </a:cubicBezTo>
                        <a:cubicBezTo>
                          <a:pt x="41710" y="75315"/>
                          <a:pt x="41710" y="75315"/>
                          <a:pt x="41710" y="75315"/>
                        </a:cubicBezTo>
                        <a:cubicBezTo>
                          <a:pt x="41710" y="75315"/>
                          <a:pt x="41710" y="74368"/>
                          <a:pt x="41710" y="74210"/>
                        </a:cubicBezTo>
                        <a:cubicBezTo>
                          <a:pt x="41710" y="73894"/>
                          <a:pt x="42379" y="73263"/>
                          <a:pt x="42379" y="73263"/>
                        </a:cubicBezTo>
                        <a:cubicBezTo>
                          <a:pt x="42602" y="72157"/>
                          <a:pt x="42602" y="72157"/>
                          <a:pt x="42602" y="72157"/>
                        </a:cubicBezTo>
                        <a:cubicBezTo>
                          <a:pt x="43048" y="70578"/>
                          <a:pt x="43048" y="70578"/>
                          <a:pt x="43048" y="70578"/>
                        </a:cubicBezTo>
                        <a:cubicBezTo>
                          <a:pt x="45947" y="67894"/>
                          <a:pt x="45947" y="67894"/>
                          <a:pt x="45947" y="67894"/>
                        </a:cubicBezTo>
                        <a:cubicBezTo>
                          <a:pt x="46617" y="67894"/>
                          <a:pt x="46617" y="67894"/>
                          <a:pt x="46617" y="67894"/>
                        </a:cubicBezTo>
                        <a:cubicBezTo>
                          <a:pt x="51301" y="67736"/>
                          <a:pt x="51301" y="67736"/>
                          <a:pt x="51301" y="67736"/>
                        </a:cubicBezTo>
                        <a:cubicBezTo>
                          <a:pt x="51524" y="67421"/>
                          <a:pt x="51524" y="67421"/>
                          <a:pt x="51524" y="67421"/>
                        </a:cubicBezTo>
                        <a:cubicBezTo>
                          <a:pt x="51747" y="67263"/>
                          <a:pt x="51747" y="67263"/>
                          <a:pt x="51747" y="67263"/>
                        </a:cubicBezTo>
                        <a:cubicBezTo>
                          <a:pt x="52193" y="66315"/>
                          <a:pt x="52193" y="66315"/>
                          <a:pt x="52193" y="66315"/>
                        </a:cubicBezTo>
                        <a:cubicBezTo>
                          <a:pt x="51970" y="63789"/>
                          <a:pt x="51970" y="63789"/>
                          <a:pt x="51970" y="63789"/>
                        </a:cubicBezTo>
                        <a:cubicBezTo>
                          <a:pt x="49962" y="63473"/>
                          <a:pt x="49962" y="63473"/>
                          <a:pt x="49962" y="63473"/>
                        </a:cubicBezTo>
                        <a:cubicBezTo>
                          <a:pt x="49516" y="62684"/>
                          <a:pt x="49516" y="62684"/>
                          <a:pt x="49516" y="62684"/>
                        </a:cubicBezTo>
                        <a:cubicBezTo>
                          <a:pt x="52862" y="58578"/>
                          <a:pt x="52862" y="58578"/>
                          <a:pt x="52862" y="58578"/>
                        </a:cubicBezTo>
                        <a:cubicBezTo>
                          <a:pt x="52639" y="57631"/>
                          <a:pt x="52639" y="57631"/>
                          <a:pt x="52639" y="57631"/>
                        </a:cubicBezTo>
                        <a:cubicBezTo>
                          <a:pt x="53531" y="57157"/>
                          <a:pt x="53531" y="57157"/>
                          <a:pt x="53531" y="57157"/>
                        </a:cubicBezTo>
                        <a:cubicBezTo>
                          <a:pt x="53531" y="57157"/>
                          <a:pt x="53308" y="56526"/>
                          <a:pt x="53085" y="56210"/>
                        </a:cubicBezTo>
                        <a:cubicBezTo>
                          <a:pt x="52862" y="56052"/>
                          <a:pt x="53308" y="55105"/>
                          <a:pt x="53308" y="55105"/>
                        </a:cubicBezTo>
                        <a:cubicBezTo>
                          <a:pt x="53531" y="54000"/>
                          <a:pt x="53531" y="54000"/>
                          <a:pt x="53531" y="54000"/>
                        </a:cubicBezTo>
                        <a:cubicBezTo>
                          <a:pt x="53977" y="52736"/>
                          <a:pt x="53977" y="52736"/>
                          <a:pt x="53977" y="52736"/>
                        </a:cubicBezTo>
                        <a:cubicBezTo>
                          <a:pt x="52862" y="50052"/>
                          <a:pt x="52862" y="50052"/>
                          <a:pt x="52862" y="50052"/>
                        </a:cubicBezTo>
                        <a:cubicBezTo>
                          <a:pt x="53531" y="49578"/>
                          <a:pt x="53531" y="49578"/>
                          <a:pt x="53531" y="49578"/>
                        </a:cubicBezTo>
                        <a:cubicBezTo>
                          <a:pt x="54423" y="49578"/>
                          <a:pt x="54423" y="49578"/>
                          <a:pt x="54423" y="49578"/>
                        </a:cubicBezTo>
                        <a:cubicBezTo>
                          <a:pt x="54646" y="49578"/>
                          <a:pt x="55092" y="49421"/>
                          <a:pt x="55539" y="49421"/>
                        </a:cubicBezTo>
                        <a:cubicBezTo>
                          <a:pt x="55985" y="49263"/>
                          <a:pt x="56208" y="49105"/>
                          <a:pt x="56877" y="48631"/>
                        </a:cubicBezTo>
                        <a:cubicBezTo>
                          <a:pt x="57100" y="48315"/>
                          <a:pt x="57100" y="48315"/>
                          <a:pt x="57100" y="48315"/>
                        </a:cubicBezTo>
                        <a:cubicBezTo>
                          <a:pt x="57323" y="47526"/>
                          <a:pt x="57323" y="47526"/>
                          <a:pt x="57323" y="47526"/>
                        </a:cubicBezTo>
                        <a:cubicBezTo>
                          <a:pt x="57323" y="46105"/>
                          <a:pt x="57323" y="46105"/>
                          <a:pt x="57323" y="46105"/>
                        </a:cubicBezTo>
                        <a:cubicBezTo>
                          <a:pt x="58438" y="44052"/>
                          <a:pt x="58438" y="44052"/>
                          <a:pt x="58438" y="44052"/>
                        </a:cubicBezTo>
                        <a:cubicBezTo>
                          <a:pt x="58438" y="44052"/>
                          <a:pt x="60223" y="42473"/>
                          <a:pt x="60446" y="42157"/>
                        </a:cubicBezTo>
                        <a:cubicBezTo>
                          <a:pt x="60669" y="41842"/>
                          <a:pt x="61338" y="40736"/>
                          <a:pt x="61338" y="40736"/>
                        </a:cubicBezTo>
                        <a:cubicBezTo>
                          <a:pt x="61338" y="40736"/>
                          <a:pt x="60892" y="39473"/>
                          <a:pt x="60669" y="39157"/>
                        </a:cubicBezTo>
                        <a:cubicBezTo>
                          <a:pt x="60223" y="39000"/>
                          <a:pt x="59553" y="38052"/>
                          <a:pt x="59553" y="38052"/>
                        </a:cubicBezTo>
                        <a:cubicBezTo>
                          <a:pt x="59553" y="37263"/>
                          <a:pt x="59553" y="37263"/>
                          <a:pt x="59553" y="37263"/>
                        </a:cubicBezTo>
                        <a:cubicBezTo>
                          <a:pt x="60892" y="36631"/>
                          <a:pt x="60892" y="36631"/>
                          <a:pt x="60892" y="36631"/>
                        </a:cubicBezTo>
                        <a:cubicBezTo>
                          <a:pt x="61338" y="36000"/>
                          <a:pt x="61338" y="36000"/>
                          <a:pt x="61338" y="36000"/>
                        </a:cubicBezTo>
                        <a:cubicBezTo>
                          <a:pt x="61338" y="36000"/>
                          <a:pt x="61338" y="34894"/>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421"/>
                          <a:pt x="61338" y="34421"/>
                          <a:pt x="61338" y="34421"/>
                        </a:cubicBezTo>
                        <a:cubicBezTo>
                          <a:pt x="61338" y="34421"/>
                          <a:pt x="61338" y="34421"/>
                          <a:pt x="61338" y="34421"/>
                        </a:cubicBezTo>
                        <a:cubicBezTo>
                          <a:pt x="61338" y="34421"/>
                          <a:pt x="61338" y="34421"/>
                          <a:pt x="61338" y="34421"/>
                        </a:cubicBezTo>
                        <a:cubicBezTo>
                          <a:pt x="61338" y="34421"/>
                          <a:pt x="61338" y="34421"/>
                          <a:pt x="61338"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784" y="34105"/>
                          <a:pt x="61784" y="34105"/>
                          <a:pt x="61784" y="34105"/>
                        </a:cubicBezTo>
                        <a:cubicBezTo>
                          <a:pt x="61784" y="34105"/>
                          <a:pt x="61784" y="34105"/>
                          <a:pt x="61784" y="34105"/>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631"/>
                          <a:pt x="62676" y="33000"/>
                          <a:pt x="62676" y="33000"/>
                        </a:cubicBezTo>
                        <a:cubicBezTo>
                          <a:pt x="63568" y="31736"/>
                          <a:pt x="63568" y="31736"/>
                          <a:pt x="63568" y="31736"/>
                        </a:cubicBezTo>
                        <a:cubicBezTo>
                          <a:pt x="65799" y="32526"/>
                          <a:pt x="65799" y="32526"/>
                          <a:pt x="65799" y="32526"/>
                        </a:cubicBezTo>
                        <a:cubicBezTo>
                          <a:pt x="66914" y="32526"/>
                          <a:pt x="66914" y="32526"/>
                          <a:pt x="66914" y="32526"/>
                        </a:cubicBezTo>
                        <a:cubicBezTo>
                          <a:pt x="67360" y="31894"/>
                          <a:pt x="67360" y="31894"/>
                          <a:pt x="67360" y="31894"/>
                        </a:cubicBezTo>
                        <a:cubicBezTo>
                          <a:pt x="67137" y="31421"/>
                          <a:pt x="66914" y="28105"/>
                          <a:pt x="67583" y="27473"/>
                        </a:cubicBezTo>
                        <a:cubicBezTo>
                          <a:pt x="67583" y="27473"/>
                          <a:pt x="70706" y="27631"/>
                          <a:pt x="71152" y="27473"/>
                        </a:cubicBezTo>
                        <a:cubicBezTo>
                          <a:pt x="71375" y="27473"/>
                          <a:pt x="72490" y="27789"/>
                          <a:pt x="72713" y="27947"/>
                        </a:cubicBezTo>
                        <a:cubicBezTo>
                          <a:pt x="72713" y="27947"/>
                          <a:pt x="72713" y="27947"/>
                          <a:pt x="72713" y="27947"/>
                        </a:cubicBezTo>
                        <a:cubicBezTo>
                          <a:pt x="72713" y="27947"/>
                          <a:pt x="72713" y="27947"/>
                          <a:pt x="72713" y="27947"/>
                        </a:cubicBezTo>
                        <a:cubicBezTo>
                          <a:pt x="72936" y="28105"/>
                          <a:pt x="73159" y="28105"/>
                          <a:pt x="73382" y="28105"/>
                        </a:cubicBezTo>
                        <a:cubicBezTo>
                          <a:pt x="73828" y="28263"/>
                          <a:pt x="74275" y="28263"/>
                          <a:pt x="74275" y="28263"/>
                        </a:cubicBezTo>
                        <a:cubicBezTo>
                          <a:pt x="75613" y="28105"/>
                          <a:pt x="75613" y="28105"/>
                          <a:pt x="75613" y="28105"/>
                        </a:cubicBezTo>
                        <a:cubicBezTo>
                          <a:pt x="76505" y="27315"/>
                          <a:pt x="76505" y="27315"/>
                          <a:pt x="76505" y="27315"/>
                        </a:cubicBezTo>
                        <a:cubicBezTo>
                          <a:pt x="75613" y="26684"/>
                          <a:pt x="75613" y="26684"/>
                          <a:pt x="75613" y="26684"/>
                        </a:cubicBezTo>
                        <a:cubicBezTo>
                          <a:pt x="76505" y="25894"/>
                          <a:pt x="76505" y="24789"/>
                          <a:pt x="76282" y="24631"/>
                        </a:cubicBezTo>
                        <a:cubicBezTo>
                          <a:pt x="76059" y="24315"/>
                          <a:pt x="75613" y="22894"/>
                          <a:pt x="75390" y="22736"/>
                        </a:cubicBezTo>
                        <a:cubicBezTo>
                          <a:pt x="75390" y="22578"/>
                          <a:pt x="75836" y="22421"/>
                          <a:pt x="75836" y="22421"/>
                        </a:cubicBezTo>
                        <a:cubicBezTo>
                          <a:pt x="76282" y="22421"/>
                          <a:pt x="76282" y="22421"/>
                          <a:pt x="76282" y="22421"/>
                        </a:cubicBezTo>
                        <a:cubicBezTo>
                          <a:pt x="76282" y="22421"/>
                          <a:pt x="76505" y="22263"/>
                          <a:pt x="76728" y="22263"/>
                        </a:cubicBezTo>
                        <a:cubicBezTo>
                          <a:pt x="77843" y="21631"/>
                          <a:pt x="77843" y="21631"/>
                          <a:pt x="77843" y="21631"/>
                        </a:cubicBezTo>
                        <a:cubicBezTo>
                          <a:pt x="78959" y="21789"/>
                          <a:pt x="78959" y="21789"/>
                          <a:pt x="78959" y="21789"/>
                        </a:cubicBezTo>
                        <a:cubicBezTo>
                          <a:pt x="78959" y="21789"/>
                          <a:pt x="78959" y="21631"/>
                          <a:pt x="79182" y="21631"/>
                        </a:cubicBezTo>
                        <a:cubicBezTo>
                          <a:pt x="79405" y="21631"/>
                          <a:pt x="79405" y="21473"/>
                          <a:pt x="79405" y="21473"/>
                        </a:cubicBezTo>
                        <a:cubicBezTo>
                          <a:pt x="79405" y="21473"/>
                          <a:pt x="78736" y="20526"/>
                          <a:pt x="79182" y="20052"/>
                        </a:cubicBezTo>
                        <a:cubicBezTo>
                          <a:pt x="79405" y="19736"/>
                          <a:pt x="79628"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743" y="19736"/>
                          <a:pt x="80743" y="19736"/>
                          <a:pt x="80743" y="19736"/>
                        </a:cubicBezTo>
                        <a:cubicBezTo>
                          <a:pt x="80743" y="19736"/>
                          <a:pt x="80743" y="19736"/>
                          <a:pt x="80743" y="19736"/>
                        </a:cubicBezTo>
                        <a:cubicBezTo>
                          <a:pt x="80743" y="19736"/>
                          <a:pt x="80743" y="19736"/>
                          <a:pt x="80743" y="19736"/>
                        </a:cubicBezTo>
                        <a:cubicBezTo>
                          <a:pt x="80743" y="19736"/>
                          <a:pt x="80743" y="19736"/>
                          <a:pt x="80743" y="19736"/>
                        </a:cubicBezTo>
                        <a:cubicBezTo>
                          <a:pt x="80966" y="19736"/>
                          <a:pt x="80966" y="19736"/>
                          <a:pt x="80966" y="19736"/>
                        </a:cubicBezTo>
                        <a:cubicBezTo>
                          <a:pt x="80966" y="19736"/>
                          <a:pt x="80966" y="19736"/>
                          <a:pt x="80966" y="19736"/>
                        </a:cubicBezTo>
                        <a:cubicBezTo>
                          <a:pt x="80966" y="19736"/>
                          <a:pt x="80966" y="19736"/>
                          <a:pt x="80966" y="19736"/>
                        </a:cubicBezTo>
                        <a:cubicBezTo>
                          <a:pt x="80966" y="19736"/>
                          <a:pt x="80966" y="19736"/>
                          <a:pt x="80966" y="19736"/>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88" name="Shape 2053"/>
                  <p:cNvSpPr/>
                  <p:nvPr/>
                </p:nvSpPr>
                <p:spPr>
                  <a:xfrm>
                    <a:off x="3733035" y="1542150"/>
                    <a:ext cx="664055" cy="1216708"/>
                  </a:xfrm>
                  <a:custGeom>
                    <a:avLst/>
                    <a:gdLst/>
                    <a:ahLst/>
                    <a:cxnLst/>
                    <a:rect l="0" t="0" r="0" b="0"/>
                    <a:pathLst>
                      <a:path w="120000" h="120000" extrusionOk="0">
                        <a:moveTo>
                          <a:pt x="30103" y="109309"/>
                        </a:moveTo>
                        <a:cubicBezTo>
                          <a:pt x="28453" y="109963"/>
                          <a:pt x="28453" y="109963"/>
                          <a:pt x="28453" y="109963"/>
                        </a:cubicBezTo>
                        <a:cubicBezTo>
                          <a:pt x="28453" y="110836"/>
                          <a:pt x="28453" y="110836"/>
                          <a:pt x="28453" y="110836"/>
                        </a:cubicBezTo>
                        <a:cubicBezTo>
                          <a:pt x="27628" y="111709"/>
                          <a:pt x="27628" y="111709"/>
                          <a:pt x="27628" y="111709"/>
                        </a:cubicBezTo>
                        <a:cubicBezTo>
                          <a:pt x="27628" y="111709"/>
                          <a:pt x="26804" y="111927"/>
                          <a:pt x="26804" y="112145"/>
                        </a:cubicBezTo>
                        <a:cubicBezTo>
                          <a:pt x="26391" y="112363"/>
                          <a:pt x="24742" y="113018"/>
                          <a:pt x="24742" y="113018"/>
                        </a:cubicBezTo>
                        <a:cubicBezTo>
                          <a:pt x="24742" y="113018"/>
                          <a:pt x="24742" y="113236"/>
                          <a:pt x="24329" y="113236"/>
                        </a:cubicBezTo>
                        <a:cubicBezTo>
                          <a:pt x="23917" y="113236"/>
                          <a:pt x="21030" y="113890"/>
                          <a:pt x="21030" y="113890"/>
                        </a:cubicBezTo>
                        <a:cubicBezTo>
                          <a:pt x="20206" y="114763"/>
                          <a:pt x="20206" y="114763"/>
                          <a:pt x="20206" y="114763"/>
                        </a:cubicBezTo>
                        <a:cubicBezTo>
                          <a:pt x="18556" y="114981"/>
                          <a:pt x="18556" y="114981"/>
                          <a:pt x="18556" y="114981"/>
                        </a:cubicBezTo>
                        <a:cubicBezTo>
                          <a:pt x="17319" y="116072"/>
                          <a:pt x="17319" y="116072"/>
                          <a:pt x="17319" y="116072"/>
                        </a:cubicBezTo>
                        <a:cubicBezTo>
                          <a:pt x="15257" y="116509"/>
                          <a:pt x="15257" y="116509"/>
                          <a:pt x="15257" y="116509"/>
                        </a:cubicBezTo>
                        <a:cubicBezTo>
                          <a:pt x="13608" y="116727"/>
                          <a:pt x="13608" y="116727"/>
                          <a:pt x="13608" y="116727"/>
                        </a:cubicBezTo>
                        <a:cubicBezTo>
                          <a:pt x="11958" y="116290"/>
                          <a:pt x="11958" y="116290"/>
                          <a:pt x="11958" y="116290"/>
                        </a:cubicBezTo>
                        <a:cubicBezTo>
                          <a:pt x="10721" y="116727"/>
                          <a:pt x="10721" y="116727"/>
                          <a:pt x="10721" y="116727"/>
                        </a:cubicBezTo>
                        <a:cubicBezTo>
                          <a:pt x="9484" y="117163"/>
                          <a:pt x="9484" y="117163"/>
                          <a:pt x="9484" y="117163"/>
                        </a:cubicBezTo>
                        <a:cubicBezTo>
                          <a:pt x="9896" y="118036"/>
                          <a:pt x="9896" y="118036"/>
                          <a:pt x="9896" y="118036"/>
                        </a:cubicBezTo>
                        <a:cubicBezTo>
                          <a:pt x="11134" y="118472"/>
                          <a:pt x="11134" y="118472"/>
                          <a:pt x="11134" y="118472"/>
                        </a:cubicBezTo>
                        <a:cubicBezTo>
                          <a:pt x="11958" y="117818"/>
                          <a:pt x="11958" y="117818"/>
                          <a:pt x="11958" y="117818"/>
                        </a:cubicBezTo>
                        <a:cubicBezTo>
                          <a:pt x="14432" y="118254"/>
                          <a:pt x="14432" y="118254"/>
                          <a:pt x="14432" y="118254"/>
                        </a:cubicBezTo>
                        <a:cubicBezTo>
                          <a:pt x="14432" y="118254"/>
                          <a:pt x="15257" y="118909"/>
                          <a:pt x="15670" y="119127"/>
                        </a:cubicBezTo>
                        <a:cubicBezTo>
                          <a:pt x="15670" y="119345"/>
                          <a:pt x="15670" y="120000"/>
                          <a:pt x="16082" y="120000"/>
                        </a:cubicBezTo>
                        <a:cubicBezTo>
                          <a:pt x="16494" y="119781"/>
                          <a:pt x="18556" y="119127"/>
                          <a:pt x="18556" y="119127"/>
                        </a:cubicBezTo>
                        <a:cubicBezTo>
                          <a:pt x="17731" y="118254"/>
                          <a:pt x="17731" y="118254"/>
                          <a:pt x="17731" y="118254"/>
                        </a:cubicBezTo>
                        <a:cubicBezTo>
                          <a:pt x="17731" y="118254"/>
                          <a:pt x="18969" y="118036"/>
                          <a:pt x="19793" y="118036"/>
                        </a:cubicBezTo>
                        <a:cubicBezTo>
                          <a:pt x="20618" y="118036"/>
                          <a:pt x="21443" y="118254"/>
                          <a:pt x="21855" y="117818"/>
                        </a:cubicBezTo>
                        <a:cubicBezTo>
                          <a:pt x="21855" y="117600"/>
                          <a:pt x="23092" y="117600"/>
                          <a:pt x="23092" y="117600"/>
                        </a:cubicBezTo>
                        <a:cubicBezTo>
                          <a:pt x="23092" y="117600"/>
                          <a:pt x="23917" y="116945"/>
                          <a:pt x="23917" y="116945"/>
                        </a:cubicBezTo>
                        <a:cubicBezTo>
                          <a:pt x="23917" y="116727"/>
                          <a:pt x="25154" y="116290"/>
                          <a:pt x="25154" y="116290"/>
                        </a:cubicBezTo>
                        <a:cubicBezTo>
                          <a:pt x="25154" y="116290"/>
                          <a:pt x="28041" y="116945"/>
                          <a:pt x="28453" y="116945"/>
                        </a:cubicBezTo>
                        <a:cubicBezTo>
                          <a:pt x="28865" y="116945"/>
                          <a:pt x="31752" y="116509"/>
                          <a:pt x="31752" y="116509"/>
                        </a:cubicBezTo>
                        <a:cubicBezTo>
                          <a:pt x="32989" y="117163"/>
                          <a:pt x="32989" y="117163"/>
                          <a:pt x="32989" y="117163"/>
                        </a:cubicBezTo>
                        <a:cubicBezTo>
                          <a:pt x="32989" y="117163"/>
                          <a:pt x="32989" y="117600"/>
                          <a:pt x="33814" y="117818"/>
                        </a:cubicBezTo>
                        <a:cubicBezTo>
                          <a:pt x="34639" y="117818"/>
                          <a:pt x="35051" y="117818"/>
                          <a:pt x="35051" y="117818"/>
                        </a:cubicBezTo>
                        <a:cubicBezTo>
                          <a:pt x="36288" y="118690"/>
                          <a:pt x="36288" y="118690"/>
                          <a:pt x="36288" y="118690"/>
                        </a:cubicBezTo>
                        <a:cubicBezTo>
                          <a:pt x="37525" y="119127"/>
                          <a:pt x="37525" y="119127"/>
                          <a:pt x="37525" y="119127"/>
                        </a:cubicBezTo>
                        <a:cubicBezTo>
                          <a:pt x="37525" y="119127"/>
                          <a:pt x="38762" y="119127"/>
                          <a:pt x="38762" y="118909"/>
                        </a:cubicBezTo>
                        <a:cubicBezTo>
                          <a:pt x="38762" y="118690"/>
                          <a:pt x="39175" y="118254"/>
                          <a:pt x="39587" y="118036"/>
                        </a:cubicBezTo>
                        <a:cubicBezTo>
                          <a:pt x="40000" y="118036"/>
                          <a:pt x="41237" y="117818"/>
                          <a:pt x="41237" y="117818"/>
                        </a:cubicBezTo>
                        <a:cubicBezTo>
                          <a:pt x="41237" y="117818"/>
                          <a:pt x="41237" y="117381"/>
                          <a:pt x="41237" y="117163"/>
                        </a:cubicBezTo>
                        <a:cubicBezTo>
                          <a:pt x="41237" y="116727"/>
                          <a:pt x="41237" y="116072"/>
                          <a:pt x="41649" y="115854"/>
                        </a:cubicBezTo>
                        <a:cubicBezTo>
                          <a:pt x="41649" y="115854"/>
                          <a:pt x="42886" y="114981"/>
                          <a:pt x="42886" y="114981"/>
                        </a:cubicBezTo>
                        <a:cubicBezTo>
                          <a:pt x="44948" y="114763"/>
                          <a:pt x="44948" y="114763"/>
                          <a:pt x="44948" y="114763"/>
                        </a:cubicBezTo>
                        <a:cubicBezTo>
                          <a:pt x="49896" y="114545"/>
                          <a:pt x="49896" y="114545"/>
                          <a:pt x="49896" y="114545"/>
                        </a:cubicBezTo>
                        <a:cubicBezTo>
                          <a:pt x="51546" y="114545"/>
                          <a:pt x="51546" y="114545"/>
                          <a:pt x="51546" y="114545"/>
                        </a:cubicBezTo>
                        <a:cubicBezTo>
                          <a:pt x="53608" y="115418"/>
                          <a:pt x="53608" y="115418"/>
                          <a:pt x="53608" y="115418"/>
                        </a:cubicBezTo>
                        <a:cubicBezTo>
                          <a:pt x="55670" y="116509"/>
                          <a:pt x="55670" y="116509"/>
                          <a:pt x="55670" y="116509"/>
                        </a:cubicBezTo>
                        <a:cubicBezTo>
                          <a:pt x="55670" y="116509"/>
                          <a:pt x="56907" y="117381"/>
                          <a:pt x="56907" y="117163"/>
                        </a:cubicBezTo>
                        <a:cubicBezTo>
                          <a:pt x="57319" y="116727"/>
                          <a:pt x="57731" y="115854"/>
                          <a:pt x="58144" y="115854"/>
                        </a:cubicBezTo>
                        <a:cubicBezTo>
                          <a:pt x="58556" y="115854"/>
                          <a:pt x="59793" y="116727"/>
                          <a:pt x="59793" y="116727"/>
                        </a:cubicBezTo>
                        <a:cubicBezTo>
                          <a:pt x="61443" y="116945"/>
                          <a:pt x="61443" y="116945"/>
                          <a:pt x="61443" y="116945"/>
                        </a:cubicBezTo>
                        <a:cubicBezTo>
                          <a:pt x="62680" y="116945"/>
                          <a:pt x="62680" y="116945"/>
                          <a:pt x="62680" y="116945"/>
                        </a:cubicBezTo>
                        <a:cubicBezTo>
                          <a:pt x="63917" y="116290"/>
                          <a:pt x="63917" y="116290"/>
                          <a:pt x="63917" y="116290"/>
                        </a:cubicBezTo>
                        <a:cubicBezTo>
                          <a:pt x="63092" y="115636"/>
                          <a:pt x="63092" y="115636"/>
                          <a:pt x="63092" y="115636"/>
                        </a:cubicBezTo>
                        <a:cubicBezTo>
                          <a:pt x="64742" y="115854"/>
                          <a:pt x="64742" y="115854"/>
                          <a:pt x="64742" y="115854"/>
                        </a:cubicBezTo>
                        <a:cubicBezTo>
                          <a:pt x="69278" y="116072"/>
                          <a:pt x="69278" y="116072"/>
                          <a:pt x="69278" y="116072"/>
                        </a:cubicBezTo>
                        <a:cubicBezTo>
                          <a:pt x="71340" y="115854"/>
                          <a:pt x="71340" y="115854"/>
                          <a:pt x="71340" y="115854"/>
                        </a:cubicBezTo>
                        <a:cubicBezTo>
                          <a:pt x="72989" y="115636"/>
                          <a:pt x="72989" y="115636"/>
                          <a:pt x="72989" y="115636"/>
                        </a:cubicBezTo>
                        <a:cubicBezTo>
                          <a:pt x="72989" y="116072"/>
                          <a:pt x="72989" y="116072"/>
                          <a:pt x="72989" y="116072"/>
                        </a:cubicBezTo>
                        <a:cubicBezTo>
                          <a:pt x="70515" y="116509"/>
                          <a:pt x="70515" y="116509"/>
                          <a:pt x="70515" y="116509"/>
                        </a:cubicBezTo>
                        <a:cubicBezTo>
                          <a:pt x="70515" y="116509"/>
                          <a:pt x="69278" y="116509"/>
                          <a:pt x="69690" y="116727"/>
                        </a:cubicBezTo>
                        <a:cubicBezTo>
                          <a:pt x="70103" y="117163"/>
                          <a:pt x="72164" y="117600"/>
                          <a:pt x="72164" y="117600"/>
                        </a:cubicBezTo>
                        <a:cubicBezTo>
                          <a:pt x="72164" y="117600"/>
                          <a:pt x="70927" y="117818"/>
                          <a:pt x="72577" y="117818"/>
                        </a:cubicBezTo>
                        <a:cubicBezTo>
                          <a:pt x="74226" y="117818"/>
                          <a:pt x="75051" y="117600"/>
                          <a:pt x="75051" y="117600"/>
                        </a:cubicBezTo>
                        <a:cubicBezTo>
                          <a:pt x="76288" y="116945"/>
                          <a:pt x="76288" y="116945"/>
                          <a:pt x="76288" y="116945"/>
                        </a:cubicBezTo>
                        <a:cubicBezTo>
                          <a:pt x="75463" y="116509"/>
                          <a:pt x="75463" y="116509"/>
                          <a:pt x="75463" y="116509"/>
                        </a:cubicBezTo>
                        <a:cubicBezTo>
                          <a:pt x="73402" y="116290"/>
                          <a:pt x="73402" y="116290"/>
                          <a:pt x="73402" y="116290"/>
                        </a:cubicBezTo>
                        <a:cubicBezTo>
                          <a:pt x="73814" y="115418"/>
                          <a:pt x="73814" y="115418"/>
                          <a:pt x="73814" y="115418"/>
                        </a:cubicBezTo>
                        <a:cubicBezTo>
                          <a:pt x="74226" y="115418"/>
                          <a:pt x="74226" y="115418"/>
                          <a:pt x="74226" y="115418"/>
                        </a:cubicBezTo>
                        <a:cubicBezTo>
                          <a:pt x="75463" y="116072"/>
                          <a:pt x="75463" y="116072"/>
                          <a:pt x="75463" y="116072"/>
                        </a:cubicBezTo>
                        <a:cubicBezTo>
                          <a:pt x="76701" y="115636"/>
                          <a:pt x="76701" y="115636"/>
                          <a:pt x="76701" y="115636"/>
                        </a:cubicBezTo>
                        <a:cubicBezTo>
                          <a:pt x="78350" y="115854"/>
                          <a:pt x="78350" y="115854"/>
                          <a:pt x="78350" y="115854"/>
                        </a:cubicBezTo>
                        <a:cubicBezTo>
                          <a:pt x="79175" y="116727"/>
                          <a:pt x="79175" y="116727"/>
                          <a:pt x="79175" y="116727"/>
                        </a:cubicBezTo>
                        <a:cubicBezTo>
                          <a:pt x="79175" y="116727"/>
                          <a:pt x="80000" y="117163"/>
                          <a:pt x="80824" y="116727"/>
                        </a:cubicBezTo>
                        <a:cubicBezTo>
                          <a:pt x="81649" y="116509"/>
                          <a:pt x="82474" y="116290"/>
                          <a:pt x="82474" y="116290"/>
                        </a:cubicBezTo>
                        <a:cubicBezTo>
                          <a:pt x="87422" y="116509"/>
                          <a:pt x="87422" y="116509"/>
                          <a:pt x="87422" y="116509"/>
                        </a:cubicBezTo>
                        <a:cubicBezTo>
                          <a:pt x="87422" y="116509"/>
                          <a:pt x="89896" y="116290"/>
                          <a:pt x="90309" y="116727"/>
                        </a:cubicBezTo>
                        <a:cubicBezTo>
                          <a:pt x="90721" y="116945"/>
                          <a:pt x="91958" y="117381"/>
                          <a:pt x="91958" y="117381"/>
                        </a:cubicBezTo>
                        <a:cubicBezTo>
                          <a:pt x="94020" y="117600"/>
                          <a:pt x="94020" y="117600"/>
                          <a:pt x="94020" y="117600"/>
                        </a:cubicBezTo>
                        <a:cubicBezTo>
                          <a:pt x="96082" y="117600"/>
                          <a:pt x="96082" y="117600"/>
                          <a:pt x="96082" y="117600"/>
                        </a:cubicBezTo>
                        <a:cubicBezTo>
                          <a:pt x="96082" y="117600"/>
                          <a:pt x="96907" y="117163"/>
                          <a:pt x="97319" y="116945"/>
                        </a:cubicBezTo>
                        <a:cubicBezTo>
                          <a:pt x="98144" y="116945"/>
                          <a:pt x="99381" y="116509"/>
                          <a:pt x="99793" y="116509"/>
                        </a:cubicBezTo>
                        <a:cubicBezTo>
                          <a:pt x="100618" y="116509"/>
                          <a:pt x="102680" y="116290"/>
                          <a:pt x="102680" y="116290"/>
                        </a:cubicBezTo>
                        <a:cubicBezTo>
                          <a:pt x="103092" y="116290"/>
                          <a:pt x="103505" y="116509"/>
                          <a:pt x="104329" y="116290"/>
                        </a:cubicBezTo>
                        <a:cubicBezTo>
                          <a:pt x="104742" y="116290"/>
                          <a:pt x="105979" y="115200"/>
                          <a:pt x="105979" y="115200"/>
                        </a:cubicBezTo>
                        <a:cubicBezTo>
                          <a:pt x="105979" y="115200"/>
                          <a:pt x="106391" y="114763"/>
                          <a:pt x="107216" y="114763"/>
                        </a:cubicBezTo>
                        <a:cubicBezTo>
                          <a:pt x="108041" y="114763"/>
                          <a:pt x="109278" y="114763"/>
                          <a:pt x="109690" y="114545"/>
                        </a:cubicBezTo>
                        <a:cubicBezTo>
                          <a:pt x="110103" y="114109"/>
                          <a:pt x="110515" y="113890"/>
                          <a:pt x="110927" y="113672"/>
                        </a:cubicBezTo>
                        <a:cubicBezTo>
                          <a:pt x="111340" y="113454"/>
                          <a:pt x="112164" y="112800"/>
                          <a:pt x="111752" y="112581"/>
                        </a:cubicBezTo>
                        <a:cubicBezTo>
                          <a:pt x="111752" y="112363"/>
                          <a:pt x="112164" y="111490"/>
                          <a:pt x="112164" y="111490"/>
                        </a:cubicBezTo>
                        <a:cubicBezTo>
                          <a:pt x="112164" y="111490"/>
                          <a:pt x="110927" y="111490"/>
                          <a:pt x="110515" y="111490"/>
                        </a:cubicBezTo>
                        <a:cubicBezTo>
                          <a:pt x="110103" y="111272"/>
                          <a:pt x="108453" y="111490"/>
                          <a:pt x="108041" y="111272"/>
                        </a:cubicBezTo>
                        <a:cubicBezTo>
                          <a:pt x="107628" y="111272"/>
                          <a:pt x="105979" y="111272"/>
                          <a:pt x="105979" y="111272"/>
                        </a:cubicBezTo>
                        <a:cubicBezTo>
                          <a:pt x="105567" y="110836"/>
                          <a:pt x="105567" y="110836"/>
                          <a:pt x="105567" y="110836"/>
                        </a:cubicBezTo>
                        <a:cubicBezTo>
                          <a:pt x="105567" y="110836"/>
                          <a:pt x="105154" y="110618"/>
                          <a:pt x="104742" y="110400"/>
                        </a:cubicBezTo>
                        <a:cubicBezTo>
                          <a:pt x="104329" y="110400"/>
                          <a:pt x="104742" y="110400"/>
                          <a:pt x="103917" y="110181"/>
                        </a:cubicBezTo>
                        <a:cubicBezTo>
                          <a:pt x="103505" y="110181"/>
                          <a:pt x="102680" y="109745"/>
                          <a:pt x="102680" y="109745"/>
                        </a:cubicBezTo>
                        <a:cubicBezTo>
                          <a:pt x="101443" y="109527"/>
                          <a:pt x="101443" y="109527"/>
                          <a:pt x="101443" y="109527"/>
                        </a:cubicBezTo>
                        <a:cubicBezTo>
                          <a:pt x="99793" y="109527"/>
                          <a:pt x="99793" y="109527"/>
                          <a:pt x="99793" y="109527"/>
                        </a:cubicBezTo>
                        <a:cubicBezTo>
                          <a:pt x="101443" y="109090"/>
                          <a:pt x="101443" y="109090"/>
                          <a:pt x="101443" y="109090"/>
                        </a:cubicBezTo>
                        <a:cubicBezTo>
                          <a:pt x="101443" y="109090"/>
                          <a:pt x="103092" y="109090"/>
                          <a:pt x="103505" y="109090"/>
                        </a:cubicBezTo>
                        <a:cubicBezTo>
                          <a:pt x="103917" y="109309"/>
                          <a:pt x="105567" y="109309"/>
                          <a:pt x="105567" y="109090"/>
                        </a:cubicBezTo>
                        <a:cubicBezTo>
                          <a:pt x="105979" y="109090"/>
                          <a:pt x="107216" y="108000"/>
                          <a:pt x="107216" y="108000"/>
                        </a:cubicBezTo>
                        <a:cubicBezTo>
                          <a:pt x="106804" y="107345"/>
                          <a:pt x="106804" y="107345"/>
                          <a:pt x="106804" y="107345"/>
                        </a:cubicBezTo>
                        <a:cubicBezTo>
                          <a:pt x="105979" y="106909"/>
                          <a:pt x="105979" y="106909"/>
                          <a:pt x="105979" y="106909"/>
                        </a:cubicBezTo>
                        <a:cubicBezTo>
                          <a:pt x="104329" y="107127"/>
                          <a:pt x="104329" y="107127"/>
                          <a:pt x="104329" y="107127"/>
                        </a:cubicBezTo>
                        <a:cubicBezTo>
                          <a:pt x="106804" y="106472"/>
                          <a:pt x="106804" y="106472"/>
                          <a:pt x="106804" y="106472"/>
                        </a:cubicBezTo>
                        <a:cubicBezTo>
                          <a:pt x="107628" y="106036"/>
                          <a:pt x="107628" y="106036"/>
                          <a:pt x="107628" y="106036"/>
                        </a:cubicBezTo>
                        <a:cubicBezTo>
                          <a:pt x="108865" y="106472"/>
                          <a:pt x="108865" y="106472"/>
                          <a:pt x="108865" y="106472"/>
                        </a:cubicBezTo>
                        <a:cubicBezTo>
                          <a:pt x="108865" y="106472"/>
                          <a:pt x="110927" y="106690"/>
                          <a:pt x="110927" y="106472"/>
                        </a:cubicBezTo>
                        <a:cubicBezTo>
                          <a:pt x="111340" y="106254"/>
                          <a:pt x="111752" y="105818"/>
                          <a:pt x="111752" y="105818"/>
                        </a:cubicBezTo>
                        <a:cubicBezTo>
                          <a:pt x="111752" y="105163"/>
                          <a:pt x="111752" y="105163"/>
                          <a:pt x="111752" y="105163"/>
                        </a:cubicBezTo>
                        <a:cubicBezTo>
                          <a:pt x="115876" y="103636"/>
                          <a:pt x="115876" y="103636"/>
                          <a:pt x="115876" y="103636"/>
                        </a:cubicBezTo>
                        <a:cubicBezTo>
                          <a:pt x="117525" y="102327"/>
                          <a:pt x="117525" y="102327"/>
                          <a:pt x="117525" y="102327"/>
                        </a:cubicBezTo>
                        <a:cubicBezTo>
                          <a:pt x="117938" y="101018"/>
                          <a:pt x="117938" y="101018"/>
                          <a:pt x="117938" y="101018"/>
                        </a:cubicBezTo>
                        <a:cubicBezTo>
                          <a:pt x="120000" y="99054"/>
                          <a:pt x="120000" y="99054"/>
                          <a:pt x="120000" y="99054"/>
                        </a:cubicBezTo>
                        <a:cubicBezTo>
                          <a:pt x="119587" y="96436"/>
                          <a:pt x="119587" y="96436"/>
                          <a:pt x="119587" y="96436"/>
                        </a:cubicBezTo>
                        <a:cubicBezTo>
                          <a:pt x="117525" y="94690"/>
                          <a:pt x="117525" y="94690"/>
                          <a:pt x="117525" y="94690"/>
                        </a:cubicBezTo>
                        <a:cubicBezTo>
                          <a:pt x="117525" y="94690"/>
                          <a:pt x="115051" y="93600"/>
                          <a:pt x="114226" y="93381"/>
                        </a:cubicBezTo>
                        <a:cubicBezTo>
                          <a:pt x="113402" y="93381"/>
                          <a:pt x="108865" y="92727"/>
                          <a:pt x="108865" y="92727"/>
                        </a:cubicBezTo>
                        <a:cubicBezTo>
                          <a:pt x="105567" y="92290"/>
                          <a:pt x="105567" y="92290"/>
                          <a:pt x="105567" y="92290"/>
                        </a:cubicBezTo>
                        <a:cubicBezTo>
                          <a:pt x="103917" y="92727"/>
                          <a:pt x="103917" y="92727"/>
                          <a:pt x="103917" y="92727"/>
                        </a:cubicBezTo>
                        <a:cubicBezTo>
                          <a:pt x="103505" y="93381"/>
                          <a:pt x="103505" y="93381"/>
                          <a:pt x="103505" y="93381"/>
                        </a:cubicBezTo>
                        <a:cubicBezTo>
                          <a:pt x="102268" y="93818"/>
                          <a:pt x="102268" y="93818"/>
                          <a:pt x="102268" y="93818"/>
                        </a:cubicBezTo>
                        <a:cubicBezTo>
                          <a:pt x="102268" y="93818"/>
                          <a:pt x="101030" y="94254"/>
                          <a:pt x="101030" y="94254"/>
                        </a:cubicBezTo>
                        <a:cubicBezTo>
                          <a:pt x="100618" y="94254"/>
                          <a:pt x="99793" y="93600"/>
                          <a:pt x="99793" y="93600"/>
                        </a:cubicBezTo>
                        <a:cubicBezTo>
                          <a:pt x="99793" y="93600"/>
                          <a:pt x="98556" y="92945"/>
                          <a:pt x="98556" y="92945"/>
                        </a:cubicBezTo>
                        <a:cubicBezTo>
                          <a:pt x="98144" y="92945"/>
                          <a:pt x="96907" y="92727"/>
                          <a:pt x="96907" y="92727"/>
                        </a:cubicBezTo>
                        <a:cubicBezTo>
                          <a:pt x="98556" y="92072"/>
                          <a:pt x="98556" y="92072"/>
                          <a:pt x="98556" y="92072"/>
                        </a:cubicBezTo>
                        <a:cubicBezTo>
                          <a:pt x="100618" y="91636"/>
                          <a:pt x="100618" y="91636"/>
                          <a:pt x="100618" y="91636"/>
                        </a:cubicBezTo>
                        <a:cubicBezTo>
                          <a:pt x="100618" y="91636"/>
                          <a:pt x="101443" y="91200"/>
                          <a:pt x="101443" y="90981"/>
                        </a:cubicBezTo>
                        <a:cubicBezTo>
                          <a:pt x="101855" y="90981"/>
                          <a:pt x="102680" y="90545"/>
                          <a:pt x="102680" y="90545"/>
                        </a:cubicBezTo>
                        <a:cubicBezTo>
                          <a:pt x="103092" y="88800"/>
                          <a:pt x="103092" y="88800"/>
                          <a:pt x="103092" y="88800"/>
                        </a:cubicBezTo>
                        <a:cubicBezTo>
                          <a:pt x="102268" y="87054"/>
                          <a:pt x="102268" y="87054"/>
                          <a:pt x="102268" y="87054"/>
                        </a:cubicBezTo>
                        <a:cubicBezTo>
                          <a:pt x="101030" y="86181"/>
                          <a:pt x="101030" y="86181"/>
                          <a:pt x="101030" y="86181"/>
                        </a:cubicBezTo>
                        <a:cubicBezTo>
                          <a:pt x="100206" y="85309"/>
                          <a:pt x="100206" y="85309"/>
                          <a:pt x="100206" y="85309"/>
                        </a:cubicBezTo>
                        <a:cubicBezTo>
                          <a:pt x="99381" y="85309"/>
                          <a:pt x="99381" y="85309"/>
                          <a:pt x="99381" y="85309"/>
                        </a:cubicBezTo>
                        <a:cubicBezTo>
                          <a:pt x="97731" y="84654"/>
                          <a:pt x="97731" y="84654"/>
                          <a:pt x="97731" y="84654"/>
                        </a:cubicBezTo>
                        <a:cubicBezTo>
                          <a:pt x="96494" y="83781"/>
                          <a:pt x="96494" y="83781"/>
                          <a:pt x="96494" y="83781"/>
                        </a:cubicBezTo>
                        <a:cubicBezTo>
                          <a:pt x="96082" y="83127"/>
                          <a:pt x="96082" y="83127"/>
                          <a:pt x="96082" y="83127"/>
                        </a:cubicBezTo>
                        <a:cubicBezTo>
                          <a:pt x="96494" y="82690"/>
                          <a:pt x="96494" y="82690"/>
                          <a:pt x="96494" y="82690"/>
                        </a:cubicBezTo>
                        <a:cubicBezTo>
                          <a:pt x="96907" y="82909"/>
                          <a:pt x="96907" y="82909"/>
                          <a:pt x="96907" y="82909"/>
                        </a:cubicBezTo>
                        <a:cubicBezTo>
                          <a:pt x="96907" y="82909"/>
                          <a:pt x="96907" y="83345"/>
                          <a:pt x="97319" y="83345"/>
                        </a:cubicBezTo>
                        <a:cubicBezTo>
                          <a:pt x="97319" y="83563"/>
                          <a:pt x="97731" y="83781"/>
                          <a:pt x="97731" y="83781"/>
                        </a:cubicBezTo>
                        <a:cubicBezTo>
                          <a:pt x="98144" y="84000"/>
                          <a:pt x="99793" y="84436"/>
                          <a:pt x="99793" y="84436"/>
                        </a:cubicBezTo>
                        <a:cubicBezTo>
                          <a:pt x="100618" y="84436"/>
                          <a:pt x="100618" y="84436"/>
                          <a:pt x="100618" y="84436"/>
                        </a:cubicBezTo>
                        <a:cubicBezTo>
                          <a:pt x="101443" y="85090"/>
                          <a:pt x="101443" y="85090"/>
                          <a:pt x="101443" y="85090"/>
                        </a:cubicBezTo>
                        <a:cubicBezTo>
                          <a:pt x="101443" y="85090"/>
                          <a:pt x="101855" y="84436"/>
                          <a:pt x="101855" y="84436"/>
                        </a:cubicBezTo>
                        <a:cubicBezTo>
                          <a:pt x="101855" y="84218"/>
                          <a:pt x="100618" y="83345"/>
                          <a:pt x="100618" y="83345"/>
                        </a:cubicBezTo>
                        <a:cubicBezTo>
                          <a:pt x="100206" y="83345"/>
                          <a:pt x="99793" y="82472"/>
                          <a:pt x="99793" y="82472"/>
                        </a:cubicBezTo>
                        <a:cubicBezTo>
                          <a:pt x="99381" y="82254"/>
                          <a:pt x="98556" y="80945"/>
                          <a:pt x="98556" y="80945"/>
                        </a:cubicBezTo>
                        <a:cubicBezTo>
                          <a:pt x="98556" y="80945"/>
                          <a:pt x="98144" y="80509"/>
                          <a:pt x="98144" y="80290"/>
                        </a:cubicBezTo>
                        <a:cubicBezTo>
                          <a:pt x="98144" y="80290"/>
                          <a:pt x="98144" y="79200"/>
                          <a:pt x="98144" y="79200"/>
                        </a:cubicBezTo>
                        <a:cubicBezTo>
                          <a:pt x="98969" y="78981"/>
                          <a:pt x="98969" y="78981"/>
                          <a:pt x="98969" y="78981"/>
                        </a:cubicBezTo>
                        <a:cubicBezTo>
                          <a:pt x="99793" y="78545"/>
                          <a:pt x="99793" y="78545"/>
                          <a:pt x="99793" y="78545"/>
                        </a:cubicBezTo>
                        <a:cubicBezTo>
                          <a:pt x="99793" y="78545"/>
                          <a:pt x="99381" y="78545"/>
                          <a:pt x="99381" y="78327"/>
                        </a:cubicBezTo>
                        <a:cubicBezTo>
                          <a:pt x="98969" y="77890"/>
                          <a:pt x="98144" y="77454"/>
                          <a:pt x="98144" y="77454"/>
                        </a:cubicBezTo>
                        <a:cubicBezTo>
                          <a:pt x="98144" y="77454"/>
                          <a:pt x="97319" y="77236"/>
                          <a:pt x="96907" y="77018"/>
                        </a:cubicBezTo>
                        <a:cubicBezTo>
                          <a:pt x="96907" y="76581"/>
                          <a:pt x="96494" y="76145"/>
                          <a:pt x="96494" y="76145"/>
                        </a:cubicBezTo>
                        <a:cubicBezTo>
                          <a:pt x="96494" y="75927"/>
                          <a:pt x="96082" y="74618"/>
                          <a:pt x="96082" y="74618"/>
                        </a:cubicBezTo>
                        <a:cubicBezTo>
                          <a:pt x="94020" y="73527"/>
                          <a:pt x="94020" y="73527"/>
                          <a:pt x="94020" y="73527"/>
                        </a:cubicBezTo>
                        <a:cubicBezTo>
                          <a:pt x="94020" y="73527"/>
                          <a:pt x="93195" y="73090"/>
                          <a:pt x="92783" y="72872"/>
                        </a:cubicBezTo>
                        <a:cubicBezTo>
                          <a:pt x="92783" y="72872"/>
                          <a:pt x="91546" y="72654"/>
                          <a:pt x="91546" y="72654"/>
                        </a:cubicBezTo>
                        <a:cubicBezTo>
                          <a:pt x="91134" y="72654"/>
                          <a:pt x="89072" y="72000"/>
                          <a:pt x="89072" y="72000"/>
                        </a:cubicBezTo>
                        <a:cubicBezTo>
                          <a:pt x="89072" y="72000"/>
                          <a:pt x="87422" y="70909"/>
                          <a:pt x="87422" y="70690"/>
                        </a:cubicBezTo>
                        <a:cubicBezTo>
                          <a:pt x="87422" y="70472"/>
                          <a:pt x="86597" y="69163"/>
                          <a:pt x="86597" y="69163"/>
                        </a:cubicBezTo>
                        <a:cubicBezTo>
                          <a:pt x="86597" y="68290"/>
                          <a:pt x="86597" y="68290"/>
                          <a:pt x="86597" y="68290"/>
                        </a:cubicBezTo>
                        <a:cubicBezTo>
                          <a:pt x="85773" y="66545"/>
                          <a:pt x="85773" y="66545"/>
                          <a:pt x="85773" y="66545"/>
                        </a:cubicBezTo>
                        <a:cubicBezTo>
                          <a:pt x="85360" y="64800"/>
                          <a:pt x="85360" y="64800"/>
                          <a:pt x="85360" y="64800"/>
                        </a:cubicBezTo>
                        <a:cubicBezTo>
                          <a:pt x="85360" y="63054"/>
                          <a:pt x="85360" y="63054"/>
                          <a:pt x="85360" y="63054"/>
                        </a:cubicBezTo>
                        <a:cubicBezTo>
                          <a:pt x="85360" y="61527"/>
                          <a:pt x="85360" y="61527"/>
                          <a:pt x="85360" y="61527"/>
                        </a:cubicBezTo>
                        <a:cubicBezTo>
                          <a:pt x="85360" y="60218"/>
                          <a:pt x="85360" y="60218"/>
                          <a:pt x="85360" y="60218"/>
                        </a:cubicBezTo>
                        <a:cubicBezTo>
                          <a:pt x="83298" y="58909"/>
                          <a:pt x="83298" y="58909"/>
                          <a:pt x="83298" y="58909"/>
                        </a:cubicBezTo>
                        <a:cubicBezTo>
                          <a:pt x="82474" y="57600"/>
                          <a:pt x="82474" y="57600"/>
                          <a:pt x="82474" y="57600"/>
                        </a:cubicBezTo>
                        <a:cubicBezTo>
                          <a:pt x="80000" y="56290"/>
                          <a:pt x="80000" y="56290"/>
                          <a:pt x="80000" y="56290"/>
                        </a:cubicBezTo>
                        <a:cubicBezTo>
                          <a:pt x="78350" y="55200"/>
                          <a:pt x="78350" y="55200"/>
                          <a:pt x="78350" y="55200"/>
                        </a:cubicBezTo>
                        <a:cubicBezTo>
                          <a:pt x="77113" y="54981"/>
                          <a:pt x="77113" y="54981"/>
                          <a:pt x="77113" y="54981"/>
                        </a:cubicBezTo>
                        <a:cubicBezTo>
                          <a:pt x="75051" y="53672"/>
                          <a:pt x="75051" y="53672"/>
                          <a:pt x="75051" y="53672"/>
                        </a:cubicBezTo>
                        <a:cubicBezTo>
                          <a:pt x="73402" y="53454"/>
                          <a:pt x="73402" y="53454"/>
                          <a:pt x="73402" y="53454"/>
                        </a:cubicBezTo>
                        <a:cubicBezTo>
                          <a:pt x="71752" y="53890"/>
                          <a:pt x="71752" y="53890"/>
                          <a:pt x="71752" y="53890"/>
                        </a:cubicBezTo>
                        <a:cubicBezTo>
                          <a:pt x="70103" y="54109"/>
                          <a:pt x="70103" y="54109"/>
                          <a:pt x="70103" y="54109"/>
                        </a:cubicBezTo>
                        <a:cubicBezTo>
                          <a:pt x="68453" y="54327"/>
                          <a:pt x="68453" y="54327"/>
                          <a:pt x="68453" y="54327"/>
                        </a:cubicBezTo>
                        <a:cubicBezTo>
                          <a:pt x="65567" y="53672"/>
                          <a:pt x="65567" y="53672"/>
                          <a:pt x="65567" y="53672"/>
                        </a:cubicBezTo>
                        <a:cubicBezTo>
                          <a:pt x="64329" y="53018"/>
                          <a:pt x="64329" y="53018"/>
                          <a:pt x="64329" y="53018"/>
                        </a:cubicBezTo>
                        <a:cubicBezTo>
                          <a:pt x="62680" y="52800"/>
                          <a:pt x="62680" y="52800"/>
                          <a:pt x="62680" y="52800"/>
                        </a:cubicBezTo>
                        <a:cubicBezTo>
                          <a:pt x="61855" y="52800"/>
                          <a:pt x="61855" y="52800"/>
                          <a:pt x="61855" y="52800"/>
                        </a:cubicBezTo>
                        <a:cubicBezTo>
                          <a:pt x="61855" y="52800"/>
                          <a:pt x="61855" y="52581"/>
                          <a:pt x="61855" y="52581"/>
                        </a:cubicBezTo>
                        <a:cubicBezTo>
                          <a:pt x="61855" y="52581"/>
                          <a:pt x="62680" y="52581"/>
                          <a:pt x="62680" y="52581"/>
                        </a:cubicBezTo>
                        <a:cubicBezTo>
                          <a:pt x="62680" y="52581"/>
                          <a:pt x="63505" y="52800"/>
                          <a:pt x="63917" y="52800"/>
                        </a:cubicBezTo>
                        <a:cubicBezTo>
                          <a:pt x="63917" y="52800"/>
                          <a:pt x="65154" y="53018"/>
                          <a:pt x="65154" y="53018"/>
                        </a:cubicBezTo>
                        <a:cubicBezTo>
                          <a:pt x="65154" y="53018"/>
                          <a:pt x="65567" y="53236"/>
                          <a:pt x="65979" y="53236"/>
                        </a:cubicBezTo>
                        <a:cubicBezTo>
                          <a:pt x="66391" y="53236"/>
                          <a:pt x="67628" y="53236"/>
                          <a:pt x="67628" y="53236"/>
                        </a:cubicBezTo>
                        <a:cubicBezTo>
                          <a:pt x="68865" y="52800"/>
                          <a:pt x="68865" y="52800"/>
                          <a:pt x="68865" y="52800"/>
                        </a:cubicBezTo>
                        <a:cubicBezTo>
                          <a:pt x="69278" y="52145"/>
                          <a:pt x="69278" y="52145"/>
                          <a:pt x="69278" y="52145"/>
                        </a:cubicBezTo>
                        <a:cubicBezTo>
                          <a:pt x="70515" y="51927"/>
                          <a:pt x="70515" y="51927"/>
                          <a:pt x="70515" y="51927"/>
                        </a:cubicBezTo>
                        <a:cubicBezTo>
                          <a:pt x="71340" y="51709"/>
                          <a:pt x="71340" y="51709"/>
                          <a:pt x="71340" y="51709"/>
                        </a:cubicBezTo>
                        <a:cubicBezTo>
                          <a:pt x="72164" y="51709"/>
                          <a:pt x="72164" y="51709"/>
                          <a:pt x="72164" y="51709"/>
                        </a:cubicBezTo>
                        <a:cubicBezTo>
                          <a:pt x="72164" y="51709"/>
                          <a:pt x="72577" y="52145"/>
                          <a:pt x="73402" y="51927"/>
                        </a:cubicBezTo>
                        <a:cubicBezTo>
                          <a:pt x="74226" y="51927"/>
                          <a:pt x="74639" y="51709"/>
                          <a:pt x="74639" y="51709"/>
                        </a:cubicBezTo>
                        <a:cubicBezTo>
                          <a:pt x="74639" y="51709"/>
                          <a:pt x="76288" y="51272"/>
                          <a:pt x="75876" y="51272"/>
                        </a:cubicBezTo>
                        <a:cubicBezTo>
                          <a:pt x="75876" y="51054"/>
                          <a:pt x="75876" y="50836"/>
                          <a:pt x="75463" y="50836"/>
                        </a:cubicBezTo>
                        <a:cubicBezTo>
                          <a:pt x="75463" y="50618"/>
                          <a:pt x="74639" y="50181"/>
                          <a:pt x="74639" y="50181"/>
                        </a:cubicBezTo>
                        <a:cubicBezTo>
                          <a:pt x="74639" y="50181"/>
                          <a:pt x="74226" y="50181"/>
                          <a:pt x="74226" y="49963"/>
                        </a:cubicBezTo>
                        <a:cubicBezTo>
                          <a:pt x="74226" y="49745"/>
                          <a:pt x="74226" y="49309"/>
                          <a:pt x="74226" y="49309"/>
                        </a:cubicBezTo>
                        <a:cubicBezTo>
                          <a:pt x="73402" y="48872"/>
                          <a:pt x="73402" y="48872"/>
                          <a:pt x="73402" y="48872"/>
                        </a:cubicBezTo>
                        <a:cubicBezTo>
                          <a:pt x="73402" y="48872"/>
                          <a:pt x="72989" y="48872"/>
                          <a:pt x="72577" y="48872"/>
                        </a:cubicBezTo>
                        <a:cubicBezTo>
                          <a:pt x="72164" y="48872"/>
                          <a:pt x="71752" y="49090"/>
                          <a:pt x="71752" y="49090"/>
                        </a:cubicBezTo>
                        <a:cubicBezTo>
                          <a:pt x="70103" y="49309"/>
                          <a:pt x="70103" y="49309"/>
                          <a:pt x="70103" y="49309"/>
                        </a:cubicBezTo>
                        <a:cubicBezTo>
                          <a:pt x="68041" y="49527"/>
                          <a:pt x="68041" y="49527"/>
                          <a:pt x="68041" y="49527"/>
                        </a:cubicBezTo>
                        <a:cubicBezTo>
                          <a:pt x="68041" y="49309"/>
                          <a:pt x="68041" y="49309"/>
                          <a:pt x="68041" y="49309"/>
                        </a:cubicBezTo>
                        <a:cubicBezTo>
                          <a:pt x="70103" y="49090"/>
                          <a:pt x="70103" y="49090"/>
                          <a:pt x="70103" y="49090"/>
                        </a:cubicBezTo>
                        <a:cubicBezTo>
                          <a:pt x="71340" y="48654"/>
                          <a:pt x="71340" y="48654"/>
                          <a:pt x="71340" y="48654"/>
                        </a:cubicBezTo>
                        <a:cubicBezTo>
                          <a:pt x="71340" y="48654"/>
                          <a:pt x="71340" y="48436"/>
                          <a:pt x="71752" y="48436"/>
                        </a:cubicBezTo>
                        <a:cubicBezTo>
                          <a:pt x="72164" y="48436"/>
                          <a:pt x="73402" y="48654"/>
                          <a:pt x="73402" y="48654"/>
                        </a:cubicBezTo>
                        <a:cubicBezTo>
                          <a:pt x="73814" y="48654"/>
                          <a:pt x="75463" y="48654"/>
                          <a:pt x="75463" y="48654"/>
                        </a:cubicBezTo>
                        <a:cubicBezTo>
                          <a:pt x="75463" y="48654"/>
                          <a:pt x="76701" y="48218"/>
                          <a:pt x="76701" y="48000"/>
                        </a:cubicBezTo>
                        <a:cubicBezTo>
                          <a:pt x="77113" y="48000"/>
                          <a:pt x="78762" y="47563"/>
                          <a:pt x="78762" y="47563"/>
                        </a:cubicBezTo>
                        <a:cubicBezTo>
                          <a:pt x="78762" y="46909"/>
                          <a:pt x="78762" y="46909"/>
                          <a:pt x="78762" y="46909"/>
                        </a:cubicBezTo>
                        <a:cubicBezTo>
                          <a:pt x="78762" y="46909"/>
                          <a:pt x="79175" y="46254"/>
                          <a:pt x="79587" y="46254"/>
                        </a:cubicBezTo>
                        <a:cubicBezTo>
                          <a:pt x="79587" y="46254"/>
                          <a:pt x="81237" y="45600"/>
                          <a:pt x="81237" y="45600"/>
                        </a:cubicBezTo>
                        <a:cubicBezTo>
                          <a:pt x="82886" y="44727"/>
                          <a:pt x="82886" y="44727"/>
                          <a:pt x="82886" y="44727"/>
                        </a:cubicBezTo>
                        <a:cubicBezTo>
                          <a:pt x="83711" y="43636"/>
                          <a:pt x="83711" y="43636"/>
                          <a:pt x="83711" y="43636"/>
                        </a:cubicBezTo>
                        <a:cubicBezTo>
                          <a:pt x="84536" y="42763"/>
                          <a:pt x="84536" y="42763"/>
                          <a:pt x="84536" y="42763"/>
                        </a:cubicBezTo>
                        <a:cubicBezTo>
                          <a:pt x="84536" y="42763"/>
                          <a:pt x="86185" y="42109"/>
                          <a:pt x="85773" y="41890"/>
                        </a:cubicBezTo>
                        <a:cubicBezTo>
                          <a:pt x="85773" y="41454"/>
                          <a:pt x="85773" y="40800"/>
                          <a:pt x="85773" y="40800"/>
                        </a:cubicBezTo>
                        <a:cubicBezTo>
                          <a:pt x="85773" y="40800"/>
                          <a:pt x="87010" y="40363"/>
                          <a:pt x="87422" y="40145"/>
                        </a:cubicBezTo>
                        <a:cubicBezTo>
                          <a:pt x="87422" y="39927"/>
                          <a:pt x="90309" y="38836"/>
                          <a:pt x="90309" y="38836"/>
                        </a:cubicBezTo>
                        <a:cubicBezTo>
                          <a:pt x="90721" y="37745"/>
                          <a:pt x="90721" y="37745"/>
                          <a:pt x="90721" y="37745"/>
                        </a:cubicBezTo>
                        <a:cubicBezTo>
                          <a:pt x="90309" y="37309"/>
                          <a:pt x="90309" y="37309"/>
                          <a:pt x="90309" y="37309"/>
                        </a:cubicBezTo>
                        <a:cubicBezTo>
                          <a:pt x="89896" y="36654"/>
                          <a:pt x="89896" y="36654"/>
                          <a:pt x="89896" y="36654"/>
                        </a:cubicBezTo>
                        <a:cubicBezTo>
                          <a:pt x="89072" y="36000"/>
                          <a:pt x="89072" y="36000"/>
                          <a:pt x="89072" y="36000"/>
                        </a:cubicBezTo>
                        <a:cubicBezTo>
                          <a:pt x="88247" y="35345"/>
                          <a:pt x="88247" y="35345"/>
                          <a:pt x="88247" y="35345"/>
                        </a:cubicBezTo>
                        <a:cubicBezTo>
                          <a:pt x="86597" y="35345"/>
                          <a:pt x="86597" y="35345"/>
                          <a:pt x="86597" y="35345"/>
                        </a:cubicBezTo>
                        <a:cubicBezTo>
                          <a:pt x="86597" y="35345"/>
                          <a:pt x="86185" y="35781"/>
                          <a:pt x="86185" y="35563"/>
                        </a:cubicBezTo>
                        <a:cubicBezTo>
                          <a:pt x="85773" y="35563"/>
                          <a:pt x="84948" y="35127"/>
                          <a:pt x="84948" y="35127"/>
                        </a:cubicBezTo>
                        <a:cubicBezTo>
                          <a:pt x="83298" y="35345"/>
                          <a:pt x="83298" y="35345"/>
                          <a:pt x="83298" y="35345"/>
                        </a:cubicBezTo>
                        <a:cubicBezTo>
                          <a:pt x="81237" y="35127"/>
                          <a:pt x="81237" y="35127"/>
                          <a:pt x="81237" y="35127"/>
                        </a:cubicBezTo>
                        <a:cubicBezTo>
                          <a:pt x="80824" y="34690"/>
                          <a:pt x="80824" y="34690"/>
                          <a:pt x="80824" y="34690"/>
                        </a:cubicBezTo>
                        <a:cubicBezTo>
                          <a:pt x="79175" y="34690"/>
                          <a:pt x="79175" y="34690"/>
                          <a:pt x="79175" y="34690"/>
                        </a:cubicBezTo>
                        <a:cubicBezTo>
                          <a:pt x="78350" y="34472"/>
                          <a:pt x="78350" y="34472"/>
                          <a:pt x="78350" y="34472"/>
                        </a:cubicBezTo>
                        <a:cubicBezTo>
                          <a:pt x="76701" y="34690"/>
                          <a:pt x="76701" y="34690"/>
                          <a:pt x="76701" y="34690"/>
                        </a:cubicBezTo>
                        <a:cubicBezTo>
                          <a:pt x="75463" y="34690"/>
                          <a:pt x="75463" y="34690"/>
                          <a:pt x="75463" y="34690"/>
                        </a:cubicBezTo>
                        <a:cubicBezTo>
                          <a:pt x="74639" y="34472"/>
                          <a:pt x="74639" y="34472"/>
                          <a:pt x="74639" y="34472"/>
                        </a:cubicBezTo>
                        <a:cubicBezTo>
                          <a:pt x="73402" y="33818"/>
                          <a:pt x="73402" y="33818"/>
                          <a:pt x="73402" y="33818"/>
                        </a:cubicBezTo>
                        <a:cubicBezTo>
                          <a:pt x="70927" y="33818"/>
                          <a:pt x="70927" y="33818"/>
                          <a:pt x="70927" y="33818"/>
                        </a:cubicBezTo>
                        <a:cubicBezTo>
                          <a:pt x="70515" y="34254"/>
                          <a:pt x="70515" y="34254"/>
                          <a:pt x="70515" y="34254"/>
                        </a:cubicBezTo>
                        <a:cubicBezTo>
                          <a:pt x="68865" y="34254"/>
                          <a:pt x="68865" y="34254"/>
                          <a:pt x="68865" y="34254"/>
                        </a:cubicBezTo>
                        <a:cubicBezTo>
                          <a:pt x="68865" y="34254"/>
                          <a:pt x="68453" y="34254"/>
                          <a:pt x="68041" y="34254"/>
                        </a:cubicBezTo>
                        <a:cubicBezTo>
                          <a:pt x="68041" y="34254"/>
                          <a:pt x="67216" y="34472"/>
                          <a:pt x="67216" y="34472"/>
                        </a:cubicBezTo>
                        <a:cubicBezTo>
                          <a:pt x="66391" y="34690"/>
                          <a:pt x="66391" y="34690"/>
                          <a:pt x="66391" y="34690"/>
                        </a:cubicBezTo>
                        <a:cubicBezTo>
                          <a:pt x="65567" y="34690"/>
                          <a:pt x="65567" y="34690"/>
                          <a:pt x="65567" y="34690"/>
                        </a:cubicBezTo>
                        <a:cubicBezTo>
                          <a:pt x="63917" y="34472"/>
                          <a:pt x="63917" y="34472"/>
                          <a:pt x="63917" y="34472"/>
                        </a:cubicBezTo>
                        <a:cubicBezTo>
                          <a:pt x="63092" y="35127"/>
                          <a:pt x="63092" y="35127"/>
                          <a:pt x="63092" y="35127"/>
                        </a:cubicBezTo>
                        <a:cubicBezTo>
                          <a:pt x="61855" y="35345"/>
                          <a:pt x="61855" y="35345"/>
                          <a:pt x="61855" y="35345"/>
                        </a:cubicBezTo>
                        <a:cubicBezTo>
                          <a:pt x="60618" y="36000"/>
                          <a:pt x="60618" y="36000"/>
                          <a:pt x="60618" y="36000"/>
                        </a:cubicBezTo>
                        <a:cubicBezTo>
                          <a:pt x="61030" y="35345"/>
                          <a:pt x="61030" y="35345"/>
                          <a:pt x="61030" y="35345"/>
                        </a:cubicBezTo>
                        <a:cubicBezTo>
                          <a:pt x="61855" y="34909"/>
                          <a:pt x="61855" y="34909"/>
                          <a:pt x="61855" y="34909"/>
                        </a:cubicBezTo>
                        <a:cubicBezTo>
                          <a:pt x="63092" y="34690"/>
                          <a:pt x="63092" y="34690"/>
                          <a:pt x="63092" y="34690"/>
                        </a:cubicBezTo>
                        <a:cubicBezTo>
                          <a:pt x="63917" y="34036"/>
                          <a:pt x="63917" y="34036"/>
                          <a:pt x="63917" y="34036"/>
                        </a:cubicBezTo>
                        <a:cubicBezTo>
                          <a:pt x="63917" y="34036"/>
                          <a:pt x="64742" y="33818"/>
                          <a:pt x="64742" y="33600"/>
                        </a:cubicBezTo>
                        <a:cubicBezTo>
                          <a:pt x="65154" y="33600"/>
                          <a:pt x="65979" y="33163"/>
                          <a:pt x="65979" y="33163"/>
                        </a:cubicBezTo>
                        <a:cubicBezTo>
                          <a:pt x="64742" y="32945"/>
                          <a:pt x="64742" y="32945"/>
                          <a:pt x="64742" y="32945"/>
                        </a:cubicBezTo>
                        <a:cubicBezTo>
                          <a:pt x="63505" y="33381"/>
                          <a:pt x="63505" y="33381"/>
                          <a:pt x="63505" y="33381"/>
                        </a:cubicBezTo>
                        <a:cubicBezTo>
                          <a:pt x="63505" y="33381"/>
                          <a:pt x="63092" y="33381"/>
                          <a:pt x="62680" y="33381"/>
                        </a:cubicBezTo>
                        <a:cubicBezTo>
                          <a:pt x="62680" y="33381"/>
                          <a:pt x="61443" y="33600"/>
                          <a:pt x="61443" y="33600"/>
                        </a:cubicBezTo>
                        <a:cubicBezTo>
                          <a:pt x="58969" y="34036"/>
                          <a:pt x="58969" y="34036"/>
                          <a:pt x="58969" y="34036"/>
                        </a:cubicBezTo>
                        <a:cubicBezTo>
                          <a:pt x="61443" y="33381"/>
                          <a:pt x="61443" y="33381"/>
                          <a:pt x="61443" y="33381"/>
                        </a:cubicBezTo>
                        <a:cubicBezTo>
                          <a:pt x="61443" y="33381"/>
                          <a:pt x="62268" y="33163"/>
                          <a:pt x="62680" y="32945"/>
                        </a:cubicBezTo>
                        <a:cubicBezTo>
                          <a:pt x="63092" y="32945"/>
                          <a:pt x="63917" y="32727"/>
                          <a:pt x="63917" y="32727"/>
                        </a:cubicBezTo>
                        <a:cubicBezTo>
                          <a:pt x="64329" y="32727"/>
                          <a:pt x="65154" y="32509"/>
                          <a:pt x="65154" y="32509"/>
                        </a:cubicBezTo>
                        <a:cubicBezTo>
                          <a:pt x="65567" y="32727"/>
                          <a:pt x="66391" y="32945"/>
                          <a:pt x="66804" y="32727"/>
                        </a:cubicBezTo>
                        <a:cubicBezTo>
                          <a:pt x="66804" y="32727"/>
                          <a:pt x="67216" y="32290"/>
                          <a:pt x="67628" y="32290"/>
                        </a:cubicBezTo>
                        <a:cubicBezTo>
                          <a:pt x="67628" y="32072"/>
                          <a:pt x="68453" y="31636"/>
                          <a:pt x="68453" y="31636"/>
                        </a:cubicBezTo>
                        <a:cubicBezTo>
                          <a:pt x="65979" y="31636"/>
                          <a:pt x="65979" y="31636"/>
                          <a:pt x="65979" y="31636"/>
                        </a:cubicBezTo>
                        <a:cubicBezTo>
                          <a:pt x="65979" y="31636"/>
                          <a:pt x="65567" y="31854"/>
                          <a:pt x="65154" y="31854"/>
                        </a:cubicBezTo>
                        <a:cubicBezTo>
                          <a:pt x="64742" y="31636"/>
                          <a:pt x="63917" y="31636"/>
                          <a:pt x="63505" y="31418"/>
                        </a:cubicBezTo>
                        <a:cubicBezTo>
                          <a:pt x="63505" y="31418"/>
                          <a:pt x="63092" y="31200"/>
                          <a:pt x="63092" y="31200"/>
                        </a:cubicBezTo>
                        <a:cubicBezTo>
                          <a:pt x="62680" y="31200"/>
                          <a:pt x="61855" y="30763"/>
                          <a:pt x="61855" y="30763"/>
                        </a:cubicBezTo>
                        <a:cubicBezTo>
                          <a:pt x="62268" y="30545"/>
                          <a:pt x="62268" y="30545"/>
                          <a:pt x="62268" y="30545"/>
                        </a:cubicBezTo>
                        <a:cubicBezTo>
                          <a:pt x="63092" y="30981"/>
                          <a:pt x="63092" y="30981"/>
                          <a:pt x="63092" y="30981"/>
                        </a:cubicBezTo>
                        <a:cubicBezTo>
                          <a:pt x="63092" y="30981"/>
                          <a:pt x="63505" y="31200"/>
                          <a:pt x="63917" y="31200"/>
                        </a:cubicBezTo>
                        <a:cubicBezTo>
                          <a:pt x="64329" y="31200"/>
                          <a:pt x="64742" y="30981"/>
                          <a:pt x="65567" y="30981"/>
                        </a:cubicBezTo>
                        <a:cubicBezTo>
                          <a:pt x="65979" y="31200"/>
                          <a:pt x="66804" y="30545"/>
                          <a:pt x="66804" y="30545"/>
                        </a:cubicBezTo>
                        <a:cubicBezTo>
                          <a:pt x="66804" y="30545"/>
                          <a:pt x="65979" y="30545"/>
                          <a:pt x="67216" y="30327"/>
                        </a:cubicBezTo>
                        <a:cubicBezTo>
                          <a:pt x="68041" y="29890"/>
                          <a:pt x="67628" y="30109"/>
                          <a:pt x="68453" y="29672"/>
                        </a:cubicBezTo>
                        <a:cubicBezTo>
                          <a:pt x="69278" y="29454"/>
                          <a:pt x="71340" y="28800"/>
                          <a:pt x="71340" y="28800"/>
                        </a:cubicBezTo>
                        <a:cubicBezTo>
                          <a:pt x="73814" y="28363"/>
                          <a:pt x="73814" y="28363"/>
                          <a:pt x="73814" y="28363"/>
                        </a:cubicBezTo>
                        <a:cubicBezTo>
                          <a:pt x="75463" y="27272"/>
                          <a:pt x="75463" y="27272"/>
                          <a:pt x="75463" y="27272"/>
                        </a:cubicBezTo>
                        <a:cubicBezTo>
                          <a:pt x="76701" y="27272"/>
                          <a:pt x="76701" y="27272"/>
                          <a:pt x="76701" y="27272"/>
                        </a:cubicBezTo>
                        <a:cubicBezTo>
                          <a:pt x="78350" y="26400"/>
                          <a:pt x="78350" y="26400"/>
                          <a:pt x="78350" y="26400"/>
                        </a:cubicBezTo>
                        <a:cubicBezTo>
                          <a:pt x="79175" y="25963"/>
                          <a:pt x="79175" y="25963"/>
                          <a:pt x="79175" y="25963"/>
                        </a:cubicBezTo>
                        <a:cubicBezTo>
                          <a:pt x="78762" y="24872"/>
                          <a:pt x="78762" y="24872"/>
                          <a:pt x="78762" y="24872"/>
                        </a:cubicBezTo>
                        <a:cubicBezTo>
                          <a:pt x="79587" y="24000"/>
                          <a:pt x="79587" y="24000"/>
                          <a:pt x="79587" y="24000"/>
                        </a:cubicBezTo>
                        <a:cubicBezTo>
                          <a:pt x="79587" y="23345"/>
                          <a:pt x="79587" y="23345"/>
                          <a:pt x="79587" y="23345"/>
                        </a:cubicBezTo>
                        <a:cubicBezTo>
                          <a:pt x="78350" y="23127"/>
                          <a:pt x="78350" y="23127"/>
                          <a:pt x="78350" y="23127"/>
                        </a:cubicBezTo>
                        <a:cubicBezTo>
                          <a:pt x="75876" y="23127"/>
                          <a:pt x="75876" y="23127"/>
                          <a:pt x="75876" y="23127"/>
                        </a:cubicBezTo>
                        <a:cubicBezTo>
                          <a:pt x="75876" y="23127"/>
                          <a:pt x="75463" y="23781"/>
                          <a:pt x="75051" y="23563"/>
                        </a:cubicBezTo>
                        <a:cubicBezTo>
                          <a:pt x="75051" y="23563"/>
                          <a:pt x="73402" y="22909"/>
                          <a:pt x="72989" y="22909"/>
                        </a:cubicBezTo>
                        <a:cubicBezTo>
                          <a:pt x="72989" y="22909"/>
                          <a:pt x="71340" y="23563"/>
                          <a:pt x="71340" y="23563"/>
                        </a:cubicBezTo>
                        <a:cubicBezTo>
                          <a:pt x="70515" y="23563"/>
                          <a:pt x="70515" y="23563"/>
                          <a:pt x="70515" y="23563"/>
                        </a:cubicBezTo>
                        <a:cubicBezTo>
                          <a:pt x="70515" y="23563"/>
                          <a:pt x="70103" y="23563"/>
                          <a:pt x="69278" y="23563"/>
                        </a:cubicBezTo>
                        <a:cubicBezTo>
                          <a:pt x="68453" y="23345"/>
                          <a:pt x="66804" y="23127"/>
                          <a:pt x="66804" y="23127"/>
                        </a:cubicBezTo>
                        <a:cubicBezTo>
                          <a:pt x="65567" y="23563"/>
                          <a:pt x="65567" y="23563"/>
                          <a:pt x="65567" y="23563"/>
                        </a:cubicBezTo>
                        <a:cubicBezTo>
                          <a:pt x="64742" y="23345"/>
                          <a:pt x="64742" y="23345"/>
                          <a:pt x="64742" y="23345"/>
                        </a:cubicBezTo>
                        <a:cubicBezTo>
                          <a:pt x="63092" y="24000"/>
                          <a:pt x="63092" y="24000"/>
                          <a:pt x="63092" y="24000"/>
                        </a:cubicBezTo>
                        <a:cubicBezTo>
                          <a:pt x="63092" y="23563"/>
                          <a:pt x="63092" y="23563"/>
                          <a:pt x="63092" y="23563"/>
                        </a:cubicBezTo>
                        <a:cubicBezTo>
                          <a:pt x="63917" y="22909"/>
                          <a:pt x="63917" y="22909"/>
                          <a:pt x="63917" y="22909"/>
                        </a:cubicBezTo>
                        <a:cubicBezTo>
                          <a:pt x="63917" y="22909"/>
                          <a:pt x="63505" y="22690"/>
                          <a:pt x="63092" y="22690"/>
                        </a:cubicBezTo>
                        <a:cubicBezTo>
                          <a:pt x="63092" y="22690"/>
                          <a:pt x="62268" y="22472"/>
                          <a:pt x="62268" y="22472"/>
                        </a:cubicBezTo>
                        <a:cubicBezTo>
                          <a:pt x="61443" y="23127"/>
                          <a:pt x="61443" y="23127"/>
                          <a:pt x="61443" y="23127"/>
                        </a:cubicBezTo>
                        <a:cubicBezTo>
                          <a:pt x="59793" y="23563"/>
                          <a:pt x="59793" y="23563"/>
                          <a:pt x="59793" y="23563"/>
                        </a:cubicBezTo>
                        <a:cubicBezTo>
                          <a:pt x="60206" y="23345"/>
                          <a:pt x="60206" y="23345"/>
                          <a:pt x="60206" y="23345"/>
                        </a:cubicBezTo>
                        <a:cubicBezTo>
                          <a:pt x="61443" y="22909"/>
                          <a:pt x="61443" y="22909"/>
                          <a:pt x="61443" y="22909"/>
                        </a:cubicBezTo>
                        <a:cubicBezTo>
                          <a:pt x="61443" y="22472"/>
                          <a:pt x="61443" y="22472"/>
                          <a:pt x="61443" y="22472"/>
                        </a:cubicBezTo>
                        <a:cubicBezTo>
                          <a:pt x="61443" y="22472"/>
                          <a:pt x="61030" y="22472"/>
                          <a:pt x="61030" y="22472"/>
                        </a:cubicBezTo>
                        <a:cubicBezTo>
                          <a:pt x="60618" y="22472"/>
                          <a:pt x="60206" y="22254"/>
                          <a:pt x="60206" y="22254"/>
                        </a:cubicBezTo>
                        <a:cubicBezTo>
                          <a:pt x="59381" y="22036"/>
                          <a:pt x="59381" y="22036"/>
                          <a:pt x="59381" y="22036"/>
                        </a:cubicBezTo>
                        <a:cubicBezTo>
                          <a:pt x="58969" y="21600"/>
                          <a:pt x="58969" y="21600"/>
                          <a:pt x="58969" y="21600"/>
                        </a:cubicBezTo>
                        <a:cubicBezTo>
                          <a:pt x="57731" y="21818"/>
                          <a:pt x="57731" y="21818"/>
                          <a:pt x="57731" y="21818"/>
                        </a:cubicBezTo>
                        <a:cubicBezTo>
                          <a:pt x="57319" y="22254"/>
                          <a:pt x="57319" y="22254"/>
                          <a:pt x="57319" y="22254"/>
                        </a:cubicBezTo>
                        <a:cubicBezTo>
                          <a:pt x="56494" y="22472"/>
                          <a:pt x="56494" y="22472"/>
                          <a:pt x="56494" y="22472"/>
                        </a:cubicBezTo>
                        <a:cubicBezTo>
                          <a:pt x="55670" y="22472"/>
                          <a:pt x="55670" y="22472"/>
                          <a:pt x="55670" y="22472"/>
                        </a:cubicBezTo>
                        <a:cubicBezTo>
                          <a:pt x="56082" y="23127"/>
                          <a:pt x="56082" y="23127"/>
                          <a:pt x="56082" y="23127"/>
                        </a:cubicBezTo>
                        <a:cubicBezTo>
                          <a:pt x="55670" y="23781"/>
                          <a:pt x="55670" y="23781"/>
                          <a:pt x="55670" y="23781"/>
                        </a:cubicBezTo>
                        <a:cubicBezTo>
                          <a:pt x="54432" y="23781"/>
                          <a:pt x="54432" y="23781"/>
                          <a:pt x="54432" y="23781"/>
                        </a:cubicBezTo>
                        <a:cubicBezTo>
                          <a:pt x="54432" y="23781"/>
                          <a:pt x="54432" y="24654"/>
                          <a:pt x="54845" y="24654"/>
                        </a:cubicBezTo>
                        <a:cubicBezTo>
                          <a:pt x="54845" y="24654"/>
                          <a:pt x="55257" y="25090"/>
                          <a:pt x="55257" y="25090"/>
                        </a:cubicBezTo>
                        <a:cubicBezTo>
                          <a:pt x="55257" y="25527"/>
                          <a:pt x="55257" y="25527"/>
                          <a:pt x="55257" y="25527"/>
                        </a:cubicBezTo>
                        <a:cubicBezTo>
                          <a:pt x="55670" y="25745"/>
                          <a:pt x="55670" y="25745"/>
                          <a:pt x="55670" y="25745"/>
                        </a:cubicBezTo>
                        <a:cubicBezTo>
                          <a:pt x="55670" y="25745"/>
                          <a:pt x="55257" y="25745"/>
                          <a:pt x="54845" y="25745"/>
                        </a:cubicBezTo>
                        <a:cubicBezTo>
                          <a:pt x="54845" y="25745"/>
                          <a:pt x="54432" y="25309"/>
                          <a:pt x="54432" y="25309"/>
                        </a:cubicBezTo>
                        <a:cubicBezTo>
                          <a:pt x="52783" y="25309"/>
                          <a:pt x="52783" y="25309"/>
                          <a:pt x="52783" y="25309"/>
                        </a:cubicBezTo>
                        <a:cubicBezTo>
                          <a:pt x="52371" y="25309"/>
                          <a:pt x="52371" y="25309"/>
                          <a:pt x="52371" y="25309"/>
                        </a:cubicBezTo>
                        <a:cubicBezTo>
                          <a:pt x="51958" y="25963"/>
                          <a:pt x="51958" y="25963"/>
                          <a:pt x="51958" y="25963"/>
                        </a:cubicBezTo>
                        <a:cubicBezTo>
                          <a:pt x="52371" y="26618"/>
                          <a:pt x="52371" y="26618"/>
                          <a:pt x="52371" y="26618"/>
                        </a:cubicBezTo>
                        <a:cubicBezTo>
                          <a:pt x="51958" y="27054"/>
                          <a:pt x="51958" y="27054"/>
                          <a:pt x="51958" y="27054"/>
                        </a:cubicBezTo>
                        <a:cubicBezTo>
                          <a:pt x="51546" y="27272"/>
                          <a:pt x="51546" y="27272"/>
                          <a:pt x="51546" y="27272"/>
                        </a:cubicBezTo>
                        <a:cubicBezTo>
                          <a:pt x="51546" y="27272"/>
                          <a:pt x="50721" y="27709"/>
                          <a:pt x="50721" y="27709"/>
                        </a:cubicBezTo>
                        <a:cubicBezTo>
                          <a:pt x="50721" y="27927"/>
                          <a:pt x="51134" y="28581"/>
                          <a:pt x="51134" y="28581"/>
                        </a:cubicBezTo>
                        <a:cubicBezTo>
                          <a:pt x="51134" y="28581"/>
                          <a:pt x="51546" y="29018"/>
                          <a:pt x="51958" y="29018"/>
                        </a:cubicBezTo>
                        <a:cubicBezTo>
                          <a:pt x="51958" y="29236"/>
                          <a:pt x="52783" y="29454"/>
                          <a:pt x="52783" y="29454"/>
                        </a:cubicBezTo>
                        <a:cubicBezTo>
                          <a:pt x="52783" y="30109"/>
                          <a:pt x="52783" y="30109"/>
                          <a:pt x="52783" y="30109"/>
                        </a:cubicBezTo>
                        <a:cubicBezTo>
                          <a:pt x="51958" y="29454"/>
                          <a:pt x="51958" y="29454"/>
                          <a:pt x="51958" y="29454"/>
                        </a:cubicBezTo>
                        <a:cubicBezTo>
                          <a:pt x="51958" y="29454"/>
                          <a:pt x="51546" y="29236"/>
                          <a:pt x="51134" y="29018"/>
                        </a:cubicBezTo>
                        <a:cubicBezTo>
                          <a:pt x="51134" y="29018"/>
                          <a:pt x="50721" y="28581"/>
                          <a:pt x="50721" y="28581"/>
                        </a:cubicBezTo>
                        <a:cubicBezTo>
                          <a:pt x="50721" y="28581"/>
                          <a:pt x="49896" y="28800"/>
                          <a:pt x="49896" y="28800"/>
                        </a:cubicBezTo>
                        <a:cubicBezTo>
                          <a:pt x="49896" y="28800"/>
                          <a:pt x="49484" y="28800"/>
                          <a:pt x="49896" y="29018"/>
                        </a:cubicBezTo>
                        <a:cubicBezTo>
                          <a:pt x="49896" y="29236"/>
                          <a:pt x="49072" y="29454"/>
                          <a:pt x="49072" y="29454"/>
                        </a:cubicBezTo>
                        <a:cubicBezTo>
                          <a:pt x="49072" y="29454"/>
                          <a:pt x="47835" y="29672"/>
                          <a:pt x="47835" y="29454"/>
                        </a:cubicBezTo>
                        <a:cubicBezTo>
                          <a:pt x="47835" y="29236"/>
                          <a:pt x="47835" y="29018"/>
                          <a:pt x="47422" y="28800"/>
                        </a:cubicBezTo>
                        <a:cubicBezTo>
                          <a:pt x="47422" y="28800"/>
                          <a:pt x="47010" y="28800"/>
                          <a:pt x="47010" y="28800"/>
                        </a:cubicBezTo>
                        <a:cubicBezTo>
                          <a:pt x="47010" y="29018"/>
                          <a:pt x="46597" y="29236"/>
                          <a:pt x="46597" y="29236"/>
                        </a:cubicBezTo>
                        <a:cubicBezTo>
                          <a:pt x="47010" y="29890"/>
                          <a:pt x="47010" y="29890"/>
                          <a:pt x="47010" y="29890"/>
                        </a:cubicBezTo>
                        <a:cubicBezTo>
                          <a:pt x="47010" y="29890"/>
                          <a:pt x="46597" y="30327"/>
                          <a:pt x="46597" y="30327"/>
                        </a:cubicBezTo>
                        <a:cubicBezTo>
                          <a:pt x="46597" y="30109"/>
                          <a:pt x="46185" y="29672"/>
                          <a:pt x="46185" y="29454"/>
                        </a:cubicBezTo>
                        <a:cubicBezTo>
                          <a:pt x="46185" y="29454"/>
                          <a:pt x="46185" y="29018"/>
                          <a:pt x="45773" y="29018"/>
                        </a:cubicBezTo>
                        <a:cubicBezTo>
                          <a:pt x="45773" y="29018"/>
                          <a:pt x="44948" y="29454"/>
                          <a:pt x="44948" y="29454"/>
                        </a:cubicBezTo>
                        <a:cubicBezTo>
                          <a:pt x="44948" y="29454"/>
                          <a:pt x="44536" y="29454"/>
                          <a:pt x="44536" y="29672"/>
                        </a:cubicBezTo>
                        <a:cubicBezTo>
                          <a:pt x="44536" y="29672"/>
                          <a:pt x="44123" y="30327"/>
                          <a:pt x="44536" y="30545"/>
                        </a:cubicBezTo>
                        <a:cubicBezTo>
                          <a:pt x="44948" y="30763"/>
                          <a:pt x="44948" y="30763"/>
                          <a:pt x="45360" y="30763"/>
                        </a:cubicBezTo>
                        <a:cubicBezTo>
                          <a:pt x="45773" y="30763"/>
                          <a:pt x="45773" y="30981"/>
                          <a:pt x="45773" y="30981"/>
                        </a:cubicBezTo>
                        <a:cubicBezTo>
                          <a:pt x="44123" y="30981"/>
                          <a:pt x="44123" y="30981"/>
                          <a:pt x="44123" y="30981"/>
                        </a:cubicBezTo>
                        <a:cubicBezTo>
                          <a:pt x="44123" y="30981"/>
                          <a:pt x="43711" y="31200"/>
                          <a:pt x="44123" y="31418"/>
                        </a:cubicBezTo>
                        <a:cubicBezTo>
                          <a:pt x="44123" y="31418"/>
                          <a:pt x="44123" y="31854"/>
                          <a:pt x="44123" y="31854"/>
                        </a:cubicBezTo>
                        <a:cubicBezTo>
                          <a:pt x="44123" y="31854"/>
                          <a:pt x="44948" y="32290"/>
                          <a:pt x="44948" y="32290"/>
                        </a:cubicBezTo>
                        <a:cubicBezTo>
                          <a:pt x="44948" y="32290"/>
                          <a:pt x="44536" y="32727"/>
                          <a:pt x="44536" y="32727"/>
                        </a:cubicBezTo>
                        <a:cubicBezTo>
                          <a:pt x="44536" y="32727"/>
                          <a:pt x="43711" y="32509"/>
                          <a:pt x="43711" y="32509"/>
                        </a:cubicBezTo>
                        <a:cubicBezTo>
                          <a:pt x="43298" y="32290"/>
                          <a:pt x="43298" y="32509"/>
                          <a:pt x="42886" y="32509"/>
                        </a:cubicBezTo>
                        <a:cubicBezTo>
                          <a:pt x="42886" y="32727"/>
                          <a:pt x="42474" y="32945"/>
                          <a:pt x="42474" y="33163"/>
                        </a:cubicBezTo>
                        <a:cubicBezTo>
                          <a:pt x="42474" y="33163"/>
                          <a:pt x="42886" y="33381"/>
                          <a:pt x="42886" y="33600"/>
                        </a:cubicBezTo>
                        <a:cubicBezTo>
                          <a:pt x="42474" y="34036"/>
                          <a:pt x="42474" y="34472"/>
                          <a:pt x="42474" y="34472"/>
                        </a:cubicBezTo>
                        <a:cubicBezTo>
                          <a:pt x="42474" y="34472"/>
                          <a:pt x="42061" y="34472"/>
                          <a:pt x="42474" y="34690"/>
                        </a:cubicBezTo>
                        <a:cubicBezTo>
                          <a:pt x="42886" y="34909"/>
                          <a:pt x="43711" y="34909"/>
                          <a:pt x="44123" y="34909"/>
                        </a:cubicBezTo>
                        <a:cubicBezTo>
                          <a:pt x="44536" y="34909"/>
                          <a:pt x="44536" y="34909"/>
                          <a:pt x="44536" y="34909"/>
                        </a:cubicBezTo>
                        <a:cubicBezTo>
                          <a:pt x="44948" y="34909"/>
                          <a:pt x="45360" y="34909"/>
                          <a:pt x="45773" y="35127"/>
                        </a:cubicBezTo>
                        <a:cubicBezTo>
                          <a:pt x="45773" y="35127"/>
                          <a:pt x="46185" y="35127"/>
                          <a:pt x="46185" y="35127"/>
                        </a:cubicBezTo>
                        <a:cubicBezTo>
                          <a:pt x="46185" y="35127"/>
                          <a:pt x="45773" y="35563"/>
                          <a:pt x="45360" y="35345"/>
                        </a:cubicBezTo>
                        <a:cubicBezTo>
                          <a:pt x="44948" y="35127"/>
                          <a:pt x="44123" y="35127"/>
                          <a:pt x="43711" y="35127"/>
                        </a:cubicBezTo>
                        <a:cubicBezTo>
                          <a:pt x="43298" y="35127"/>
                          <a:pt x="43711" y="35563"/>
                          <a:pt x="43711" y="35563"/>
                        </a:cubicBezTo>
                        <a:cubicBezTo>
                          <a:pt x="44123" y="36000"/>
                          <a:pt x="44123" y="36000"/>
                          <a:pt x="44123" y="36000"/>
                        </a:cubicBezTo>
                        <a:cubicBezTo>
                          <a:pt x="44123" y="36000"/>
                          <a:pt x="44536" y="36218"/>
                          <a:pt x="44123" y="36218"/>
                        </a:cubicBezTo>
                        <a:cubicBezTo>
                          <a:pt x="43711" y="36218"/>
                          <a:pt x="42886" y="36000"/>
                          <a:pt x="42886" y="36000"/>
                        </a:cubicBezTo>
                        <a:cubicBezTo>
                          <a:pt x="42886" y="36000"/>
                          <a:pt x="42886" y="36000"/>
                          <a:pt x="42474" y="36000"/>
                        </a:cubicBezTo>
                        <a:cubicBezTo>
                          <a:pt x="42474" y="36000"/>
                          <a:pt x="42061" y="36218"/>
                          <a:pt x="41649" y="36218"/>
                        </a:cubicBezTo>
                        <a:cubicBezTo>
                          <a:pt x="41237" y="36218"/>
                          <a:pt x="41237" y="36218"/>
                          <a:pt x="40824" y="36000"/>
                        </a:cubicBezTo>
                        <a:cubicBezTo>
                          <a:pt x="40412" y="36000"/>
                          <a:pt x="39587" y="35563"/>
                          <a:pt x="39587" y="35563"/>
                        </a:cubicBezTo>
                        <a:cubicBezTo>
                          <a:pt x="39587" y="35563"/>
                          <a:pt x="39175" y="35563"/>
                          <a:pt x="39175" y="35345"/>
                        </a:cubicBezTo>
                        <a:cubicBezTo>
                          <a:pt x="39175" y="35127"/>
                          <a:pt x="39587" y="34690"/>
                          <a:pt x="39587" y="34690"/>
                        </a:cubicBezTo>
                        <a:cubicBezTo>
                          <a:pt x="40000" y="34472"/>
                          <a:pt x="39587" y="34472"/>
                          <a:pt x="40000" y="34472"/>
                        </a:cubicBezTo>
                        <a:cubicBezTo>
                          <a:pt x="40412" y="34472"/>
                          <a:pt x="41649" y="34472"/>
                          <a:pt x="40824" y="34036"/>
                        </a:cubicBezTo>
                        <a:cubicBezTo>
                          <a:pt x="40412" y="33600"/>
                          <a:pt x="40412" y="33600"/>
                          <a:pt x="40000" y="33600"/>
                        </a:cubicBezTo>
                        <a:cubicBezTo>
                          <a:pt x="39587" y="33818"/>
                          <a:pt x="38762" y="34036"/>
                          <a:pt x="38762" y="34036"/>
                        </a:cubicBezTo>
                        <a:cubicBezTo>
                          <a:pt x="38762" y="34036"/>
                          <a:pt x="38350" y="33818"/>
                          <a:pt x="38762" y="33163"/>
                        </a:cubicBezTo>
                        <a:cubicBezTo>
                          <a:pt x="39175" y="32509"/>
                          <a:pt x="38762" y="32509"/>
                          <a:pt x="39175" y="32290"/>
                        </a:cubicBezTo>
                        <a:cubicBezTo>
                          <a:pt x="39587" y="32072"/>
                          <a:pt x="40000" y="31854"/>
                          <a:pt x="40000" y="31854"/>
                        </a:cubicBezTo>
                        <a:cubicBezTo>
                          <a:pt x="40000" y="31854"/>
                          <a:pt x="40000" y="31636"/>
                          <a:pt x="39175" y="31200"/>
                        </a:cubicBezTo>
                        <a:cubicBezTo>
                          <a:pt x="38762" y="30763"/>
                          <a:pt x="38350" y="30327"/>
                          <a:pt x="38350" y="30327"/>
                        </a:cubicBezTo>
                        <a:cubicBezTo>
                          <a:pt x="37938" y="30109"/>
                          <a:pt x="37113" y="30545"/>
                          <a:pt x="37113" y="30545"/>
                        </a:cubicBezTo>
                        <a:cubicBezTo>
                          <a:pt x="37113" y="30763"/>
                          <a:pt x="36701" y="31200"/>
                          <a:pt x="37113" y="31418"/>
                        </a:cubicBezTo>
                        <a:cubicBezTo>
                          <a:pt x="37113" y="31636"/>
                          <a:pt x="37113" y="31854"/>
                          <a:pt x="36701" y="32072"/>
                        </a:cubicBezTo>
                        <a:cubicBezTo>
                          <a:pt x="36288" y="32072"/>
                          <a:pt x="36288" y="32290"/>
                          <a:pt x="35876" y="32072"/>
                        </a:cubicBezTo>
                        <a:cubicBezTo>
                          <a:pt x="35463" y="31854"/>
                          <a:pt x="35876" y="32072"/>
                          <a:pt x="35463" y="31636"/>
                        </a:cubicBezTo>
                        <a:cubicBezTo>
                          <a:pt x="35051" y="31418"/>
                          <a:pt x="35463" y="31418"/>
                          <a:pt x="35051" y="31418"/>
                        </a:cubicBezTo>
                        <a:cubicBezTo>
                          <a:pt x="34639" y="31200"/>
                          <a:pt x="34226" y="30981"/>
                          <a:pt x="34226" y="30981"/>
                        </a:cubicBezTo>
                        <a:cubicBezTo>
                          <a:pt x="34226" y="30981"/>
                          <a:pt x="32989" y="30763"/>
                          <a:pt x="32989" y="30981"/>
                        </a:cubicBezTo>
                        <a:cubicBezTo>
                          <a:pt x="32989" y="31200"/>
                          <a:pt x="32989" y="31200"/>
                          <a:pt x="33402" y="31418"/>
                        </a:cubicBezTo>
                        <a:cubicBezTo>
                          <a:pt x="33402" y="31636"/>
                          <a:pt x="33814" y="31636"/>
                          <a:pt x="33814" y="31854"/>
                        </a:cubicBezTo>
                        <a:cubicBezTo>
                          <a:pt x="33814" y="32072"/>
                          <a:pt x="33402" y="32072"/>
                          <a:pt x="33402" y="32072"/>
                        </a:cubicBezTo>
                        <a:cubicBezTo>
                          <a:pt x="33402" y="32072"/>
                          <a:pt x="32989" y="31854"/>
                          <a:pt x="32577" y="31854"/>
                        </a:cubicBezTo>
                        <a:cubicBezTo>
                          <a:pt x="32577" y="31854"/>
                          <a:pt x="31752" y="32290"/>
                          <a:pt x="31752" y="32290"/>
                        </a:cubicBezTo>
                        <a:cubicBezTo>
                          <a:pt x="31752" y="32290"/>
                          <a:pt x="31752" y="32509"/>
                          <a:pt x="31752" y="32727"/>
                        </a:cubicBezTo>
                        <a:cubicBezTo>
                          <a:pt x="31752" y="32727"/>
                          <a:pt x="31752" y="32945"/>
                          <a:pt x="31752" y="33163"/>
                        </a:cubicBezTo>
                        <a:cubicBezTo>
                          <a:pt x="32164" y="33381"/>
                          <a:pt x="32164" y="33818"/>
                          <a:pt x="32577" y="33818"/>
                        </a:cubicBezTo>
                        <a:cubicBezTo>
                          <a:pt x="33402" y="33818"/>
                          <a:pt x="35051" y="33381"/>
                          <a:pt x="35051" y="33381"/>
                        </a:cubicBezTo>
                        <a:cubicBezTo>
                          <a:pt x="35051" y="33600"/>
                          <a:pt x="35876" y="33818"/>
                          <a:pt x="36288" y="34036"/>
                        </a:cubicBezTo>
                        <a:cubicBezTo>
                          <a:pt x="36288" y="34036"/>
                          <a:pt x="36288" y="34472"/>
                          <a:pt x="36288" y="34472"/>
                        </a:cubicBezTo>
                        <a:cubicBezTo>
                          <a:pt x="36288" y="34472"/>
                          <a:pt x="35876" y="34690"/>
                          <a:pt x="35463" y="34690"/>
                        </a:cubicBezTo>
                        <a:cubicBezTo>
                          <a:pt x="35051" y="34690"/>
                          <a:pt x="34639" y="34254"/>
                          <a:pt x="34639" y="34690"/>
                        </a:cubicBezTo>
                        <a:cubicBezTo>
                          <a:pt x="34639" y="34909"/>
                          <a:pt x="34226" y="35345"/>
                          <a:pt x="34639" y="35563"/>
                        </a:cubicBezTo>
                        <a:cubicBezTo>
                          <a:pt x="35051" y="35781"/>
                          <a:pt x="35051" y="36218"/>
                          <a:pt x="35876" y="36218"/>
                        </a:cubicBezTo>
                        <a:cubicBezTo>
                          <a:pt x="36701" y="36436"/>
                          <a:pt x="36701" y="36654"/>
                          <a:pt x="37113" y="36436"/>
                        </a:cubicBezTo>
                        <a:cubicBezTo>
                          <a:pt x="37525" y="36218"/>
                          <a:pt x="37525" y="36000"/>
                          <a:pt x="37938" y="36218"/>
                        </a:cubicBezTo>
                        <a:cubicBezTo>
                          <a:pt x="38350" y="36218"/>
                          <a:pt x="38762" y="36218"/>
                          <a:pt x="39175" y="36436"/>
                        </a:cubicBezTo>
                        <a:cubicBezTo>
                          <a:pt x="39175" y="36654"/>
                          <a:pt x="38762" y="36654"/>
                          <a:pt x="38762" y="36654"/>
                        </a:cubicBezTo>
                        <a:cubicBezTo>
                          <a:pt x="38762" y="36654"/>
                          <a:pt x="38350" y="36654"/>
                          <a:pt x="38350" y="36872"/>
                        </a:cubicBezTo>
                        <a:cubicBezTo>
                          <a:pt x="38350" y="36872"/>
                          <a:pt x="37938" y="37090"/>
                          <a:pt x="38350" y="37090"/>
                        </a:cubicBezTo>
                        <a:cubicBezTo>
                          <a:pt x="39175" y="37090"/>
                          <a:pt x="39587" y="37090"/>
                          <a:pt x="39587" y="37090"/>
                        </a:cubicBezTo>
                        <a:cubicBezTo>
                          <a:pt x="39587" y="37090"/>
                          <a:pt x="40000" y="36654"/>
                          <a:pt x="40412" y="36872"/>
                        </a:cubicBezTo>
                        <a:cubicBezTo>
                          <a:pt x="40412" y="37090"/>
                          <a:pt x="40000" y="37090"/>
                          <a:pt x="39587" y="37309"/>
                        </a:cubicBezTo>
                        <a:cubicBezTo>
                          <a:pt x="39175" y="37527"/>
                          <a:pt x="39175" y="37527"/>
                          <a:pt x="39175" y="37745"/>
                        </a:cubicBezTo>
                        <a:cubicBezTo>
                          <a:pt x="39175" y="37963"/>
                          <a:pt x="38762" y="37963"/>
                          <a:pt x="38762" y="38181"/>
                        </a:cubicBezTo>
                        <a:cubicBezTo>
                          <a:pt x="38762" y="38400"/>
                          <a:pt x="37938" y="39272"/>
                          <a:pt x="39175" y="38618"/>
                        </a:cubicBezTo>
                        <a:cubicBezTo>
                          <a:pt x="40824" y="37963"/>
                          <a:pt x="40824" y="38181"/>
                          <a:pt x="40824" y="37963"/>
                        </a:cubicBezTo>
                        <a:cubicBezTo>
                          <a:pt x="40824" y="37745"/>
                          <a:pt x="40824" y="37745"/>
                          <a:pt x="41649" y="37527"/>
                        </a:cubicBezTo>
                        <a:cubicBezTo>
                          <a:pt x="42061" y="37309"/>
                          <a:pt x="42474" y="37309"/>
                          <a:pt x="42886" y="37309"/>
                        </a:cubicBezTo>
                        <a:cubicBezTo>
                          <a:pt x="42886" y="37090"/>
                          <a:pt x="43711" y="37090"/>
                          <a:pt x="43298" y="37309"/>
                        </a:cubicBezTo>
                        <a:cubicBezTo>
                          <a:pt x="42886" y="37527"/>
                          <a:pt x="42474" y="37309"/>
                          <a:pt x="42886" y="37527"/>
                        </a:cubicBezTo>
                        <a:cubicBezTo>
                          <a:pt x="43298" y="37745"/>
                          <a:pt x="43298" y="37963"/>
                          <a:pt x="43711" y="37963"/>
                        </a:cubicBezTo>
                        <a:cubicBezTo>
                          <a:pt x="44123" y="37963"/>
                          <a:pt x="44123" y="37963"/>
                          <a:pt x="44123" y="37963"/>
                        </a:cubicBezTo>
                        <a:cubicBezTo>
                          <a:pt x="44123" y="37963"/>
                          <a:pt x="43298" y="37963"/>
                          <a:pt x="42886" y="37963"/>
                        </a:cubicBezTo>
                        <a:cubicBezTo>
                          <a:pt x="42886" y="37963"/>
                          <a:pt x="42474" y="37963"/>
                          <a:pt x="42474" y="37963"/>
                        </a:cubicBezTo>
                        <a:cubicBezTo>
                          <a:pt x="42061" y="37963"/>
                          <a:pt x="42061" y="38181"/>
                          <a:pt x="42061" y="38181"/>
                        </a:cubicBezTo>
                        <a:cubicBezTo>
                          <a:pt x="41649" y="38400"/>
                          <a:pt x="41649" y="38400"/>
                          <a:pt x="41649" y="38400"/>
                        </a:cubicBezTo>
                        <a:cubicBezTo>
                          <a:pt x="41649" y="38400"/>
                          <a:pt x="42061" y="38618"/>
                          <a:pt x="42061" y="38836"/>
                        </a:cubicBezTo>
                        <a:cubicBezTo>
                          <a:pt x="42061" y="38836"/>
                          <a:pt x="42061" y="38836"/>
                          <a:pt x="41649" y="38836"/>
                        </a:cubicBezTo>
                        <a:cubicBezTo>
                          <a:pt x="41237" y="38836"/>
                          <a:pt x="41649" y="38618"/>
                          <a:pt x="40824" y="38836"/>
                        </a:cubicBezTo>
                        <a:cubicBezTo>
                          <a:pt x="40000" y="38836"/>
                          <a:pt x="40412" y="38400"/>
                          <a:pt x="40000" y="39054"/>
                        </a:cubicBezTo>
                        <a:cubicBezTo>
                          <a:pt x="39587" y="39709"/>
                          <a:pt x="39175" y="39709"/>
                          <a:pt x="39175" y="39709"/>
                        </a:cubicBezTo>
                        <a:cubicBezTo>
                          <a:pt x="39175" y="39709"/>
                          <a:pt x="39175" y="39709"/>
                          <a:pt x="39175" y="39927"/>
                        </a:cubicBezTo>
                        <a:cubicBezTo>
                          <a:pt x="39175" y="39927"/>
                          <a:pt x="39587" y="40145"/>
                          <a:pt x="40000" y="40363"/>
                        </a:cubicBezTo>
                        <a:cubicBezTo>
                          <a:pt x="40824" y="40581"/>
                          <a:pt x="41237" y="40800"/>
                          <a:pt x="41237" y="40800"/>
                        </a:cubicBezTo>
                        <a:cubicBezTo>
                          <a:pt x="41237" y="40800"/>
                          <a:pt x="40824" y="40800"/>
                          <a:pt x="40412" y="40800"/>
                        </a:cubicBezTo>
                        <a:cubicBezTo>
                          <a:pt x="39587" y="41018"/>
                          <a:pt x="39175" y="41018"/>
                          <a:pt x="38762" y="41236"/>
                        </a:cubicBezTo>
                        <a:cubicBezTo>
                          <a:pt x="38762" y="41236"/>
                          <a:pt x="38350" y="41454"/>
                          <a:pt x="37938" y="41454"/>
                        </a:cubicBezTo>
                        <a:cubicBezTo>
                          <a:pt x="37525" y="41454"/>
                          <a:pt x="36288" y="41236"/>
                          <a:pt x="35876" y="41454"/>
                        </a:cubicBezTo>
                        <a:cubicBezTo>
                          <a:pt x="35463" y="41454"/>
                          <a:pt x="35051" y="41454"/>
                          <a:pt x="34639" y="41672"/>
                        </a:cubicBezTo>
                        <a:cubicBezTo>
                          <a:pt x="34639" y="41672"/>
                          <a:pt x="34639" y="41890"/>
                          <a:pt x="34639" y="41890"/>
                        </a:cubicBezTo>
                        <a:cubicBezTo>
                          <a:pt x="34639" y="41890"/>
                          <a:pt x="34226" y="42109"/>
                          <a:pt x="34639" y="42109"/>
                        </a:cubicBezTo>
                        <a:cubicBezTo>
                          <a:pt x="35051" y="42109"/>
                          <a:pt x="36701" y="42109"/>
                          <a:pt x="36701" y="42109"/>
                        </a:cubicBezTo>
                        <a:cubicBezTo>
                          <a:pt x="37113" y="42109"/>
                          <a:pt x="37113" y="42327"/>
                          <a:pt x="37113" y="42327"/>
                        </a:cubicBezTo>
                        <a:cubicBezTo>
                          <a:pt x="36288" y="42327"/>
                          <a:pt x="36288" y="42327"/>
                          <a:pt x="36288" y="42327"/>
                        </a:cubicBezTo>
                        <a:cubicBezTo>
                          <a:pt x="36288" y="42327"/>
                          <a:pt x="35463" y="42327"/>
                          <a:pt x="35051" y="42327"/>
                        </a:cubicBezTo>
                        <a:cubicBezTo>
                          <a:pt x="35051" y="42327"/>
                          <a:pt x="33814" y="42545"/>
                          <a:pt x="33814" y="42545"/>
                        </a:cubicBezTo>
                        <a:cubicBezTo>
                          <a:pt x="33814" y="42545"/>
                          <a:pt x="32989" y="42981"/>
                          <a:pt x="32989" y="43200"/>
                        </a:cubicBezTo>
                        <a:cubicBezTo>
                          <a:pt x="32989" y="43200"/>
                          <a:pt x="32989" y="43418"/>
                          <a:pt x="33402" y="43854"/>
                        </a:cubicBezTo>
                        <a:cubicBezTo>
                          <a:pt x="34226" y="44072"/>
                          <a:pt x="34226" y="44290"/>
                          <a:pt x="34226" y="44509"/>
                        </a:cubicBezTo>
                        <a:cubicBezTo>
                          <a:pt x="34226" y="44509"/>
                          <a:pt x="34226" y="44509"/>
                          <a:pt x="34226" y="44727"/>
                        </a:cubicBezTo>
                        <a:cubicBezTo>
                          <a:pt x="33814" y="44727"/>
                          <a:pt x="32989" y="45163"/>
                          <a:pt x="32989" y="45163"/>
                        </a:cubicBezTo>
                        <a:cubicBezTo>
                          <a:pt x="32989" y="45163"/>
                          <a:pt x="32989" y="45163"/>
                          <a:pt x="32989" y="45600"/>
                        </a:cubicBezTo>
                        <a:cubicBezTo>
                          <a:pt x="32577" y="45818"/>
                          <a:pt x="31752" y="46472"/>
                          <a:pt x="32577" y="46472"/>
                        </a:cubicBezTo>
                        <a:cubicBezTo>
                          <a:pt x="33402" y="46690"/>
                          <a:pt x="32989" y="46909"/>
                          <a:pt x="33814" y="46690"/>
                        </a:cubicBezTo>
                        <a:cubicBezTo>
                          <a:pt x="35051" y="46472"/>
                          <a:pt x="33814" y="46254"/>
                          <a:pt x="35463" y="46472"/>
                        </a:cubicBezTo>
                        <a:cubicBezTo>
                          <a:pt x="37113" y="46690"/>
                          <a:pt x="37525" y="46472"/>
                          <a:pt x="37938" y="46472"/>
                        </a:cubicBezTo>
                        <a:cubicBezTo>
                          <a:pt x="38350" y="46254"/>
                          <a:pt x="38350" y="46254"/>
                          <a:pt x="38762" y="46036"/>
                        </a:cubicBezTo>
                        <a:cubicBezTo>
                          <a:pt x="38762" y="46036"/>
                          <a:pt x="37938" y="45818"/>
                          <a:pt x="39175" y="45818"/>
                        </a:cubicBezTo>
                        <a:cubicBezTo>
                          <a:pt x="40412" y="45600"/>
                          <a:pt x="40412" y="45600"/>
                          <a:pt x="40412" y="45600"/>
                        </a:cubicBezTo>
                        <a:cubicBezTo>
                          <a:pt x="40412" y="45600"/>
                          <a:pt x="39587" y="44945"/>
                          <a:pt x="40412" y="45381"/>
                        </a:cubicBezTo>
                        <a:cubicBezTo>
                          <a:pt x="41649" y="45818"/>
                          <a:pt x="41649" y="46036"/>
                          <a:pt x="41649" y="46036"/>
                        </a:cubicBezTo>
                        <a:cubicBezTo>
                          <a:pt x="40824" y="46472"/>
                          <a:pt x="40824" y="46472"/>
                          <a:pt x="40824" y="46472"/>
                        </a:cubicBezTo>
                        <a:cubicBezTo>
                          <a:pt x="40824" y="46690"/>
                          <a:pt x="40824" y="46690"/>
                          <a:pt x="40824" y="46690"/>
                        </a:cubicBezTo>
                        <a:cubicBezTo>
                          <a:pt x="40824" y="46690"/>
                          <a:pt x="40000" y="46690"/>
                          <a:pt x="39587" y="47127"/>
                        </a:cubicBezTo>
                        <a:cubicBezTo>
                          <a:pt x="39175" y="47563"/>
                          <a:pt x="37938" y="48218"/>
                          <a:pt x="37938" y="48436"/>
                        </a:cubicBezTo>
                        <a:cubicBezTo>
                          <a:pt x="37938" y="48436"/>
                          <a:pt x="38350" y="48218"/>
                          <a:pt x="37525" y="48654"/>
                        </a:cubicBezTo>
                        <a:cubicBezTo>
                          <a:pt x="36288" y="49090"/>
                          <a:pt x="35876" y="49090"/>
                          <a:pt x="35051" y="49309"/>
                        </a:cubicBezTo>
                        <a:cubicBezTo>
                          <a:pt x="34639" y="49745"/>
                          <a:pt x="34639" y="49527"/>
                          <a:pt x="34226" y="49745"/>
                        </a:cubicBezTo>
                        <a:cubicBezTo>
                          <a:pt x="34226" y="49963"/>
                          <a:pt x="33814" y="50181"/>
                          <a:pt x="33814" y="50181"/>
                        </a:cubicBezTo>
                        <a:cubicBezTo>
                          <a:pt x="33402" y="50618"/>
                          <a:pt x="33402" y="50618"/>
                          <a:pt x="33402" y="50618"/>
                        </a:cubicBezTo>
                        <a:cubicBezTo>
                          <a:pt x="32164" y="50836"/>
                          <a:pt x="32164" y="50836"/>
                          <a:pt x="32164" y="50836"/>
                        </a:cubicBezTo>
                        <a:cubicBezTo>
                          <a:pt x="30927" y="50618"/>
                          <a:pt x="30927" y="50618"/>
                          <a:pt x="30927" y="50618"/>
                        </a:cubicBezTo>
                        <a:cubicBezTo>
                          <a:pt x="30103" y="51054"/>
                          <a:pt x="30103" y="51054"/>
                          <a:pt x="30103" y="51054"/>
                        </a:cubicBezTo>
                        <a:cubicBezTo>
                          <a:pt x="30103" y="51054"/>
                          <a:pt x="28865" y="50836"/>
                          <a:pt x="28453" y="50836"/>
                        </a:cubicBezTo>
                        <a:cubicBezTo>
                          <a:pt x="28041" y="51054"/>
                          <a:pt x="27628" y="51272"/>
                          <a:pt x="27628" y="51272"/>
                        </a:cubicBezTo>
                        <a:cubicBezTo>
                          <a:pt x="27628" y="51272"/>
                          <a:pt x="27216" y="51272"/>
                          <a:pt x="27216" y="51709"/>
                        </a:cubicBezTo>
                        <a:cubicBezTo>
                          <a:pt x="27216" y="51927"/>
                          <a:pt x="26804" y="52581"/>
                          <a:pt x="26804" y="52581"/>
                        </a:cubicBezTo>
                        <a:cubicBezTo>
                          <a:pt x="25979" y="53018"/>
                          <a:pt x="25979" y="53018"/>
                          <a:pt x="25979" y="53018"/>
                        </a:cubicBezTo>
                        <a:cubicBezTo>
                          <a:pt x="25979" y="53018"/>
                          <a:pt x="25567" y="53454"/>
                          <a:pt x="26391" y="53236"/>
                        </a:cubicBezTo>
                        <a:cubicBezTo>
                          <a:pt x="27216" y="53018"/>
                          <a:pt x="27628" y="52800"/>
                          <a:pt x="28041" y="52581"/>
                        </a:cubicBezTo>
                        <a:cubicBezTo>
                          <a:pt x="28041" y="52581"/>
                          <a:pt x="28865" y="52363"/>
                          <a:pt x="28865" y="52363"/>
                        </a:cubicBezTo>
                        <a:cubicBezTo>
                          <a:pt x="28865" y="52800"/>
                          <a:pt x="28865" y="52800"/>
                          <a:pt x="28865" y="52800"/>
                        </a:cubicBezTo>
                        <a:cubicBezTo>
                          <a:pt x="28453" y="53672"/>
                          <a:pt x="28453" y="53672"/>
                          <a:pt x="28453" y="53672"/>
                        </a:cubicBezTo>
                        <a:cubicBezTo>
                          <a:pt x="28041" y="53890"/>
                          <a:pt x="28041" y="53890"/>
                          <a:pt x="28041" y="53890"/>
                        </a:cubicBezTo>
                        <a:cubicBezTo>
                          <a:pt x="27628" y="54109"/>
                          <a:pt x="27628" y="54109"/>
                          <a:pt x="27628" y="54109"/>
                        </a:cubicBezTo>
                        <a:cubicBezTo>
                          <a:pt x="27628" y="54109"/>
                          <a:pt x="26804" y="54981"/>
                          <a:pt x="27628" y="54981"/>
                        </a:cubicBezTo>
                        <a:cubicBezTo>
                          <a:pt x="28453" y="54763"/>
                          <a:pt x="28041" y="54763"/>
                          <a:pt x="28865" y="54545"/>
                        </a:cubicBezTo>
                        <a:cubicBezTo>
                          <a:pt x="29690" y="54545"/>
                          <a:pt x="29278" y="54327"/>
                          <a:pt x="30927" y="54109"/>
                        </a:cubicBezTo>
                        <a:cubicBezTo>
                          <a:pt x="32164" y="54109"/>
                          <a:pt x="32164" y="53672"/>
                          <a:pt x="32164" y="53454"/>
                        </a:cubicBezTo>
                        <a:cubicBezTo>
                          <a:pt x="32164" y="53454"/>
                          <a:pt x="32164" y="53236"/>
                          <a:pt x="32164" y="53018"/>
                        </a:cubicBezTo>
                        <a:cubicBezTo>
                          <a:pt x="32164" y="52800"/>
                          <a:pt x="31340" y="52581"/>
                          <a:pt x="32577" y="52363"/>
                        </a:cubicBezTo>
                        <a:cubicBezTo>
                          <a:pt x="33402" y="52363"/>
                          <a:pt x="32989" y="52581"/>
                          <a:pt x="33402" y="52363"/>
                        </a:cubicBezTo>
                        <a:cubicBezTo>
                          <a:pt x="33814" y="52145"/>
                          <a:pt x="33814" y="52581"/>
                          <a:pt x="33814" y="51927"/>
                        </a:cubicBezTo>
                        <a:cubicBezTo>
                          <a:pt x="33814" y="51490"/>
                          <a:pt x="33814" y="51490"/>
                          <a:pt x="34639" y="51272"/>
                        </a:cubicBezTo>
                        <a:cubicBezTo>
                          <a:pt x="35463" y="50836"/>
                          <a:pt x="35051" y="51054"/>
                          <a:pt x="35463" y="50836"/>
                        </a:cubicBezTo>
                        <a:cubicBezTo>
                          <a:pt x="35876" y="50618"/>
                          <a:pt x="35463" y="50618"/>
                          <a:pt x="35876" y="50400"/>
                        </a:cubicBezTo>
                        <a:cubicBezTo>
                          <a:pt x="36701" y="50181"/>
                          <a:pt x="36701" y="50181"/>
                          <a:pt x="36701" y="50181"/>
                        </a:cubicBezTo>
                        <a:cubicBezTo>
                          <a:pt x="36701" y="49963"/>
                          <a:pt x="37938" y="49527"/>
                          <a:pt x="37938" y="49527"/>
                        </a:cubicBezTo>
                        <a:cubicBezTo>
                          <a:pt x="37938" y="49090"/>
                          <a:pt x="37938" y="49090"/>
                          <a:pt x="37938" y="49090"/>
                        </a:cubicBezTo>
                        <a:cubicBezTo>
                          <a:pt x="39587" y="48654"/>
                          <a:pt x="39587" y="48654"/>
                          <a:pt x="39587" y="48654"/>
                        </a:cubicBezTo>
                        <a:cubicBezTo>
                          <a:pt x="39587" y="48654"/>
                          <a:pt x="40000" y="48436"/>
                          <a:pt x="40000" y="48654"/>
                        </a:cubicBezTo>
                        <a:cubicBezTo>
                          <a:pt x="39587" y="48872"/>
                          <a:pt x="39175" y="49309"/>
                          <a:pt x="39175" y="49309"/>
                        </a:cubicBezTo>
                        <a:cubicBezTo>
                          <a:pt x="39175" y="49745"/>
                          <a:pt x="39175" y="49745"/>
                          <a:pt x="39175" y="49745"/>
                        </a:cubicBezTo>
                        <a:cubicBezTo>
                          <a:pt x="37938" y="50181"/>
                          <a:pt x="37938" y="50181"/>
                          <a:pt x="37938" y="50181"/>
                        </a:cubicBezTo>
                        <a:cubicBezTo>
                          <a:pt x="37938" y="50181"/>
                          <a:pt x="38762" y="50400"/>
                          <a:pt x="38350" y="50618"/>
                        </a:cubicBezTo>
                        <a:cubicBezTo>
                          <a:pt x="37938" y="50836"/>
                          <a:pt x="37113" y="51054"/>
                          <a:pt x="37113" y="51054"/>
                        </a:cubicBezTo>
                        <a:cubicBezTo>
                          <a:pt x="37113" y="51490"/>
                          <a:pt x="37113" y="51490"/>
                          <a:pt x="37113" y="51490"/>
                        </a:cubicBezTo>
                        <a:cubicBezTo>
                          <a:pt x="37525" y="51709"/>
                          <a:pt x="37525" y="51709"/>
                          <a:pt x="37525" y="51709"/>
                        </a:cubicBezTo>
                        <a:cubicBezTo>
                          <a:pt x="36701" y="52581"/>
                          <a:pt x="36701" y="52581"/>
                          <a:pt x="36701" y="52581"/>
                        </a:cubicBezTo>
                        <a:cubicBezTo>
                          <a:pt x="37525" y="53018"/>
                          <a:pt x="37525" y="53018"/>
                          <a:pt x="37525" y="53018"/>
                        </a:cubicBezTo>
                        <a:cubicBezTo>
                          <a:pt x="37938" y="53454"/>
                          <a:pt x="37938" y="53454"/>
                          <a:pt x="37938" y="53454"/>
                        </a:cubicBezTo>
                        <a:cubicBezTo>
                          <a:pt x="37938" y="53454"/>
                          <a:pt x="37525" y="53672"/>
                          <a:pt x="37113" y="53890"/>
                        </a:cubicBezTo>
                        <a:cubicBezTo>
                          <a:pt x="36701" y="53890"/>
                          <a:pt x="35876" y="54545"/>
                          <a:pt x="35876" y="54545"/>
                        </a:cubicBezTo>
                        <a:cubicBezTo>
                          <a:pt x="35051" y="55200"/>
                          <a:pt x="35051" y="55200"/>
                          <a:pt x="35051" y="55200"/>
                        </a:cubicBezTo>
                        <a:cubicBezTo>
                          <a:pt x="34226" y="55854"/>
                          <a:pt x="34226" y="55854"/>
                          <a:pt x="34226" y="55854"/>
                        </a:cubicBezTo>
                        <a:cubicBezTo>
                          <a:pt x="34226" y="56509"/>
                          <a:pt x="34226" y="56509"/>
                          <a:pt x="34226" y="56509"/>
                        </a:cubicBezTo>
                        <a:cubicBezTo>
                          <a:pt x="33814" y="57381"/>
                          <a:pt x="33814" y="57381"/>
                          <a:pt x="33814" y="57381"/>
                        </a:cubicBezTo>
                        <a:cubicBezTo>
                          <a:pt x="32989" y="57600"/>
                          <a:pt x="32989" y="57600"/>
                          <a:pt x="32989" y="57600"/>
                        </a:cubicBezTo>
                        <a:cubicBezTo>
                          <a:pt x="32989" y="57600"/>
                          <a:pt x="32577" y="58254"/>
                          <a:pt x="33402" y="58254"/>
                        </a:cubicBezTo>
                        <a:cubicBezTo>
                          <a:pt x="34226" y="58472"/>
                          <a:pt x="34226" y="58472"/>
                          <a:pt x="34639" y="58472"/>
                        </a:cubicBezTo>
                        <a:cubicBezTo>
                          <a:pt x="35463" y="58472"/>
                          <a:pt x="35051" y="58472"/>
                          <a:pt x="35463" y="58472"/>
                        </a:cubicBezTo>
                        <a:cubicBezTo>
                          <a:pt x="35876" y="58472"/>
                          <a:pt x="36701" y="58472"/>
                          <a:pt x="36701" y="58036"/>
                        </a:cubicBezTo>
                        <a:cubicBezTo>
                          <a:pt x="36701" y="57600"/>
                          <a:pt x="36701" y="57163"/>
                          <a:pt x="36701" y="56945"/>
                        </a:cubicBezTo>
                        <a:cubicBezTo>
                          <a:pt x="36701" y="56945"/>
                          <a:pt x="37525" y="56290"/>
                          <a:pt x="37525" y="56290"/>
                        </a:cubicBezTo>
                        <a:cubicBezTo>
                          <a:pt x="37525" y="55418"/>
                          <a:pt x="37525" y="55418"/>
                          <a:pt x="37525" y="55418"/>
                        </a:cubicBezTo>
                        <a:cubicBezTo>
                          <a:pt x="37525" y="55418"/>
                          <a:pt x="37525" y="55200"/>
                          <a:pt x="38350" y="54763"/>
                        </a:cubicBezTo>
                        <a:cubicBezTo>
                          <a:pt x="39175" y="54545"/>
                          <a:pt x="38762" y="54545"/>
                          <a:pt x="39175" y="54545"/>
                        </a:cubicBezTo>
                        <a:cubicBezTo>
                          <a:pt x="39587" y="54327"/>
                          <a:pt x="39587" y="54109"/>
                          <a:pt x="39587" y="53890"/>
                        </a:cubicBezTo>
                        <a:cubicBezTo>
                          <a:pt x="40000" y="53672"/>
                          <a:pt x="40000" y="53672"/>
                          <a:pt x="40000" y="53672"/>
                        </a:cubicBezTo>
                        <a:cubicBezTo>
                          <a:pt x="40412" y="53236"/>
                          <a:pt x="40412" y="53236"/>
                          <a:pt x="40412" y="53236"/>
                        </a:cubicBezTo>
                        <a:cubicBezTo>
                          <a:pt x="40412" y="51490"/>
                          <a:pt x="40412" y="51490"/>
                          <a:pt x="40412" y="51490"/>
                        </a:cubicBezTo>
                        <a:cubicBezTo>
                          <a:pt x="40412" y="51490"/>
                          <a:pt x="40412" y="51054"/>
                          <a:pt x="40824" y="51054"/>
                        </a:cubicBezTo>
                        <a:cubicBezTo>
                          <a:pt x="41237" y="51054"/>
                          <a:pt x="41649" y="51054"/>
                          <a:pt x="41649" y="51054"/>
                        </a:cubicBezTo>
                        <a:cubicBezTo>
                          <a:pt x="41649" y="51054"/>
                          <a:pt x="41649" y="51272"/>
                          <a:pt x="41649" y="51709"/>
                        </a:cubicBezTo>
                        <a:cubicBezTo>
                          <a:pt x="41237" y="52145"/>
                          <a:pt x="41649" y="52800"/>
                          <a:pt x="41649" y="52800"/>
                        </a:cubicBezTo>
                        <a:cubicBezTo>
                          <a:pt x="44536" y="54109"/>
                          <a:pt x="44536" y="54109"/>
                          <a:pt x="44536" y="54109"/>
                        </a:cubicBezTo>
                        <a:cubicBezTo>
                          <a:pt x="44536" y="54109"/>
                          <a:pt x="45773" y="55200"/>
                          <a:pt x="45773" y="55418"/>
                        </a:cubicBezTo>
                        <a:cubicBezTo>
                          <a:pt x="45773" y="55418"/>
                          <a:pt x="47835" y="56290"/>
                          <a:pt x="47835" y="56290"/>
                        </a:cubicBezTo>
                        <a:cubicBezTo>
                          <a:pt x="47835" y="56290"/>
                          <a:pt x="48247" y="56509"/>
                          <a:pt x="47835" y="56727"/>
                        </a:cubicBezTo>
                        <a:cubicBezTo>
                          <a:pt x="47835" y="56945"/>
                          <a:pt x="48247" y="57163"/>
                          <a:pt x="48247" y="57381"/>
                        </a:cubicBezTo>
                        <a:cubicBezTo>
                          <a:pt x="47835" y="57600"/>
                          <a:pt x="47422" y="58254"/>
                          <a:pt x="47422" y="58254"/>
                        </a:cubicBezTo>
                        <a:cubicBezTo>
                          <a:pt x="46597" y="58472"/>
                          <a:pt x="46597" y="58472"/>
                          <a:pt x="46597" y="58472"/>
                        </a:cubicBezTo>
                        <a:cubicBezTo>
                          <a:pt x="45360" y="59127"/>
                          <a:pt x="45360" y="59127"/>
                          <a:pt x="45360" y="59127"/>
                        </a:cubicBezTo>
                        <a:cubicBezTo>
                          <a:pt x="44948" y="60000"/>
                          <a:pt x="44948" y="60000"/>
                          <a:pt x="44948" y="60000"/>
                        </a:cubicBezTo>
                        <a:cubicBezTo>
                          <a:pt x="44123" y="60654"/>
                          <a:pt x="44123" y="60654"/>
                          <a:pt x="44123" y="60654"/>
                        </a:cubicBezTo>
                        <a:cubicBezTo>
                          <a:pt x="42474" y="61090"/>
                          <a:pt x="42474" y="61090"/>
                          <a:pt x="42474" y="61090"/>
                        </a:cubicBezTo>
                        <a:cubicBezTo>
                          <a:pt x="40412" y="62181"/>
                          <a:pt x="40412" y="62181"/>
                          <a:pt x="40412" y="62181"/>
                        </a:cubicBezTo>
                        <a:cubicBezTo>
                          <a:pt x="39587" y="63054"/>
                          <a:pt x="39587" y="63054"/>
                          <a:pt x="39587" y="63054"/>
                        </a:cubicBezTo>
                        <a:cubicBezTo>
                          <a:pt x="38350" y="63927"/>
                          <a:pt x="38350" y="63927"/>
                          <a:pt x="38350" y="63927"/>
                        </a:cubicBezTo>
                        <a:cubicBezTo>
                          <a:pt x="38350" y="64581"/>
                          <a:pt x="38350" y="64581"/>
                          <a:pt x="38350" y="64581"/>
                        </a:cubicBezTo>
                        <a:cubicBezTo>
                          <a:pt x="38350" y="64581"/>
                          <a:pt x="39175" y="65454"/>
                          <a:pt x="39587" y="65454"/>
                        </a:cubicBezTo>
                        <a:cubicBezTo>
                          <a:pt x="39587" y="65454"/>
                          <a:pt x="40000" y="65672"/>
                          <a:pt x="40000" y="65672"/>
                        </a:cubicBezTo>
                        <a:cubicBezTo>
                          <a:pt x="40412" y="66763"/>
                          <a:pt x="40412" y="66763"/>
                          <a:pt x="40412" y="66763"/>
                        </a:cubicBezTo>
                        <a:cubicBezTo>
                          <a:pt x="40412" y="66763"/>
                          <a:pt x="40412" y="67418"/>
                          <a:pt x="40824" y="67418"/>
                        </a:cubicBezTo>
                        <a:cubicBezTo>
                          <a:pt x="41237" y="67200"/>
                          <a:pt x="41649" y="66545"/>
                          <a:pt x="41649" y="66545"/>
                        </a:cubicBezTo>
                        <a:cubicBezTo>
                          <a:pt x="41649" y="66545"/>
                          <a:pt x="40824" y="66109"/>
                          <a:pt x="40824" y="65672"/>
                        </a:cubicBezTo>
                        <a:cubicBezTo>
                          <a:pt x="40824" y="65236"/>
                          <a:pt x="41649" y="64581"/>
                          <a:pt x="41649" y="64581"/>
                        </a:cubicBezTo>
                        <a:cubicBezTo>
                          <a:pt x="42474" y="64363"/>
                          <a:pt x="42474" y="64363"/>
                          <a:pt x="42474" y="64363"/>
                        </a:cubicBezTo>
                        <a:cubicBezTo>
                          <a:pt x="42474" y="64363"/>
                          <a:pt x="42061" y="64363"/>
                          <a:pt x="42474" y="64581"/>
                        </a:cubicBezTo>
                        <a:cubicBezTo>
                          <a:pt x="42886" y="65018"/>
                          <a:pt x="42886" y="64800"/>
                          <a:pt x="43298" y="65018"/>
                        </a:cubicBezTo>
                        <a:cubicBezTo>
                          <a:pt x="43298" y="65236"/>
                          <a:pt x="44536" y="65890"/>
                          <a:pt x="44536" y="65890"/>
                        </a:cubicBezTo>
                        <a:cubicBezTo>
                          <a:pt x="44536" y="65890"/>
                          <a:pt x="45773" y="66545"/>
                          <a:pt x="46185" y="66763"/>
                        </a:cubicBezTo>
                        <a:cubicBezTo>
                          <a:pt x="46597" y="66981"/>
                          <a:pt x="47010" y="67418"/>
                          <a:pt x="47422" y="67418"/>
                        </a:cubicBezTo>
                        <a:cubicBezTo>
                          <a:pt x="47835" y="67200"/>
                          <a:pt x="48247" y="67418"/>
                          <a:pt x="48247" y="66981"/>
                        </a:cubicBezTo>
                        <a:cubicBezTo>
                          <a:pt x="48247" y="66545"/>
                          <a:pt x="48659" y="66545"/>
                          <a:pt x="48659" y="66109"/>
                        </a:cubicBezTo>
                        <a:cubicBezTo>
                          <a:pt x="48247" y="65890"/>
                          <a:pt x="48247" y="65236"/>
                          <a:pt x="48247" y="65236"/>
                        </a:cubicBezTo>
                        <a:cubicBezTo>
                          <a:pt x="48247" y="65236"/>
                          <a:pt x="48247" y="65018"/>
                          <a:pt x="48659" y="65018"/>
                        </a:cubicBezTo>
                        <a:cubicBezTo>
                          <a:pt x="49484" y="65018"/>
                          <a:pt x="49484" y="65454"/>
                          <a:pt x="49484" y="65454"/>
                        </a:cubicBezTo>
                        <a:cubicBezTo>
                          <a:pt x="49484" y="65454"/>
                          <a:pt x="49896" y="66109"/>
                          <a:pt x="50309" y="66327"/>
                        </a:cubicBezTo>
                        <a:cubicBezTo>
                          <a:pt x="50721" y="66327"/>
                          <a:pt x="51134" y="66327"/>
                          <a:pt x="51546" y="66545"/>
                        </a:cubicBezTo>
                        <a:cubicBezTo>
                          <a:pt x="51958" y="66981"/>
                          <a:pt x="54020" y="67200"/>
                          <a:pt x="54020" y="67200"/>
                        </a:cubicBezTo>
                        <a:cubicBezTo>
                          <a:pt x="54020" y="67200"/>
                          <a:pt x="54432" y="66981"/>
                          <a:pt x="54845" y="66763"/>
                        </a:cubicBezTo>
                        <a:cubicBezTo>
                          <a:pt x="54845" y="66545"/>
                          <a:pt x="55670" y="66545"/>
                          <a:pt x="55670" y="66545"/>
                        </a:cubicBezTo>
                        <a:cubicBezTo>
                          <a:pt x="55670" y="66545"/>
                          <a:pt x="55257" y="66109"/>
                          <a:pt x="56494" y="66327"/>
                        </a:cubicBezTo>
                        <a:cubicBezTo>
                          <a:pt x="57319" y="66327"/>
                          <a:pt x="57731" y="66545"/>
                          <a:pt x="57731" y="66327"/>
                        </a:cubicBezTo>
                        <a:cubicBezTo>
                          <a:pt x="58144" y="66109"/>
                          <a:pt x="58969" y="65236"/>
                          <a:pt x="58969" y="65236"/>
                        </a:cubicBezTo>
                        <a:cubicBezTo>
                          <a:pt x="58969" y="65236"/>
                          <a:pt x="58556" y="64581"/>
                          <a:pt x="59793" y="64800"/>
                        </a:cubicBezTo>
                        <a:cubicBezTo>
                          <a:pt x="60618" y="65236"/>
                          <a:pt x="65154" y="65672"/>
                          <a:pt x="65154" y="65672"/>
                        </a:cubicBezTo>
                        <a:cubicBezTo>
                          <a:pt x="64742" y="66109"/>
                          <a:pt x="64742" y="66109"/>
                          <a:pt x="64742" y="66109"/>
                        </a:cubicBezTo>
                        <a:cubicBezTo>
                          <a:pt x="63092" y="65890"/>
                          <a:pt x="63092" y="65890"/>
                          <a:pt x="63092" y="65890"/>
                        </a:cubicBezTo>
                        <a:cubicBezTo>
                          <a:pt x="61855" y="66109"/>
                          <a:pt x="61855" y="66109"/>
                          <a:pt x="61855" y="66109"/>
                        </a:cubicBezTo>
                        <a:cubicBezTo>
                          <a:pt x="61855" y="66109"/>
                          <a:pt x="61443" y="66109"/>
                          <a:pt x="61030" y="66545"/>
                        </a:cubicBezTo>
                        <a:cubicBezTo>
                          <a:pt x="61030" y="66763"/>
                          <a:pt x="61030" y="66981"/>
                          <a:pt x="60618" y="67200"/>
                        </a:cubicBezTo>
                        <a:cubicBezTo>
                          <a:pt x="60618" y="67418"/>
                          <a:pt x="60206" y="67636"/>
                          <a:pt x="59793" y="67636"/>
                        </a:cubicBezTo>
                        <a:cubicBezTo>
                          <a:pt x="59793" y="67854"/>
                          <a:pt x="58144" y="68509"/>
                          <a:pt x="58144" y="68509"/>
                        </a:cubicBezTo>
                        <a:cubicBezTo>
                          <a:pt x="57319" y="69163"/>
                          <a:pt x="57319" y="69163"/>
                          <a:pt x="57319" y="69163"/>
                        </a:cubicBezTo>
                        <a:cubicBezTo>
                          <a:pt x="56494" y="70254"/>
                          <a:pt x="56494" y="70254"/>
                          <a:pt x="56494" y="70254"/>
                        </a:cubicBezTo>
                        <a:cubicBezTo>
                          <a:pt x="56494" y="70254"/>
                          <a:pt x="56494" y="71127"/>
                          <a:pt x="56907" y="71127"/>
                        </a:cubicBezTo>
                        <a:cubicBezTo>
                          <a:pt x="57319" y="71345"/>
                          <a:pt x="58144" y="72000"/>
                          <a:pt x="58144" y="72000"/>
                        </a:cubicBezTo>
                        <a:cubicBezTo>
                          <a:pt x="58144" y="72000"/>
                          <a:pt x="58144" y="72436"/>
                          <a:pt x="58144" y="72654"/>
                        </a:cubicBezTo>
                        <a:cubicBezTo>
                          <a:pt x="58144" y="72872"/>
                          <a:pt x="58144" y="73090"/>
                          <a:pt x="58556" y="73527"/>
                        </a:cubicBezTo>
                        <a:cubicBezTo>
                          <a:pt x="58969" y="73745"/>
                          <a:pt x="59381" y="74618"/>
                          <a:pt x="59381" y="74618"/>
                        </a:cubicBezTo>
                        <a:cubicBezTo>
                          <a:pt x="59793" y="74618"/>
                          <a:pt x="59793" y="74618"/>
                          <a:pt x="59793" y="74618"/>
                        </a:cubicBezTo>
                        <a:cubicBezTo>
                          <a:pt x="59793" y="75272"/>
                          <a:pt x="59793" y="75272"/>
                          <a:pt x="59793" y="75272"/>
                        </a:cubicBezTo>
                        <a:cubicBezTo>
                          <a:pt x="59793" y="75272"/>
                          <a:pt x="59793" y="75927"/>
                          <a:pt x="60206" y="75927"/>
                        </a:cubicBezTo>
                        <a:cubicBezTo>
                          <a:pt x="61030" y="75927"/>
                          <a:pt x="62268" y="75490"/>
                          <a:pt x="62268" y="75490"/>
                        </a:cubicBezTo>
                        <a:cubicBezTo>
                          <a:pt x="65567" y="75054"/>
                          <a:pt x="65567" y="75054"/>
                          <a:pt x="65567" y="75054"/>
                        </a:cubicBezTo>
                        <a:cubicBezTo>
                          <a:pt x="65567" y="75054"/>
                          <a:pt x="65154" y="75927"/>
                          <a:pt x="65154" y="76145"/>
                        </a:cubicBezTo>
                        <a:cubicBezTo>
                          <a:pt x="65154" y="76363"/>
                          <a:pt x="64329" y="76363"/>
                          <a:pt x="63917" y="76581"/>
                        </a:cubicBezTo>
                        <a:cubicBezTo>
                          <a:pt x="63917" y="76800"/>
                          <a:pt x="63917" y="77018"/>
                          <a:pt x="63917" y="77018"/>
                        </a:cubicBezTo>
                        <a:cubicBezTo>
                          <a:pt x="63917" y="77018"/>
                          <a:pt x="63505" y="77672"/>
                          <a:pt x="63092" y="77672"/>
                        </a:cubicBezTo>
                        <a:cubicBezTo>
                          <a:pt x="62268" y="77672"/>
                          <a:pt x="61443" y="77890"/>
                          <a:pt x="61443" y="77890"/>
                        </a:cubicBezTo>
                        <a:cubicBezTo>
                          <a:pt x="61443" y="77890"/>
                          <a:pt x="61030" y="77454"/>
                          <a:pt x="61030" y="78109"/>
                        </a:cubicBezTo>
                        <a:cubicBezTo>
                          <a:pt x="60618" y="78545"/>
                          <a:pt x="60206" y="78981"/>
                          <a:pt x="60206" y="79200"/>
                        </a:cubicBezTo>
                        <a:cubicBezTo>
                          <a:pt x="60206" y="79418"/>
                          <a:pt x="59381" y="79636"/>
                          <a:pt x="60618" y="79854"/>
                        </a:cubicBezTo>
                        <a:cubicBezTo>
                          <a:pt x="61443" y="79854"/>
                          <a:pt x="61443" y="80509"/>
                          <a:pt x="61443" y="80509"/>
                        </a:cubicBezTo>
                        <a:cubicBezTo>
                          <a:pt x="61443" y="80509"/>
                          <a:pt x="60618" y="80945"/>
                          <a:pt x="60206" y="81163"/>
                        </a:cubicBezTo>
                        <a:cubicBezTo>
                          <a:pt x="59793" y="81381"/>
                          <a:pt x="59381" y="81163"/>
                          <a:pt x="59381" y="81381"/>
                        </a:cubicBezTo>
                        <a:cubicBezTo>
                          <a:pt x="59381" y="81600"/>
                          <a:pt x="60206" y="82690"/>
                          <a:pt x="60206" y="82690"/>
                        </a:cubicBezTo>
                        <a:cubicBezTo>
                          <a:pt x="60206" y="82690"/>
                          <a:pt x="60206" y="83345"/>
                          <a:pt x="59381" y="83345"/>
                        </a:cubicBezTo>
                        <a:cubicBezTo>
                          <a:pt x="58556" y="83345"/>
                          <a:pt x="58556" y="83345"/>
                          <a:pt x="58144" y="83345"/>
                        </a:cubicBezTo>
                        <a:cubicBezTo>
                          <a:pt x="57731" y="83345"/>
                          <a:pt x="57319" y="83345"/>
                          <a:pt x="57319" y="83345"/>
                        </a:cubicBezTo>
                        <a:cubicBezTo>
                          <a:pt x="57319" y="83345"/>
                          <a:pt x="57731" y="83563"/>
                          <a:pt x="57731" y="84000"/>
                        </a:cubicBezTo>
                        <a:cubicBezTo>
                          <a:pt x="57731" y="84436"/>
                          <a:pt x="57731" y="84872"/>
                          <a:pt x="57731" y="84872"/>
                        </a:cubicBezTo>
                        <a:cubicBezTo>
                          <a:pt x="56494" y="84654"/>
                          <a:pt x="56494" y="84654"/>
                          <a:pt x="56494" y="84654"/>
                        </a:cubicBezTo>
                        <a:cubicBezTo>
                          <a:pt x="55257" y="84000"/>
                          <a:pt x="55257" y="84000"/>
                          <a:pt x="55257" y="84000"/>
                        </a:cubicBezTo>
                        <a:cubicBezTo>
                          <a:pt x="55257" y="84000"/>
                          <a:pt x="54020" y="84000"/>
                          <a:pt x="53608" y="84000"/>
                        </a:cubicBezTo>
                        <a:cubicBezTo>
                          <a:pt x="53195" y="84218"/>
                          <a:pt x="51958" y="84218"/>
                          <a:pt x="51958" y="84218"/>
                        </a:cubicBezTo>
                        <a:cubicBezTo>
                          <a:pt x="51958" y="84218"/>
                          <a:pt x="49896" y="83781"/>
                          <a:pt x="49484" y="83563"/>
                        </a:cubicBezTo>
                        <a:cubicBezTo>
                          <a:pt x="49484" y="83345"/>
                          <a:pt x="49484" y="83345"/>
                          <a:pt x="49072" y="83563"/>
                        </a:cubicBezTo>
                        <a:cubicBezTo>
                          <a:pt x="49072" y="83563"/>
                          <a:pt x="49484" y="83563"/>
                          <a:pt x="49072" y="83563"/>
                        </a:cubicBezTo>
                        <a:cubicBezTo>
                          <a:pt x="48659" y="83781"/>
                          <a:pt x="49484" y="83781"/>
                          <a:pt x="47835" y="83781"/>
                        </a:cubicBezTo>
                        <a:cubicBezTo>
                          <a:pt x="46185" y="84000"/>
                          <a:pt x="44536" y="84218"/>
                          <a:pt x="44536" y="84218"/>
                        </a:cubicBezTo>
                        <a:cubicBezTo>
                          <a:pt x="44536" y="84218"/>
                          <a:pt x="45773" y="83563"/>
                          <a:pt x="45360" y="83345"/>
                        </a:cubicBezTo>
                        <a:cubicBezTo>
                          <a:pt x="44948" y="83127"/>
                          <a:pt x="45360" y="83345"/>
                          <a:pt x="44536" y="83127"/>
                        </a:cubicBezTo>
                        <a:cubicBezTo>
                          <a:pt x="44123" y="82909"/>
                          <a:pt x="43298" y="82472"/>
                          <a:pt x="43298" y="82254"/>
                        </a:cubicBezTo>
                        <a:cubicBezTo>
                          <a:pt x="43298" y="82036"/>
                          <a:pt x="43298" y="81600"/>
                          <a:pt x="42474" y="81600"/>
                        </a:cubicBezTo>
                        <a:cubicBezTo>
                          <a:pt x="42061" y="81600"/>
                          <a:pt x="41649" y="81163"/>
                          <a:pt x="40824" y="81600"/>
                        </a:cubicBezTo>
                        <a:cubicBezTo>
                          <a:pt x="40412" y="81818"/>
                          <a:pt x="40000" y="81818"/>
                          <a:pt x="40000" y="82036"/>
                        </a:cubicBezTo>
                        <a:cubicBezTo>
                          <a:pt x="39587" y="82254"/>
                          <a:pt x="37938" y="82472"/>
                          <a:pt x="37938" y="82472"/>
                        </a:cubicBezTo>
                        <a:cubicBezTo>
                          <a:pt x="37938" y="82472"/>
                          <a:pt x="39175" y="83345"/>
                          <a:pt x="39175" y="83563"/>
                        </a:cubicBezTo>
                        <a:cubicBezTo>
                          <a:pt x="39175" y="83781"/>
                          <a:pt x="40000" y="84654"/>
                          <a:pt x="40000" y="84654"/>
                        </a:cubicBezTo>
                        <a:cubicBezTo>
                          <a:pt x="42886" y="84654"/>
                          <a:pt x="42886" y="84654"/>
                          <a:pt x="42886" y="84654"/>
                        </a:cubicBezTo>
                        <a:cubicBezTo>
                          <a:pt x="42886" y="84654"/>
                          <a:pt x="40824" y="85090"/>
                          <a:pt x="40824" y="85527"/>
                        </a:cubicBezTo>
                        <a:cubicBezTo>
                          <a:pt x="40412" y="85745"/>
                          <a:pt x="40412" y="85963"/>
                          <a:pt x="40000" y="86181"/>
                        </a:cubicBezTo>
                        <a:cubicBezTo>
                          <a:pt x="39587" y="86400"/>
                          <a:pt x="39587" y="86618"/>
                          <a:pt x="38762" y="86836"/>
                        </a:cubicBezTo>
                        <a:cubicBezTo>
                          <a:pt x="37525" y="86836"/>
                          <a:pt x="36288" y="87054"/>
                          <a:pt x="35463" y="87272"/>
                        </a:cubicBezTo>
                        <a:cubicBezTo>
                          <a:pt x="35051" y="87490"/>
                          <a:pt x="34639" y="87490"/>
                          <a:pt x="34639" y="87709"/>
                        </a:cubicBezTo>
                        <a:cubicBezTo>
                          <a:pt x="34639" y="88145"/>
                          <a:pt x="32164" y="87927"/>
                          <a:pt x="34639" y="88363"/>
                        </a:cubicBezTo>
                        <a:cubicBezTo>
                          <a:pt x="37113" y="88581"/>
                          <a:pt x="37525" y="88800"/>
                          <a:pt x="37525" y="88800"/>
                        </a:cubicBezTo>
                        <a:cubicBezTo>
                          <a:pt x="37525" y="88800"/>
                          <a:pt x="38762" y="88145"/>
                          <a:pt x="39175" y="87927"/>
                        </a:cubicBezTo>
                        <a:cubicBezTo>
                          <a:pt x="40000" y="87490"/>
                          <a:pt x="40000" y="87490"/>
                          <a:pt x="41649" y="87490"/>
                        </a:cubicBezTo>
                        <a:cubicBezTo>
                          <a:pt x="43298" y="87709"/>
                          <a:pt x="43298" y="87490"/>
                          <a:pt x="43298" y="87709"/>
                        </a:cubicBezTo>
                        <a:cubicBezTo>
                          <a:pt x="43298" y="88145"/>
                          <a:pt x="43298" y="88363"/>
                          <a:pt x="43298" y="88800"/>
                        </a:cubicBezTo>
                        <a:cubicBezTo>
                          <a:pt x="42886" y="89236"/>
                          <a:pt x="42061" y="89454"/>
                          <a:pt x="42886" y="90109"/>
                        </a:cubicBezTo>
                        <a:cubicBezTo>
                          <a:pt x="43711" y="90545"/>
                          <a:pt x="42474" y="90981"/>
                          <a:pt x="42474" y="91200"/>
                        </a:cubicBezTo>
                        <a:cubicBezTo>
                          <a:pt x="42474" y="91200"/>
                          <a:pt x="41649" y="91854"/>
                          <a:pt x="42061" y="91854"/>
                        </a:cubicBezTo>
                        <a:cubicBezTo>
                          <a:pt x="42474" y="92072"/>
                          <a:pt x="42474" y="92072"/>
                          <a:pt x="42474" y="92072"/>
                        </a:cubicBezTo>
                        <a:cubicBezTo>
                          <a:pt x="42474" y="92072"/>
                          <a:pt x="41649" y="93163"/>
                          <a:pt x="41649" y="93381"/>
                        </a:cubicBezTo>
                        <a:cubicBezTo>
                          <a:pt x="41649" y="93381"/>
                          <a:pt x="40412" y="94690"/>
                          <a:pt x="40000" y="94690"/>
                        </a:cubicBezTo>
                        <a:cubicBezTo>
                          <a:pt x="39587" y="94909"/>
                          <a:pt x="40412" y="94909"/>
                          <a:pt x="37938" y="95345"/>
                        </a:cubicBezTo>
                        <a:cubicBezTo>
                          <a:pt x="35463" y="95563"/>
                          <a:pt x="34226" y="95781"/>
                          <a:pt x="34226" y="95781"/>
                        </a:cubicBezTo>
                        <a:cubicBezTo>
                          <a:pt x="32164" y="96218"/>
                          <a:pt x="32164" y="96218"/>
                          <a:pt x="32164" y="96218"/>
                        </a:cubicBezTo>
                        <a:cubicBezTo>
                          <a:pt x="30515" y="96872"/>
                          <a:pt x="30515" y="96872"/>
                          <a:pt x="30515" y="96872"/>
                        </a:cubicBezTo>
                        <a:cubicBezTo>
                          <a:pt x="29278" y="96872"/>
                          <a:pt x="29278" y="96872"/>
                          <a:pt x="29278" y="96872"/>
                        </a:cubicBezTo>
                        <a:cubicBezTo>
                          <a:pt x="27216" y="96654"/>
                          <a:pt x="27216" y="96654"/>
                          <a:pt x="27216" y="96654"/>
                        </a:cubicBezTo>
                        <a:cubicBezTo>
                          <a:pt x="27216" y="96654"/>
                          <a:pt x="25154" y="97309"/>
                          <a:pt x="25154" y="97527"/>
                        </a:cubicBezTo>
                        <a:cubicBezTo>
                          <a:pt x="25154" y="97527"/>
                          <a:pt x="23917" y="97745"/>
                          <a:pt x="23505" y="97963"/>
                        </a:cubicBezTo>
                        <a:cubicBezTo>
                          <a:pt x="23505" y="98181"/>
                          <a:pt x="25567" y="98618"/>
                          <a:pt x="25567" y="98618"/>
                        </a:cubicBezTo>
                        <a:cubicBezTo>
                          <a:pt x="25979" y="99272"/>
                          <a:pt x="25979" y="99272"/>
                          <a:pt x="25979" y="99272"/>
                        </a:cubicBezTo>
                        <a:cubicBezTo>
                          <a:pt x="25154" y="99272"/>
                          <a:pt x="25154" y="99272"/>
                          <a:pt x="25154" y="99272"/>
                        </a:cubicBezTo>
                        <a:cubicBezTo>
                          <a:pt x="23505" y="99490"/>
                          <a:pt x="23505" y="99490"/>
                          <a:pt x="23505" y="99490"/>
                        </a:cubicBezTo>
                        <a:cubicBezTo>
                          <a:pt x="23505" y="99927"/>
                          <a:pt x="23505" y="99927"/>
                          <a:pt x="23505" y="99927"/>
                        </a:cubicBezTo>
                        <a:cubicBezTo>
                          <a:pt x="24329" y="100145"/>
                          <a:pt x="24329" y="100145"/>
                          <a:pt x="24329" y="100145"/>
                        </a:cubicBezTo>
                        <a:cubicBezTo>
                          <a:pt x="24329" y="100145"/>
                          <a:pt x="24742" y="100363"/>
                          <a:pt x="25154" y="100363"/>
                        </a:cubicBezTo>
                        <a:cubicBezTo>
                          <a:pt x="25979" y="100363"/>
                          <a:pt x="27628" y="99927"/>
                          <a:pt x="27628" y="99927"/>
                        </a:cubicBezTo>
                        <a:cubicBezTo>
                          <a:pt x="25567" y="100581"/>
                          <a:pt x="25567" y="100581"/>
                          <a:pt x="25567" y="100581"/>
                        </a:cubicBezTo>
                        <a:cubicBezTo>
                          <a:pt x="25154" y="101236"/>
                          <a:pt x="25154" y="101236"/>
                          <a:pt x="25154" y="101236"/>
                        </a:cubicBezTo>
                        <a:cubicBezTo>
                          <a:pt x="25154" y="101236"/>
                          <a:pt x="24742" y="101672"/>
                          <a:pt x="25567" y="101672"/>
                        </a:cubicBezTo>
                        <a:cubicBezTo>
                          <a:pt x="26391" y="101672"/>
                          <a:pt x="27216" y="101672"/>
                          <a:pt x="27216" y="101672"/>
                        </a:cubicBezTo>
                        <a:cubicBezTo>
                          <a:pt x="27216" y="101672"/>
                          <a:pt x="27628" y="101236"/>
                          <a:pt x="28453" y="101236"/>
                        </a:cubicBezTo>
                        <a:cubicBezTo>
                          <a:pt x="29690" y="101454"/>
                          <a:pt x="29690" y="101454"/>
                          <a:pt x="29690" y="101454"/>
                        </a:cubicBezTo>
                        <a:cubicBezTo>
                          <a:pt x="29690" y="101454"/>
                          <a:pt x="30103" y="100800"/>
                          <a:pt x="30515" y="100800"/>
                        </a:cubicBezTo>
                        <a:cubicBezTo>
                          <a:pt x="30515" y="100800"/>
                          <a:pt x="30103" y="100800"/>
                          <a:pt x="31340" y="100800"/>
                        </a:cubicBezTo>
                        <a:cubicBezTo>
                          <a:pt x="32164" y="101018"/>
                          <a:pt x="35051" y="100800"/>
                          <a:pt x="35051" y="100800"/>
                        </a:cubicBezTo>
                        <a:cubicBezTo>
                          <a:pt x="35051" y="100800"/>
                          <a:pt x="35463" y="100800"/>
                          <a:pt x="35463" y="101018"/>
                        </a:cubicBezTo>
                        <a:cubicBezTo>
                          <a:pt x="35463" y="101454"/>
                          <a:pt x="36288" y="101454"/>
                          <a:pt x="36701" y="101890"/>
                        </a:cubicBezTo>
                        <a:cubicBezTo>
                          <a:pt x="37525" y="102109"/>
                          <a:pt x="39175" y="102327"/>
                          <a:pt x="39175" y="102327"/>
                        </a:cubicBezTo>
                        <a:cubicBezTo>
                          <a:pt x="37938" y="102545"/>
                          <a:pt x="37938" y="102545"/>
                          <a:pt x="37938" y="102545"/>
                        </a:cubicBezTo>
                        <a:cubicBezTo>
                          <a:pt x="36288" y="102327"/>
                          <a:pt x="36288" y="102327"/>
                          <a:pt x="36288" y="102327"/>
                        </a:cubicBezTo>
                        <a:cubicBezTo>
                          <a:pt x="36288" y="102327"/>
                          <a:pt x="35463" y="102109"/>
                          <a:pt x="35463" y="102327"/>
                        </a:cubicBezTo>
                        <a:cubicBezTo>
                          <a:pt x="35463" y="102763"/>
                          <a:pt x="35051" y="103418"/>
                          <a:pt x="35051" y="103418"/>
                        </a:cubicBezTo>
                        <a:cubicBezTo>
                          <a:pt x="35463" y="103418"/>
                          <a:pt x="37525" y="103636"/>
                          <a:pt x="37525" y="103636"/>
                        </a:cubicBezTo>
                        <a:cubicBezTo>
                          <a:pt x="39587" y="103636"/>
                          <a:pt x="39587" y="103636"/>
                          <a:pt x="39587" y="103636"/>
                        </a:cubicBezTo>
                        <a:cubicBezTo>
                          <a:pt x="40412" y="103418"/>
                          <a:pt x="40412" y="103418"/>
                          <a:pt x="40412" y="103418"/>
                        </a:cubicBezTo>
                        <a:cubicBezTo>
                          <a:pt x="41649" y="102981"/>
                          <a:pt x="41649" y="102981"/>
                          <a:pt x="41649" y="102981"/>
                        </a:cubicBezTo>
                        <a:cubicBezTo>
                          <a:pt x="41649" y="102981"/>
                          <a:pt x="42061" y="103418"/>
                          <a:pt x="41649" y="103418"/>
                        </a:cubicBezTo>
                        <a:cubicBezTo>
                          <a:pt x="41649" y="103636"/>
                          <a:pt x="42061" y="104072"/>
                          <a:pt x="42061" y="104072"/>
                        </a:cubicBezTo>
                        <a:cubicBezTo>
                          <a:pt x="42061" y="104072"/>
                          <a:pt x="42061" y="104727"/>
                          <a:pt x="42474" y="104727"/>
                        </a:cubicBezTo>
                        <a:cubicBezTo>
                          <a:pt x="42886" y="104727"/>
                          <a:pt x="43711" y="105381"/>
                          <a:pt x="43711" y="105381"/>
                        </a:cubicBezTo>
                        <a:cubicBezTo>
                          <a:pt x="44536" y="106036"/>
                          <a:pt x="44536" y="106036"/>
                          <a:pt x="44536" y="106036"/>
                        </a:cubicBezTo>
                        <a:cubicBezTo>
                          <a:pt x="46185" y="106254"/>
                          <a:pt x="46185" y="106254"/>
                          <a:pt x="46185" y="106254"/>
                        </a:cubicBezTo>
                        <a:cubicBezTo>
                          <a:pt x="46185" y="106254"/>
                          <a:pt x="47422" y="106254"/>
                          <a:pt x="47835" y="106254"/>
                        </a:cubicBezTo>
                        <a:cubicBezTo>
                          <a:pt x="48247" y="106472"/>
                          <a:pt x="49072" y="106690"/>
                          <a:pt x="49072" y="106472"/>
                        </a:cubicBezTo>
                        <a:cubicBezTo>
                          <a:pt x="49484" y="106254"/>
                          <a:pt x="50309" y="105818"/>
                          <a:pt x="50309" y="105818"/>
                        </a:cubicBezTo>
                        <a:cubicBezTo>
                          <a:pt x="51958" y="105163"/>
                          <a:pt x="51958" y="105163"/>
                          <a:pt x="51958" y="105163"/>
                        </a:cubicBezTo>
                        <a:cubicBezTo>
                          <a:pt x="51958" y="105163"/>
                          <a:pt x="52783" y="105163"/>
                          <a:pt x="53608" y="105163"/>
                        </a:cubicBezTo>
                        <a:cubicBezTo>
                          <a:pt x="54020" y="105163"/>
                          <a:pt x="56907" y="104945"/>
                          <a:pt x="56907" y="104945"/>
                        </a:cubicBezTo>
                        <a:cubicBezTo>
                          <a:pt x="56907" y="104945"/>
                          <a:pt x="57319" y="104509"/>
                          <a:pt x="58144" y="104290"/>
                        </a:cubicBezTo>
                        <a:cubicBezTo>
                          <a:pt x="58556" y="104072"/>
                          <a:pt x="60206" y="103636"/>
                          <a:pt x="60206" y="103636"/>
                        </a:cubicBezTo>
                        <a:cubicBezTo>
                          <a:pt x="63092" y="103200"/>
                          <a:pt x="63092" y="103200"/>
                          <a:pt x="63092" y="103200"/>
                        </a:cubicBezTo>
                        <a:cubicBezTo>
                          <a:pt x="60618" y="103636"/>
                          <a:pt x="60618" y="103636"/>
                          <a:pt x="60618" y="103636"/>
                        </a:cubicBezTo>
                        <a:cubicBezTo>
                          <a:pt x="59793" y="104072"/>
                          <a:pt x="59793" y="104072"/>
                          <a:pt x="59793" y="104072"/>
                        </a:cubicBezTo>
                        <a:cubicBezTo>
                          <a:pt x="58144" y="104727"/>
                          <a:pt x="58144" y="104727"/>
                          <a:pt x="58144" y="104727"/>
                        </a:cubicBezTo>
                        <a:cubicBezTo>
                          <a:pt x="57319" y="105163"/>
                          <a:pt x="57319" y="105163"/>
                          <a:pt x="57319" y="105163"/>
                        </a:cubicBezTo>
                        <a:cubicBezTo>
                          <a:pt x="57319" y="105163"/>
                          <a:pt x="56494" y="105381"/>
                          <a:pt x="56082" y="105600"/>
                        </a:cubicBezTo>
                        <a:cubicBezTo>
                          <a:pt x="56082" y="105600"/>
                          <a:pt x="54845" y="106690"/>
                          <a:pt x="54845" y="106690"/>
                        </a:cubicBezTo>
                        <a:cubicBezTo>
                          <a:pt x="53608" y="106909"/>
                          <a:pt x="53608" y="106909"/>
                          <a:pt x="53608" y="106909"/>
                        </a:cubicBezTo>
                        <a:cubicBezTo>
                          <a:pt x="53608" y="106909"/>
                          <a:pt x="52371" y="107345"/>
                          <a:pt x="51958" y="107781"/>
                        </a:cubicBezTo>
                        <a:cubicBezTo>
                          <a:pt x="51546" y="108000"/>
                          <a:pt x="51134" y="108218"/>
                          <a:pt x="51134" y="108218"/>
                        </a:cubicBezTo>
                        <a:cubicBezTo>
                          <a:pt x="51134" y="108218"/>
                          <a:pt x="51546" y="108654"/>
                          <a:pt x="49484" y="108654"/>
                        </a:cubicBezTo>
                        <a:cubicBezTo>
                          <a:pt x="47422" y="108436"/>
                          <a:pt x="45773" y="108218"/>
                          <a:pt x="45773" y="108218"/>
                        </a:cubicBezTo>
                        <a:cubicBezTo>
                          <a:pt x="45773" y="108218"/>
                          <a:pt x="43711" y="108000"/>
                          <a:pt x="43298" y="108000"/>
                        </a:cubicBezTo>
                        <a:cubicBezTo>
                          <a:pt x="42886" y="107781"/>
                          <a:pt x="42886" y="107781"/>
                          <a:pt x="41649" y="107781"/>
                        </a:cubicBezTo>
                        <a:cubicBezTo>
                          <a:pt x="40824" y="107781"/>
                          <a:pt x="36701" y="107127"/>
                          <a:pt x="36701" y="107127"/>
                        </a:cubicBezTo>
                        <a:cubicBezTo>
                          <a:pt x="36701" y="107127"/>
                          <a:pt x="35876" y="107127"/>
                          <a:pt x="35463" y="107345"/>
                        </a:cubicBezTo>
                        <a:cubicBezTo>
                          <a:pt x="35051" y="107563"/>
                          <a:pt x="34226" y="107563"/>
                          <a:pt x="34226" y="107781"/>
                        </a:cubicBezTo>
                        <a:cubicBezTo>
                          <a:pt x="34226" y="108218"/>
                          <a:pt x="34226" y="108436"/>
                          <a:pt x="34226" y="108436"/>
                        </a:cubicBezTo>
                        <a:cubicBezTo>
                          <a:pt x="33814" y="109090"/>
                          <a:pt x="33814" y="109090"/>
                          <a:pt x="33814" y="109090"/>
                        </a:cubicBezTo>
                        <a:cubicBezTo>
                          <a:pt x="32164" y="109309"/>
                          <a:pt x="32164" y="109309"/>
                          <a:pt x="32164" y="109309"/>
                        </a:cubicBezTo>
                        <a:cubicBezTo>
                          <a:pt x="30103" y="109309"/>
                          <a:pt x="30103" y="109309"/>
                          <a:pt x="30103" y="109309"/>
                        </a:cubicBezTo>
                        <a:close/>
                        <a:moveTo>
                          <a:pt x="17731" y="58036"/>
                        </a:moveTo>
                        <a:cubicBezTo>
                          <a:pt x="17731" y="58036"/>
                          <a:pt x="17731" y="58036"/>
                          <a:pt x="17731" y="58036"/>
                        </a:cubicBezTo>
                        <a:cubicBezTo>
                          <a:pt x="18144" y="58036"/>
                          <a:pt x="20618" y="58036"/>
                          <a:pt x="20618" y="58036"/>
                        </a:cubicBezTo>
                        <a:cubicBezTo>
                          <a:pt x="22268" y="58036"/>
                          <a:pt x="22268" y="58036"/>
                          <a:pt x="22268" y="58036"/>
                        </a:cubicBezTo>
                        <a:cubicBezTo>
                          <a:pt x="22268" y="58036"/>
                          <a:pt x="24329" y="58036"/>
                          <a:pt x="24742" y="58036"/>
                        </a:cubicBezTo>
                        <a:cubicBezTo>
                          <a:pt x="25154" y="58036"/>
                          <a:pt x="25567" y="58254"/>
                          <a:pt x="25567" y="58254"/>
                        </a:cubicBezTo>
                        <a:cubicBezTo>
                          <a:pt x="25567" y="58254"/>
                          <a:pt x="26391" y="57818"/>
                          <a:pt x="26804" y="58036"/>
                        </a:cubicBezTo>
                        <a:cubicBezTo>
                          <a:pt x="27216" y="58036"/>
                          <a:pt x="28041" y="58690"/>
                          <a:pt x="28041" y="58690"/>
                        </a:cubicBezTo>
                        <a:cubicBezTo>
                          <a:pt x="28865" y="59781"/>
                          <a:pt x="28865" y="59781"/>
                          <a:pt x="28865" y="59781"/>
                        </a:cubicBezTo>
                        <a:cubicBezTo>
                          <a:pt x="29278" y="61090"/>
                          <a:pt x="29278" y="61090"/>
                          <a:pt x="29278" y="61090"/>
                        </a:cubicBezTo>
                        <a:cubicBezTo>
                          <a:pt x="29690" y="62181"/>
                          <a:pt x="29690" y="62181"/>
                          <a:pt x="29690" y="62181"/>
                        </a:cubicBezTo>
                        <a:cubicBezTo>
                          <a:pt x="31340" y="63272"/>
                          <a:pt x="31340" y="63272"/>
                          <a:pt x="31340" y="63272"/>
                        </a:cubicBezTo>
                        <a:cubicBezTo>
                          <a:pt x="30515" y="63927"/>
                          <a:pt x="30515" y="63927"/>
                          <a:pt x="30515" y="63927"/>
                        </a:cubicBezTo>
                        <a:cubicBezTo>
                          <a:pt x="30515" y="63927"/>
                          <a:pt x="30515" y="64800"/>
                          <a:pt x="30515" y="64800"/>
                        </a:cubicBezTo>
                        <a:cubicBezTo>
                          <a:pt x="30103" y="64800"/>
                          <a:pt x="28865" y="65018"/>
                          <a:pt x="28865" y="65018"/>
                        </a:cubicBezTo>
                        <a:cubicBezTo>
                          <a:pt x="28453" y="65236"/>
                          <a:pt x="28041" y="65890"/>
                          <a:pt x="28041" y="65890"/>
                        </a:cubicBezTo>
                        <a:cubicBezTo>
                          <a:pt x="28041" y="65890"/>
                          <a:pt x="29690" y="65018"/>
                          <a:pt x="30103" y="65236"/>
                        </a:cubicBezTo>
                        <a:cubicBezTo>
                          <a:pt x="30515" y="65236"/>
                          <a:pt x="31752" y="65236"/>
                          <a:pt x="31752" y="65236"/>
                        </a:cubicBezTo>
                        <a:cubicBezTo>
                          <a:pt x="32577" y="65672"/>
                          <a:pt x="32577" y="65672"/>
                          <a:pt x="32577" y="65672"/>
                        </a:cubicBezTo>
                        <a:cubicBezTo>
                          <a:pt x="33402" y="66545"/>
                          <a:pt x="33402" y="66545"/>
                          <a:pt x="33402" y="66545"/>
                        </a:cubicBezTo>
                        <a:cubicBezTo>
                          <a:pt x="33402" y="67636"/>
                          <a:pt x="33402" y="67636"/>
                          <a:pt x="33402" y="67636"/>
                        </a:cubicBezTo>
                        <a:cubicBezTo>
                          <a:pt x="33402" y="67636"/>
                          <a:pt x="33402" y="68509"/>
                          <a:pt x="32989" y="68509"/>
                        </a:cubicBezTo>
                        <a:cubicBezTo>
                          <a:pt x="32989" y="68727"/>
                          <a:pt x="32577" y="68945"/>
                          <a:pt x="32164" y="68945"/>
                        </a:cubicBezTo>
                        <a:cubicBezTo>
                          <a:pt x="31752" y="68945"/>
                          <a:pt x="31340" y="68945"/>
                          <a:pt x="31752" y="68509"/>
                        </a:cubicBezTo>
                        <a:cubicBezTo>
                          <a:pt x="31752" y="68072"/>
                          <a:pt x="32164" y="67636"/>
                          <a:pt x="32164" y="67636"/>
                        </a:cubicBezTo>
                        <a:cubicBezTo>
                          <a:pt x="32164" y="67418"/>
                          <a:pt x="32577" y="66545"/>
                          <a:pt x="32164" y="66545"/>
                        </a:cubicBezTo>
                        <a:cubicBezTo>
                          <a:pt x="31340" y="66545"/>
                          <a:pt x="30927" y="66109"/>
                          <a:pt x="30927" y="66545"/>
                        </a:cubicBezTo>
                        <a:cubicBezTo>
                          <a:pt x="30515" y="66763"/>
                          <a:pt x="30927" y="67636"/>
                          <a:pt x="30927" y="67636"/>
                        </a:cubicBezTo>
                        <a:cubicBezTo>
                          <a:pt x="30927" y="67636"/>
                          <a:pt x="31340" y="67854"/>
                          <a:pt x="31340" y="68072"/>
                        </a:cubicBezTo>
                        <a:cubicBezTo>
                          <a:pt x="30927" y="68290"/>
                          <a:pt x="30927" y="68072"/>
                          <a:pt x="30515" y="68509"/>
                        </a:cubicBezTo>
                        <a:cubicBezTo>
                          <a:pt x="29690" y="68727"/>
                          <a:pt x="30927" y="68945"/>
                          <a:pt x="30927" y="68945"/>
                        </a:cubicBezTo>
                        <a:cubicBezTo>
                          <a:pt x="31340" y="69381"/>
                          <a:pt x="31340" y="69381"/>
                          <a:pt x="31340" y="69381"/>
                        </a:cubicBezTo>
                        <a:cubicBezTo>
                          <a:pt x="31340" y="69381"/>
                          <a:pt x="31340" y="70036"/>
                          <a:pt x="30927" y="70036"/>
                        </a:cubicBezTo>
                        <a:cubicBezTo>
                          <a:pt x="30515" y="70254"/>
                          <a:pt x="30515" y="70472"/>
                          <a:pt x="28865" y="70036"/>
                        </a:cubicBezTo>
                        <a:cubicBezTo>
                          <a:pt x="27216" y="69818"/>
                          <a:pt x="26804" y="69600"/>
                          <a:pt x="26804" y="69600"/>
                        </a:cubicBezTo>
                        <a:cubicBezTo>
                          <a:pt x="26391" y="70690"/>
                          <a:pt x="26391" y="70690"/>
                          <a:pt x="26391" y="70690"/>
                        </a:cubicBezTo>
                        <a:cubicBezTo>
                          <a:pt x="25567" y="71563"/>
                          <a:pt x="25567" y="71563"/>
                          <a:pt x="25567" y="71563"/>
                        </a:cubicBezTo>
                        <a:cubicBezTo>
                          <a:pt x="22680" y="72000"/>
                          <a:pt x="22680" y="72000"/>
                          <a:pt x="22680" y="72000"/>
                        </a:cubicBezTo>
                        <a:cubicBezTo>
                          <a:pt x="21030" y="70909"/>
                          <a:pt x="21030" y="70909"/>
                          <a:pt x="21030" y="70909"/>
                        </a:cubicBezTo>
                        <a:cubicBezTo>
                          <a:pt x="21030" y="70909"/>
                          <a:pt x="19793" y="71127"/>
                          <a:pt x="19381" y="71127"/>
                        </a:cubicBezTo>
                        <a:cubicBezTo>
                          <a:pt x="18969" y="70909"/>
                          <a:pt x="16907" y="70690"/>
                          <a:pt x="16907" y="70690"/>
                        </a:cubicBezTo>
                        <a:cubicBezTo>
                          <a:pt x="16494" y="69600"/>
                          <a:pt x="16494" y="69600"/>
                          <a:pt x="16494" y="69600"/>
                        </a:cubicBezTo>
                        <a:cubicBezTo>
                          <a:pt x="14432" y="68509"/>
                          <a:pt x="14432" y="68509"/>
                          <a:pt x="14432" y="68509"/>
                        </a:cubicBezTo>
                        <a:cubicBezTo>
                          <a:pt x="14845" y="67636"/>
                          <a:pt x="14845" y="67636"/>
                          <a:pt x="14845" y="67636"/>
                        </a:cubicBezTo>
                        <a:cubicBezTo>
                          <a:pt x="13608" y="66327"/>
                          <a:pt x="13608" y="66327"/>
                          <a:pt x="13608" y="66327"/>
                        </a:cubicBezTo>
                        <a:cubicBezTo>
                          <a:pt x="11134" y="66545"/>
                          <a:pt x="11134" y="66545"/>
                          <a:pt x="11134" y="66545"/>
                        </a:cubicBezTo>
                        <a:cubicBezTo>
                          <a:pt x="10309" y="67636"/>
                          <a:pt x="10309" y="67636"/>
                          <a:pt x="10309" y="67636"/>
                        </a:cubicBezTo>
                        <a:cubicBezTo>
                          <a:pt x="10309" y="67636"/>
                          <a:pt x="11134" y="68072"/>
                          <a:pt x="10309" y="68290"/>
                        </a:cubicBezTo>
                        <a:cubicBezTo>
                          <a:pt x="9484" y="68290"/>
                          <a:pt x="7835" y="68509"/>
                          <a:pt x="7835" y="68509"/>
                        </a:cubicBezTo>
                        <a:cubicBezTo>
                          <a:pt x="7835" y="68509"/>
                          <a:pt x="5773" y="68727"/>
                          <a:pt x="5360" y="68727"/>
                        </a:cubicBezTo>
                        <a:cubicBezTo>
                          <a:pt x="5360" y="68727"/>
                          <a:pt x="3711" y="67418"/>
                          <a:pt x="3711" y="67418"/>
                        </a:cubicBezTo>
                        <a:cubicBezTo>
                          <a:pt x="3711" y="67418"/>
                          <a:pt x="2886" y="67418"/>
                          <a:pt x="2474" y="67418"/>
                        </a:cubicBezTo>
                        <a:cubicBezTo>
                          <a:pt x="2061" y="67418"/>
                          <a:pt x="2061" y="67636"/>
                          <a:pt x="2061" y="67200"/>
                        </a:cubicBezTo>
                        <a:cubicBezTo>
                          <a:pt x="2061" y="66763"/>
                          <a:pt x="1649" y="66109"/>
                          <a:pt x="1649" y="66109"/>
                        </a:cubicBezTo>
                        <a:cubicBezTo>
                          <a:pt x="1649" y="66109"/>
                          <a:pt x="2886" y="66763"/>
                          <a:pt x="1649" y="65890"/>
                        </a:cubicBezTo>
                        <a:cubicBezTo>
                          <a:pt x="412" y="65018"/>
                          <a:pt x="0" y="64145"/>
                          <a:pt x="0" y="64145"/>
                        </a:cubicBezTo>
                        <a:cubicBezTo>
                          <a:pt x="2061" y="63490"/>
                          <a:pt x="2061" y="63490"/>
                          <a:pt x="2061" y="63490"/>
                        </a:cubicBezTo>
                        <a:cubicBezTo>
                          <a:pt x="2061" y="63490"/>
                          <a:pt x="4123" y="63490"/>
                          <a:pt x="4536" y="63709"/>
                        </a:cubicBezTo>
                        <a:cubicBezTo>
                          <a:pt x="4948" y="63709"/>
                          <a:pt x="5360" y="63272"/>
                          <a:pt x="5360" y="63272"/>
                        </a:cubicBezTo>
                        <a:cubicBezTo>
                          <a:pt x="5360" y="63272"/>
                          <a:pt x="6185" y="62836"/>
                          <a:pt x="5360" y="62618"/>
                        </a:cubicBezTo>
                        <a:cubicBezTo>
                          <a:pt x="4948" y="62618"/>
                          <a:pt x="4123" y="62181"/>
                          <a:pt x="4123" y="62181"/>
                        </a:cubicBezTo>
                        <a:cubicBezTo>
                          <a:pt x="4123" y="62181"/>
                          <a:pt x="3298" y="61745"/>
                          <a:pt x="4536" y="61527"/>
                        </a:cubicBezTo>
                        <a:cubicBezTo>
                          <a:pt x="5773" y="61527"/>
                          <a:pt x="5773" y="61527"/>
                          <a:pt x="6597" y="61527"/>
                        </a:cubicBezTo>
                        <a:cubicBezTo>
                          <a:pt x="7422" y="61745"/>
                          <a:pt x="7835" y="62400"/>
                          <a:pt x="8247" y="61527"/>
                        </a:cubicBezTo>
                        <a:cubicBezTo>
                          <a:pt x="8659" y="60872"/>
                          <a:pt x="7835" y="60872"/>
                          <a:pt x="9072" y="60654"/>
                        </a:cubicBezTo>
                        <a:cubicBezTo>
                          <a:pt x="10309" y="60654"/>
                          <a:pt x="11134" y="60436"/>
                          <a:pt x="11134" y="60218"/>
                        </a:cubicBezTo>
                        <a:cubicBezTo>
                          <a:pt x="11134" y="60000"/>
                          <a:pt x="11134" y="59127"/>
                          <a:pt x="11546" y="59127"/>
                        </a:cubicBezTo>
                        <a:cubicBezTo>
                          <a:pt x="11958" y="59127"/>
                          <a:pt x="14020" y="59345"/>
                          <a:pt x="14020" y="59345"/>
                        </a:cubicBezTo>
                        <a:cubicBezTo>
                          <a:pt x="14020" y="59345"/>
                          <a:pt x="14845" y="58909"/>
                          <a:pt x="15670" y="59127"/>
                        </a:cubicBezTo>
                        <a:cubicBezTo>
                          <a:pt x="16494" y="59127"/>
                          <a:pt x="16907" y="58909"/>
                          <a:pt x="16907" y="58909"/>
                        </a:cubicBezTo>
                        <a:cubicBezTo>
                          <a:pt x="16907" y="58909"/>
                          <a:pt x="17731" y="58036"/>
                          <a:pt x="17731" y="58036"/>
                        </a:cubicBezTo>
                        <a:close/>
                        <a:moveTo>
                          <a:pt x="30515" y="49527"/>
                        </a:moveTo>
                        <a:cubicBezTo>
                          <a:pt x="30515" y="49527"/>
                          <a:pt x="30515" y="49527"/>
                          <a:pt x="30515" y="49527"/>
                        </a:cubicBezTo>
                        <a:cubicBezTo>
                          <a:pt x="30515" y="49527"/>
                          <a:pt x="30103" y="48872"/>
                          <a:pt x="30515" y="48872"/>
                        </a:cubicBezTo>
                        <a:cubicBezTo>
                          <a:pt x="30927" y="48872"/>
                          <a:pt x="32164" y="48654"/>
                          <a:pt x="32164" y="48654"/>
                        </a:cubicBezTo>
                        <a:cubicBezTo>
                          <a:pt x="32164" y="48654"/>
                          <a:pt x="32577" y="48218"/>
                          <a:pt x="32577" y="48436"/>
                        </a:cubicBezTo>
                        <a:cubicBezTo>
                          <a:pt x="32989" y="48436"/>
                          <a:pt x="32989" y="48872"/>
                          <a:pt x="32577" y="48872"/>
                        </a:cubicBezTo>
                        <a:cubicBezTo>
                          <a:pt x="32577" y="48872"/>
                          <a:pt x="31752" y="49309"/>
                          <a:pt x="31752" y="49309"/>
                        </a:cubicBezTo>
                        <a:cubicBezTo>
                          <a:pt x="31752" y="49309"/>
                          <a:pt x="30927" y="49527"/>
                          <a:pt x="30927" y="49527"/>
                        </a:cubicBezTo>
                        <a:cubicBezTo>
                          <a:pt x="30515" y="49527"/>
                          <a:pt x="30515" y="49527"/>
                          <a:pt x="30515" y="49527"/>
                        </a:cubicBezTo>
                        <a:close/>
                        <a:moveTo>
                          <a:pt x="35876" y="54109"/>
                        </a:moveTo>
                        <a:cubicBezTo>
                          <a:pt x="35876" y="54109"/>
                          <a:pt x="35876" y="54109"/>
                          <a:pt x="35876" y="54109"/>
                        </a:cubicBezTo>
                        <a:cubicBezTo>
                          <a:pt x="35876" y="54109"/>
                          <a:pt x="35876" y="54327"/>
                          <a:pt x="35463" y="54327"/>
                        </a:cubicBezTo>
                        <a:cubicBezTo>
                          <a:pt x="35051" y="54327"/>
                          <a:pt x="34226" y="54327"/>
                          <a:pt x="34226" y="54109"/>
                        </a:cubicBezTo>
                        <a:cubicBezTo>
                          <a:pt x="34226" y="54109"/>
                          <a:pt x="34639" y="53672"/>
                          <a:pt x="35051" y="53672"/>
                        </a:cubicBezTo>
                        <a:cubicBezTo>
                          <a:pt x="35051" y="53672"/>
                          <a:pt x="35463" y="53454"/>
                          <a:pt x="35463" y="53454"/>
                        </a:cubicBezTo>
                        <a:cubicBezTo>
                          <a:pt x="35463" y="53454"/>
                          <a:pt x="35463" y="53236"/>
                          <a:pt x="35463" y="53236"/>
                        </a:cubicBezTo>
                        <a:cubicBezTo>
                          <a:pt x="35876" y="53236"/>
                          <a:pt x="36288" y="53672"/>
                          <a:pt x="36288" y="53672"/>
                        </a:cubicBezTo>
                        <a:cubicBezTo>
                          <a:pt x="35876" y="54109"/>
                          <a:pt x="35876" y="54109"/>
                          <a:pt x="35876" y="54109"/>
                        </a:cubicBezTo>
                        <a:close/>
                        <a:moveTo>
                          <a:pt x="39175" y="55636"/>
                        </a:moveTo>
                        <a:cubicBezTo>
                          <a:pt x="39175" y="55636"/>
                          <a:pt x="39175" y="55636"/>
                          <a:pt x="39175" y="55636"/>
                        </a:cubicBezTo>
                        <a:cubicBezTo>
                          <a:pt x="39175" y="55418"/>
                          <a:pt x="40000" y="54981"/>
                          <a:pt x="40000" y="54763"/>
                        </a:cubicBezTo>
                        <a:cubicBezTo>
                          <a:pt x="40412" y="54763"/>
                          <a:pt x="40412" y="54545"/>
                          <a:pt x="40412" y="54545"/>
                        </a:cubicBezTo>
                        <a:cubicBezTo>
                          <a:pt x="40824" y="54327"/>
                          <a:pt x="41237" y="54327"/>
                          <a:pt x="41649" y="54327"/>
                        </a:cubicBezTo>
                        <a:cubicBezTo>
                          <a:pt x="42474" y="54545"/>
                          <a:pt x="43298" y="54981"/>
                          <a:pt x="42886" y="54981"/>
                        </a:cubicBezTo>
                        <a:cubicBezTo>
                          <a:pt x="42886" y="55200"/>
                          <a:pt x="42474" y="54981"/>
                          <a:pt x="42474" y="55636"/>
                        </a:cubicBezTo>
                        <a:cubicBezTo>
                          <a:pt x="42474" y="56290"/>
                          <a:pt x="42474" y="56290"/>
                          <a:pt x="42474" y="56509"/>
                        </a:cubicBezTo>
                        <a:cubicBezTo>
                          <a:pt x="42886" y="56727"/>
                          <a:pt x="42474" y="57381"/>
                          <a:pt x="42474" y="57381"/>
                        </a:cubicBezTo>
                        <a:cubicBezTo>
                          <a:pt x="42474" y="57381"/>
                          <a:pt x="42061" y="57818"/>
                          <a:pt x="41649" y="57818"/>
                        </a:cubicBezTo>
                        <a:cubicBezTo>
                          <a:pt x="41649" y="57818"/>
                          <a:pt x="41649" y="57818"/>
                          <a:pt x="40824" y="57600"/>
                        </a:cubicBezTo>
                        <a:cubicBezTo>
                          <a:pt x="40412" y="57600"/>
                          <a:pt x="39175" y="57163"/>
                          <a:pt x="39175" y="57163"/>
                        </a:cubicBezTo>
                        <a:cubicBezTo>
                          <a:pt x="39175" y="57163"/>
                          <a:pt x="39175" y="56072"/>
                          <a:pt x="39175" y="56072"/>
                        </a:cubicBezTo>
                        <a:cubicBezTo>
                          <a:pt x="39175" y="55854"/>
                          <a:pt x="38762" y="55636"/>
                          <a:pt x="38762" y="55636"/>
                        </a:cubicBezTo>
                        <a:cubicBezTo>
                          <a:pt x="39175" y="55636"/>
                          <a:pt x="39175" y="55636"/>
                          <a:pt x="39175" y="55636"/>
                        </a:cubicBezTo>
                        <a:close/>
                        <a:moveTo>
                          <a:pt x="30515" y="45818"/>
                        </a:moveTo>
                        <a:cubicBezTo>
                          <a:pt x="30515" y="45818"/>
                          <a:pt x="30515" y="45818"/>
                          <a:pt x="30515" y="45818"/>
                        </a:cubicBezTo>
                        <a:cubicBezTo>
                          <a:pt x="30515" y="45818"/>
                          <a:pt x="30515" y="45600"/>
                          <a:pt x="31340" y="45600"/>
                        </a:cubicBezTo>
                        <a:cubicBezTo>
                          <a:pt x="31752" y="45818"/>
                          <a:pt x="31752" y="46036"/>
                          <a:pt x="31752" y="46254"/>
                        </a:cubicBezTo>
                        <a:cubicBezTo>
                          <a:pt x="31752" y="46472"/>
                          <a:pt x="32989" y="46472"/>
                          <a:pt x="32577" y="46690"/>
                        </a:cubicBezTo>
                        <a:cubicBezTo>
                          <a:pt x="31752" y="46909"/>
                          <a:pt x="31340" y="46909"/>
                          <a:pt x="31340" y="46909"/>
                        </a:cubicBezTo>
                        <a:cubicBezTo>
                          <a:pt x="31340" y="46690"/>
                          <a:pt x="30927" y="46909"/>
                          <a:pt x="30927" y="46690"/>
                        </a:cubicBezTo>
                        <a:cubicBezTo>
                          <a:pt x="30927" y="46472"/>
                          <a:pt x="30103" y="46254"/>
                          <a:pt x="30103" y="46254"/>
                        </a:cubicBezTo>
                        <a:cubicBezTo>
                          <a:pt x="30103" y="46254"/>
                          <a:pt x="30515" y="45818"/>
                          <a:pt x="30515" y="45818"/>
                        </a:cubicBezTo>
                        <a:close/>
                        <a:moveTo>
                          <a:pt x="25154" y="42763"/>
                        </a:moveTo>
                        <a:cubicBezTo>
                          <a:pt x="25154" y="42763"/>
                          <a:pt x="25154" y="42763"/>
                          <a:pt x="25154" y="42763"/>
                        </a:cubicBezTo>
                        <a:cubicBezTo>
                          <a:pt x="25979" y="42981"/>
                          <a:pt x="26391" y="42763"/>
                          <a:pt x="26391" y="42981"/>
                        </a:cubicBezTo>
                        <a:cubicBezTo>
                          <a:pt x="26804" y="42981"/>
                          <a:pt x="27216" y="43200"/>
                          <a:pt x="26804" y="43418"/>
                        </a:cubicBezTo>
                        <a:cubicBezTo>
                          <a:pt x="25979" y="43636"/>
                          <a:pt x="25979" y="43636"/>
                          <a:pt x="25154" y="43636"/>
                        </a:cubicBezTo>
                        <a:cubicBezTo>
                          <a:pt x="24742" y="43636"/>
                          <a:pt x="25567" y="43636"/>
                          <a:pt x="24742" y="43636"/>
                        </a:cubicBezTo>
                        <a:cubicBezTo>
                          <a:pt x="23917" y="43636"/>
                          <a:pt x="22680" y="44072"/>
                          <a:pt x="23505" y="43418"/>
                        </a:cubicBezTo>
                        <a:cubicBezTo>
                          <a:pt x="24329" y="42981"/>
                          <a:pt x="25154" y="42763"/>
                          <a:pt x="25154" y="42763"/>
                        </a:cubicBezTo>
                        <a:close/>
                        <a:moveTo>
                          <a:pt x="29690" y="41672"/>
                        </a:moveTo>
                        <a:cubicBezTo>
                          <a:pt x="29690" y="41672"/>
                          <a:pt x="29690" y="41672"/>
                          <a:pt x="29690" y="41672"/>
                        </a:cubicBezTo>
                        <a:cubicBezTo>
                          <a:pt x="30103" y="41672"/>
                          <a:pt x="30515" y="41236"/>
                          <a:pt x="30927" y="41454"/>
                        </a:cubicBezTo>
                        <a:cubicBezTo>
                          <a:pt x="31340" y="41672"/>
                          <a:pt x="32164" y="41890"/>
                          <a:pt x="31340" y="42109"/>
                        </a:cubicBezTo>
                        <a:cubicBezTo>
                          <a:pt x="30515" y="42327"/>
                          <a:pt x="30515" y="42327"/>
                          <a:pt x="30103" y="42545"/>
                        </a:cubicBezTo>
                        <a:cubicBezTo>
                          <a:pt x="29278" y="42763"/>
                          <a:pt x="28453" y="42981"/>
                          <a:pt x="28041" y="42981"/>
                        </a:cubicBezTo>
                        <a:cubicBezTo>
                          <a:pt x="27628" y="42981"/>
                          <a:pt x="27216" y="42545"/>
                          <a:pt x="27628" y="42545"/>
                        </a:cubicBezTo>
                        <a:cubicBezTo>
                          <a:pt x="28041" y="42545"/>
                          <a:pt x="28453" y="42327"/>
                          <a:pt x="28865" y="42327"/>
                        </a:cubicBezTo>
                        <a:cubicBezTo>
                          <a:pt x="28865" y="42109"/>
                          <a:pt x="29690" y="41672"/>
                          <a:pt x="29690" y="41672"/>
                        </a:cubicBezTo>
                        <a:close/>
                        <a:moveTo>
                          <a:pt x="32164" y="37309"/>
                        </a:moveTo>
                        <a:cubicBezTo>
                          <a:pt x="32164" y="37309"/>
                          <a:pt x="32164" y="37309"/>
                          <a:pt x="32164" y="37309"/>
                        </a:cubicBezTo>
                        <a:cubicBezTo>
                          <a:pt x="32164" y="37309"/>
                          <a:pt x="32164" y="36654"/>
                          <a:pt x="32577" y="36872"/>
                        </a:cubicBezTo>
                        <a:cubicBezTo>
                          <a:pt x="33402" y="36872"/>
                          <a:pt x="33402" y="36872"/>
                          <a:pt x="33402" y="37090"/>
                        </a:cubicBezTo>
                        <a:cubicBezTo>
                          <a:pt x="33402" y="37309"/>
                          <a:pt x="34226" y="37090"/>
                          <a:pt x="33402" y="37309"/>
                        </a:cubicBezTo>
                        <a:cubicBezTo>
                          <a:pt x="32989" y="37309"/>
                          <a:pt x="32164" y="37309"/>
                          <a:pt x="32164" y="37309"/>
                        </a:cubicBezTo>
                        <a:close/>
                        <a:moveTo>
                          <a:pt x="35876" y="39490"/>
                        </a:moveTo>
                        <a:cubicBezTo>
                          <a:pt x="35876" y="39490"/>
                          <a:pt x="35876" y="39490"/>
                          <a:pt x="35876" y="39490"/>
                        </a:cubicBezTo>
                        <a:cubicBezTo>
                          <a:pt x="35876" y="39490"/>
                          <a:pt x="36288" y="39054"/>
                          <a:pt x="36701" y="39054"/>
                        </a:cubicBezTo>
                        <a:cubicBezTo>
                          <a:pt x="36701" y="39054"/>
                          <a:pt x="37113" y="39054"/>
                          <a:pt x="37113" y="39272"/>
                        </a:cubicBezTo>
                        <a:cubicBezTo>
                          <a:pt x="37113" y="39490"/>
                          <a:pt x="37113" y="39927"/>
                          <a:pt x="36701" y="39927"/>
                        </a:cubicBezTo>
                        <a:cubicBezTo>
                          <a:pt x="36288" y="39927"/>
                          <a:pt x="36288" y="40145"/>
                          <a:pt x="35876" y="39927"/>
                        </a:cubicBezTo>
                        <a:cubicBezTo>
                          <a:pt x="35463" y="39927"/>
                          <a:pt x="35876" y="39490"/>
                          <a:pt x="35876" y="39490"/>
                        </a:cubicBezTo>
                        <a:close/>
                        <a:moveTo>
                          <a:pt x="33814" y="38618"/>
                        </a:moveTo>
                        <a:cubicBezTo>
                          <a:pt x="33814" y="38618"/>
                          <a:pt x="33814" y="38618"/>
                          <a:pt x="33814" y="38618"/>
                        </a:cubicBezTo>
                        <a:cubicBezTo>
                          <a:pt x="33814" y="38618"/>
                          <a:pt x="33402" y="37745"/>
                          <a:pt x="34226" y="37745"/>
                        </a:cubicBezTo>
                        <a:cubicBezTo>
                          <a:pt x="35051" y="37527"/>
                          <a:pt x="35463" y="37527"/>
                          <a:pt x="35463" y="37527"/>
                        </a:cubicBezTo>
                        <a:cubicBezTo>
                          <a:pt x="35463" y="37527"/>
                          <a:pt x="36701" y="38400"/>
                          <a:pt x="36701" y="38400"/>
                        </a:cubicBezTo>
                        <a:cubicBezTo>
                          <a:pt x="36288" y="38618"/>
                          <a:pt x="36288" y="38836"/>
                          <a:pt x="35463" y="38836"/>
                        </a:cubicBezTo>
                        <a:cubicBezTo>
                          <a:pt x="35051" y="38836"/>
                          <a:pt x="34639" y="39054"/>
                          <a:pt x="34639" y="38836"/>
                        </a:cubicBezTo>
                        <a:cubicBezTo>
                          <a:pt x="34226" y="38618"/>
                          <a:pt x="33814" y="38618"/>
                          <a:pt x="33814" y="38618"/>
                        </a:cubicBezTo>
                        <a:close/>
                        <a:moveTo>
                          <a:pt x="18556" y="37963"/>
                        </a:moveTo>
                        <a:cubicBezTo>
                          <a:pt x="18556" y="37963"/>
                          <a:pt x="18556" y="37963"/>
                          <a:pt x="18556" y="37963"/>
                        </a:cubicBezTo>
                        <a:cubicBezTo>
                          <a:pt x="18969" y="37963"/>
                          <a:pt x="18969" y="37745"/>
                          <a:pt x="18969" y="38181"/>
                        </a:cubicBezTo>
                        <a:cubicBezTo>
                          <a:pt x="18969" y="38400"/>
                          <a:pt x="18969" y="38618"/>
                          <a:pt x="18969" y="38618"/>
                        </a:cubicBezTo>
                        <a:cubicBezTo>
                          <a:pt x="18969" y="38618"/>
                          <a:pt x="18556" y="39054"/>
                          <a:pt x="18144" y="38836"/>
                        </a:cubicBezTo>
                        <a:cubicBezTo>
                          <a:pt x="17731" y="38618"/>
                          <a:pt x="17731" y="38400"/>
                          <a:pt x="17731" y="38400"/>
                        </a:cubicBezTo>
                        <a:cubicBezTo>
                          <a:pt x="18556" y="37963"/>
                          <a:pt x="18556" y="37963"/>
                          <a:pt x="18556" y="37963"/>
                        </a:cubicBezTo>
                        <a:close/>
                        <a:moveTo>
                          <a:pt x="21855" y="35781"/>
                        </a:moveTo>
                        <a:cubicBezTo>
                          <a:pt x="21855" y="35781"/>
                          <a:pt x="21855" y="35781"/>
                          <a:pt x="21855" y="35781"/>
                        </a:cubicBezTo>
                        <a:cubicBezTo>
                          <a:pt x="22268" y="36000"/>
                          <a:pt x="23092" y="36436"/>
                          <a:pt x="23092" y="36436"/>
                        </a:cubicBezTo>
                        <a:cubicBezTo>
                          <a:pt x="21855" y="37090"/>
                          <a:pt x="21855" y="37090"/>
                          <a:pt x="21855" y="37090"/>
                        </a:cubicBezTo>
                        <a:cubicBezTo>
                          <a:pt x="21855" y="37090"/>
                          <a:pt x="20618" y="37309"/>
                          <a:pt x="20618" y="37527"/>
                        </a:cubicBezTo>
                        <a:cubicBezTo>
                          <a:pt x="20206" y="37527"/>
                          <a:pt x="21030" y="38181"/>
                          <a:pt x="20206" y="37963"/>
                        </a:cubicBezTo>
                        <a:cubicBezTo>
                          <a:pt x="19381" y="37745"/>
                          <a:pt x="18969" y="37309"/>
                          <a:pt x="19381" y="37309"/>
                        </a:cubicBezTo>
                        <a:cubicBezTo>
                          <a:pt x="19793" y="37090"/>
                          <a:pt x="19793" y="37090"/>
                          <a:pt x="20206" y="36872"/>
                        </a:cubicBezTo>
                        <a:cubicBezTo>
                          <a:pt x="20618" y="36654"/>
                          <a:pt x="21443" y="36000"/>
                          <a:pt x="21443" y="36000"/>
                        </a:cubicBezTo>
                        <a:cubicBezTo>
                          <a:pt x="21855" y="35781"/>
                          <a:pt x="21855" y="35781"/>
                          <a:pt x="21855" y="35781"/>
                        </a:cubicBezTo>
                        <a:close/>
                        <a:moveTo>
                          <a:pt x="23917" y="32727"/>
                        </a:moveTo>
                        <a:cubicBezTo>
                          <a:pt x="23917" y="32727"/>
                          <a:pt x="23917" y="32727"/>
                          <a:pt x="23917" y="32727"/>
                        </a:cubicBezTo>
                        <a:cubicBezTo>
                          <a:pt x="23917" y="32727"/>
                          <a:pt x="24742" y="32727"/>
                          <a:pt x="25154" y="32945"/>
                        </a:cubicBezTo>
                        <a:cubicBezTo>
                          <a:pt x="25154" y="32945"/>
                          <a:pt x="25567" y="33600"/>
                          <a:pt x="25567" y="33600"/>
                        </a:cubicBezTo>
                        <a:cubicBezTo>
                          <a:pt x="25567" y="33600"/>
                          <a:pt x="25979" y="33818"/>
                          <a:pt x="25567" y="34036"/>
                        </a:cubicBezTo>
                        <a:cubicBezTo>
                          <a:pt x="25154" y="34254"/>
                          <a:pt x="24329" y="34472"/>
                          <a:pt x="24329" y="34472"/>
                        </a:cubicBezTo>
                        <a:cubicBezTo>
                          <a:pt x="24329" y="35563"/>
                          <a:pt x="24329" y="35563"/>
                          <a:pt x="24329" y="35563"/>
                        </a:cubicBezTo>
                        <a:cubicBezTo>
                          <a:pt x="23917" y="36000"/>
                          <a:pt x="23917" y="36000"/>
                          <a:pt x="23917" y="36000"/>
                        </a:cubicBezTo>
                        <a:cubicBezTo>
                          <a:pt x="22680" y="35781"/>
                          <a:pt x="22680" y="35781"/>
                          <a:pt x="22680" y="35781"/>
                        </a:cubicBezTo>
                        <a:cubicBezTo>
                          <a:pt x="22680" y="34472"/>
                          <a:pt x="22680" y="34472"/>
                          <a:pt x="22680" y="34472"/>
                        </a:cubicBezTo>
                        <a:cubicBezTo>
                          <a:pt x="22268" y="33818"/>
                          <a:pt x="22268" y="33818"/>
                          <a:pt x="22268" y="33818"/>
                        </a:cubicBezTo>
                        <a:cubicBezTo>
                          <a:pt x="23505" y="33163"/>
                          <a:pt x="23505" y="33163"/>
                          <a:pt x="23505" y="33163"/>
                        </a:cubicBezTo>
                        <a:cubicBezTo>
                          <a:pt x="23917" y="32727"/>
                          <a:pt x="23917" y="32727"/>
                          <a:pt x="23917" y="32727"/>
                        </a:cubicBezTo>
                        <a:close/>
                        <a:moveTo>
                          <a:pt x="24742" y="30981"/>
                        </a:moveTo>
                        <a:cubicBezTo>
                          <a:pt x="24742" y="30981"/>
                          <a:pt x="24742" y="30981"/>
                          <a:pt x="24742" y="30981"/>
                        </a:cubicBezTo>
                        <a:cubicBezTo>
                          <a:pt x="24742" y="30981"/>
                          <a:pt x="25567" y="30763"/>
                          <a:pt x="25979" y="30981"/>
                        </a:cubicBezTo>
                        <a:cubicBezTo>
                          <a:pt x="26391" y="31200"/>
                          <a:pt x="26391" y="30763"/>
                          <a:pt x="26804" y="31200"/>
                        </a:cubicBezTo>
                        <a:cubicBezTo>
                          <a:pt x="27216" y="31636"/>
                          <a:pt x="27628" y="31636"/>
                          <a:pt x="27216" y="31854"/>
                        </a:cubicBezTo>
                        <a:cubicBezTo>
                          <a:pt x="27216" y="32072"/>
                          <a:pt x="27216" y="32290"/>
                          <a:pt x="26804" y="32509"/>
                        </a:cubicBezTo>
                        <a:cubicBezTo>
                          <a:pt x="26391" y="32727"/>
                          <a:pt x="26804" y="32945"/>
                          <a:pt x="25979" y="32727"/>
                        </a:cubicBezTo>
                        <a:cubicBezTo>
                          <a:pt x="25154" y="32509"/>
                          <a:pt x="25154" y="32509"/>
                          <a:pt x="24742" y="32290"/>
                        </a:cubicBezTo>
                        <a:cubicBezTo>
                          <a:pt x="24329" y="32072"/>
                          <a:pt x="24329" y="32072"/>
                          <a:pt x="24329" y="32072"/>
                        </a:cubicBezTo>
                        <a:cubicBezTo>
                          <a:pt x="24742" y="30981"/>
                          <a:pt x="24742" y="30981"/>
                          <a:pt x="24742" y="30981"/>
                        </a:cubicBezTo>
                        <a:close/>
                        <a:moveTo>
                          <a:pt x="28453" y="28800"/>
                        </a:moveTo>
                        <a:cubicBezTo>
                          <a:pt x="28453" y="28800"/>
                          <a:pt x="28453" y="28800"/>
                          <a:pt x="28453" y="28800"/>
                        </a:cubicBezTo>
                        <a:cubicBezTo>
                          <a:pt x="28453" y="28800"/>
                          <a:pt x="28865" y="28581"/>
                          <a:pt x="28453" y="29018"/>
                        </a:cubicBezTo>
                        <a:cubicBezTo>
                          <a:pt x="27628" y="29672"/>
                          <a:pt x="27628" y="29890"/>
                          <a:pt x="28041" y="29890"/>
                        </a:cubicBezTo>
                        <a:cubicBezTo>
                          <a:pt x="28041" y="29890"/>
                          <a:pt x="28453" y="29890"/>
                          <a:pt x="28453" y="29890"/>
                        </a:cubicBezTo>
                        <a:cubicBezTo>
                          <a:pt x="28453" y="30763"/>
                          <a:pt x="28453" y="30763"/>
                          <a:pt x="28453" y="30763"/>
                        </a:cubicBezTo>
                        <a:cubicBezTo>
                          <a:pt x="28453" y="30763"/>
                          <a:pt x="28453" y="30981"/>
                          <a:pt x="27216" y="30763"/>
                        </a:cubicBezTo>
                        <a:cubicBezTo>
                          <a:pt x="25979" y="30763"/>
                          <a:pt x="25154" y="30545"/>
                          <a:pt x="25154" y="30545"/>
                        </a:cubicBezTo>
                        <a:cubicBezTo>
                          <a:pt x="23917" y="29890"/>
                          <a:pt x="23917" y="29890"/>
                          <a:pt x="23917" y="29890"/>
                        </a:cubicBezTo>
                        <a:cubicBezTo>
                          <a:pt x="23917" y="29890"/>
                          <a:pt x="23505" y="29672"/>
                          <a:pt x="24329" y="29236"/>
                        </a:cubicBezTo>
                        <a:cubicBezTo>
                          <a:pt x="24742" y="28800"/>
                          <a:pt x="25979" y="29018"/>
                          <a:pt x="25979" y="29018"/>
                        </a:cubicBezTo>
                        <a:cubicBezTo>
                          <a:pt x="25979" y="29018"/>
                          <a:pt x="26391" y="29454"/>
                          <a:pt x="26804" y="29018"/>
                        </a:cubicBezTo>
                        <a:cubicBezTo>
                          <a:pt x="27216" y="28581"/>
                          <a:pt x="27216" y="28145"/>
                          <a:pt x="27628" y="28363"/>
                        </a:cubicBezTo>
                        <a:cubicBezTo>
                          <a:pt x="28041" y="28581"/>
                          <a:pt x="28453" y="28800"/>
                          <a:pt x="28453" y="28800"/>
                        </a:cubicBezTo>
                        <a:close/>
                        <a:moveTo>
                          <a:pt x="31752" y="26400"/>
                        </a:moveTo>
                        <a:cubicBezTo>
                          <a:pt x="31752" y="26400"/>
                          <a:pt x="31752" y="26400"/>
                          <a:pt x="31752" y="26400"/>
                        </a:cubicBezTo>
                        <a:cubicBezTo>
                          <a:pt x="31340" y="26181"/>
                          <a:pt x="31340" y="25745"/>
                          <a:pt x="31340" y="25745"/>
                        </a:cubicBezTo>
                        <a:cubicBezTo>
                          <a:pt x="31752" y="25309"/>
                          <a:pt x="31752" y="25309"/>
                          <a:pt x="31752" y="25309"/>
                        </a:cubicBezTo>
                        <a:cubicBezTo>
                          <a:pt x="31752" y="25309"/>
                          <a:pt x="30927" y="24872"/>
                          <a:pt x="30927" y="24654"/>
                        </a:cubicBezTo>
                        <a:cubicBezTo>
                          <a:pt x="30927" y="24436"/>
                          <a:pt x="30927" y="24000"/>
                          <a:pt x="31752" y="23781"/>
                        </a:cubicBezTo>
                        <a:cubicBezTo>
                          <a:pt x="32164" y="23563"/>
                          <a:pt x="32577" y="23127"/>
                          <a:pt x="32989" y="23127"/>
                        </a:cubicBezTo>
                        <a:cubicBezTo>
                          <a:pt x="32989" y="23345"/>
                          <a:pt x="32989" y="23345"/>
                          <a:pt x="33402" y="23781"/>
                        </a:cubicBezTo>
                        <a:cubicBezTo>
                          <a:pt x="33814" y="24000"/>
                          <a:pt x="33814" y="24436"/>
                          <a:pt x="34226" y="24218"/>
                        </a:cubicBezTo>
                        <a:cubicBezTo>
                          <a:pt x="34639" y="24000"/>
                          <a:pt x="34639" y="23781"/>
                          <a:pt x="35051" y="23563"/>
                        </a:cubicBezTo>
                        <a:cubicBezTo>
                          <a:pt x="35463" y="23345"/>
                          <a:pt x="35876" y="22690"/>
                          <a:pt x="35876" y="22690"/>
                        </a:cubicBezTo>
                        <a:cubicBezTo>
                          <a:pt x="35876" y="22690"/>
                          <a:pt x="36701" y="22909"/>
                          <a:pt x="37113" y="22690"/>
                        </a:cubicBezTo>
                        <a:cubicBezTo>
                          <a:pt x="37938" y="22472"/>
                          <a:pt x="37113" y="22472"/>
                          <a:pt x="38350" y="22254"/>
                        </a:cubicBezTo>
                        <a:cubicBezTo>
                          <a:pt x="39587" y="22254"/>
                          <a:pt x="40000" y="22254"/>
                          <a:pt x="40412" y="21818"/>
                        </a:cubicBezTo>
                        <a:cubicBezTo>
                          <a:pt x="40824" y="21600"/>
                          <a:pt x="40824" y="21818"/>
                          <a:pt x="41237" y="21600"/>
                        </a:cubicBezTo>
                        <a:cubicBezTo>
                          <a:pt x="41649" y="21381"/>
                          <a:pt x="42061" y="21163"/>
                          <a:pt x="42474" y="21163"/>
                        </a:cubicBezTo>
                        <a:cubicBezTo>
                          <a:pt x="42886" y="21381"/>
                          <a:pt x="43298" y="21600"/>
                          <a:pt x="43298" y="21818"/>
                        </a:cubicBezTo>
                        <a:cubicBezTo>
                          <a:pt x="43298" y="22036"/>
                          <a:pt x="43711" y="22472"/>
                          <a:pt x="43298" y="22690"/>
                        </a:cubicBezTo>
                        <a:cubicBezTo>
                          <a:pt x="42886" y="22909"/>
                          <a:pt x="42886" y="23127"/>
                          <a:pt x="42474" y="23127"/>
                        </a:cubicBezTo>
                        <a:cubicBezTo>
                          <a:pt x="42061" y="23345"/>
                          <a:pt x="40824" y="23781"/>
                          <a:pt x="40824" y="23781"/>
                        </a:cubicBezTo>
                        <a:cubicBezTo>
                          <a:pt x="40824" y="23781"/>
                          <a:pt x="40824" y="24218"/>
                          <a:pt x="41237" y="24218"/>
                        </a:cubicBezTo>
                        <a:cubicBezTo>
                          <a:pt x="41649" y="24218"/>
                          <a:pt x="42474" y="23563"/>
                          <a:pt x="42474" y="24000"/>
                        </a:cubicBezTo>
                        <a:cubicBezTo>
                          <a:pt x="42061" y="24436"/>
                          <a:pt x="43298" y="24654"/>
                          <a:pt x="42061" y="24872"/>
                        </a:cubicBezTo>
                        <a:cubicBezTo>
                          <a:pt x="41237" y="24872"/>
                          <a:pt x="40412" y="24654"/>
                          <a:pt x="40412" y="24654"/>
                        </a:cubicBezTo>
                        <a:cubicBezTo>
                          <a:pt x="39587" y="25309"/>
                          <a:pt x="39587" y="25309"/>
                          <a:pt x="39587" y="25309"/>
                        </a:cubicBezTo>
                        <a:cubicBezTo>
                          <a:pt x="39587" y="25309"/>
                          <a:pt x="38762" y="25090"/>
                          <a:pt x="38762" y="25309"/>
                        </a:cubicBezTo>
                        <a:cubicBezTo>
                          <a:pt x="38762" y="25527"/>
                          <a:pt x="39175" y="25963"/>
                          <a:pt x="39175" y="25963"/>
                        </a:cubicBezTo>
                        <a:cubicBezTo>
                          <a:pt x="38350" y="26400"/>
                          <a:pt x="38350" y="26400"/>
                          <a:pt x="38350" y="26400"/>
                        </a:cubicBezTo>
                        <a:cubicBezTo>
                          <a:pt x="38350" y="26400"/>
                          <a:pt x="37113" y="26181"/>
                          <a:pt x="37113" y="26400"/>
                        </a:cubicBezTo>
                        <a:cubicBezTo>
                          <a:pt x="37525" y="26618"/>
                          <a:pt x="37938" y="27054"/>
                          <a:pt x="37938" y="27054"/>
                        </a:cubicBezTo>
                        <a:cubicBezTo>
                          <a:pt x="37938" y="27054"/>
                          <a:pt x="37938" y="27490"/>
                          <a:pt x="37113" y="27490"/>
                        </a:cubicBezTo>
                        <a:cubicBezTo>
                          <a:pt x="36288" y="27490"/>
                          <a:pt x="35463" y="27490"/>
                          <a:pt x="35051" y="27490"/>
                        </a:cubicBezTo>
                        <a:cubicBezTo>
                          <a:pt x="34639" y="27272"/>
                          <a:pt x="34639" y="27272"/>
                          <a:pt x="34639" y="27272"/>
                        </a:cubicBezTo>
                        <a:cubicBezTo>
                          <a:pt x="34226" y="27927"/>
                          <a:pt x="34226" y="27927"/>
                          <a:pt x="34226" y="27927"/>
                        </a:cubicBezTo>
                        <a:cubicBezTo>
                          <a:pt x="34226" y="27927"/>
                          <a:pt x="34639" y="28145"/>
                          <a:pt x="34226" y="28363"/>
                        </a:cubicBezTo>
                        <a:cubicBezTo>
                          <a:pt x="33814" y="28581"/>
                          <a:pt x="32577" y="28581"/>
                          <a:pt x="32577" y="28581"/>
                        </a:cubicBezTo>
                        <a:cubicBezTo>
                          <a:pt x="32577" y="28581"/>
                          <a:pt x="32164" y="28581"/>
                          <a:pt x="32164" y="28581"/>
                        </a:cubicBezTo>
                        <a:cubicBezTo>
                          <a:pt x="32164" y="28800"/>
                          <a:pt x="31752" y="29236"/>
                          <a:pt x="31340" y="29236"/>
                        </a:cubicBezTo>
                        <a:cubicBezTo>
                          <a:pt x="30927" y="29018"/>
                          <a:pt x="30103" y="28800"/>
                          <a:pt x="29690" y="28581"/>
                        </a:cubicBezTo>
                        <a:cubicBezTo>
                          <a:pt x="29690" y="28363"/>
                          <a:pt x="29278" y="27490"/>
                          <a:pt x="30103" y="27709"/>
                        </a:cubicBezTo>
                        <a:cubicBezTo>
                          <a:pt x="30927" y="27709"/>
                          <a:pt x="31752" y="27927"/>
                          <a:pt x="31752" y="27490"/>
                        </a:cubicBezTo>
                        <a:cubicBezTo>
                          <a:pt x="31752" y="27054"/>
                          <a:pt x="31340" y="26836"/>
                          <a:pt x="31340" y="26836"/>
                        </a:cubicBezTo>
                        <a:cubicBezTo>
                          <a:pt x="31752" y="26400"/>
                          <a:pt x="31752" y="26400"/>
                          <a:pt x="31752" y="26400"/>
                        </a:cubicBezTo>
                        <a:close/>
                        <a:moveTo>
                          <a:pt x="110103" y="3272"/>
                        </a:moveTo>
                        <a:cubicBezTo>
                          <a:pt x="110103" y="3272"/>
                          <a:pt x="110103" y="3272"/>
                          <a:pt x="110103" y="3272"/>
                        </a:cubicBezTo>
                        <a:cubicBezTo>
                          <a:pt x="110515" y="3272"/>
                          <a:pt x="111752" y="3490"/>
                          <a:pt x="111752" y="3272"/>
                        </a:cubicBezTo>
                        <a:cubicBezTo>
                          <a:pt x="111752" y="3272"/>
                          <a:pt x="112164" y="2836"/>
                          <a:pt x="112164" y="2836"/>
                        </a:cubicBezTo>
                        <a:cubicBezTo>
                          <a:pt x="111752" y="2618"/>
                          <a:pt x="111340" y="2400"/>
                          <a:pt x="110927" y="2618"/>
                        </a:cubicBezTo>
                        <a:cubicBezTo>
                          <a:pt x="110515" y="2618"/>
                          <a:pt x="110103" y="2836"/>
                          <a:pt x="110103" y="2836"/>
                        </a:cubicBezTo>
                        <a:cubicBezTo>
                          <a:pt x="110103" y="3054"/>
                          <a:pt x="110103" y="3272"/>
                          <a:pt x="110103" y="3272"/>
                        </a:cubicBezTo>
                        <a:close/>
                        <a:moveTo>
                          <a:pt x="96907" y="6981"/>
                        </a:moveTo>
                        <a:cubicBezTo>
                          <a:pt x="96907" y="6981"/>
                          <a:pt x="96907" y="6981"/>
                          <a:pt x="96907" y="6981"/>
                        </a:cubicBezTo>
                        <a:cubicBezTo>
                          <a:pt x="97319" y="6981"/>
                          <a:pt x="97731" y="6545"/>
                          <a:pt x="97731" y="6763"/>
                        </a:cubicBezTo>
                        <a:cubicBezTo>
                          <a:pt x="97731" y="7200"/>
                          <a:pt x="98144" y="7200"/>
                          <a:pt x="97731" y="7418"/>
                        </a:cubicBezTo>
                        <a:cubicBezTo>
                          <a:pt x="97319" y="7418"/>
                          <a:pt x="96494" y="7854"/>
                          <a:pt x="96082" y="7636"/>
                        </a:cubicBezTo>
                        <a:cubicBezTo>
                          <a:pt x="96082" y="7636"/>
                          <a:pt x="96494" y="6763"/>
                          <a:pt x="96494" y="6763"/>
                        </a:cubicBezTo>
                        <a:cubicBezTo>
                          <a:pt x="96907" y="6981"/>
                          <a:pt x="96907" y="6981"/>
                          <a:pt x="96907" y="6981"/>
                        </a:cubicBezTo>
                        <a:close/>
                        <a:moveTo>
                          <a:pt x="104742" y="7418"/>
                        </a:moveTo>
                        <a:cubicBezTo>
                          <a:pt x="104742" y="7418"/>
                          <a:pt x="104742" y="7418"/>
                          <a:pt x="104742" y="7418"/>
                        </a:cubicBezTo>
                        <a:cubicBezTo>
                          <a:pt x="104742" y="7418"/>
                          <a:pt x="104742" y="7636"/>
                          <a:pt x="103917" y="7418"/>
                        </a:cubicBezTo>
                        <a:cubicBezTo>
                          <a:pt x="102680" y="7418"/>
                          <a:pt x="102268" y="7636"/>
                          <a:pt x="102268" y="7200"/>
                        </a:cubicBezTo>
                        <a:cubicBezTo>
                          <a:pt x="102268" y="6981"/>
                          <a:pt x="102680" y="6763"/>
                          <a:pt x="101855" y="6545"/>
                        </a:cubicBezTo>
                        <a:cubicBezTo>
                          <a:pt x="101030" y="6545"/>
                          <a:pt x="101030" y="6545"/>
                          <a:pt x="101030" y="6545"/>
                        </a:cubicBezTo>
                        <a:cubicBezTo>
                          <a:pt x="101030" y="6545"/>
                          <a:pt x="100618" y="6109"/>
                          <a:pt x="101030" y="5890"/>
                        </a:cubicBezTo>
                        <a:cubicBezTo>
                          <a:pt x="101855" y="5454"/>
                          <a:pt x="101855" y="5672"/>
                          <a:pt x="102268" y="5672"/>
                        </a:cubicBezTo>
                        <a:cubicBezTo>
                          <a:pt x="103092" y="5672"/>
                          <a:pt x="102680" y="5672"/>
                          <a:pt x="103505" y="5890"/>
                        </a:cubicBezTo>
                        <a:cubicBezTo>
                          <a:pt x="104329" y="5890"/>
                          <a:pt x="104742" y="6109"/>
                          <a:pt x="104742" y="5672"/>
                        </a:cubicBezTo>
                        <a:cubicBezTo>
                          <a:pt x="104742" y="5454"/>
                          <a:pt x="105154" y="5454"/>
                          <a:pt x="104329" y="5018"/>
                        </a:cubicBezTo>
                        <a:cubicBezTo>
                          <a:pt x="103917" y="4581"/>
                          <a:pt x="103917" y="4800"/>
                          <a:pt x="103505" y="4581"/>
                        </a:cubicBezTo>
                        <a:cubicBezTo>
                          <a:pt x="103092" y="4145"/>
                          <a:pt x="102268" y="3709"/>
                          <a:pt x="102680" y="3490"/>
                        </a:cubicBezTo>
                        <a:cubicBezTo>
                          <a:pt x="102680" y="3272"/>
                          <a:pt x="102268" y="3272"/>
                          <a:pt x="103092" y="2836"/>
                        </a:cubicBezTo>
                        <a:cubicBezTo>
                          <a:pt x="104329" y="2618"/>
                          <a:pt x="105154" y="2181"/>
                          <a:pt x="105567" y="2181"/>
                        </a:cubicBezTo>
                        <a:cubicBezTo>
                          <a:pt x="105979" y="2181"/>
                          <a:pt x="106391" y="2181"/>
                          <a:pt x="106391" y="2400"/>
                        </a:cubicBezTo>
                        <a:cubicBezTo>
                          <a:pt x="106391" y="2836"/>
                          <a:pt x="106391" y="3054"/>
                          <a:pt x="105979" y="3272"/>
                        </a:cubicBezTo>
                        <a:cubicBezTo>
                          <a:pt x="105567" y="3272"/>
                          <a:pt x="105567" y="3490"/>
                          <a:pt x="105567" y="3490"/>
                        </a:cubicBezTo>
                        <a:cubicBezTo>
                          <a:pt x="105567" y="3490"/>
                          <a:pt x="105154" y="4145"/>
                          <a:pt x="105979" y="4145"/>
                        </a:cubicBezTo>
                        <a:cubicBezTo>
                          <a:pt x="106804" y="3927"/>
                          <a:pt x="107216" y="3490"/>
                          <a:pt x="107216" y="3272"/>
                        </a:cubicBezTo>
                        <a:cubicBezTo>
                          <a:pt x="107628" y="3054"/>
                          <a:pt x="108041" y="3272"/>
                          <a:pt x="107628" y="2836"/>
                        </a:cubicBezTo>
                        <a:cubicBezTo>
                          <a:pt x="107628" y="2400"/>
                          <a:pt x="107216" y="2181"/>
                          <a:pt x="107628" y="2181"/>
                        </a:cubicBezTo>
                        <a:cubicBezTo>
                          <a:pt x="108041" y="2181"/>
                          <a:pt x="108453" y="2618"/>
                          <a:pt x="108865" y="2181"/>
                        </a:cubicBezTo>
                        <a:cubicBezTo>
                          <a:pt x="109690" y="1527"/>
                          <a:pt x="109690" y="1309"/>
                          <a:pt x="109690" y="1309"/>
                        </a:cubicBezTo>
                        <a:cubicBezTo>
                          <a:pt x="109690" y="1309"/>
                          <a:pt x="109278" y="1309"/>
                          <a:pt x="110103" y="1090"/>
                        </a:cubicBezTo>
                        <a:cubicBezTo>
                          <a:pt x="110927" y="872"/>
                          <a:pt x="110515" y="654"/>
                          <a:pt x="110927" y="436"/>
                        </a:cubicBezTo>
                        <a:cubicBezTo>
                          <a:pt x="111340" y="218"/>
                          <a:pt x="110515" y="0"/>
                          <a:pt x="111752" y="0"/>
                        </a:cubicBezTo>
                        <a:cubicBezTo>
                          <a:pt x="112577" y="218"/>
                          <a:pt x="112577" y="218"/>
                          <a:pt x="112989" y="436"/>
                        </a:cubicBezTo>
                        <a:cubicBezTo>
                          <a:pt x="113402" y="436"/>
                          <a:pt x="112577" y="1309"/>
                          <a:pt x="112164" y="1309"/>
                        </a:cubicBezTo>
                        <a:cubicBezTo>
                          <a:pt x="111752" y="1309"/>
                          <a:pt x="111752" y="1090"/>
                          <a:pt x="110927" y="1309"/>
                        </a:cubicBezTo>
                        <a:cubicBezTo>
                          <a:pt x="110515" y="1527"/>
                          <a:pt x="111340" y="1963"/>
                          <a:pt x="110927" y="2181"/>
                        </a:cubicBezTo>
                        <a:cubicBezTo>
                          <a:pt x="110515" y="2400"/>
                          <a:pt x="110103" y="2181"/>
                          <a:pt x="109690" y="2400"/>
                        </a:cubicBezTo>
                        <a:cubicBezTo>
                          <a:pt x="109278" y="2618"/>
                          <a:pt x="109278" y="2618"/>
                          <a:pt x="109278" y="2836"/>
                        </a:cubicBezTo>
                        <a:cubicBezTo>
                          <a:pt x="109278" y="3054"/>
                          <a:pt x="108865" y="3272"/>
                          <a:pt x="108453" y="3490"/>
                        </a:cubicBezTo>
                        <a:cubicBezTo>
                          <a:pt x="108453" y="3490"/>
                          <a:pt x="107216" y="3054"/>
                          <a:pt x="108453" y="3490"/>
                        </a:cubicBezTo>
                        <a:cubicBezTo>
                          <a:pt x="109690" y="3927"/>
                          <a:pt x="110103" y="3927"/>
                          <a:pt x="109690" y="4145"/>
                        </a:cubicBezTo>
                        <a:cubicBezTo>
                          <a:pt x="109278" y="4145"/>
                          <a:pt x="108453" y="4145"/>
                          <a:pt x="108041" y="4363"/>
                        </a:cubicBezTo>
                        <a:cubicBezTo>
                          <a:pt x="107628" y="4363"/>
                          <a:pt x="107216" y="4581"/>
                          <a:pt x="108041" y="4800"/>
                        </a:cubicBezTo>
                        <a:cubicBezTo>
                          <a:pt x="108865" y="5018"/>
                          <a:pt x="108453" y="5018"/>
                          <a:pt x="108865" y="5018"/>
                        </a:cubicBezTo>
                        <a:cubicBezTo>
                          <a:pt x="109278" y="4800"/>
                          <a:pt x="111340" y="4800"/>
                          <a:pt x="111340" y="5018"/>
                        </a:cubicBezTo>
                        <a:cubicBezTo>
                          <a:pt x="110927" y="5454"/>
                          <a:pt x="111340" y="5454"/>
                          <a:pt x="110515" y="5672"/>
                        </a:cubicBezTo>
                        <a:cubicBezTo>
                          <a:pt x="109278" y="5890"/>
                          <a:pt x="108453" y="5672"/>
                          <a:pt x="108041" y="5454"/>
                        </a:cubicBezTo>
                        <a:cubicBezTo>
                          <a:pt x="107628" y="5454"/>
                          <a:pt x="107628" y="5018"/>
                          <a:pt x="107628" y="5672"/>
                        </a:cubicBezTo>
                        <a:cubicBezTo>
                          <a:pt x="108041" y="6327"/>
                          <a:pt x="108865" y="6327"/>
                          <a:pt x="108453" y="6327"/>
                        </a:cubicBezTo>
                        <a:cubicBezTo>
                          <a:pt x="107628" y="6327"/>
                          <a:pt x="106804" y="6327"/>
                          <a:pt x="106804" y="6327"/>
                        </a:cubicBezTo>
                        <a:cubicBezTo>
                          <a:pt x="106804" y="6327"/>
                          <a:pt x="106391" y="5890"/>
                          <a:pt x="106804" y="6545"/>
                        </a:cubicBezTo>
                        <a:cubicBezTo>
                          <a:pt x="107216" y="7200"/>
                          <a:pt x="107216" y="7200"/>
                          <a:pt x="107216" y="7200"/>
                        </a:cubicBezTo>
                        <a:cubicBezTo>
                          <a:pt x="107216" y="7200"/>
                          <a:pt x="106391" y="7418"/>
                          <a:pt x="106391" y="7418"/>
                        </a:cubicBezTo>
                        <a:cubicBezTo>
                          <a:pt x="106391" y="7636"/>
                          <a:pt x="106804" y="8072"/>
                          <a:pt x="107216" y="8290"/>
                        </a:cubicBezTo>
                        <a:cubicBezTo>
                          <a:pt x="107216" y="8290"/>
                          <a:pt x="106804" y="9163"/>
                          <a:pt x="106391" y="9163"/>
                        </a:cubicBezTo>
                        <a:cubicBezTo>
                          <a:pt x="106391" y="9163"/>
                          <a:pt x="106391" y="9381"/>
                          <a:pt x="105979" y="9600"/>
                        </a:cubicBezTo>
                        <a:cubicBezTo>
                          <a:pt x="105567" y="9818"/>
                          <a:pt x="105154" y="10036"/>
                          <a:pt x="105154" y="10036"/>
                        </a:cubicBezTo>
                        <a:cubicBezTo>
                          <a:pt x="104329" y="11345"/>
                          <a:pt x="104329" y="11345"/>
                          <a:pt x="104329" y="11345"/>
                        </a:cubicBezTo>
                        <a:cubicBezTo>
                          <a:pt x="104329" y="11345"/>
                          <a:pt x="103917" y="11781"/>
                          <a:pt x="103505" y="11345"/>
                        </a:cubicBezTo>
                        <a:cubicBezTo>
                          <a:pt x="103505" y="10909"/>
                          <a:pt x="103092" y="10909"/>
                          <a:pt x="103505" y="10690"/>
                        </a:cubicBezTo>
                        <a:cubicBezTo>
                          <a:pt x="103917" y="10690"/>
                          <a:pt x="103917" y="10254"/>
                          <a:pt x="104329" y="10036"/>
                        </a:cubicBezTo>
                        <a:cubicBezTo>
                          <a:pt x="104329" y="9818"/>
                          <a:pt x="104742" y="8945"/>
                          <a:pt x="104742" y="8945"/>
                        </a:cubicBezTo>
                        <a:cubicBezTo>
                          <a:pt x="104742" y="8945"/>
                          <a:pt x="105567" y="8945"/>
                          <a:pt x="105979" y="8727"/>
                        </a:cubicBezTo>
                        <a:cubicBezTo>
                          <a:pt x="105979" y="8727"/>
                          <a:pt x="105154" y="7854"/>
                          <a:pt x="105154" y="7854"/>
                        </a:cubicBezTo>
                        <a:cubicBezTo>
                          <a:pt x="105567" y="7418"/>
                          <a:pt x="105567" y="7418"/>
                          <a:pt x="105567" y="7418"/>
                        </a:cubicBezTo>
                        <a:cubicBezTo>
                          <a:pt x="104742" y="7418"/>
                          <a:pt x="104742" y="7418"/>
                          <a:pt x="104742" y="7418"/>
                        </a:cubicBezTo>
                        <a:close/>
                        <a:moveTo>
                          <a:pt x="98556" y="14618"/>
                        </a:moveTo>
                        <a:cubicBezTo>
                          <a:pt x="98556" y="14618"/>
                          <a:pt x="98556" y="14618"/>
                          <a:pt x="98556" y="14618"/>
                        </a:cubicBezTo>
                        <a:cubicBezTo>
                          <a:pt x="98556" y="14618"/>
                          <a:pt x="99793" y="13745"/>
                          <a:pt x="100206" y="13963"/>
                        </a:cubicBezTo>
                        <a:cubicBezTo>
                          <a:pt x="100206" y="13963"/>
                          <a:pt x="100206" y="14181"/>
                          <a:pt x="100206" y="14400"/>
                        </a:cubicBezTo>
                        <a:cubicBezTo>
                          <a:pt x="100206" y="14400"/>
                          <a:pt x="100618" y="14836"/>
                          <a:pt x="100206" y="14836"/>
                        </a:cubicBezTo>
                        <a:cubicBezTo>
                          <a:pt x="99793" y="14836"/>
                          <a:pt x="99381" y="14836"/>
                          <a:pt x="98969" y="14836"/>
                        </a:cubicBezTo>
                        <a:cubicBezTo>
                          <a:pt x="98969" y="14836"/>
                          <a:pt x="98556" y="14618"/>
                          <a:pt x="98556" y="14618"/>
                        </a:cubicBezTo>
                        <a:close/>
                        <a:moveTo>
                          <a:pt x="80824" y="21381"/>
                        </a:moveTo>
                        <a:cubicBezTo>
                          <a:pt x="80824" y="21381"/>
                          <a:pt x="80824" y="21381"/>
                          <a:pt x="80824" y="21381"/>
                        </a:cubicBezTo>
                        <a:cubicBezTo>
                          <a:pt x="81649" y="20945"/>
                          <a:pt x="81649" y="20945"/>
                          <a:pt x="81649" y="20945"/>
                        </a:cubicBezTo>
                        <a:cubicBezTo>
                          <a:pt x="82886" y="21163"/>
                          <a:pt x="82886" y="21163"/>
                          <a:pt x="82886" y="21163"/>
                        </a:cubicBezTo>
                        <a:cubicBezTo>
                          <a:pt x="82886" y="21163"/>
                          <a:pt x="83298" y="20727"/>
                          <a:pt x="83298" y="21163"/>
                        </a:cubicBezTo>
                        <a:cubicBezTo>
                          <a:pt x="82886" y="21600"/>
                          <a:pt x="82061" y="22254"/>
                          <a:pt x="82061" y="22254"/>
                        </a:cubicBezTo>
                        <a:cubicBezTo>
                          <a:pt x="82061" y="22254"/>
                          <a:pt x="82474" y="22254"/>
                          <a:pt x="81649" y="22472"/>
                        </a:cubicBezTo>
                        <a:cubicBezTo>
                          <a:pt x="80824" y="22690"/>
                          <a:pt x="80824" y="22909"/>
                          <a:pt x="80412" y="22472"/>
                        </a:cubicBezTo>
                        <a:cubicBezTo>
                          <a:pt x="80000" y="22254"/>
                          <a:pt x="79587" y="22254"/>
                          <a:pt x="79587" y="22036"/>
                        </a:cubicBezTo>
                        <a:cubicBezTo>
                          <a:pt x="80000" y="21818"/>
                          <a:pt x="80000" y="21381"/>
                          <a:pt x="80000" y="21381"/>
                        </a:cubicBezTo>
                        <a:cubicBezTo>
                          <a:pt x="80824" y="21381"/>
                          <a:pt x="80824" y="21381"/>
                          <a:pt x="80824" y="21381"/>
                        </a:cubicBezTo>
                        <a:close/>
                        <a:moveTo>
                          <a:pt x="89484" y="15709"/>
                        </a:moveTo>
                        <a:cubicBezTo>
                          <a:pt x="89484" y="15709"/>
                          <a:pt x="89484" y="15709"/>
                          <a:pt x="89484" y="15709"/>
                        </a:cubicBezTo>
                        <a:cubicBezTo>
                          <a:pt x="89484" y="15709"/>
                          <a:pt x="89896" y="15272"/>
                          <a:pt x="90309" y="15272"/>
                        </a:cubicBezTo>
                        <a:cubicBezTo>
                          <a:pt x="90721" y="15490"/>
                          <a:pt x="91134" y="15490"/>
                          <a:pt x="91134" y="15709"/>
                        </a:cubicBezTo>
                        <a:cubicBezTo>
                          <a:pt x="90721" y="15927"/>
                          <a:pt x="90309" y="16145"/>
                          <a:pt x="89896" y="16145"/>
                        </a:cubicBezTo>
                        <a:cubicBezTo>
                          <a:pt x="89484" y="16145"/>
                          <a:pt x="89484" y="15709"/>
                          <a:pt x="89484" y="15709"/>
                        </a:cubicBezTo>
                        <a:close/>
                        <a:moveTo>
                          <a:pt x="87835" y="16800"/>
                        </a:moveTo>
                        <a:cubicBezTo>
                          <a:pt x="87835" y="16800"/>
                          <a:pt x="87835" y="16800"/>
                          <a:pt x="87835" y="16800"/>
                        </a:cubicBezTo>
                        <a:cubicBezTo>
                          <a:pt x="87835" y="16800"/>
                          <a:pt x="88659" y="16363"/>
                          <a:pt x="89072" y="16581"/>
                        </a:cubicBezTo>
                        <a:cubicBezTo>
                          <a:pt x="89072" y="16581"/>
                          <a:pt x="89484" y="16581"/>
                          <a:pt x="89072" y="16800"/>
                        </a:cubicBezTo>
                        <a:cubicBezTo>
                          <a:pt x="89072" y="17018"/>
                          <a:pt x="89896" y="16800"/>
                          <a:pt x="88659" y="17018"/>
                        </a:cubicBezTo>
                        <a:cubicBezTo>
                          <a:pt x="87835" y="17454"/>
                          <a:pt x="88247" y="17672"/>
                          <a:pt x="87422" y="17454"/>
                        </a:cubicBezTo>
                        <a:cubicBezTo>
                          <a:pt x="87010" y="17236"/>
                          <a:pt x="87010" y="17018"/>
                          <a:pt x="87010" y="16800"/>
                        </a:cubicBezTo>
                        <a:cubicBezTo>
                          <a:pt x="87010" y="16800"/>
                          <a:pt x="87422" y="16363"/>
                          <a:pt x="87422" y="16363"/>
                        </a:cubicBezTo>
                        <a:cubicBezTo>
                          <a:pt x="87835" y="16581"/>
                          <a:pt x="87835" y="16800"/>
                          <a:pt x="87835" y="16800"/>
                        </a:cubicBezTo>
                        <a:close/>
                        <a:moveTo>
                          <a:pt x="84536" y="17454"/>
                        </a:moveTo>
                        <a:cubicBezTo>
                          <a:pt x="84536" y="17454"/>
                          <a:pt x="84536" y="17454"/>
                          <a:pt x="84536" y="17454"/>
                        </a:cubicBezTo>
                        <a:cubicBezTo>
                          <a:pt x="84536" y="17454"/>
                          <a:pt x="85360" y="17672"/>
                          <a:pt x="85360" y="17672"/>
                        </a:cubicBezTo>
                        <a:cubicBezTo>
                          <a:pt x="85773" y="17890"/>
                          <a:pt x="85773" y="17672"/>
                          <a:pt x="86185" y="17454"/>
                        </a:cubicBezTo>
                        <a:cubicBezTo>
                          <a:pt x="87010" y="17454"/>
                          <a:pt x="86185" y="17454"/>
                          <a:pt x="86597" y="17236"/>
                        </a:cubicBezTo>
                        <a:cubicBezTo>
                          <a:pt x="87010" y="16800"/>
                          <a:pt x="86597" y="17018"/>
                          <a:pt x="86597" y="16800"/>
                        </a:cubicBezTo>
                        <a:cubicBezTo>
                          <a:pt x="86185" y="16800"/>
                          <a:pt x="86185" y="16800"/>
                          <a:pt x="85773" y="16800"/>
                        </a:cubicBezTo>
                        <a:cubicBezTo>
                          <a:pt x="84948" y="16800"/>
                          <a:pt x="84536" y="17454"/>
                          <a:pt x="84536" y="17454"/>
                        </a:cubicBezTo>
                        <a:close/>
                        <a:moveTo>
                          <a:pt x="86185" y="18763"/>
                        </a:moveTo>
                        <a:cubicBezTo>
                          <a:pt x="86185" y="18763"/>
                          <a:pt x="86185" y="18763"/>
                          <a:pt x="86185" y="18763"/>
                        </a:cubicBezTo>
                        <a:cubicBezTo>
                          <a:pt x="86185" y="18763"/>
                          <a:pt x="86597" y="18109"/>
                          <a:pt x="87010" y="18109"/>
                        </a:cubicBezTo>
                        <a:cubicBezTo>
                          <a:pt x="87422" y="18327"/>
                          <a:pt x="87422" y="18109"/>
                          <a:pt x="87422" y="18327"/>
                        </a:cubicBezTo>
                        <a:cubicBezTo>
                          <a:pt x="87422" y="18545"/>
                          <a:pt x="87422" y="18981"/>
                          <a:pt x="87010" y="18981"/>
                        </a:cubicBezTo>
                        <a:cubicBezTo>
                          <a:pt x="86597" y="18981"/>
                          <a:pt x="86185" y="18763"/>
                          <a:pt x="86185" y="18763"/>
                        </a:cubicBezTo>
                        <a:close/>
                        <a:moveTo>
                          <a:pt x="82886" y="18763"/>
                        </a:moveTo>
                        <a:cubicBezTo>
                          <a:pt x="82886" y="18763"/>
                          <a:pt x="82886" y="18763"/>
                          <a:pt x="82886" y="18763"/>
                        </a:cubicBezTo>
                        <a:cubicBezTo>
                          <a:pt x="83298" y="18327"/>
                          <a:pt x="83298" y="18327"/>
                          <a:pt x="83298" y="18327"/>
                        </a:cubicBezTo>
                        <a:cubicBezTo>
                          <a:pt x="84123" y="18545"/>
                          <a:pt x="84123" y="18545"/>
                          <a:pt x="84123" y="18545"/>
                        </a:cubicBezTo>
                        <a:cubicBezTo>
                          <a:pt x="84123" y="18545"/>
                          <a:pt x="84536" y="18763"/>
                          <a:pt x="84123" y="18763"/>
                        </a:cubicBezTo>
                        <a:cubicBezTo>
                          <a:pt x="84123" y="18981"/>
                          <a:pt x="83711" y="18981"/>
                          <a:pt x="83711" y="19200"/>
                        </a:cubicBezTo>
                        <a:cubicBezTo>
                          <a:pt x="83298" y="19200"/>
                          <a:pt x="82886" y="18981"/>
                          <a:pt x="82886" y="18981"/>
                        </a:cubicBezTo>
                        <a:cubicBezTo>
                          <a:pt x="82886" y="18763"/>
                          <a:pt x="82886" y="18763"/>
                          <a:pt x="82886" y="18763"/>
                        </a:cubicBezTo>
                        <a:close/>
                        <a:moveTo>
                          <a:pt x="82886" y="15927"/>
                        </a:moveTo>
                        <a:cubicBezTo>
                          <a:pt x="82886" y="15927"/>
                          <a:pt x="82886" y="15927"/>
                          <a:pt x="82886" y="15927"/>
                        </a:cubicBezTo>
                        <a:cubicBezTo>
                          <a:pt x="82886" y="15927"/>
                          <a:pt x="83711" y="15272"/>
                          <a:pt x="83711" y="15272"/>
                        </a:cubicBezTo>
                        <a:cubicBezTo>
                          <a:pt x="84123" y="15272"/>
                          <a:pt x="84536" y="15054"/>
                          <a:pt x="84536" y="15490"/>
                        </a:cubicBezTo>
                        <a:cubicBezTo>
                          <a:pt x="84536" y="15927"/>
                          <a:pt x="85360" y="16363"/>
                          <a:pt x="84123" y="16363"/>
                        </a:cubicBezTo>
                        <a:cubicBezTo>
                          <a:pt x="83298" y="16363"/>
                          <a:pt x="82886" y="16581"/>
                          <a:pt x="82886" y="16363"/>
                        </a:cubicBezTo>
                        <a:cubicBezTo>
                          <a:pt x="82474" y="16145"/>
                          <a:pt x="82886" y="15927"/>
                          <a:pt x="82886" y="15927"/>
                        </a:cubicBezTo>
                        <a:close/>
                        <a:moveTo>
                          <a:pt x="81237" y="17236"/>
                        </a:moveTo>
                        <a:cubicBezTo>
                          <a:pt x="81237" y="17236"/>
                          <a:pt x="81237" y="17236"/>
                          <a:pt x="81237" y="17236"/>
                        </a:cubicBezTo>
                        <a:cubicBezTo>
                          <a:pt x="81237" y="17236"/>
                          <a:pt x="82061" y="16800"/>
                          <a:pt x="82474" y="16800"/>
                        </a:cubicBezTo>
                        <a:cubicBezTo>
                          <a:pt x="82886" y="17018"/>
                          <a:pt x="83298" y="17018"/>
                          <a:pt x="83298" y="17236"/>
                        </a:cubicBezTo>
                        <a:cubicBezTo>
                          <a:pt x="83298" y="17454"/>
                          <a:pt x="83298" y="17454"/>
                          <a:pt x="82886" y="17672"/>
                        </a:cubicBezTo>
                        <a:cubicBezTo>
                          <a:pt x="82886" y="17890"/>
                          <a:pt x="82474" y="17890"/>
                          <a:pt x="82061" y="17890"/>
                        </a:cubicBezTo>
                        <a:cubicBezTo>
                          <a:pt x="82061" y="17890"/>
                          <a:pt x="81237" y="17236"/>
                          <a:pt x="81237" y="17236"/>
                        </a:cubicBezTo>
                        <a:close/>
                        <a:moveTo>
                          <a:pt x="82474" y="19854"/>
                        </a:moveTo>
                        <a:cubicBezTo>
                          <a:pt x="82474" y="19854"/>
                          <a:pt x="82474" y="19854"/>
                          <a:pt x="82474" y="19854"/>
                        </a:cubicBezTo>
                        <a:cubicBezTo>
                          <a:pt x="82474" y="19854"/>
                          <a:pt x="82061" y="20509"/>
                          <a:pt x="82061" y="20727"/>
                        </a:cubicBezTo>
                        <a:cubicBezTo>
                          <a:pt x="82061" y="20945"/>
                          <a:pt x="83298" y="20945"/>
                          <a:pt x="83711" y="20727"/>
                        </a:cubicBezTo>
                        <a:cubicBezTo>
                          <a:pt x="83711" y="20727"/>
                          <a:pt x="84123" y="20290"/>
                          <a:pt x="84123" y="20290"/>
                        </a:cubicBezTo>
                        <a:cubicBezTo>
                          <a:pt x="84123" y="20290"/>
                          <a:pt x="83711" y="19854"/>
                          <a:pt x="83298" y="19636"/>
                        </a:cubicBezTo>
                        <a:cubicBezTo>
                          <a:pt x="82886" y="19418"/>
                          <a:pt x="82474" y="19854"/>
                          <a:pt x="82474" y="19854"/>
                        </a:cubicBezTo>
                        <a:close/>
                        <a:moveTo>
                          <a:pt x="78762" y="19200"/>
                        </a:moveTo>
                        <a:cubicBezTo>
                          <a:pt x="78762" y="19200"/>
                          <a:pt x="78762" y="19200"/>
                          <a:pt x="78762" y="19200"/>
                        </a:cubicBezTo>
                        <a:cubicBezTo>
                          <a:pt x="78762" y="19854"/>
                          <a:pt x="78762" y="19854"/>
                          <a:pt x="78762" y="19854"/>
                        </a:cubicBezTo>
                        <a:cubicBezTo>
                          <a:pt x="78762" y="19854"/>
                          <a:pt x="79587" y="20290"/>
                          <a:pt x="80000" y="20290"/>
                        </a:cubicBezTo>
                        <a:cubicBezTo>
                          <a:pt x="80412" y="20509"/>
                          <a:pt x="80412" y="20290"/>
                          <a:pt x="81237" y="20509"/>
                        </a:cubicBezTo>
                        <a:cubicBezTo>
                          <a:pt x="81649" y="20509"/>
                          <a:pt x="81649" y="20290"/>
                          <a:pt x="81649" y="20290"/>
                        </a:cubicBezTo>
                        <a:cubicBezTo>
                          <a:pt x="82061" y="20290"/>
                          <a:pt x="82061" y="20290"/>
                          <a:pt x="82061" y="20072"/>
                        </a:cubicBezTo>
                        <a:cubicBezTo>
                          <a:pt x="82061" y="20072"/>
                          <a:pt x="81237" y="19854"/>
                          <a:pt x="80824" y="19636"/>
                        </a:cubicBezTo>
                        <a:cubicBezTo>
                          <a:pt x="80824" y="19418"/>
                          <a:pt x="80824" y="19418"/>
                          <a:pt x="80824" y="19200"/>
                        </a:cubicBezTo>
                        <a:cubicBezTo>
                          <a:pt x="80824" y="19200"/>
                          <a:pt x="81237" y="18981"/>
                          <a:pt x="81649" y="18981"/>
                        </a:cubicBezTo>
                        <a:cubicBezTo>
                          <a:pt x="81649" y="18763"/>
                          <a:pt x="81649" y="18327"/>
                          <a:pt x="81649" y="18327"/>
                        </a:cubicBezTo>
                        <a:cubicBezTo>
                          <a:pt x="81649" y="18327"/>
                          <a:pt x="80824" y="18327"/>
                          <a:pt x="80824" y="18109"/>
                        </a:cubicBezTo>
                        <a:cubicBezTo>
                          <a:pt x="80824" y="18109"/>
                          <a:pt x="80412" y="17890"/>
                          <a:pt x="80000" y="17672"/>
                        </a:cubicBezTo>
                        <a:cubicBezTo>
                          <a:pt x="80000" y="17454"/>
                          <a:pt x="79175" y="17454"/>
                          <a:pt x="78762" y="17454"/>
                        </a:cubicBezTo>
                        <a:cubicBezTo>
                          <a:pt x="78762" y="17454"/>
                          <a:pt x="78350" y="18109"/>
                          <a:pt x="77938" y="18327"/>
                        </a:cubicBezTo>
                        <a:cubicBezTo>
                          <a:pt x="77938" y="18327"/>
                          <a:pt x="77525" y="18763"/>
                          <a:pt x="77525" y="18763"/>
                        </a:cubicBezTo>
                        <a:cubicBezTo>
                          <a:pt x="77525" y="18981"/>
                          <a:pt x="77525" y="19200"/>
                          <a:pt x="77938" y="19418"/>
                        </a:cubicBezTo>
                        <a:cubicBezTo>
                          <a:pt x="78350" y="19418"/>
                          <a:pt x="78762" y="19200"/>
                          <a:pt x="78762" y="19200"/>
                        </a:cubicBezTo>
                        <a:close/>
                        <a:moveTo>
                          <a:pt x="77525" y="20945"/>
                        </a:moveTo>
                        <a:cubicBezTo>
                          <a:pt x="77525" y="20945"/>
                          <a:pt x="77525" y="20945"/>
                          <a:pt x="77525" y="20945"/>
                        </a:cubicBezTo>
                        <a:cubicBezTo>
                          <a:pt x="77113" y="20945"/>
                          <a:pt x="76288" y="20509"/>
                          <a:pt x="76288" y="20509"/>
                        </a:cubicBezTo>
                        <a:cubicBezTo>
                          <a:pt x="76288" y="20509"/>
                          <a:pt x="77113" y="20290"/>
                          <a:pt x="77113" y="20072"/>
                        </a:cubicBezTo>
                        <a:cubicBezTo>
                          <a:pt x="77525" y="20072"/>
                          <a:pt x="77113" y="19854"/>
                          <a:pt x="77938" y="19854"/>
                        </a:cubicBezTo>
                        <a:cubicBezTo>
                          <a:pt x="78762" y="20072"/>
                          <a:pt x="78762" y="20290"/>
                          <a:pt x="78762" y="20290"/>
                        </a:cubicBezTo>
                        <a:cubicBezTo>
                          <a:pt x="78762" y="20290"/>
                          <a:pt x="79175" y="20727"/>
                          <a:pt x="79175" y="20945"/>
                        </a:cubicBezTo>
                        <a:cubicBezTo>
                          <a:pt x="79175" y="20945"/>
                          <a:pt x="79175" y="21163"/>
                          <a:pt x="79175" y="21163"/>
                        </a:cubicBezTo>
                        <a:cubicBezTo>
                          <a:pt x="79175" y="21381"/>
                          <a:pt x="80000" y="21600"/>
                          <a:pt x="78762" y="21600"/>
                        </a:cubicBezTo>
                        <a:cubicBezTo>
                          <a:pt x="77938" y="21600"/>
                          <a:pt x="77938" y="21600"/>
                          <a:pt x="77938" y="21600"/>
                        </a:cubicBezTo>
                        <a:lnTo>
                          <a:pt x="77525" y="20945"/>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90" name="Shape 2054"/>
                  <p:cNvSpPr/>
                  <p:nvPr/>
                </p:nvSpPr>
                <p:spPr>
                  <a:xfrm>
                    <a:off x="3278971" y="3425810"/>
                    <a:ext cx="1218169" cy="970595"/>
                  </a:xfrm>
                  <a:custGeom>
                    <a:avLst/>
                    <a:gdLst/>
                    <a:ahLst/>
                    <a:cxnLst/>
                    <a:rect l="0" t="0" r="0" b="0"/>
                    <a:pathLst>
                      <a:path w="120000" h="120000" extrusionOk="0">
                        <a:moveTo>
                          <a:pt x="111460" y="43462"/>
                        </a:moveTo>
                        <a:cubicBezTo>
                          <a:pt x="110786" y="44009"/>
                          <a:pt x="110561" y="42642"/>
                          <a:pt x="110112" y="43462"/>
                        </a:cubicBezTo>
                        <a:cubicBezTo>
                          <a:pt x="109438" y="44555"/>
                          <a:pt x="111235" y="47015"/>
                          <a:pt x="110561" y="48382"/>
                        </a:cubicBezTo>
                        <a:cubicBezTo>
                          <a:pt x="109662" y="49749"/>
                          <a:pt x="107865" y="51662"/>
                          <a:pt x="105393" y="52209"/>
                        </a:cubicBezTo>
                        <a:cubicBezTo>
                          <a:pt x="104269" y="52482"/>
                          <a:pt x="103370" y="53849"/>
                          <a:pt x="102471" y="53576"/>
                        </a:cubicBezTo>
                        <a:cubicBezTo>
                          <a:pt x="101797" y="53576"/>
                          <a:pt x="100224" y="55489"/>
                          <a:pt x="100000" y="56036"/>
                        </a:cubicBezTo>
                        <a:cubicBezTo>
                          <a:pt x="99550" y="56856"/>
                          <a:pt x="98202" y="56036"/>
                          <a:pt x="97078" y="56856"/>
                        </a:cubicBezTo>
                        <a:cubicBezTo>
                          <a:pt x="95505" y="57676"/>
                          <a:pt x="96404" y="56583"/>
                          <a:pt x="90786" y="58496"/>
                        </a:cubicBezTo>
                        <a:cubicBezTo>
                          <a:pt x="89662" y="58769"/>
                          <a:pt x="88764" y="59316"/>
                          <a:pt x="87865" y="59589"/>
                        </a:cubicBezTo>
                        <a:cubicBezTo>
                          <a:pt x="86966" y="60136"/>
                          <a:pt x="86067" y="59863"/>
                          <a:pt x="86067" y="62050"/>
                        </a:cubicBezTo>
                        <a:cubicBezTo>
                          <a:pt x="86292" y="63143"/>
                          <a:pt x="87415" y="62323"/>
                          <a:pt x="87191" y="63416"/>
                        </a:cubicBezTo>
                        <a:cubicBezTo>
                          <a:pt x="87191" y="64236"/>
                          <a:pt x="85617" y="63963"/>
                          <a:pt x="84044" y="65056"/>
                        </a:cubicBezTo>
                        <a:cubicBezTo>
                          <a:pt x="83370" y="65603"/>
                          <a:pt x="82921" y="67517"/>
                          <a:pt x="82471" y="68063"/>
                        </a:cubicBezTo>
                        <a:cubicBezTo>
                          <a:pt x="80224" y="69703"/>
                          <a:pt x="78651" y="73257"/>
                          <a:pt x="78651" y="73257"/>
                        </a:cubicBezTo>
                        <a:cubicBezTo>
                          <a:pt x="77528" y="74624"/>
                          <a:pt x="76179" y="75717"/>
                          <a:pt x="75505" y="77357"/>
                        </a:cubicBezTo>
                        <a:cubicBezTo>
                          <a:pt x="73932" y="80911"/>
                          <a:pt x="73483" y="78997"/>
                          <a:pt x="74382" y="83371"/>
                        </a:cubicBezTo>
                        <a:cubicBezTo>
                          <a:pt x="74606" y="83917"/>
                          <a:pt x="74606" y="85831"/>
                          <a:pt x="75280" y="87198"/>
                        </a:cubicBezTo>
                        <a:cubicBezTo>
                          <a:pt x="76404" y="89111"/>
                          <a:pt x="78876" y="91025"/>
                          <a:pt x="78202" y="91571"/>
                        </a:cubicBezTo>
                        <a:cubicBezTo>
                          <a:pt x="77752" y="91845"/>
                          <a:pt x="75056" y="94031"/>
                          <a:pt x="74157" y="94031"/>
                        </a:cubicBezTo>
                        <a:cubicBezTo>
                          <a:pt x="72808" y="94305"/>
                          <a:pt x="72134" y="95398"/>
                          <a:pt x="70337" y="97858"/>
                        </a:cubicBezTo>
                        <a:cubicBezTo>
                          <a:pt x="69438" y="98678"/>
                          <a:pt x="69213" y="99498"/>
                          <a:pt x="68539" y="100592"/>
                        </a:cubicBezTo>
                        <a:cubicBezTo>
                          <a:pt x="67415" y="102232"/>
                          <a:pt x="67865" y="101958"/>
                          <a:pt x="66966" y="103872"/>
                        </a:cubicBezTo>
                        <a:cubicBezTo>
                          <a:pt x="66741" y="104419"/>
                          <a:pt x="66966" y="106332"/>
                          <a:pt x="66966" y="107152"/>
                        </a:cubicBezTo>
                        <a:cubicBezTo>
                          <a:pt x="64719" y="107425"/>
                          <a:pt x="64719" y="107425"/>
                          <a:pt x="64719" y="107425"/>
                        </a:cubicBezTo>
                        <a:cubicBezTo>
                          <a:pt x="60898" y="106059"/>
                          <a:pt x="60898" y="106059"/>
                          <a:pt x="60898" y="106059"/>
                        </a:cubicBezTo>
                        <a:cubicBezTo>
                          <a:pt x="58651" y="108519"/>
                          <a:pt x="58651" y="108519"/>
                          <a:pt x="58651" y="108519"/>
                        </a:cubicBezTo>
                        <a:cubicBezTo>
                          <a:pt x="57752" y="109339"/>
                          <a:pt x="56404" y="108792"/>
                          <a:pt x="55505" y="109612"/>
                        </a:cubicBezTo>
                        <a:cubicBezTo>
                          <a:pt x="55505" y="109612"/>
                          <a:pt x="54831" y="112072"/>
                          <a:pt x="54606" y="112619"/>
                        </a:cubicBezTo>
                        <a:cubicBezTo>
                          <a:pt x="54606" y="113439"/>
                          <a:pt x="53033" y="115626"/>
                          <a:pt x="53033" y="115626"/>
                        </a:cubicBezTo>
                        <a:cubicBezTo>
                          <a:pt x="52808" y="115899"/>
                          <a:pt x="51685" y="117266"/>
                          <a:pt x="51235" y="117539"/>
                        </a:cubicBezTo>
                        <a:cubicBezTo>
                          <a:pt x="50561" y="117813"/>
                          <a:pt x="50112" y="115626"/>
                          <a:pt x="49662" y="115626"/>
                        </a:cubicBezTo>
                        <a:cubicBezTo>
                          <a:pt x="48764" y="115626"/>
                          <a:pt x="48764" y="115353"/>
                          <a:pt x="47865" y="115079"/>
                        </a:cubicBezTo>
                        <a:cubicBezTo>
                          <a:pt x="46741" y="115079"/>
                          <a:pt x="46516" y="116993"/>
                          <a:pt x="45393" y="116993"/>
                        </a:cubicBezTo>
                        <a:cubicBezTo>
                          <a:pt x="43595" y="116719"/>
                          <a:pt x="40449" y="114533"/>
                          <a:pt x="40449" y="114533"/>
                        </a:cubicBezTo>
                        <a:cubicBezTo>
                          <a:pt x="39775" y="114259"/>
                          <a:pt x="39775" y="115353"/>
                          <a:pt x="39101" y="115353"/>
                        </a:cubicBezTo>
                        <a:cubicBezTo>
                          <a:pt x="37752" y="115079"/>
                          <a:pt x="35955" y="113986"/>
                          <a:pt x="34157" y="113439"/>
                        </a:cubicBezTo>
                        <a:cubicBezTo>
                          <a:pt x="32808" y="113166"/>
                          <a:pt x="30112" y="112619"/>
                          <a:pt x="30112" y="112619"/>
                        </a:cubicBezTo>
                        <a:cubicBezTo>
                          <a:pt x="29438" y="113166"/>
                          <a:pt x="28764" y="113166"/>
                          <a:pt x="28089" y="113439"/>
                        </a:cubicBezTo>
                        <a:cubicBezTo>
                          <a:pt x="27191" y="113986"/>
                          <a:pt x="26292" y="114806"/>
                          <a:pt x="25617" y="115079"/>
                        </a:cubicBezTo>
                        <a:cubicBezTo>
                          <a:pt x="24943" y="115353"/>
                          <a:pt x="23595" y="113986"/>
                          <a:pt x="21573" y="115353"/>
                        </a:cubicBezTo>
                        <a:cubicBezTo>
                          <a:pt x="20898" y="115626"/>
                          <a:pt x="20000" y="115353"/>
                          <a:pt x="19550" y="115899"/>
                        </a:cubicBezTo>
                        <a:cubicBezTo>
                          <a:pt x="18876" y="116719"/>
                          <a:pt x="18651" y="117813"/>
                          <a:pt x="17528" y="118359"/>
                        </a:cubicBezTo>
                        <a:cubicBezTo>
                          <a:pt x="16853" y="118633"/>
                          <a:pt x="15955" y="119726"/>
                          <a:pt x="15505" y="120000"/>
                        </a:cubicBezTo>
                        <a:cubicBezTo>
                          <a:pt x="14382" y="119179"/>
                          <a:pt x="12808" y="119179"/>
                          <a:pt x="12359" y="116993"/>
                        </a:cubicBezTo>
                        <a:cubicBezTo>
                          <a:pt x="12134" y="116173"/>
                          <a:pt x="11460" y="116993"/>
                          <a:pt x="11011" y="116173"/>
                        </a:cubicBezTo>
                        <a:cubicBezTo>
                          <a:pt x="10112" y="115079"/>
                          <a:pt x="9438" y="112619"/>
                          <a:pt x="9438" y="111526"/>
                        </a:cubicBezTo>
                        <a:cubicBezTo>
                          <a:pt x="9438" y="111526"/>
                          <a:pt x="10112" y="110432"/>
                          <a:pt x="9438" y="109339"/>
                        </a:cubicBezTo>
                        <a:cubicBezTo>
                          <a:pt x="8988" y="108246"/>
                          <a:pt x="8314" y="107972"/>
                          <a:pt x="8539" y="106879"/>
                        </a:cubicBezTo>
                        <a:cubicBezTo>
                          <a:pt x="9213" y="106879"/>
                          <a:pt x="8988" y="104965"/>
                          <a:pt x="8988" y="104965"/>
                        </a:cubicBezTo>
                        <a:cubicBezTo>
                          <a:pt x="8988" y="104419"/>
                          <a:pt x="7415" y="101138"/>
                          <a:pt x="6966" y="100592"/>
                        </a:cubicBezTo>
                        <a:cubicBezTo>
                          <a:pt x="5842" y="99772"/>
                          <a:pt x="4494" y="98678"/>
                          <a:pt x="3146" y="98405"/>
                        </a:cubicBezTo>
                        <a:cubicBezTo>
                          <a:pt x="0" y="97858"/>
                          <a:pt x="0" y="97858"/>
                          <a:pt x="0" y="97858"/>
                        </a:cubicBezTo>
                        <a:cubicBezTo>
                          <a:pt x="0" y="96765"/>
                          <a:pt x="0" y="96765"/>
                          <a:pt x="0" y="96765"/>
                        </a:cubicBezTo>
                        <a:cubicBezTo>
                          <a:pt x="0" y="96218"/>
                          <a:pt x="0" y="96218"/>
                          <a:pt x="0" y="96218"/>
                        </a:cubicBezTo>
                        <a:cubicBezTo>
                          <a:pt x="0" y="95945"/>
                          <a:pt x="0" y="95945"/>
                          <a:pt x="0" y="95945"/>
                        </a:cubicBezTo>
                        <a:cubicBezTo>
                          <a:pt x="224" y="95125"/>
                          <a:pt x="224" y="95125"/>
                          <a:pt x="224" y="95125"/>
                        </a:cubicBezTo>
                        <a:cubicBezTo>
                          <a:pt x="449" y="94578"/>
                          <a:pt x="449" y="94578"/>
                          <a:pt x="449" y="94578"/>
                        </a:cubicBezTo>
                        <a:cubicBezTo>
                          <a:pt x="224" y="94031"/>
                          <a:pt x="224" y="94031"/>
                          <a:pt x="224" y="94031"/>
                        </a:cubicBezTo>
                        <a:cubicBezTo>
                          <a:pt x="224" y="93485"/>
                          <a:pt x="224" y="93485"/>
                          <a:pt x="224" y="93485"/>
                        </a:cubicBezTo>
                        <a:cubicBezTo>
                          <a:pt x="224" y="92665"/>
                          <a:pt x="224" y="92665"/>
                          <a:pt x="224" y="92665"/>
                        </a:cubicBezTo>
                        <a:cubicBezTo>
                          <a:pt x="224" y="92665"/>
                          <a:pt x="0" y="92118"/>
                          <a:pt x="0" y="92118"/>
                        </a:cubicBezTo>
                        <a:cubicBezTo>
                          <a:pt x="0" y="92118"/>
                          <a:pt x="0" y="91571"/>
                          <a:pt x="0" y="91571"/>
                        </a:cubicBezTo>
                        <a:cubicBezTo>
                          <a:pt x="0" y="91571"/>
                          <a:pt x="449" y="91298"/>
                          <a:pt x="449" y="91298"/>
                        </a:cubicBezTo>
                        <a:cubicBezTo>
                          <a:pt x="449" y="91025"/>
                          <a:pt x="898" y="90751"/>
                          <a:pt x="898" y="90751"/>
                        </a:cubicBezTo>
                        <a:cubicBezTo>
                          <a:pt x="898" y="90751"/>
                          <a:pt x="1123" y="89931"/>
                          <a:pt x="1123" y="89658"/>
                        </a:cubicBezTo>
                        <a:cubicBezTo>
                          <a:pt x="1123" y="89658"/>
                          <a:pt x="1348" y="89384"/>
                          <a:pt x="1348" y="89384"/>
                        </a:cubicBezTo>
                        <a:cubicBezTo>
                          <a:pt x="2022" y="89111"/>
                          <a:pt x="2022" y="89111"/>
                          <a:pt x="2022" y="89111"/>
                        </a:cubicBezTo>
                        <a:cubicBezTo>
                          <a:pt x="2471" y="88564"/>
                          <a:pt x="2471" y="88564"/>
                          <a:pt x="2471" y="88564"/>
                        </a:cubicBezTo>
                        <a:cubicBezTo>
                          <a:pt x="2921" y="88291"/>
                          <a:pt x="2921" y="88291"/>
                          <a:pt x="2921" y="88291"/>
                        </a:cubicBezTo>
                        <a:cubicBezTo>
                          <a:pt x="3370" y="87744"/>
                          <a:pt x="3370" y="87744"/>
                          <a:pt x="3370" y="87744"/>
                        </a:cubicBezTo>
                        <a:cubicBezTo>
                          <a:pt x="3595" y="86651"/>
                          <a:pt x="3595" y="86651"/>
                          <a:pt x="3595" y="86651"/>
                        </a:cubicBezTo>
                        <a:cubicBezTo>
                          <a:pt x="3820" y="86378"/>
                          <a:pt x="3820" y="86378"/>
                          <a:pt x="3820" y="86378"/>
                        </a:cubicBezTo>
                        <a:cubicBezTo>
                          <a:pt x="3820" y="86378"/>
                          <a:pt x="4494" y="86378"/>
                          <a:pt x="4494" y="86378"/>
                        </a:cubicBezTo>
                        <a:cubicBezTo>
                          <a:pt x="4494" y="86378"/>
                          <a:pt x="4943" y="86378"/>
                          <a:pt x="4943" y="86378"/>
                        </a:cubicBezTo>
                        <a:cubicBezTo>
                          <a:pt x="4943" y="86104"/>
                          <a:pt x="4943" y="86104"/>
                          <a:pt x="4943" y="86104"/>
                        </a:cubicBezTo>
                        <a:cubicBezTo>
                          <a:pt x="5393" y="85831"/>
                          <a:pt x="5393" y="85831"/>
                          <a:pt x="5393" y="85831"/>
                        </a:cubicBezTo>
                        <a:cubicBezTo>
                          <a:pt x="5842" y="86378"/>
                          <a:pt x="5842" y="86378"/>
                          <a:pt x="5842" y="86378"/>
                        </a:cubicBezTo>
                        <a:cubicBezTo>
                          <a:pt x="5842" y="86378"/>
                          <a:pt x="6067" y="86378"/>
                          <a:pt x="6292" y="86378"/>
                        </a:cubicBezTo>
                        <a:cubicBezTo>
                          <a:pt x="6292" y="86378"/>
                          <a:pt x="6516" y="86378"/>
                          <a:pt x="6516" y="86378"/>
                        </a:cubicBezTo>
                        <a:cubicBezTo>
                          <a:pt x="6516" y="85558"/>
                          <a:pt x="6516" y="85558"/>
                          <a:pt x="6516" y="85558"/>
                        </a:cubicBezTo>
                        <a:cubicBezTo>
                          <a:pt x="7415" y="84464"/>
                          <a:pt x="7415" y="84464"/>
                          <a:pt x="7415" y="84464"/>
                        </a:cubicBezTo>
                        <a:cubicBezTo>
                          <a:pt x="7415" y="84464"/>
                          <a:pt x="7415" y="84191"/>
                          <a:pt x="7415" y="84191"/>
                        </a:cubicBezTo>
                        <a:cubicBezTo>
                          <a:pt x="7415" y="84191"/>
                          <a:pt x="7415" y="83917"/>
                          <a:pt x="7415" y="83917"/>
                        </a:cubicBezTo>
                        <a:cubicBezTo>
                          <a:pt x="7191" y="83644"/>
                          <a:pt x="6966" y="83917"/>
                          <a:pt x="6966" y="83917"/>
                        </a:cubicBezTo>
                        <a:cubicBezTo>
                          <a:pt x="6966" y="83917"/>
                          <a:pt x="6516" y="83917"/>
                          <a:pt x="6516" y="83917"/>
                        </a:cubicBezTo>
                        <a:cubicBezTo>
                          <a:pt x="6516" y="83917"/>
                          <a:pt x="6067" y="83917"/>
                          <a:pt x="5842" y="83917"/>
                        </a:cubicBezTo>
                        <a:cubicBezTo>
                          <a:pt x="5842" y="83917"/>
                          <a:pt x="5842" y="83644"/>
                          <a:pt x="5842" y="83644"/>
                        </a:cubicBezTo>
                        <a:cubicBezTo>
                          <a:pt x="5617" y="83097"/>
                          <a:pt x="5617" y="83097"/>
                          <a:pt x="5617" y="83097"/>
                        </a:cubicBezTo>
                        <a:cubicBezTo>
                          <a:pt x="5617" y="83097"/>
                          <a:pt x="5393" y="82551"/>
                          <a:pt x="5393" y="82277"/>
                        </a:cubicBezTo>
                        <a:cubicBezTo>
                          <a:pt x="5393" y="82004"/>
                          <a:pt x="5393" y="81731"/>
                          <a:pt x="5393" y="81457"/>
                        </a:cubicBezTo>
                        <a:cubicBezTo>
                          <a:pt x="5393" y="81457"/>
                          <a:pt x="5168" y="81184"/>
                          <a:pt x="5168" y="81184"/>
                        </a:cubicBezTo>
                        <a:cubicBezTo>
                          <a:pt x="5168" y="81184"/>
                          <a:pt x="4943" y="80911"/>
                          <a:pt x="4943" y="80637"/>
                        </a:cubicBezTo>
                        <a:cubicBezTo>
                          <a:pt x="4943" y="80637"/>
                          <a:pt x="4719" y="79817"/>
                          <a:pt x="4719" y="79817"/>
                        </a:cubicBezTo>
                        <a:cubicBezTo>
                          <a:pt x="4494" y="79544"/>
                          <a:pt x="4494" y="79544"/>
                          <a:pt x="4494" y="79544"/>
                        </a:cubicBezTo>
                        <a:cubicBezTo>
                          <a:pt x="4719" y="79271"/>
                          <a:pt x="4719" y="79271"/>
                          <a:pt x="4719" y="79271"/>
                        </a:cubicBezTo>
                        <a:cubicBezTo>
                          <a:pt x="4494" y="78724"/>
                          <a:pt x="4494" y="78724"/>
                          <a:pt x="4494" y="78724"/>
                        </a:cubicBezTo>
                        <a:cubicBezTo>
                          <a:pt x="4943" y="78724"/>
                          <a:pt x="4943" y="78724"/>
                          <a:pt x="4943" y="78724"/>
                        </a:cubicBezTo>
                        <a:cubicBezTo>
                          <a:pt x="4719" y="78451"/>
                          <a:pt x="4719" y="78451"/>
                          <a:pt x="4719" y="78451"/>
                        </a:cubicBezTo>
                        <a:cubicBezTo>
                          <a:pt x="4943" y="77904"/>
                          <a:pt x="4943" y="77904"/>
                          <a:pt x="4943" y="77904"/>
                        </a:cubicBezTo>
                        <a:cubicBezTo>
                          <a:pt x="4943" y="77904"/>
                          <a:pt x="5393" y="77630"/>
                          <a:pt x="5393" y="77630"/>
                        </a:cubicBezTo>
                        <a:cubicBezTo>
                          <a:pt x="5393" y="77630"/>
                          <a:pt x="5842" y="77084"/>
                          <a:pt x="5842" y="77084"/>
                        </a:cubicBezTo>
                        <a:cubicBezTo>
                          <a:pt x="5842" y="77084"/>
                          <a:pt x="5617" y="76810"/>
                          <a:pt x="5617" y="76810"/>
                        </a:cubicBezTo>
                        <a:cubicBezTo>
                          <a:pt x="5617" y="76810"/>
                          <a:pt x="5617" y="76264"/>
                          <a:pt x="5617" y="76264"/>
                        </a:cubicBezTo>
                        <a:cubicBezTo>
                          <a:pt x="6067" y="75170"/>
                          <a:pt x="6067" y="75170"/>
                          <a:pt x="6067" y="75170"/>
                        </a:cubicBezTo>
                        <a:cubicBezTo>
                          <a:pt x="6292" y="75170"/>
                          <a:pt x="6292" y="75170"/>
                          <a:pt x="6292" y="75170"/>
                        </a:cubicBezTo>
                        <a:cubicBezTo>
                          <a:pt x="6966" y="74897"/>
                          <a:pt x="6966" y="74897"/>
                          <a:pt x="6966" y="74897"/>
                        </a:cubicBezTo>
                        <a:cubicBezTo>
                          <a:pt x="7191" y="74624"/>
                          <a:pt x="7191" y="74624"/>
                          <a:pt x="7191" y="74624"/>
                        </a:cubicBezTo>
                        <a:cubicBezTo>
                          <a:pt x="7415" y="74624"/>
                          <a:pt x="7415" y="74624"/>
                          <a:pt x="7415" y="74624"/>
                        </a:cubicBezTo>
                        <a:cubicBezTo>
                          <a:pt x="7865" y="74350"/>
                          <a:pt x="7865" y="74350"/>
                          <a:pt x="7865" y="74350"/>
                        </a:cubicBezTo>
                        <a:cubicBezTo>
                          <a:pt x="8314" y="74077"/>
                          <a:pt x="8314" y="74077"/>
                          <a:pt x="8314" y="74077"/>
                        </a:cubicBezTo>
                        <a:cubicBezTo>
                          <a:pt x="8539" y="73804"/>
                          <a:pt x="8539" y="73804"/>
                          <a:pt x="8539" y="73804"/>
                        </a:cubicBezTo>
                        <a:cubicBezTo>
                          <a:pt x="8539" y="73257"/>
                          <a:pt x="8539" y="73257"/>
                          <a:pt x="8539" y="73257"/>
                        </a:cubicBezTo>
                        <a:cubicBezTo>
                          <a:pt x="8764" y="72984"/>
                          <a:pt x="8764" y="72984"/>
                          <a:pt x="8764" y="72984"/>
                        </a:cubicBezTo>
                        <a:cubicBezTo>
                          <a:pt x="9213" y="72437"/>
                          <a:pt x="9213" y="72437"/>
                          <a:pt x="9213" y="72437"/>
                        </a:cubicBezTo>
                        <a:cubicBezTo>
                          <a:pt x="9662" y="71890"/>
                          <a:pt x="9662" y="71890"/>
                          <a:pt x="9662" y="71890"/>
                        </a:cubicBezTo>
                        <a:cubicBezTo>
                          <a:pt x="9662" y="71343"/>
                          <a:pt x="9662" y="71343"/>
                          <a:pt x="9662" y="71343"/>
                        </a:cubicBezTo>
                        <a:cubicBezTo>
                          <a:pt x="9438" y="71070"/>
                          <a:pt x="9438" y="71070"/>
                          <a:pt x="9438" y="71070"/>
                        </a:cubicBezTo>
                        <a:cubicBezTo>
                          <a:pt x="9438" y="71070"/>
                          <a:pt x="9213" y="70523"/>
                          <a:pt x="9213" y="70250"/>
                        </a:cubicBezTo>
                        <a:cubicBezTo>
                          <a:pt x="9213" y="70250"/>
                          <a:pt x="8988" y="70250"/>
                          <a:pt x="8988" y="70250"/>
                        </a:cubicBezTo>
                        <a:cubicBezTo>
                          <a:pt x="8539" y="70523"/>
                          <a:pt x="8539" y="70523"/>
                          <a:pt x="8539" y="70523"/>
                        </a:cubicBezTo>
                        <a:cubicBezTo>
                          <a:pt x="8539" y="70523"/>
                          <a:pt x="8314" y="70250"/>
                          <a:pt x="8089" y="70250"/>
                        </a:cubicBezTo>
                        <a:cubicBezTo>
                          <a:pt x="8089" y="70250"/>
                          <a:pt x="8089" y="69977"/>
                          <a:pt x="8089" y="69977"/>
                        </a:cubicBezTo>
                        <a:cubicBezTo>
                          <a:pt x="8314" y="69703"/>
                          <a:pt x="8314" y="69703"/>
                          <a:pt x="8314" y="69703"/>
                        </a:cubicBezTo>
                        <a:cubicBezTo>
                          <a:pt x="8314" y="69157"/>
                          <a:pt x="8314" y="69157"/>
                          <a:pt x="8314" y="69157"/>
                        </a:cubicBezTo>
                        <a:cubicBezTo>
                          <a:pt x="7865" y="69157"/>
                          <a:pt x="7865" y="69157"/>
                          <a:pt x="7865" y="69157"/>
                        </a:cubicBezTo>
                        <a:cubicBezTo>
                          <a:pt x="7640" y="68610"/>
                          <a:pt x="7640" y="68610"/>
                          <a:pt x="7640" y="68610"/>
                        </a:cubicBezTo>
                        <a:cubicBezTo>
                          <a:pt x="7415" y="68063"/>
                          <a:pt x="7415" y="68063"/>
                          <a:pt x="7415" y="68063"/>
                        </a:cubicBezTo>
                        <a:cubicBezTo>
                          <a:pt x="7415" y="67517"/>
                          <a:pt x="7415" y="67517"/>
                          <a:pt x="7415" y="67517"/>
                        </a:cubicBezTo>
                        <a:cubicBezTo>
                          <a:pt x="7640" y="67243"/>
                          <a:pt x="7640" y="67243"/>
                          <a:pt x="7640" y="67243"/>
                        </a:cubicBezTo>
                        <a:cubicBezTo>
                          <a:pt x="7640" y="66970"/>
                          <a:pt x="7640" y="66970"/>
                          <a:pt x="7640" y="66970"/>
                        </a:cubicBezTo>
                        <a:cubicBezTo>
                          <a:pt x="7415" y="66697"/>
                          <a:pt x="7415" y="66697"/>
                          <a:pt x="7415" y="66697"/>
                        </a:cubicBezTo>
                        <a:cubicBezTo>
                          <a:pt x="7415" y="66150"/>
                          <a:pt x="7415" y="66150"/>
                          <a:pt x="7415" y="66150"/>
                        </a:cubicBezTo>
                        <a:cubicBezTo>
                          <a:pt x="7191" y="65603"/>
                          <a:pt x="7191" y="65603"/>
                          <a:pt x="7191" y="65603"/>
                        </a:cubicBezTo>
                        <a:cubicBezTo>
                          <a:pt x="7415" y="65330"/>
                          <a:pt x="7415" y="65330"/>
                          <a:pt x="7415" y="65330"/>
                        </a:cubicBezTo>
                        <a:cubicBezTo>
                          <a:pt x="7640" y="65056"/>
                          <a:pt x="7640" y="65056"/>
                          <a:pt x="7640" y="65056"/>
                        </a:cubicBezTo>
                        <a:cubicBezTo>
                          <a:pt x="7640" y="64510"/>
                          <a:pt x="7640" y="64510"/>
                          <a:pt x="7640" y="64510"/>
                        </a:cubicBezTo>
                        <a:cubicBezTo>
                          <a:pt x="7640" y="64510"/>
                          <a:pt x="7191" y="64236"/>
                          <a:pt x="7191" y="64236"/>
                        </a:cubicBezTo>
                        <a:cubicBezTo>
                          <a:pt x="7191" y="64236"/>
                          <a:pt x="6966" y="63690"/>
                          <a:pt x="6966" y="63690"/>
                        </a:cubicBezTo>
                        <a:cubicBezTo>
                          <a:pt x="6966" y="63416"/>
                          <a:pt x="6966" y="63416"/>
                          <a:pt x="6966" y="63416"/>
                        </a:cubicBezTo>
                        <a:cubicBezTo>
                          <a:pt x="6966" y="63416"/>
                          <a:pt x="6516" y="62870"/>
                          <a:pt x="6516" y="62870"/>
                        </a:cubicBezTo>
                        <a:cubicBezTo>
                          <a:pt x="6516" y="62870"/>
                          <a:pt x="6516" y="62323"/>
                          <a:pt x="6516" y="62323"/>
                        </a:cubicBezTo>
                        <a:cubicBezTo>
                          <a:pt x="6516" y="62323"/>
                          <a:pt x="6292" y="61776"/>
                          <a:pt x="6292" y="61776"/>
                        </a:cubicBezTo>
                        <a:cubicBezTo>
                          <a:pt x="6067" y="61503"/>
                          <a:pt x="6067" y="61230"/>
                          <a:pt x="6067" y="61230"/>
                        </a:cubicBezTo>
                        <a:cubicBezTo>
                          <a:pt x="6516" y="61230"/>
                          <a:pt x="6516" y="61230"/>
                          <a:pt x="6516" y="61230"/>
                        </a:cubicBezTo>
                        <a:cubicBezTo>
                          <a:pt x="6966" y="61230"/>
                          <a:pt x="6966" y="61230"/>
                          <a:pt x="6966" y="61230"/>
                        </a:cubicBezTo>
                        <a:cubicBezTo>
                          <a:pt x="7191" y="61776"/>
                          <a:pt x="7191" y="61776"/>
                          <a:pt x="7191" y="61776"/>
                        </a:cubicBezTo>
                        <a:cubicBezTo>
                          <a:pt x="7415" y="61503"/>
                          <a:pt x="7415" y="61503"/>
                          <a:pt x="7415" y="61503"/>
                        </a:cubicBezTo>
                        <a:cubicBezTo>
                          <a:pt x="7415" y="61776"/>
                          <a:pt x="7415" y="61776"/>
                          <a:pt x="7415" y="61776"/>
                        </a:cubicBezTo>
                        <a:cubicBezTo>
                          <a:pt x="7865" y="61776"/>
                          <a:pt x="7865" y="61776"/>
                          <a:pt x="7865" y="61776"/>
                        </a:cubicBezTo>
                        <a:cubicBezTo>
                          <a:pt x="8539" y="61776"/>
                          <a:pt x="8539" y="61776"/>
                          <a:pt x="8539" y="61776"/>
                        </a:cubicBezTo>
                        <a:cubicBezTo>
                          <a:pt x="8988" y="61776"/>
                          <a:pt x="8988" y="61776"/>
                          <a:pt x="8988" y="61776"/>
                        </a:cubicBezTo>
                        <a:cubicBezTo>
                          <a:pt x="9213" y="61776"/>
                          <a:pt x="9213" y="61776"/>
                          <a:pt x="9213" y="61776"/>
                        </a:cubicBezTo>
                        <a:cubicBezTo>
                          <a:pt x="9213" y="61776"/>
                          <a:pt x="9438" y="62050"/>
                          <a:pt x="9438" y="62050"/>
                        </a:cubicBezTo>
                        <a:cubicBezTo>
                          <a:pt x="9662" y="62323"/>
                          <a:pt x="9887" y="62050"/>
                          <a:pt x="9887" y="62050"/>
                        </a:cubicBezTo>
                        <a:cubicBezTo>
                          <a:pt x="9887" y="62323"/>
                          <a:pt x="10337" y="62323"/>
                          <a:pt x="10337" y="62323"/>
                        </a:cubicBezTo>
                        <a:cubicBezTo>
                          <a:pt x="10337" y="62323"/>
                          <a:pt x="10561" y="62050"/>
                          <a:pt x="10786" y="62050"/>
                        </a:cubicBezTo>
                        <a:cubicBezTo>
                          <a:pt x="10786" y="62050"/>
                          <a:pt x="11011" y="62050"/>
                          <a:pt x="11011" y="62050"/>
                        </a:cubicBezTo>
                        <a:cubicBezTo>
                          <a:pt x="11235" y="61776"/>
                          <a:pt x="11235" y="61776"/>
                          <a:pt x="11235" y="61776"/>
                        </a:cubicBezTo>
                        <a:cubicBezTo>
                          <a:pt x="11235" y="61230"/>
                          <a:pt x="11235" y="61230"/>
                          <a:pt x="11235" y="61230"/>
                        </a:cubicBezTo>
                        <a:cubicBezTo>
                          <a:pt x="11460" y="61230"/>
                          <a:pt x="11460" y="61230"/>
                          <a:pt x="11460" y="61230"/>
                        </a:cubicBezTo>
                        <a:cubicBezTo>
                          <a:pt x="11460" y="60956"/>
                          <a:pt x="11460" y="60956"/>
                          <a:pt x="11460" y="60956"/>
                        </a:cubicBezTo>
                        <a:cubicBezTo>
                          <a:pt x="11685" y="60410"/>
                          <a:pt x="11685" y="60410"/>
                          <a:pt x="11685" y="60410"/>
                        </a:cubicBezTo>
                        <a:cubicBezTo>
                          <a:pt x="11685" y="60136"/>
                          <a:pt x="11685" y="60136"/>
                          <a:pt x="11685" y="60136"/>
                        </a:cubicBezTo>
                        <a:cubicBezTo>
                          <a:pt x="12134" y="60136"/>
                          <a:pt x="12134" y="60136"/>
                          <a:pt x="12134" y="60136"/>
                        </a:cubicBezTo>
                        <a:cubicBezTo>
                          <a:pt x="12359" y="59863"/>
                          <a:pt x="12359" y="59863"/>
                          <a:pt x="12359" y="59863"/>
                        </a:cubicBezTo>
                        <a:cubicBezTo>
                          <a:pt x="12584" y="59316"/>
                          <a:pt x="12584" y="59316"/>
                          <a:pt x="12584" y="59316"/>
                        </a:cubicBezTo>
                        <a:cubicBezTo>
                          <a:pt x="12808" y="58769"/>
                          <a:pt x="12808" y="58769"/>
                          <a:pt x="12808" y="58769"/>
                        </a:cubicBezTo>
                        <a:cubicBezTo>
                          <a:pt x="12808" y="58769"/>
                          <a:pt x="13033" y="58223"/>
                          <a:pt x="13033" y="58223"/>
                        </a:cubicBezTo>
                        <a:cubicBezTo>
                          <a:pt x="13033" y="58223"/>
                          <a:pt x="13258" y="57676"/>
                          <a:pt x="13258" y="57676"/>
                        </a:cubicBezTo>
                        <a:cubicBezTo>
                          <a:pt x="13033" y="56856"/>
                          <a:pt x="13033" y="56856"/>
                          <a:pt x="13033" y="56856"/>
                        </a:cubicBezTo>
                        <a:cubicBezTo>
                          <a:pt x="12808" y="56309"/>
                          <a:pt x="12808" y="56309"/>
                          <a:pt x="12808" y="56309"/>
                        </a:cubicBezTo>
                        <a:cubicBezTo>
                          <a:pt x="12584" y="55763"/>
                          <a:pt x="12584" y="55763"/>
                          <a:pt x="12584" y="55763"/>
                        </a:cubicBezTo>
                        <a:cubicBezTo>
                          <a:pt x="12584" y="55763"/>
                          <a:pt x="12584" y="55489"/>
                          <a:pt x="12359" y="55489"/>
                        </a:cubicBezTo>
                        <a:cubicBezTo>
                          <a:pt x="12359" y="55489"/>
                          <a:pt x="12359" y="55216"/>
                          <a:pt x="12359" y="55216"/>
                        </a:cubicBezTo>
                        <a:cubicBezTo>
                          <a:pt x="12359" y="54669"/>
                          <a:pt x="12359" y="54669"/>
                          <a:pt x="12359" y="54669"/>
                        </a:cubicBezTo>
                        <a:cubicBezTo>
                          <a:pt x="12584" y="54396"/>
                          <a:pt x="12584" y="54396"/>
                          <a:pt x="12584" y="54396"/>
                        </a:cubicBezTo>
                        <a:cubicBezTo>
                          <a:pt x="12808" y="54396"/>
                          <a:pt x="12808" y="54396"/>
                          <a:pt x="12808" y="54396"/>
                        </a:cubicBezTo>
                        <a:cubicBezTo>
                          <a:pt x="13258" y="53849"/>
                          <a:pt x="13258" y="53849"/>
                          <a:pt x="13258" y="53849"/>
                        </a:cubicBezTo>
                        <a:cubicBezTo>
                          <a:pt x="13483" y="53849"/>
                          <a:pt x="13483" y="53849"/>
                          <a:pt x="13483" y="53849"/>
                        </a:cubicBezTo>
                        <a:cubicBezTo>
                          <a:pt x="13932" y="53849"/>
                          <a:pt x="13932" y="53849"/>
                          <a:pt x="13932" y="53849"/>
                        </a:cubicBezTo>
                        <a:cubicBezTo>
                          <a:pt x="14382" y="53302"/>
                          <a:pt x="14382" y="53302"/>
                          <a:pt x="14382" y="53302"/>
                        </a:cubicBezTo>
                        <a:cubicBezTo>
                          <a:pt x="14606" y="53302"/>
                          <a:pt x="14606" y="53302"/>
                          <a:pt x="14606" y="53302"/>
                        </a:cubicBezTo>
                        <a:cubicBezTo>
                          <a:pt x="14831" y="53029"/>
                          <a:pt x="14831" y="53029"/>
                          <a:pt x="14831" y="53029"/>
                        </a:cubicBezTo>
                        <a:cubicBezTo>
                          <a:pt x="15056" y="52482"/>
                          <a:pt x="15056" y="52482"/>
                          <a:pt x="15056" y="52482"/>
                        </a:cubicBezTo>
                        <a:cubicBezTo>
                          <a:pt x="14831" y="51936"/>
                          <a:pt x="14831" y="51936"/>
                          <a:pt x="14831" y="51936"/>
                        </a:cubicBezTo>
                        <a:cubicBezTo>
                          <a:pt x="14606" y="51662"/>
                          <a:pt x="14606" y="51662"/>
                          <a:pt x="14606" y="51662"/>
                        </a:cubicBezTo>
                        <a:cubicBezTo>
                          <a:pt x="14831" y="50842"/>
                          <a:pt x="14831" y="50842"/>
                          <a:pt x="14831" y="50842"/>
                        </a:cubicBezTo>
                        <a:cubicBezTo>
                          <a:pt x="15280" y="50569"/>
                          <a:pt x="15280" y="50569"/>
                          <a:pt x="15280" y="50569"/>
                        </a:cubicBezTo>
                        <a:cubicBezTo>
                          <a:pt x="15280" y="49749"/>
                          <a:pt x="15280" y="49749"/>
                          <a:pt x="15280" y="49749"/>
                        </a:cubicBezTo>
                        <a:cubicBezTo>
                          <a:pt x="15056" y="49476"/>
                          <a:pt x="15056" y="49476"/>
                          <a:pt x="15056" y="49476"/>
                        </a:cubicBezTo>
                        <a:cubicBezTo>
                          <a:pt x="15280" y="48929"/>
                          <a:pt x="15280" y="48929"/>
                          <a:pt x="15280" y="48929"/>
                        </a:cubicBezTo>
                        <a:cubicBezTo>
                          <a:pt x="15505" y="48656"/>
                          <a:pt x="15505" y="48656"/>
                          <a:pt x="15505" y="48656"/>
                        </a:cubicBezTo>
                        <a:cubicBezTo>
                          <a:pt x="15505" y="48656"/>
                          <a:pt x="15730" y="48109"/>
                          <a:pt x="15730" y="47835"/>
                        </a:cubicBezTo>
                        <a:cubicBezTo>
                          <a:pt x="15955" y="47835"/>
                          <a:pt x="15955" y="47015"/>
                          <a:pt x="15955" y="47015"/>
                        </a:cubicBezTo>
                        <a:cubicBezTo>
                          <a:pt x="15730" y="46469"/>
                          <a:pt x="15730" y="46469"/>
                          <a:pt x="15730" y="46469"/>
                        </a:cubicBezTo>
                        <a:cubicBezTo>
                          <a:pt x="15730" y="46195"/>
                          <a:pt x="15730" y="46195"/>
                          <a:pt x="15730" y="46195"/>
                        </a:cubicBezTo>
                        <a:cubicBezTo>
                          <a:pt x="15730" y="46195"/>
                          <a:pt x="16179" y="45922"/>
                          <a:pt x="16179" y="45922"/>
                        </a:cubicBezTo>
                        <a:cubicBezTo>
                          <a:pt x="16404" y="45922"/>
                          <a:pt x="16404" y="45102"/>
                          <a:pt x="16404" y="45102"/>
                        </a:cubicBezTo>
                        <a:cubicBezTo>
                          <a:pt x="15955" y="44829"/>
                          <a:pt x="15955" y="44829"/>
                          <a:pt x="15955" y="44829"/>
                        </a:cubicBezTo>
                        <a:cubicBezTo>
                          <a:pt x="15955" y="44829"/>
                          <a:pt x="15955" y="44282"/>
                          <a:pt x="15955" y="44009"/>
                        </a:cubicBezTo>
                        <a:cubicBezTo>
                          <a:pt x="15955" y="44009"/>
                          <a:pt x="15955" y="43462"/>
                          <a:pt x="15955" y="43462"/>
                        </a:cubicBezTo>
                        <a:cubicBezTo>
                          <a:pt x="15730" y="43462"/>
                          <a:pt x="15730" y="43462"/>
                          <a:pt x="15730" y="43462"/>
                        </a:cubicBezTo>
                        <a:cubicBezTo>
                          <a:pt x="15730" y="42915"/>
                          <a:pt x="15730" y="42915"/>
                          <a:pt x="15730" y="42915"/>
                        </a:cubicBezTo>
                        <a:cubicBezTo>
                          <a:pt x="15955" y="42642"/>
                          <a:pt x="15955" y="42642"/>
                          <a:pt x="15955" y="42642"/>
                        </a:cubicBezTo>
                        <a:cubicBezTo>
                          <a:pt x="16404" y="42915"/>
                          <a:pt x="16404" y="42915"/>
                          <a:pt x="16404" y="42915"/>
                        </a:cubicBezTo>
                        <a:cubicBezTo>
                          <a:pt x="16404" y="42915"/>
                          <a:pt x="16629" y="42642"/>
                          <a:pt x="16853" y="42642"/>
                        </a:cubicBezTo>
                        <a:cubicBezTo>
                          <a:pt x="16853" y="42369"/>
                          <a:pt x="17303" y="42369"/>
                          <a:pt x="17303" y="42369"/>
                        </a:cubicBezTo>
                        <a:cubicBezTo>
                          <a:pt x="17528" y="41548"/>
                          <a:pt x="17528" y="41548"/>
                          <a:pt x="17528" y="41548"/>
                        </a:cubicBezTo>
                        <a:cubicBezTo>
                          <a:pt x="18426" y="41002"/>
                          <a:pt x="18426" y="41002"/>
                          <a:pt x="18426" y="41002"/>
                        </a:cubicBezTo>
                        <a:cubicBezTo>
                          <a:pt x="18426" y="40728"/>
                          <a:pt x="18426" y="40728"/>
                          <a:pt x="18426" y="40728"/>
                        </a:cubicBezTo>
                        <a:cubicBezTo>
                          <a:pt x="19101" y="40455"/>
                          <a:pt x="19101" y="40455"/>
                          <a:pt x="19101" y="40455"/>
                        </a:cubicBezTo>
                        <a:cubicBezTo>
                          <a:pt x="19550" y="40728"/>
                          <a:pt x="19550" y="40728"/>
                          <a:pt x="19550" y="40728"/>
                        </a:cubicBezTo>
                        <a:cubicBezTo>
                          <a:pt x="20000" y="40182"/>
                          <a:pt x="20000" y="40182"/>
                          <a:pt x="20000" y="40182"/>
                        </a:cubicBezTo>
                        <a:cubicBezTo>
                          <a:pt x="20224" y="40182"/>
                          <a:pt x="20224" y="40182"/>
                          <a:pt x="20224" y="40182"/>
                        </a:cubicBezTo>
                        <a:cubicBezTo>
                          <a:pt x="20674" y="39908"/>
                          <a:pt x="20674" y="39908"/>
                          <a:pt x="20674" y="39908"/>
                        </a:cubicBezTo>
                        <a:cubicBezTo>
                          <a:pt x="21123" y="39635"/>
                          <a:pt x="21123" y="39635"/>
                          <a:pt x="21123" y="39635"/>
                        </a:cubicBezTo>
                        <a:cubicBezTo>
                          <a:pt x="21797" y="38815"/>
                          <a:pt x="21797" y="38815"/>
                          <a:pt x="21797" y="38815"/>
                        </a:cubicBezTo>
                        <a:cubicBezTo>
                          <a:pt x="22022" y="38815"/>
                          <a:pt x="22022" y="38815"/>
                          <a:pt x="22022" y="38815"/>
                        </a:cubicBezTo>
                        <a:cubicBezTo>
                          <a:pt x="22022" y="38815"/>
                          <a:pt x="22471" y="38542"/>
                          <a:pt x="22471" y="38542"/>
                        </a:cubicBezTo>
                        <a:cubicBezTo>
                          <a:pt x="22471" y="38542"/>
                          <a:pt x="22696" y="37995"/>
                          <a:pt x="22696" y="37995"/>
                        </a:cubicBezTo>
                        <a:cubicBezTo>
                          <a:pt x="23146" y="37722"/>
                          <a:pt x="23146" y="37722"/>
                          <a:pt x="23146" y="37722"/>
                        </a:cubicBezTo>
                        <a:cubicBezTo>
                          <a:pt x="23595" y="36902"/>
                          <a:pt x="23595" y="36902"/>
                          <a:pt x="23595" y="36902"/>
                        </a:cubicBezTo>
                        <a:cubicBezTo>
                          <a:pt x="24044" y="36355"/>
                          <a:pt x="24044" y="36355"/>
                          <a:pt x="24044" y="36355"/>
                        </a:cubicBezTo>
                        <a:cubicBezTo>
                          <a:pt x="23595" y="35535"/>
                          <a:pt x="23595" y="35535"/>
                          <a:pt x="23595" y="35535"/>
                        </a:cubicBezTo>
                        <a:cubicBezTo>
                          <a:pt x="23595" y="35535"/>
                          <a:pt x="23146" y="34988"/>
                          <a:pt x="22921" y="34988"/>
                        </a:cubicBezTo>
                        <a:cubicBezTo>
                          <a:pt x="22921" y="34715"/>
                          <a:pt x="22471" y="34441"/>
                          <a:pt x="22471" y="34441"/>
                        </a:cubicBezTo>
                        <a:cubicBezTo>
                          <a:pt x="22471" y="34441"/>
                          <a:pt x="21797" y="34168"/>
                          <a:pt x="21797" y="34168"/>
                        </a:cubicBezTo>
                        <a:cubicBezTo>
                          <a:pt x="21797" y="34168"/>
                          <a:pt x="21348" y="34441"/>
                          <a:pt x="21348" y="34441"/>
                        </a:cubicBezTo>
                        <a:cubicBezTo>
                          <a:pt x="21123" y="34168"/>
                          <a:pt x="21123" y="34168"/>
                          <a:pt x="21123" y="34168"/>
                        </a:cubicBezTo>
                        <a:cubicBezTo>
                          <a:pt x="21123" y="34168"/>
                          <a:pt x="20898" y="33621"/>
                          <a:pt x="21123" y="33621"/>
                        </a:cubicBezTo>
                        <a:cubicBezTo>
                          <a:pt x="21123" y="33621"/>
                          <a:pt x="21123" y="33348"/>
                          <a:pt x="21123" y="33348"/>
                        </a:cubicBezTo>
                        <a:cubicBezTo>
                          <a:pt x="21123" y="33075"/>
                          <a:pt x="21123" y="33075"/>
                          <a:pt x="21123" y="33075"/>
                        </a:cubicBezTo>
                        <a:cubicBezTo>
                          <a:pt x="21123" y="32801"/>
                          <a:pt x="21123" y="32801"/>
                          <a:pt x="21123" y="32801"/>
                        </a:cubicBezTo>
                        <a:cubicBezTo>
                          <a:pt x="21348" y="32528"/>
                          <a:pt x="21348" y="32528"/>
                          <a:pt x="21348" y="32528"/>
                        </a:cubicBezTo>
                        <a:cubicBezTo>
                          <a:pt x="21348" y="32528"/>
                          <a:pt x="21573" y="32255"/>
                          <a:pt x="21573" y="31981"/>
                        </a:cubicBezTo>
                        <a:cubicBezTo>
                          <a:pt x="21573" y="31981"/>
                          <a:pt x="21797" y="31435"/>
                          <a:pt x="21797" y="31435"/>
                        </a:cubicBezTo>
                        <a:cubicBezTo>
                          <a:pt x="21797" y="31435"/>
                          <a:pt x="21573" y="31161"/>
                          <a:pt x="21573" y="30888"/>
                        </a:cubicBezTo>
                        <a:cubicBezTo>
                          <a:pt x="21348" y="30888"/>
                          <a:pt x="21348" y="30888"/>
                          <a:pt x="21573" y="30615"/>
                        </a:cubicBezTo>
                        <a:cubicBezTo>
                          <a:pt x="21573" y="30615"/>
                          <a:pt x="21573" y="30341"/>
                          <a:pt x="21573" y="30341"/>
                        </a:cubicBezTo>
                        <a:cubicBezTo>
                          <a:pt x="21573" y="30341"/>
                          <a:pt x="21573" y="29794"/>
                          <a:pt x="21348" y="29794"/>
                        </a:cubicBezTo>
                        <a:cubicBezTo>
                          <a:pt x="21348" y="29794"/>
                          <a:pt x="20898" y="30068"/>
                          <a:pt x="20898" y="30068"/>
                        </a:cubicBezTo>
                        <a:cubicBezTo>
                          <a:pt x="20898" y="30068"/>
                          <a:pt x="20224" y="29794"/>
                          <a:pt x="20224" y="29794"/>
                        </a:cubicBezTo>
                        <a:cubicBezTo>
                          <a:pt x="20224" y="29794"/>
                          <a:pt x="20000" y="29521"/>
                          <a:pt x="20000" y="29521"/>
                        </a:cubicBezTo>
                        <a:cubicBezTo>
                          <a:pt x="20000" y="29521"/>
                          <a:pt x="20000" y="28974"/>
                          <a:pt x="19775" y="28974"/>
                        </a:cubicBezTo>
                        <a:cubicBezTo>
                          <a:pt x="19550" y="28701"/>
                          <a:pt x="19550" y="28974"/>
                          <a:pt x="19550" y="28974"/>
                        </a:cubicBezTo>
                        <a:cubicBezTo>
                          <a:pt x="19325" y="29521"/>
                          <a:pt x="19325" y="29521"/>
                          <a:pt x="19325" y="29521"/>
                        </a:cubicBezTo>
                        <a:cubicBezTo>
                          <a:pt x="19325" y="29521"/>
                          <a:pt x="18876" y="29521"/>
                          <a:pt x="18651" y="29248"/>
                        </a:cubicBezTo>
                        <a:cubicBezTo>
                          <a:pt x="18651" y="29248"/>
                          <a:pt x="18426" y="29248"/>
                          <a:pt x="18426" y="29248"/>
                        </a:cubicBezTo>
                        <a:cubicBezTo>
                          <a:pt x="18202" y="29248"/>
                          <a:pt x="18202" y="28974"/>
                          <a:pt x="18202" y="28701"/>
                        </a:cubicBezTo>
                        <a:cubicBezTo>
                          <a:pt x="17977" y="28428"/>
                          <a:pt x="17977" y="28701"/>
                          <a:pt x="17752" y="28701"/>
                        </a:cubicBezTo>
                        <a:cubicBezTo>
                          <a:pt x="17752" y="28701"/>
                          <a:pt x="17303" y="28701"/>
                          <a:pt x="17303" y="28701"/>
                        </a:cubicBezTo>
                        <a:cubicBezTo>
                          <a:pt x="17303" y="28701"/>
                          <a:pt x="16853" y="28154"/>
                          <a:pt x="16853" y="28154"/>
                        </a:cubicBezTo>
                        <a:cubicBezTo>
                          <a:pt x="16853" y="27881"/>
                          <a:pt x="16629" y="27881"/>
                          <a:pt x="16629" y="27881"/>
                        </a:cubicBezTo>
                        <a:cubicBezTo>
                          <a:pt x="16629" y="27881"/>
                          <a:pt x="16179" y="28154"/>
                          <a:pt x="16179" y="28154"/>
                        </a:cubicBezTo>
                        <a:cubicBezTo>
                          <a:pt x="16179" y="28428"/>
                          <a:pt x="16179" y="28428"/>
                          <a:pt x="16179" y="28428"/>
                        </a:cubicBezTo>
                        <a:cubicBezTo>
                          <a:pt x="15955" y="29248"/>
                          <a:pt x="15955" y="29248"/>
                          <a:pt x="15955" y="29248"/>
                        </a:cubicBezTo>
                        <a:cubicBezTo>
                          <a:pt x="15280" y="29794"/>
                          <a:pt x="15280" y="29794"/>
                          <a:pt x="15280" y="29794"/>
                        </a:cubicBezTo>
                        <a:cubicBezTo>
                          <a:pt x="15280" y="29794"/>
                          <a:pt x="14606" y="29794"/>
                          <a:pt x="14382" y="29521"/>
                        </a:cubicBezTo>
                        <a:cubicBezTo>
                          <a:pt x="14382" y="29521"/>
                          <a:pt x="14382" y="29521"/>
                          <a:pt x="14157" y="29521"/>
                        </a:cubicBezTo>
                        <a:cubicBezTo>
                          <a:pt x="13932" y="29521"/>
                          <a:pt x="13932" y="29521"/>
                          <a:pt x="13932" y="29521"/>
                        </a:cubicBezTo>
                        <a:cubicBezTo>
                          <a:pt x="13932" y="29521"/>
                          <a:pt x="13483" y="29794"/>
                          <a:pt x="13483" y="29794"/>
                        </a:cubicBezTo>
                        <a:cubicBezTo>
                          <a:pt x="13483" y="29794"/>
                          <a:pt x="13258" y="29248"/>
                          <a:pt x="13258" y="29248"/>
                        </a:cubicBezTo>
                        <a:cubicBezTo>
                          <a:pt x="13258" y="29248"/>
                          <a:pt x="12808" y="28974"/>
                          <a:pt x="12808" y="28701"/>
                        </a:cubicBezTo>
                        <a:cubicBezTo>
                          <a:pt x="12808" y="28701"/>
                          <a:pt x="12808" y="28974"/>
                          <a:pt x="12808" y="28974"/>
                        </a:cubicBezTo>
                        <a:cubicBezTo>
                          <a:pt x="12808" y="28974"/>
                          <a:pt x="12584" y="29248"/>
                          <a:pt x="12359" y="29248"/>
                        </a:cubicBezTo>
                        <a:cubicBezTo>
                          <a:pt x="12359" y="29248"/>
                          <a:pt x="12134" y="29521"/>
                          <a:pt x="12134" y="29521"/>
                        </a:cubicBezTo>
                        <a:cubicBezTo>
                          <a:pt x="11910" y="29521"/>
                          <a:pt x="12134" y="28974"/>
                          <a:pt x="12134" y="28974"/>
                        </a:cubicBezTo>
                        <a:cubicBezTo>
                          <a:pt x="12359" y="28428"/>
                          <a:pt x="12359" y="28428"/>
                          <a:pt x="12359" y="28428"/>
                        </a:cubicBezTo>
                        <a:cubicBezTo>
                          <a:pt x="12359" y="28428"/>
                          <a:pt x="11685" y="28154"/>
                          <a:pt x="11685" y="27881"/>
                        </a:cubicBezTo>
                        <a:cubicBezTo>
                          <a:pt x="11460" y="27881"/>
                          <a:pt x="11235" y="27608"/>
                          <a:pt x="11235" y="27608"/>
                        </a:cubicBezTo>
                        <a:cubicBezTo>
                          <a:pt x="11235" y="27608"/>
                          <a:pt x="10786" y="27608"/>
                          <a:pt x="10786" y="27608"/>
                        </a:cubicBezTo>
                        <a:cubicBezTo>
                          <a:pt x="10337" y="27608"/>
                          <a:pt x="10337" y="27608"/>
                          <a:pt x="10337" y="27608"/>
                        </a:cubicBezTo>
                        <a:cubicBezTo>
                          <a:pt x="10337" y="27608"/>
                          <a:pt x="10112" y="27608"/>
                          <a:pt x="9887" y="27881"/>
                        </a:cubicBezTo>
                        <a:cubicBezTo>
                          <a:pt x="9887" y="27881"/>
                          <a:pt x="9662" y="28154"/>
                          <a:pt x="9438" y="27881"/>
                        </a:cubicBezTo>
                        <a:cubicBezTo>
                          <a:pt x="9438" y="27881"/>
                          <a:pt x="9662" y="27334"/>
                          <a:pt x="9662" y="27334"/>
                        </a:cubicBezTo>
                        <a:cubicBezTo>
                          <a:pt x="9662" y="27334"/>
                          <a:pt x="9662" y="26788"/>
                          <a:pt x="9662" y="26788"/>
                        </a:cubicBezTo>
                        <a:cubicBezTo>
                          <a:pt x="9438" y="26514"/>
                          <a:pt x="9438" y="27061"/>
                          <a:pt x="9438" y="27061"/>
                        </a:cubicBezTo>
                        <a:cubicBezTo>
                          <a:pt x="9438" y="27061"/>
                          <a:pt x="8988" y="27334"/>
                          <a:pt x="8764" y="27608"/>
                        </a:cubicBezTo>
                        <a:cubicBezTo>
                          <a:pt x="8764" y="27608"/>
                          <a:pt x="8539" y="27608"/>
                          <a:pt x="8539" y="27608"/>
                        </a:cubicBezTo>
                        <a:cubicBezTo>
                          <a:pt x="8314" y="27608"/>
                          <a:pt x="8089" y="27881"/>
                          <a:pt x="7640" y="27881"/>
                        </a:cubicBezTo>
                        <a:cubicBezTo>
                          <a:pt x="7415" y="27881"/>
                          <a:pt x="7191" y="28154"/>
                          <a:pt x="7191" y="27881"/>
                        </a:cubicBezTo>
                        <a:cubicBezTo>
                          <a:pt x="6966" y="27881"/>
                          <a:pt x="6966" y="27608"/>
                          <a:pt x="6966" y="27608"/>
                        </a:cubicBezTo>
                        <a:cubicBezTo>
                          <a:pt x="6966" y="27061"/>
                          <a:pt x="6966" y="27061"/>
                          <a:pt x="6966" y="27061"/>
                        </a:cubicBezTo>
                        <a:cubicBezTo>
                          <a:pt x="6966" y="27061"/>
                          <a:pt x="6741" y="26788"/>
                          <a:pt x="6741" y="26514"/>
                        </a:cubicBezTo>
                        <a:cubicBezTo>
                          <a:pt x="6516" y="26241"/>
                          <a:pt x="6741" y="26241"/>
                          <a:pt x="6741" y="25968"/>
                        </a:cubicBezTo>
                        <a:cubicBezTo>
                          <a:pt x="6741" y="25968"/>
                          <a:pt x="7191" y="25694"/>
                          <a:pt x="7191" y="25694"/>
                        </a:cubicBezTo>
                        <a:cubicBezTo>
                          <a:pt x="7191" y="25421"/>
                          <a:pt x="7415" y="25421"/>
                          <a:pt x="7415" y="25421"/>
                        </a:cubicBezTo>
                        <a:cubicBezTo>
                          <a:pt x="8089" y="25148"/>
                          <a:pt x="8089" y="25148"/>
                          <a:pt x="8089" y="25148"/>
                        </a:cubicBezTo>
                        <a:cubicBezTo>
                          <a:pt x="8089" y="25148"/>
                          <a:pt x="8089" y="24328"/>
                          <a:pt x="8089" y="24054"/>
                        </a:cubicBezTo>
                        <a:cubicBezTo>
                          <a:pt x="8089" y="24054"/>
                          <a:pt x="8089" y="24054"/>
                          <a:pt x="7865" y="24054"/>
                        </a:cubicBezTo>
                        <a:cubicBezTo>
                          <a:pt x="7640" y="24054"/>
                          <a:pt x="7640" y="23781"/>
                          <a:pt x="7640" y="23781"/>
                        </a:cubicBezTo>
                        <a:cubicBezTo>
                          <a:pt x="7640" y="23781"/>
                          <a:pt x="7640" y="23234"/>
                          <a:pt x="7640" y="23234"/>
                        </a:cubicBezTo>
                        <a:cubicBezTo>
                          <a:pt x="7415" y="22687"/>
                          <a:pt x="7415" y="22687"/>
                          <a:pt x="7415" y="22687"/>
                        </a:cubicBezTo>
                        <a:cubicBezTo>
                          <a:pt x="6516" y="22961"/>
                          <a:pt x="6516" y="22961"/>
                          <a:pt x="6516" y="22961"/>
                        </a:cubicBezTo>
                        <a:cubicBezTo>
                          <a:pt x="6516" y="22961"/>
                          <a:pt x="6067" y="23234"/>
                          <a:pt x="5842" y="23234"/>
                        </a:cubicBezTo>
                        <a:cubicBezTo>
                          <a:pt x="5842" y="23234"/>
                          <a:pt x="5393" y="23234"/>
                          <a:pt x="5393" y="23234"/>
                        </a:cubicBezTo>
                        <a:cubicBezTo>
                          <a:pt x="5168" y="23234"/>
                          <a:pt x="4943" y="22961"/>
                          <a:pt x="4943" y="22961"/>
                        </a:cubicBezTo>
                        <a:cubicBezTo>
                          <a:pt x="4943" y="22961"/>
                          <a:pt x="4044" y="23234"/>
                          <a:pt x="4044" y="23234"/>
                        </a:cubicBezTo>
                        <a:cubicBezTo>
                          <a:pt x="4044" y="23234"/>
                          <a:pt x="3820" y="23234"/>
                          <a:pt x="3820" y="23234"/>
                        </a:cubicBezTo>
                        <a:cubicBezTo>
                          <a:pt x="3370" y="23234"/>
                          <a:pt x="3370" y="23234"/>
                          <a:pt x="3370" y="23234"/>
                        </a:cubicBezTo>
                        <a:cubicBezTo>
                          <a:pt x="2921" y="23507"/>
                          <a:pt x="2921" y="23507"/>
                          <a:pt x="2921" y="23507"/>
                        </a:cubicBezTo>
                        <a:cubicBezTo>
                          <a:pt x="2696" y="23781"/>
                          <a:pt x="2696" y="23781"/>
                          <a:pt x="2696" y="23781"/>
                        </a:cubicBezTo>
                        <a:cubicBezTo>
                          <a:pt x="2696" y="23781"/>
                          <a:pt x="2471" y="24054"/>
                          <a:pt x="2471" y="24054"/>
                        </a:cubicBezTo>
                        <a:cubicBezTo>
                          <a:pt x="2247" y="24054"/>
                          <a:pt x="2022" y="24054"/>
                          <a:pt x="1797" y="24054"/>
                        </a:cubicBezTo>
                        <a:cubicBezTo>
                          <a:pt x="1797" y="24054"/>
                          <a:pt x="1573" y="24328"/>
                          <a:pt x="1573" y="24328"/>
                        </a:cubicBezTo>
                        <a:cubicBezTo>
                          <a:pt x="1573" y="24328"/>
                          <a:pt x="1123" y="24601"/>
                          <a:pt x="898" y="24874"/>
                        </a:cubicBezTo>
                        <a:cubicBezTo>
                          <a:pt x="674" y="23507"/>
                          <a:pt x="674" y="23507"/>
                          <a:pt x="674" y="23507"/>
                        </a:cubicBezTo>
                        <a:cubicBezTo>
                          <a:pt x="1348" y="21047"/>
                          <a:pt x="1348" y="21047"/>
                          <a:pt x="1348" y="21047"/>
                        </a:cubicBezTo>
                        <a:cubicBezTo>
                          <a:pt x="2471" y="19954"/>
                          <a:pt x="2471" y="19954"/>
                          <a:pt x="2471" y="19954"/>
                        </a:cubicBezTo>
                        <a:cubicBezTo>
                          <a:pt x="2921" y="17767"/>
                          <a:pt x="2921" y="17767"/>
                          <a:pt x="2921" y="17767"/>
                        </a:cubicBezTo>
                        <a:cubicBezTo>
                          <a:pt x="2247" y="16947"/>
                          <a:pt x="2247" y="16947"/>
                          <a:pt x="2247" y="16947"/>
                        </a:cubicBezTo>
                        <a:cubicBezTo>
                          <a:pt x="2247" y="16127"/>
                          <a:pt x="4269" y="14487"/>
                          <a:pt x="4044" y="13667"/>
                        </a:cubicBezTo>
                        <a:cubicBezTo>
                          <a:pt x="3820" y="12847"/>
                          <a:pt x="1348" y="15307"/>
                          <a:pt x="1123" y="14487"/>
                        </a:cubicBezTo>
                        <a:cubicBezTo>
                          <a:pt x="898" y="12847"/>
                          <a:pt x="1573" y="13120"/>
                          <a:pt x="2696" y="11753"/>
                        </a:cubicBezTo>
                        <a:cubicBezTo>
                          <a:pt x="1348" y="11207"/>
                          <a:pt x="1348" y="11207"/>
                          <a:pt x="1348" y="11207"/>
                        </a:cubicBezTo>
                        <a:cubicBezTo>
                          <a:pt x="1348" y="9567"/>
                          <a:pt x="1348" y="9567"/>
                          <a:pt x="1348" y="9567"/>
                        </a:cubicBezTo>
                        <a:cubicBezTo>
                          <a:pt x="449" y="9020"/>
                          <a:pt x="449" y="9020"/>
                          <a:pt x="449" y="9020"/>
                        </a:cubicBezTo>
                        <a:cubicBezTo>
                          <a:pt x="449" y="9020"/>
                          <a:pt x="674" y="8200"/>
                          <a:pt x="674" y="7380"/>
                        </a:cubicBezTo>
                        <a:cubicBezTo>
                          <a:pt x="674" y="6560"/>
                          <a:pt x="1348" y="6287"/>
                          <a:pt x="1348" y="6287"/>
                        </a:cubicBezTo>
                        <a:cubicBezTo>
                          <a:pt x="2022" y="6013"/>
                          <a:pt x="2471" y="5466"/>
                          <a:pt x="3146" y="4920"/>
                        </a:cubicBezTo>
                        <a:cubicBezTo>
                          <a:pt x="3820" y="3826"/>
                          <a:pt x="4494" y="4373"/>
                          <a:pt x="4943" y="4100"/>
                        </a:cubicBezTo>
                        <a:cubicBezTo>
                          <a:pt x="5617" y="3553"/>
                          <a:pt x="5617" y="4100"/>
                          <a:pt x="7865" y="4646"/>
                        </a:cubicBezTo>
                        <a:cubicBezTo>
                          <a:pt x="8314" y="4373"/>
                          <a:pt x="9213" y="4373"/>
                          <a:pt x="9438" y="3826"/>
                        </a:cubicBezTo>
                        <a:cubicBezTo>
                          <a:pt x="9887" y="3280"/>
                          <a:pt x="10561" y="3553"/>
                          <a:pt x="10561" y="2460"/>
                        </a:cubicBezTo>
                        <a:cubicBezTo>
                          <a:pt x="10786" y="820"/>
                          <a:pt x="13258" y="1913"/>
                          <a:pt x="13258" y="1366"/>
                        </a:cubicBezTo>
                        <a:cubicBezTo>
                          <a:pt x="13707" y="1366"/>
                          <a:pt x="14157" y="0"/>
                          <a:pt x="15280" y="0"/>
                        </a:cubicBezTo>
                        <a:cubicBezTo>
                          <a:pt x="16179" y="273"/>
                          <a:pt x="16404" y="546"/>
                          <a:pt x="17078" y="820"/>
                        </a:cubicBezTo>
                        <a:cubicBezTo>
                          <a:pt x="19550" y="2733"/>
                          <a:pt x="18426" y="3826"/>
                          <a:pt x="21348" y="4920"/>
                        </a:cubicBezTo>
                        <a:cubicBezTo>
                          <a:pt x="23820" y="5740"/>
                          <a:pt x="26741" y="6560"/>
                          <a:pt x="29213" y="7107"/>
                        </a:cubicBezTo>
                        <a:cubicBezTo>
                          <a:pt x="31460" y="7380"/>
                          <a:pt x="33707" y="8473"/>
                          <a:pt x="35955" y="9567"/>
                        </a:cubicBezTo>
                        <a:cubicBezTo>
                          <a:pt x="35955" y="9567"/>
                          <a:pt x="44269" y="14214"/>
                          <a:pt x="44494" y="14487"/>
                        </a:cubicBezTo>
                        <a:cubicBezTo>
                          <a:pt x="44719" y="14487"/>
                          <a:pt x="49438" y="13394"/>
                          <a:pt x="49662" y="13394"/>
                        </a:cubicBezTo>
                        <a:cubicBezTo>
                          <a:pt x="49887" y="13394"/>
                          <a:pt x="51460" y="13667"/>
                          <a:pt x="52584" y="14487"/>
                        </a:cubicBezTo>
                        <a:cubicBezTo>
                          <a:pt x="53258" y="15307"/>
                          <a:pt x="55505" y="17220"/>
                          <a:pt x="55505" y="17220"/>
                        </a:cubicBezTo>
                        <a:cubicBezTo>
                          <a:pt x="55955" y="17494"/>
                          <a:pt x="58651" y="16947"/>
                          <a:pt x="58651" y="16947"/>
                        </a:cubicBezTo>
                        <a:cubicBezTo>
                          <a:pt x="60449" y="16947"/>
                          <a:pt x="62022" y="19407"/>
                          <a:pt x="62921" y="19681"/>
                        </a:cubicBezTo>
                        <a:cubicBezTo>
                          <a:pt x="64044" y="19954"/>
                          <a:pt x="66741" y="18314"/>
                          <a:pt x="67865" y="19681"/>
                        </a:cubicBezTo>
                        <a:cubicBezTo>
                          <a:pt x="67865" y="19681"/>
                          <a:pt x="70112" y="19954"/>
                          <a:pt x="70337" y="21321"/>
                        </a:cubicBezTo>
                        <a:cubicBezTo>
                          <a:pt x="70786" y="22687"/>
                          <a:pt x="71685" y="24874"/>
                          <a:pt x="71685" y="24874"/>
                        </a:cubicBezTo>
                        <a:cubicBezTo>
                          <a:pt x="74606" y="26241"/>
                          <a:pt x="74606" y="26241"/>
                          <a:pt x="74606" y="26241"/>
                        </a:cubicBezTo>
                        <a:cubicBezTo>
                          <a:pt x="74606" y="26241"/>
                          <a:pt x="76179" y="27881"/>
                          <a:pt x="76404" y="28428"/>
                        </a:cubicBezTo>
                        <a:cubicBezTo>
                          <a:pt x="76629" y="28701"/>
                          <a:pt x="80000" y="30068"/>
                          <a:pt x="80000" y="30068"/>
                        </a:cubicBezTo>
                        <a:cubicBezTo>
                          <a:pt x="82247" y="32528"/>
                          <a:pt x="82247" y="32528"/>
                          <a:pt x="82247" y="32528"/>
                        </a:cubicBezTo>
                        <a:cubicBezTo>
                          <a:pt x="85617" y="32528"/>
                          <a:pt x="85617" y="32528"/>
                          <a:pt x="85617" y="32528"/>
                        </a:cubicBezTo>
                        <a:cubicBezTo>
                          <a:pt x="87865" y="33075"/>
                          <a:pt x="87865" y="33075"/>
                          <a:pt x="87865" y="33075"/>
                        </a:cubicBezTo>
                        <a:cubicBezTo>
                          <a:pt x="88988" y="31435"/>
                          <a:pt x="88988" y="31435"/>
                          <a:pt x="88988" y="31435"/>
                        </a:cubicBezTo>
                        <a:cubicBezTo>
                          <a:pt x="88988" y="31435"/>
                          <a:pt x="94606" y="34715"/>
                          <a:pt x="94831" y="34715"/>
                        </a:cubicBezTo>
                        <a:cubicBezTo>
                          <a:pt x="95056" y="34715"/>
                          <a:pt x="95056" y="35535"/>
                          <a:pt x="95280" y="36355"/>
                        </a:cubicBezTo>
                        <a:cubicBezTo>
                          <a:pt x="95280" y="36628"/>
                          <a:pt x="95280" y="36628"/>
                          <a:pt x="95280" y="36628"/>
                        </a:cubicBezTo>
                        <a:cubicBezTo>
                          <a:pt x="95056" y="36628"/>
                          <a:pt x="95280" y="36628"/>
                          <a:pt x="95280" y="36628"/>
                        </a:cubicBezTo>
                        <a:cubicBezTo>
                          <a:pt x="95280" y="36628"/>
                          <a:pt x="95280" y="36628"/>
                          <a:pt x="95280" y="36628"/>
                        </a:cubicBezTo>
                        <a:cubicBezTo>
                          <a:pt x="95280" y="37175"/>
                          <a:pt x="95280" y="37175"/>
                          <a:pt x="95280" y="37175"/>
                        </a:cubicBezTo>
                        <a:cubicBezTo>
                          <a:pt x="95280" y="37448"/>
                          <a:pt x="95280" y="37448"/>
                          <a:pt x="95280" y="37448"/>
                        </a:cubicBezTo>
                        <a:cubicBezTo>
                          <a:pt x="95056" y="37448"/>
                          <a:pt x="95056" y="37448"/>
                          <a:pt x="95056" y="37448"/>
                        </a:cubicBezTo>
                        <a:cubicBezTo>
                          <a:pt x="95056" y="37448"/>
                          <a:pt x="95056" y="37448"/>
                          <a:pt x="95056" y="37448"/>
                        </a:cubicBezTo>
                        <a:cubicBezTo>
                          <a:pt x="95280" y="37722"/>
                          <a:pt x="95280" y="37722"/>
                          <a:pt x="95280" y="37722"/>
                        </a:cubicBezTo>
                        <a:cubicBezTo>
                          <a:pt x="95280" y="37722"/>
                          <a:pt x="95280" y="37722"/>
                          <a:pt x="95280" y="37722"/>
                        </a:cubicBezTo>
                        <a:cubicBezTo>
                          <a:pt x="95280" y="37722"/>
                          <a:pt x="95280" y="37722"/>
                          <a:pt x="95280" y="37995"/>
                        </a:cubicBezTo>
                        <a:cubicBezTo>
                          <a:pt x="95280" y="37995"/>
                          <a:pt x="95280" y="37995"/>
                          <a:pt x="95280" y="37995"/>
                        </a:cubicBezTo>
                        <a:cubicBezTo>
                          <a:pt x="95280" y="37995"/>
                          <a:pt x="95280" y="37995"/>
                          <a:pt x="95280" y="38268"/>
                        </a:cubicBezTo>
                        <a:cubicBezTo>
                          <a:pt x="95280" y="38268"/>
                          <a:pt x="95280" y="38268"/>
                          <a:pt x="95280" y="38268"/>
                        </a:cubicBezTo>
                        <a:cubicBezTo>
                          <a:pt x="95505" y="38268"/>
                          <a:pt x="95505" y="38268"/>
                          <a:pt x="95505" y="38268"/>
                        </a:cubicBezTo>
                        <a:cubicBezTo>
                          <a:pt x="95505" y="38268"/>
                          <a:pt x="95505" y="38268"/>
                          <a:pt x="95505" y="38268"/>
                        </a:cubicBezTo>
                        <a:cubicBezTo>
                          <a:pt x="95505" y="38268"/>
                          <a:pt x="95730" y="38542"/>
                          <a:pt x="95730" y="38542"/>
                        </a:cubicBezTo>
                        <a:cubicBezTo>
                          <a:pt x="95730" y="38542"/>
                          <a:pt x="95730" y="38542"/>
                          <a:pt x="95955" y="38542"/>
                        </a:cubicBezTo>
                        <a:cubicBezTo>
                          <a:pt x="95955" y="38542"/>
                          <a:pt x="95955" y="38542"/>
                          <a:pt x="96179" y="38542"/>
                        </a:cubicBezTo>
                        <a:cubicBezTo>
                          <a:pt x="96179" y="38542"/>
                          <a:pt x="96179" y="38542"/>
                          <a:pt x="96179" y="38542"/>
                        </a:cubicBezTo>
                        <a:cubicBezTo>
                          <a:pt x="96179" y="38542"/>
                          <a:pt x="96404" y="38542"/>
                          <a:pt x="96404" y="38268"/>
                        </a:cubicBezTo>
                        <a:cubicBezTo>
                          <a:pt x="99325" y="39088"/>
                          <a:pt x="99325" y="39088"/>
                          <a:pt x="99325" y="39088"/>
                        </a:cubicBezTo>
                        <a:cubicBezTo>
                          <a:pt x="100000" y="39362"/>
                          <a:pt x="100000" y="39908"/>
                          <a:pt x="100674" y="40455"/>
                        </a:cubicBezTo>
                        <a:cubicBezTo>
                          <a:pt x="102471" y="39635"/>
                          <a:pt x="102471" y="39635"/>
                          <a:pt x="102471" y="39635"/>
                        </a:cubicBezTo>
                        <a:cubicBezTo>
                          <a:pt x="104719" y="41548"/>
                          <a:pt x="104719" y="41548"/>
                          <a:pt x="104719" y="41548"/>
                        </a:cubicBezTo>
                        <a:cubicBezTo>
                          <a:pt x="106741" y="40728"/>
                          <a:pt x="106741" y="40728"/>
                          <a:pt x="106741" y="40728"/>
                        </a:cubicBezTo>
                        <a:cubicBezTo>
                          <a:pt x="108764" y="40728"/>
                          <a:pt x="108764" y="40728"/>
                          <a:pt x="108764" y="40728"/>
                        </a:cubicBezTo>
                        <a:cubicBezTo>
                          <a:pt x="108764" y="40182"/>
                          <a:pt x="113483" y="40728"/>
                          <a:pt x="111460" y="43462"/>
                        </a:cubicBezTo>
                        <a:close/>
                        <a:moveTo>
                          <a:pt x="113707" y="76810"/>
                        </a:moveTo>
                        <a:cubicBezTo>
                          <a:pt x="113707" y="76810"/>
                          <a:pt x="113707" y="76810"/>
                          <a:pt x="113707" y="76810"/>
                        </a:cubicBezTo>
                        <a:cubicBezTo>
                          <a:pt x="113707" y="78451"/>
                          <a:pt x="115955" y="77904"/>
                          <a:pt x="117078" y="78997"/>
                        </a:cubicBezTo>
                        <a:cubicBezTo>
                          <a:pt x="117528" y="79544"/>
                          <a:pt x="117078" y="80911"/>
                          <a:pt x="117752" y="81184"/>
                        </a:cubicBezTo>
                        <a:cubicBezTo>
                          <a:pt x="119325" y="82824"/>
                          <a:pt x="120000" y="79817"/>
                          <a:pt x="118651" y="76810"/>
                        </a:cubicBezTo>
                        <a:cubicBezTo>
                          <a:pt x="118202" y="76264"/>
                          <a:pt x="117528" y="76264"/>
                          <a:pt x="116853" y="76264"/>
                        </a:cubicBezTo>
                        <a:cubicBezTo>
                          <a:pt x="115730" y="76264"/>
                          <a:pt x="113483" y="75444"/>
                          <a:pt x="113707" y="76810"/>
                        </a:cubicBezTo>
                        <a:close/>
                        <a:moveTo>
                          <a:pt x="100674" y="82004"/>
                        </a:moveTo>
                        <a:cubicBezTo>
                          <a:pt x="100674" y="82004"/>
                          <a:pt x="100674" y="82004"/>
                          <a:pt x="100674" y="82004"/>
                        </a:cubicBezTo>
                        <a:cubicBezTo>
                          <a:pt x="101573" y="82277"/>
                          <a:pt x="102471" y="81184"/>
                          <a:pt x="103370" y="81731"/>
                        </a:cubicBezTo>
                        <a:cubicBezTo>
                          <a:pt x="103820" y="82277"/>
                          <a:pt x="103595" y="83371"/>
                          <a:pt x="103820" y="84191"/>
                        </a:cubicBezTo>
                        <a:cubicBezTo>
                          <a:pt x="102471" y="85831"/>
                          <a:pt x="106067" y="85558"/>
                          <a:pt x="106292" y="85558"/>
                        </a:cubicBezTo>
                        <a:cubicBezTo>
                          <a:pt x="106292" y="86104"/>
                          <a:pt x="106741" y="87471"/>
                          <a:pt x="107415" y="86924"/>
                        </a:cubicBezTo>
                        <a:cubicBezTo>
                          <a:pt x="111011" y="81731"/>
                          <a:pt x="111011" y="81731"/>
                          <a:pt x="111011" y="81731"/>
                        </a:cubicBezTo>
                        <a:cubicBezTo>
                          <a:pt x="111011" y="81184"/>
                          <a:pt x="110786" y="80637"/>
                          <a:pt x="110337" y="80637"/>
                        </a:cubicBezTo>
                        <a:cubicBezTo>
                          <a:pt x="109438" y="80091"/>
                          <a:pt x="108314" y="81184"/>
                          <a:pt x="107640" y="80637"/>
                        </a:cubicBezTo>
                        <a:cubicBezTo>
                          <a:pt x="106966" y="80091"/>
                          <a:pt x="108314" y="77904"/>
                          <a:pt x="107415" y="77084"/>
                        </a:cubicBezTo>
                        <a:cubicBezTo>
                          <a:pt x="105617" y="75444"/>
                          <a:pt x="104943" y="77357"/>
                          <a:pt x="103595" y="78724"/>
                        </a:cubicBezTo>
                        <a:cubicBezTo>
                          <a:pt x="102696" y="79544"/>
                          <a:pt x="101348" y="79817"/>
                          <a:pt x="100449" y="80911"/>
                        </a:cubicBezTo>
                        <a:cubicBezTo>
                          <a:pt x="100224" y="81184"/>
                          <a:pt x="100449" y="82004"/>
                          <a:pt x="100674" y="82004"/>
                        </a:cubicBezTo>
                        <a:close/>
                        <a:moveTo>
                          <a:pt x="87865" y="89931"/>
                        </a:moveTo>
                        <a:cubicBezTo>
                          <a:pt x="87865" y="89931"/>
                          <a:pt x="87865" y="89931"/>
                          <a:pt x="87865" y="89931"/>
                        </a:cubicBezTo>
                        <a:cubicBezTo>
                          <a:pt x="86966" y="90751"/>
                          <a:pt x="88764" y="92118"/>
                          <a:pt x="89213" y="92118"/>
                        </a:cubicBezTo>
                        <a:cubicBezTo>
                          <a:pt x="89662" y="92118"/>
                          <a:pt x="92359" y="89931"/>
                          <a:pt x="92359" y="89111"/>
                        </a:cubicBezTo>
                        <a:cubicBezTo>
                          <a:pt x="92134" y="88018"/>
                          <a:pt x="91011" y="87744"/>
                          <a:pt x="90337" y="87744"/>
                        </a:cubicBezTo>
                        <a:cubicBezTo>
                          <a:pt x="89438" y="88018"/>
                          <a:pt x="88539" y="89111"/>
                          <a:pt x="87865" y="89931"/>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93" name="Shape 2055"/>
                  <p:cNvSpPr/>
                  <p:nvPr/>
                </p:nvSpPr>
                <p:spPr>
                  <a:xfrm>
                    <a:off x="5979171" y="3676182"/>
                    <a:ext cx="930118" cy="839550"/>
                  </a:xfrm>
                  <a:custGeom>
                    <a:avLst/>
                    <a:gdLst/>
                    <a:ahLst/>
                    <a:cxnLst/>
                    <a:rect l="0" t="0" r="0" b="0"/>
                    <a:pathLst>
                      <a:path w="120000" h="120000" extrusionOk="0">
                        <a:moveTo>
                          <a:pt x="65294" y="10105"/>
                        </a:moveTo>
                        <a:cubicBezTo>
                          <a:pt x="66764" y="9473"/>
                          <a:pt x="66764" y="9473"/>
                          <a:pt x="66764" y="9473"/>
                        </a:cubicBezTo>
                        <a:cubicBezTo>
                          <a:pt x="66764" y="9473"/>
                          <a:pt x="68529" y="8842"/>
                          <a:pt x="68823" y="8842"/>
                        </a:cubicBezTo>
                        <a:cubicBezTo>
                          <a:pt x="69117" y="8842"/>
                          <a:pt x="70588" y="8526"/>
                          <a:pt x="70882" y="8210"/>
                        </a:cubicBezTo>
                        <a:cubicBezTo>
                          <a:pt x="71176" y="8210"/>
                          <a:pt x="72058" y="7578"/>
                          <a:pt x="72352" y="7263"/>
                        </a:cubicBezTo>
                        <a:cubicBezTo>
                          <a:pt x="72647" y="7263"/>
                          <a:pt x="73235" y="7263"/>
                          <a:pt x="73823" y="6631"/>
                        </a:cubicBezTo>
                        <a:cubicBezTo>
                          <a:pt x="74117" y="6315"/>
                          <a:pt x="74411" y="5368"/>
                          <a:pt x="74411" y="5052"/>
                        </a:cubicBezTo>
                        <a:cubicBezTo>
                          <a:pt x="74411" y="4736"/>
                          <a:pt x="74117" y="4736"/>
                          <a:pt x="73823" y="3789"/>
                        </a:cubicBezTo>
                        <a:cubicBezTo>
                          <a:pt x="73235" y="2842"/>
                          <a:pt x="72647" y="2210"/>
                          <a:pt x="72647" y="1894"/>
                        </a:cubicBezTo>
                        <a:cubicBezTo>
                          <a:pt x="72352" y="1263"/>
                          <a:pt x="72352" y="631"/>
                          <a:pt x="72647" y="631"/>
                        </a:cubicBezTo>
                        <a:cubicBezTo>
                          <a:pt x="72941" y="315"/>
                          <a:pt x="73823" y="0"/>
                          <a:pt x="74411" y="0"/>
                        </a:cubicBezTo>
                        <a:cubicBezTo>
                          <a:pt x="75000" y="315"/>
                          <a:pt x="76470" y="631"/>
                          <a:pt x="76764" y="631"/>
                        </a:cubicBezTo>
                        <a:cubicBezTo>
                          <a:pt x="77058" y="631"/>
                          <a:pt x="78529" y="1578"/>
                          <a:pt x="78529" y="1578"/>
                        </a:cubicBezTo>
                        <a:cubicBezTo>
                          <a:pt x="78529" y="1578"/>
                          <a:pt x="79117" y="3157"/>
                          <a:pt x="79117" y="3473"/>
                        </a:cubicBezTo>
                        <a:cubicBezTo>
                          <a:pt x="79117" y="3789"/>
                          <a:pt x="80588" y="5684"/>
                          <a:pt x="80000" y="5684"/>
                        </a:cubicBezTo>
                        <a:cubicBezTo>
                          <a:pt x="79705" y="5684"/>
                          <a:pt x="78529" y="6000"/>
                          <a:pt x="78529" y="6000"/>
                        </a:cubicBezTo>
                        <a:cubicBezTo>
                          <a:pt x="77941" y="6947"/>
                          <a:pt x="77941" y="6947"/>
                          <a:pt x="77941" y="6947"/>
                        </a:cubicBezTo>
                        <a:cubicBezTo>
                          <a:pt x="77941" y="6947"/>
                          <a:pt x="77352" y="8210"/>
                          <a:pt x="77352" y="8526"/>
                        </a:cubicBezTo>
                        <a:cubicBezTo>
                          <a:pt x="77352" y="8842"/>
                          <a:pt x="77058" y="10421"/>
                          <a:pt x="77058" y="10421"/>
                        </a:cubicBezTo>
                        <a:cubicBezTo>
                          <a:pt x="78529" y="13894"/>
                          <a:pt x="78529" y="13894"/>
                          <a:pt x="78529" y="13894"/>
                        </a:cubicBezTo>
                        <a:cubicBezTo>
                          <a:pt x="77058" y="16105"/>
                          <a:pt x="77058" y="16105"/>
                          <a:pt x="77058" y="16105"/>
                        </a:cubicBezTo>
                        <a:cubicBezTo>
                          <a:pt x="75882" y="17368"/>
                          <a:pt x="75882" y="17368"/>
                          <a:pt x="75882" y="17368"/>
                        </a:cubicBezTo>
                        <a:cubicBezTo>
                          <a:pt x="75882" y="17368"/>
                          <a:pt x="74117" y="17368"/>
                          <a:pt x="74117" y="17052"/>
                        </a:cubicBezTo>
                        <a:cubicBezTo>
                          <a:pt x="74117" y="16736"/>
                          <a:pt x="72941" y="16105"/>
                          <a:pt x="72941" y="16105"/>
                        </a:cubicBezTo>
                        <a:cubicBezTo>
                          <a:pt x="72941" y="16105"/>
                          <a:pt x="71176" y="16421"/>
                          <a:pt x="70882" y="16736"/>
                        </a:cubicBezTo>
                        <a:cubicBezTo>
                          <a:pt x="70588" y="16736"/>
                          <a:pt x="66470" y="17052"/>
                          <a:pt x="66470" y="17052"/>
                        </a:cubicBezTo>
                        <a:cubicBezTo>
                          <a:pt x="66470" y="17052"/>
                          <a:pt x="65588" y="16736"/>
                          <a:pt x="65294" y="16736"/>
                        </a:cubicBezTo>
                        <a:cubicBezTo>
                          <a:pt x="65000" y="16736"/>
                          <a:pt x="63529" y="16736"/>
                          <a:pt x="63529" y="16736"/>
                        </a:cubicBezTo>
                        <a:cubicBezTo>
                          <a:pt x="63235" y="15473"/>
                          <a:pt x="63235" y="15473"/>
                          <a:pt x="63235" y="15473"/>
                        </a:cubicBezTo>
                        <a:cubicBezTo>
                          <a:pt x="62058" y="15789"/>
                          <a:pt x="62058" y="15789"/>
                          <a:pt x="62058" y="15789"/>
                        </a:cubicBezTo>
                        <a:cubicBezTo>
                          <a:pt x="61764" y="17052"/>
                          <a:pt x="61764" y="17052"/>
                          <a:pt x="61764" y="17052"/>
                        </a:cubicBezTo>
                        <a:cubicBezTo>
                          <a:pt x="60294" y="18000"/>
                          <a:pt x="60294" y="18000"/>
                          <a:pt x="60294" y="18000"/>
                        </a:cubicBezTo>
                        <a:cubicBezTo>
                          <a:pt x="58823" y="18947"/>
                          <a:pt x="58823" y="18947"/>
                          <a:pt x="58823" y="18947"/>
                        </a:cubicBezTo>
                        <a:cubicBezTo>
                          <a:pt x="55882" y="18947"/>
                          <a:pt x="55882" y="18947"/>
                          <a:pt x="55882" y="18947"/>
                        </a:cubicBezTo>
                        <a:cubicBezTo>
                          <a:pt x="54117" y="18947"/>
                          <a:pt x="54117" y="18947"/>
                          <a:pt x="54117" y="18947"/>
                        </a:cubicBezTo>
                        <a:cubicBezTo>
                          <a:pt x="54117" y="19578"/>
                          <a:pt x="54117" y="19578"/>
                          <a:pt x="54117" y="19578"/>
                        </a:cubicBezTo>
                        <a:cubicBezTo>
                          <a:pt x="53235" y="21473"/>
                          <a:pt x="53235" y="21473"/>
                          <a:pt x="53235" y="21473"/>
                        </a:cubicBezTo>
                        <a:cubicBezTo>
                          <a:pt x="52058" y="22421"/>
                          <a:pt x="52058" y="22421"/>
                          <a:pt x="52058" y="22421"/>
                        </a:cubicBezTo>
                        <a:cubicBezTo>
                          <a:pt x="52058" y="22421"/>
                          <a:pt x="50294" y="23052"/>
                          <a:pt x="50000" y="23368"/>
                        </a:cubicBezTo>
                        <a:cubicBezTo>
                          <a:pt x="50000" y="23368"/>
                          <a:pt x="48823" y="23052"/>
                          <a:pt x="48823" y="23052"/>
                        </a:cubicBezTo>
                        <a:cubicBezTo>
                          <a:pt x="47352" y="24000"/>
                          <a:pt x="47352" y="24000"/>
                          <a:pt x="47352" y="24000"/>
                        </a:cubicBezTo>
                        <a:cubicBezTo>
                          <a:pt x="47058" y="24947"/>
                          <a:pt x="47058" y="24947"/>
                          <a:pt x="47058" y="24947"/>
                        </a:cubicBezTo>
                        <a:cubicBezTo>
                          <a:pt x="47647" y="25578"/>
                          <a:pt x="47647" y="25578"/>
                          <a:pt x="47647" y="25578"/>
                        </a:cubicBezTo>
                        <a:cubicBezTo>
                          <a:pt x="48823" y="26210"/>
                          <a:pt x="48823" y="26210"/>
                          <a:pt x="48823" y="26210"/>
                        </a:cubicBezTo>
                        <a:cubicBezTo>
                          <a:pt x="48823" y="26210"/>
                          <a:pt x="49705" y="26526"/>
                          <a:pt x="49705" y="26842"/>
                        </a:cubicBezTo>
                        <a:cubicBezTo>
                          <a:pt x="49705" y="26842"/>
                          <a:pt x="49411" y="27473"/>
                          <a:pt x="49411" y="27473"/>
                        </a:cubicBezTo>
                        <a:cubicBezTo>
                          <a:pt x="49411" y="29052"/>
                          <a:pt x="49411" y="29052"/>
                          <a:pt x="49411" y="29052"/>
                        </a:cubicBezTo>
                        <a:cubicBezTo>
                          <a:pt x="49411" y="29052"/>
                          <a:pt x="50294" y="29368"/>
                          <a:pt x="50588" y="29368"/>
                        </a:cubicBezTo>
                        <a:cubicBezTo>
                          <a:pt x="50588" y="29368"/>
                          <a:pt x="51470" y="28736"/>
                          <a:pt x="51470" y="28736"/>
                        </a:cubicBezTo>
                        <a:cubicBezTo>
                          <a:pt x="51470" y="28421"/>
                          <a:pt x="51764" y="28105"/>
                          <a:pt x="51764" y="28105"/>
                        </a:cubicBezTo>
                        <a:cubicBezTo>
                          <a:pt x="52352" y="28736"/>
                          <a:pt x="52352" y="28736"/>
                          <a:pt x="52352" y="28736"/>
                        </a:cubicBezTo>
                        <a:cubicBezTo>
                          <a:pt x="52352" y="28736"/>
                          <a:pt x="52647" y="29368"/>
                          <a:pt x="52941" y="29368"/>
                        </a:cubicBezTo>
                        <a:cubicBezTo>
                          <a:pt x="52941" y="29368"/>
                          <a:pt x="53823" y="29368"/>
                          <a:pt x="53823" y="29368"/>
                        </a:cubicBezTo>
                        <a:cubicBezTo>
                          <a:pt x="55000" y="30000"/>
                          <a:pt x="55000" y="30000"/>
                          <a:pt x="55000" y="30000"/>
                        </a:cubicBezTo>
                        <a:cubicBezTo>
                          <a:pt x="56470" y="31263"/>
                          <a:pt x="56470" y="31263"/>
                          <a:pt x="56470" y="31263"/>
                        </a:cubicBezTo>
                        <a:cubicBezTo>
                          <a:pt x="56470" y="31263"/>
                          <a:pt x="57647" y="31894"/>
                          <a:pt x="57352" y="32210"/>
                        </a:cubicBezTo>
                        <a:cubicBezTo>
                          <a:pt x="56764" y="32526"/>
                          <a:pt x="56176" y="32842"/>
                          <a:pt x="55882" y="32842"/>
                        </a:cubicBezTo>
                        <a:cubicBezTo>
                          <a:pt x="55882" y="32842"/>
                          <a:pt x="55294" y="32526"/>
                          <a:pt x="55294" y="32210"/>
                        </a:cubicBezTo>
                        <a:cubicBezTo>
                          <a:pt x="55294" y="31578"/>
                          <a:pt x="55000" y="31263"/>
                          <a:pt x="54705" y="31263"/>
                        </a:cubicBezTo>
                        <a:cubicBezTo>
                          <a:pt x="54411" y="31263"/>
                          <a:pt x="53823" y="30631"/>
                          <a:pt x="53823" y="30631"/>
                        </a:cubicBezTo>
                        <a:cubicBezTo>
                          <a:pt x="53529" y="30631"/>
                          <a:pt x="52941" y="30631"/>
                          <a:pt x="52647" y="30947"/>
                        </a:cubicBezTo>
                        <a:cubicBezTo>
                          <a:pt x="52352" y="30947"/>
                          <a:pt x="51764" y="30947"/>
                          <a:pt x="51764" y="30631"/>
                        </a:cubicBezTo>
                        <a:cubicBezTo>
                          <a:pt x="51470" y="30631"/>
                          <a:pt x="51176" y="29684"/>
                          <a:pt x="51176" y="29684"/>
                        </a:cubicBezTo>
                        <a:cubicBezTo>
                          <a:pt x="49705" y="29368"/>
                          <a:pt x="49705" y="29368"/>
                          <a:pt x="49705" y="29368"/>
                        </a:cubicBezTo>
                        <a:cubicBezTo>
                          <a:pt x="49705" y="29368"/>
                          <a:pt x="49411" y="29684"/>
                          <a:pt x="49411" y="30000"/>
                        </a:cubicBezTo>
                        <a:cubicBezTo>
                          <a:pt x="49411" y="30000"/>
                          <a:pt x="48823" y="30631"/>
                          <a:pt x="48823" y="30631"/>
                        </a:cubicBezTo>
                        <a:cubicBezTo>
                          <a:pt x="48529" y="30947"/>
                          <a:pt x="48529" y="30947"/>
                          <a:pt x="48529" y="30947"/>
                        </a:cubicBezTo>
                        <a:cubicBezTo>
                          <a:pt x="48529" y="31578"/>
                          <a:pt x="48529" y="31578"/>
                          <a:pt x="48529" y="31578"/>
                        </a:cubicBezTo>
                        <a:cubicBezTo>
                          <a:pt x="49117" y="32210"/>
                          <a:pt x="49117" y="32210"/>
                          <a:pt x="49117" y="32210"/>
                        </a:cubicBezTo>
                        <a:cubicBezTo>
                          <a:pt x="50294" y="33157"/>
                          <a:pt x="50294" y="33157"/>
                          <a:pt x="50294" y="33157"/>
                        </a:cubicBezTo>
                        <a:cubicBezTo>
                          <a:pt x="50294" y="33157"/>
                          <a:pt x="51764" y="33473"/>
                          <a:pt x="51764" y="33473"/>
                        </a:cubicBezTo>
                        <a:cubicBezTo>
                          <a:pt x="52058" y="33473"/>
                          <a:pt x="52647" y="34421"/>
                          <a:pt x="52647" y="34421"/>
                        </a:cubicBezTo>
                        <a:cubicBezTo>
                          <a:pt x="52647" y="35368"/>
                          <a:pt x="52647" y="35368"/>
                          <a:pt x="52647" y="35368"/>
                        </a:cubicBezTo>
                        <a:cubicBezTo>
                          <a:pt x="52352" y="36315"/>
                          <a:pt x="52352" y="36315"/>
                          <a:pt x="52352" y="36315"/>
                        </a:cubicBezTo>
                        <a:cubicBezTo>
                          <a:pt x="52352" y="36315"/>
                          <a:pt x="52352" y="36947"/>
                          <a:pt x="51764" y="36631"/>
                        </a:cubicBezTo>
                        <a:cubicBezTo>
                          <a:pt x="51176" y="36315"/>
                          <a:pt x="50882" y="36000"/>
                          <a:pt x="50882" y="36000"/>
                        </a:cubicBezTo>
                        <a:cubicBezTo>
                          <a:pt x="50000" y="35684"/>
                          <a:pt x="50000" y="35684"/>
                          <a:pt x="50000" y="35684"/>
                        </a:cubicBezTo>
                        <a:cubicBezTo>
                          <a:pt x="49705" y="34421"/>
                          <a:pt x="49705" y="34421"/>
                          <a:pt x="49705" y="34421"/>
                        </a:cubicBezTo>
                        <a:cubicBezTo>
                          <a:pt x="49705" y="34421"/>
                          <a:pt x="49117" y="33789"/>
                          <a:pt x="49117" y="33789"/>
                        </a:cubicBezTo>
                        <a:cubicBezTo>
                          <a:pt x="48823" y="33789"/>
                          <a:pt x="47352" y="32842"/>
                          <a:pt x="47352" y="32842"/>
                        </a:cubicBezTo>
                        <a:cubicBezTo>
                          <a:pt x="45588" y="32842"/>
                          <a:pt x="45588" y="32842"/>
                          <a:pt x="45588" y="32842"/>
                        </a:cubicBezTo>
                        <a:cubicBezTo>
                          <a:pt x="44411" y="32842"/>
                          <a:pt x="44411" y="32842"/>
                          <a:pt x="44411" y="32842"/>
                        </a:cubicBezTo>
                        <a:cubicBezTo>
                          <a:pt x="44117" y="33789"/>
                          <a:pt x="44117" y="33789"/>
                          <a:pt x="44117" y="33789"/>
                        </a:cubicBezTo>
                        <a:cubicBezTo>
                          <a:pt x="44117" y="33789"/>
                          <a:pt x="44117" y="34421"/>
                          <a:pt x="44411" y="34421"/>
                        </a:cubicBezTo>
                        <a:cubicBezTo>
                          <a:pt x="44411" y="34736"/>
                          <a:pt x="45294" y="35368"/>
                          <a:pt x="45294" y="35368"/>
                        </a:cubicBezTo>
                        <a:cubicBezTo>
                          <a:pt x="45294" y="35368"/>
                          <a:pt x="45882" y="35368"/>
                          <a:pt x="45882" y="35684"/>
                        </a:cubicBezTo>
                        <a:cubicBezTo>
                          <a:pt x="46176" y="36000"/>
                          <a:pt x="46764" y="36631"/>
                          <a:pt x="46764" y="36631"/>
                        </a:cubicBezTo>
                        <a:cubicBezTo>
                          <a:pt x="46764" y="36631"/>
                          <a:pt x="47058" y="36631"/>
                          <a:pt x="47352" y="36631"/>
                        </a:cubicBezTo>
                        <a:cubicBezTo>
                          <a:pt x="47941" y="36631"/>
                          <a:pt x="48529" y="36947"/>
                          <a:pt x="48529" y="36947"/>
                        </a:cubicBezTo>
                        <a:cubicBezTo>
                          <a:pt x="49411" y="37263"/>
                          <a:pt x="49411" y="37263"/>
                          <a:pt x="49411" y="37263"/>
                        </a:cubicBezTo>
                        <a:cubicBezTo>
                          <a:pt x="49705" y="37578"/>
                          <a:pt x="49705" y="37578"/>
                          <a:pt x="49705" y="37578"/>
                        </a:cubicBezTo>
                        <a:cubicBezTo>
                          <a:pt x="49705" y="37578"/>
                          <a:pt x="48823" y="37894"/>
                          <a:pt x="48529" y="37894"/>
                        </a:cubicBezTo>
                        <a:cubicBezTo>
                          <a:pt x="48235" y="38210"/>
                          <a:pt x="47352" y="38210"/>
                          <a:pt x="47352" y="38210"/>
                        </a:cubicBezTo>
                        <a:cubicBezTo>
                          <a:pt x="47352" y="38210"/>
                          <a:pt x="46764" y="37578"/>
                          <a:pt x="46470" y="37578"/>
                        </a:cubicBezTo>
                        <a:cubicBezTo>
                          <a:pt x="46470" y="37578"/>
                          <a:pt x="45588" y="37894"/>
                          <a:pt x="45588" y="37894"/>
                        </a:cubicBezTo>
                        <a:cubicBezTo>
                          <a:pt x="45588" y="37894"/>
                          <a:pt x="45000" y="38526"/>
                          <a:pt x="44705" y="37894"/>
                        </a:cubicBezTo>
                        <a:cubicBezTo>
                          <a:pt x="44411" y="37263"/>
                          <a:pt x="44117" y="36631"/>
                          <a:pt x="44117" y="36631"/>
                        </a:cubicBezTo>
                        <a:cubicBezTo>
                          <a:pt x="44117" y="36000"/>
                          <a:pt x="44117" y="36000"/>
                          <a:pt x="44117" y="36000"/>
                        </a:cubicBezTo>
                        <a:cubicBezTo>
                          <a:pt x="44117" y="35052"/>
                          <a:pt x="44117" y="35052"/>
                          <a:pt x="44117" y="35052"/>
                        </a:cubicBezTo>
                        <a:cubicBezTo>
                          <a:pt x="43823" y="34105"/>
                          <a:pt x="43823" y="34105"/>
                          <a:pt x="43823" y="34105"/>
                        </a:cubicBezTo>
                        <a:cubicBezTo>
                          <a:pt x="42647" y="33473"/>
                          <a:pt x="42647" y="33473"/>
                          <a:pt x="42647" y="33473"/>
                        </a:cubicBezTo>
                        <a:cubicBezTo>
                          <a:pt x="41176" y="33473"/>
                          <a:pt x="41176" y="33473"/>
                          <a:pt x="41176" y="33473"/>
                        </a:cubicBezTo>
                        <a:cubicBezTo>
                          <a:pt x="39705" y="32526"/>
                          <a:pt x="39705" y="32526"/>
                          <a:pt x="39705" y="32526"/>
                        </a:cubicBezTo>
                        <a:cubicBezTo>
                          <a:pt x="37941" y="31894"/>
                          <a:pt x="37941" y="31894"/>
                          <a:pt x="37941" y="31894"/>
                        </a:cubicBezTo>
                        <a:cubicBezTo>
                          <a:pt x="37352" y="30631"/>
                          <a:pt x="37352" y="30631"/>
                          <a:pt x="37352" y="30631"/>
                        </a:cubicBezTo>
                        <a:cubicBezTo>
                          <a:pt x="38529" y="29684"/>
                          <a:pt x="38529" y="29684"/>
                          <a:pt x="38529" y="29684"/>
                        </a:cubicBezTo>
                        <a:cubicBezTo>
                          <a:pt x="38235" y="28736"/>
                          <a:pt x="38235" y="28736"/>
                          <a:pt x="38235" y="28736"/>
                        </a:cubicBezTo>
                        <a:cubicBezTo>
                          <a:pt x="37647" y="28105"/>
                          <a:pt x="37647" y="28105"/>
                          <a:pt x="37647" y="28105"/>
                        </a:cubicBezTo>
                        <a:cubicBezTo>
                          <a:pt x="36176" y="29052"/>
                          <a:pt x="36176" y="29052"/>
                          <a:pt x="36176" y="29052"/>
                        </a:cubicBezTo>
                        <a:cubicBezTo>
                          <a:pt x="36176" y="30000"/>
                          <a:pt x="36176" y="30000"/>
                          <a:pt x="36176" y="30000"/>
                        </a:cubicBezTo>
                        <a:cubicBezTo>
                          <a:pt x="34705" y="30631"/>
                          <a:pt x="34705" y="30631"/>
                          <a:pt x="34705" y="30631"/>
                        </a:cubicBezTo>
                        <a:cubicBezTo>
                          <a:pt x="34117" y="31894"/>
                          <a:pt x="34117" y="31894"/>
                          <a:pt x="34117" y="31894"/>
                        </a:cubicBezTo>
                        <a:cubicBezTo>
                          <a:pt x="35000" y="32842"/>
                          <a:pt x="35000" y="32842"/>
                          <a:pt x="35000" y="32842"/>
                        </a:cubicBezTo>
                        <a:cubicBezTo>
                          <a:pt x="35000" y="34421"/>
                          <a:pt x="35000" y="34421"/>
                          <a:pt x="35000" y="34421"/>
                        </a:cubicBezTo>
                        <a:cubicBezTo>
                          <a:pt x="35000" y="34421"/>
                          <a:pt x="34705" y="36000"/>
                          <a:pt x="35000" y="36315"/>
                        </a:cubicBezTo>
                        <a:cubicBezTo>
                          <a:pt x="35000" y="36315"/>
                          <a:pt x="34705" y="37263"/>
                          <a:pt x="34705" y="37894"/>
                        </a:cubicBezTo>
                        <a:cubicBezTo>
                          <a:pt x="35000" y="38210"/>
                          <a:pt x="35000" y="38526"/>
                          <a:pt x="35588" y="38842"/>
                        </a:cubicBezTo>
                        <a:cubicBezTo>
                          <a:pt x="35882" y="39157"/>
                          <a:pt x="35882" y="39157"/>
                          <a:pt x="36470" y="39473"/>
                        </a:cubicBezTo>
                        <a:cubicBezTo>
                          <a:pt x="37058" y="39789"/>
                          <a:pt x="37352" y="40105"/>
                          <a:pt x="37352" y="40105"/>
                        </a:cubicBezTo>
                        <a:cubicBezTo>
                          <a:pt x="37941" y="41368"/>
                          <a:pt x="37941" y="41368"/>
                          <a:pt x="37941" y="41368"/>
                        </a:cubicBezTo>
                        <a:cubicBezTo>
                          <a:pt x="37941" y="41368"/>
                          <a:pt x="38235" y="41684"/>
                          <a:pt x="38529" y="41684"/>
                        </a:cubicBezTo>
                        <a:cubicBezTo>
                          <a:pt x="38823" y="42000"/>
                          <a:pt x="39705" y="42315"/>
                          <a:pt x="39705" y="42631"/>
                        </a:cubicBezTo>
                        <a:cubicBezTo>
                          <a:pt x="39705" y="43263"/>
                          <a:pt x="40000" y="43894"/>
                          <a:pt x="40000" y="43894"/>
                        </a:cubicBezTo>
                        <a:cubicBezTo>
                          <a:pt x="40000" y="43894"/>
                          <a:pt x="40294" y="44526"/>
                          <a:pt x="40294" y="44526"/>
                        </a:cubicBezTo>
                        <a:cubicBezTo>
                          <a:pt x="40588" y="44842"/>
                          <a:pt x="40882" y="44526"/>
                          <a:pt x="40882" y="44842"/>
                        </a:cubicBezTo>
                        <a:cubicBezTo>
                          <a:pt x="41176" y="45157"/>
                          <a:pt x="40882" y="45473"/>
                          <a:pt x="41470" y="45789"/>
                        </a:cubicBezTo>
                        <a:cubicBezTo>
                          <a:pt x="41764" y="46421"/>
                          <a:pt x="42352" y="46736"/>
                          <a:pt x="42352" y="46736"/>
                        </a:cubicBezTo>
                        <a:cubicBezTo>
                          <a:pt x="42647" y="46736"/>
                          <a:pt x="43235" y="47052"/>
                          <a:pt x="43235" y="47052"/>
                        </a:cubicBezTo>
                        <a:cubicBezTo>
                          <a:pt x="45000" y="48315"/>
                          <a:pt x="45000" y="48315"/>
                          <a:pt x="45000" y="48315"/>
                        </a:cubicBezTo>
                        <a:cubicBezTo>
                          <a:pt x="46176" y="49894"/>
                          <a:pt x="46176" y="49894"/>
                          <a:pt x="46176" y="49894"/>
                        </a:cubicBezTo>
                        <a:cubicBezTo>
                          <a:pt x="47058" y="50842"/>
                          <a:pt x="47058" y="50842"/>
                          <a:pt x="47058" y="50842"/>
                        </a:cubicBezTo>
                        <a:cubicBezTo>
                          <a:pt x="46764" y="52105"/>
                          <a:pt x="46764" y="52105"/>
                          <a:pt x="46764" y="52105"/>
                        </a:cubicBezTo>
                        <a:cubicBezTo>
                          <a:pt x="46470" y="52736"/>
                          <a:pt x="46470" y="52736"/>
                          <a:pt x="46470" y="52736"/>
                        </a:cubicBezTo>
                        <a:cubicBezTo>
                          <a:pt x="46470" y="52736"/>
                          <a:pt x="45882" y="53052"/>
                          <a:pt x="45588" y="53052"/>
                        </a:cubicBezTo>
                        <a:cubicBezTo>
                          <a:pt x="45588" y="53052"/>
                          <a:pt x="45000" y="53368"/>
                          <a:pt x="45000" y="53368"/>
                        </a:cubicBezTo>
                        <a:cubicBezTo>
                          <a:pt x="45000" y="53368"/>
                          <a:pt x="44705" y="53052"/>
                          <a:pt x="44705" y="53052"/>
                        </a:cubicBezTo>
                        <a:cubicBezTo>
                          <a:pt x="45000" y="52736"/>
                          <a:pt x="45882" y="52421"/>
                          <a:pt x="45882" y="52421"/>
                        </a:cubicBezTo>
                        <a:cubicBezTo>
                          <a:pt x="45882" y="52421"/>
                          <a:pt x="45882" y="51473"/>
                          <a:pt x="45588" y="51473"/>
                        </a:cubicBezTo>
                        <a:cubicBezTo>
                          <a:pt x="45294" y="51157"/>
                          <a:pt x="44411" y="50526"/>
                          <a:pt x="44411" y="50526"/>
                        </a:cubicBezTo>
                        <a:cubicBezTo>
                          <a:pt x="43823" y="49894"/>
                          <a:pt x="43823" y="49894"/>
                          <a:pt x="43823" y="49894"/>
                        </a:cubicBezTo>
                        <a:cubicBezTo>
                          <a:pt x="42941" y="49894"/>
                          <a:pt x="42941" y="49894"/>
                          <a:pt x="42941" y="49894"/>
                        </a:cubicBezTo>
                        <a:cubicBezTo>
                          <a:pt x="42941" y="49894"/>
                          <a:pt x="42352" y="49894"/>
                          <a:pt x="42352" y="50210"/>
                        </a:cubicBezTo>
                        <a:cubicBezTo>
                          <a:pt x="42058" y="50526"/>
                          <a:pt x="41176" y="51157"/>
                          <a:pt x="41176" y="51157"/>
                        </a:cubicBezTo>
                        <a:cubicBezTo>
                          <a:pt x="40588" y="52421"/>
                          <a:pt x="40588" y="52421"/>
                          <a:pt x="40588" y="52421"/>
                        </a:cubicBezTo>
                        <a:cubicBezTo>
                          <a:pt x="42058" y="52736"/>
                          <a:pt x="42058" y="52736"/>
                          <a:pt x="42058" y="52736"/>
                        </a:cubicBezTo>
                        <a:cubicBezTo>
                          <a:pt x="42058" y="52736"/>
                          <a:pt x="42647" y="53368"/>
                          <a:pt x="42647" y="53368"/>
                        </a:cubicBezTo>
                        <a:cubicBezTo>
                          <a:pt x="42647" y="53684"/>
                          <a:pt x="43235" y="54315"/>
                          <a:pt x="43235" y="54315"/>
                        </a:cubicBezTo>
                        <a:cubicBezTo>
                          <a:pt x="43823" y="54631"/>
                          <a:pt x="43823" y="54631"/>
                          <a:pt x="43823" y="54631"/>
                        </a:cubicBezTo>
                        <a:cubicBezTo>
                          <a:pt x="43823" y="55263"/>
                          <a:pt x="43823" y="55263"/>
                          <a:pt x="43823" y="55263"/>
                        </a:cubicBezTo>
                        <a:cubicBezTo>
                          <a:pt x="43529" y="56210"/>
                          <a:pt x="43529" y="56210"/>
                          <a:pt x="43529" y="56210"/>
                        </a:cubicBezTo>
                        <a:cubicBezTo>
                          <a:pt x="42647" y="57473"/>
                          <a:pt x="42647" y="57473"/>
                          <a:pt x="42647" y="57473"/>
                        </a:cubicBezTo>
                        <a:cubicBezTo>
                          <a:pt x="42647" y="57473"/>
                          <a:pt x="42058" y="57789"/>
                          <a:pt x="42058" y="57789"/>
                        </a:cubicBezTo>
                        <a:cubicBezTo>
                          <a:pt x="41764" y="57789"/>
                          <a:pt x="41176" y="58421"/>
                          <a:pt x="41176" y="58421"/>
                        </a:cubicBezTo>
                        <a:cubicBezTo>
                          <a:pt x="41176" y="58421"/>
                          <a:pt x="40882" y="58421"/>
                          <a:pt x="40882" y="58421"/>
                        </a:cubicBezTo>
                        <a:cubicBezTo>
                          <a:pt x="40588" y="58421"/>
                          <a:pt x="40000" y="58105"/>
                          <a:pt x="39705" y="58105"/>
                        </a:cubicBezTo>
                        <a:cubicBezTo>
                          <a:pt x="39705" y="58105"/>
                          <a:pt x="39117" y="58421"/>
                          <a:pt x="39117" y="58421"/>
                        </a:cubicBezTo>
                        <a:cubicBezTo>
                          <a:pt x="39117" y="58421"/>
                          <a:pt x="38235" y="59052"/>
                          <a:pt x="39411" y="59368"/>
                        </a:cubicBezTo>
                        <a:cubicBezTo>
                          <a:pt x="40588" y="59368"/>
                          <a:pt x="40882" y="59368"/>
                          <a:pt x="41176" y="59368"/>
                        </a:cubicBezTo>
                        <a:cubicBezTo>
                          <a:pt x="41176" y="59368"/>
                          <a:pt x="42352" y="59368"/>
                          <a:pt x="42352" y="59368"/>
                        </a:cubicBezTo>
                        <a:cubicBezTo>
                          <a:pt x="42352" y="59368"/>
                          <a:pt x="42647" y="59368"/>
                          <a:pt x="42941" y="59684"/>
                        </a:cubicBezTo>
                        <a:cubicBezTo>
                          <a:pt x="43529" y="59684"/>
                          <a:pt x="43823" y="59684"/>
                          <a:pt x="44117" y="60000"/>
                        </a:cubicBezTo>
                        <a:cubicBezTo>
                          <a:pt x="44411" y="60000"/>
                          <a:pt x="44705" y="60315"/>
                          <a:pt x="44705" y="60315"/>
                        </a:cubicBezTo>
                        <a:cubicBezTo>
                          <a:pt x="44705" y="60631"/>
                          <a:pt x="44705" y="60631"/>
                          <a:pt x="45000" y="60631"/>
                        </a:cubicBezTo>
                        <a:cubicBezTo>
                          <a:pt x="45294" y="60631"/>
                          <a:pt x="45588" y="60947"/>
                          <a:pt x="45588" y="60947"/>
                        </a:cubicBezTo>
                        <a:cubicBezTo>
                          <a:pt x="45882" y="60947"/>
                          <a:pt x="45882" y="60947"/>
                          <a:pt x="45882" y="60947"/>
                        </a:cubicBezTo>
                        <a:cubicBezTo>
                          <a:pt x="45882" y="60947"/>
                          <a:pt x="46176" y="60947"/>
                          <a:pt x="46470" y="60947"/>
                        </a:cubicBezTo>
                        <a:cubicBezTo>
                          <a:pt x="46764" y="60947"/>
                          <a:pt x="46764" y="60631"/>
                          <a:pt x="47058" y="60631"/>
                        </a:cubicBezTo>
                        <a:cubicBezTo>
                          <a:pt x="47352" y="60631"/>
                          <a:pt x="48235" y="60631"/>
                          <a:pt x="48235" y="60631"/>
                        </a:cubicBezTo>
                        <a:cubicBezTo>
                          <a:pt x="48823" y="61894"/>
                          <a:pt x="48823" y="61894"/>
                          <a:pt x="48823" y="61894"/>
                        </a:cubicBezTo>
                        <a:cubicBezTo>
                          <a:pt x="48823" y="61894"/>
                          <a:pt x="48823" y="62210"/>
                          <a:pt x="49117" y="62210"/>
                        </a:cubicBezTo>
                        <a:cubicBezTo>
                          <a:pt x="49117" y="62526"/>
                          <a:pt x="49705" y="62842"/>
                          <a:pt x="50000" y="62842"/>
                        </a:cubicBezTo>
                        <a:cubicBezTo>
                          <a:pt x="50294" y="62842"/>
                          <a:pt x="52647" y="62210"/>
                          <a:pt x="52647" y="62210"/>
                        </a:cubicBezTo>
                        <a:cubicBezTo>
                          <a:pt x="51470" y="61263"/>
                          <a:pt x="51470" y="61263"/>
                          <a:pt x="51470" y="61263"/>
                        </a:cubicBezTo>
                        <a:cubicBezTo>
                          <a:pt x="51470" y="61263"/>
                          <a:pt x="50882" y="60631"/>
                          <a:pt x="50588" y="60315"/>
                        </a:cubicBezTo>
                        <a:cubicBezTo>
                          <a:pt x="50588" y="60000"/>
                          <a:pt x="49117" y="59052"/>
                          <a:pt x="49117" y="59052"/>
                        </a:cubicBezTo>
                        <a:cubicBezTo>
                          <a:pt x="47647" y="58736"/>
                          <a:pt x="47647" y="58736"/>
                          <a:pt x="47647" y="58736"/>
                        </a:cubicBezTo>
                        <a:cubicBezTo>
                          <a:pt x="45882" y="57789"/>
                          <a:pt x="45882" y="57789"/>
                          <a:pt x="45882" y="57789"/>
                        </a:cubicBezTo>
                        <a:cubicBezTo>
                          <a:pt x="44117" y="57157"/>
                          <a:pt x="44117" y="57157"/>
                          <a:pt x="44117" y="57157"/>
                        </a:cubicBezTo>
                        <a:cubicBezTo>
                          <a:pt x="44117" y="57157"/>
                          <a:pt x="44705" y="55894"/>
                          <a:pt x="45000" y="55578"/>
                        </a:cubicBezTo>
                        <a:cubicBezTo>
                          <a:pt x="45000" y="55263"/>
                          <a:pt x="45000" y="54315"/>
                          <a:pt x="45294" y="54315"/>
                        </a:cubicBezTo>
                        <a:cubicBezTo>
                          <a:pt x="45588" y="54631"/>
                          <a:pt x="46176" y="54631"/>
                          <a:pt x="46470" y="54631"/>
                        </a:cubicBezTo>
                        <a:cubicBezTo>
                          <a:pt x="46764" y="54631"/>
                          <a:pt x="47352" y="54315"/>
                          <a:pt x="47647" y="54315"/>
                        </a:cubicBezTo>
                        <a:cubicBezTo>
                          <a:pt x="47941" y="54315"/>
                          <a:pt x="48529" y="54631"/>
                          <a:pt x="48529" y="54631"/>
                        </a:cubicBezTo>
                        <a:cubicBezTo>
                          <a:pt x="48529" y="54631"/>
                          <a:pt x="48823" y="55263"/>
                          <a:pt x="48823" y="55578"/>
                        </a:cubicBezTo>
                        <a:cubicBezTo>
                          <a:pt x="49117" y="55578"/>
                          <a:pt x="49117" y="56210"/>
                          <a:pt x="49411" y="56526"/>
                        </a:cubicBezTo>
                        <a:cubicBezTo>
                          <a:pt x="49705" y="56526"/>
                          <a:pt x="51176" y="57157"/>
                          <a:pt x="51176" y="57157"/>
                        </a:cubicBezTo>
                        <a:cubicBezTo>
                          <a:pt x="51176" y="57157"/>
                          <a:pt x="52941" y="57789"/>
                          <a:pt x="52941" y="57789"/>
                        </a:cubicBezTo>
                        <a:cubicBezTo>
                          <a:pt x="53235" y="57789"/>
                          <a:pt x="53823" y="57789"/>
                          <a:pt x="53823" y="57789"/>
                        </a:cubicBezTo>
                        <a:cubicBezTo>
                          <a:pt x="54705" y="58736"/>
                          <a:pt x="54705" y="58736"/>
                          <a:pt x="54705" y="58736"/>
                        </a:cubicBezTo>
                        <a:cubicBezTo>
                          <a:pt x="56470" y="58421"/>
                          <a:pt x="56470" y="58421"/>
                          <a:pt x="56470" y="58421"/>
                        </a:cubicBezTo>
                        <a:cubicBezTo>
                          <a:pt x="58235" y="58105"/>
                          <a:pt x="58235" y="58105"/>
                          <a:pt x="58235" y="58105"/>
                        </a:cubicBezTo>
                        <a:cubicBezTo>
                          <a:pt x="58529" y="58736"/>
                          <a:pt x="58529" y="58736"/>
                          <a:pt x="58529" y="58736"/>
                        </a:cubicBezTo>
                        <a:cubicBezTo>
                          <a:pt x="58529" y="58736"/>
                          <a:pt x="59411" y="59368"/>
                          <a:pt x="59411" y="59368"/>
                        </a:cubicBezTo>
                        <a:cubicBezTo>
                          <a:pt x="59411" y="59684"/>
                          <a:pt x="60000" y="60947"/>
                          <a:pt x="60000" y="60947"/>
                        </a:cubicBezTo>
                        <a:cubicBezTo>
                          <a:pt x="60000" y="60947"/>
                          <a:pt x="60000" y="61894"/>
                          <a:pt x="60000" y="61894"/>
                        </a:cubicBezTo>
                        <a:cubicBezTo>
                          <a:pt x="60000" y="62210"/>
                          <a:pt x="60588" y="63473"/>
                          <a:pt x="60588" y="63473"/>
                        </a:cubicBezTo>
                        <a:cubicBezTo>
                          <a:pt x="60882" y="63789"/>
                          <a:pt x="62058" y="65052"/>
                          <a:pt x="62058" y="65368"/>
                        </a:cubicBezTo>
                        <a:cubicBezTo>
                          <a:pt x="62058" y="65368"/>
                          <a:pt x="62647" y="66315"/>
                          <a:pt x="62941" y="66315"/>
                        </a:cubicBezTo>
                        <a:cubicBezTo>
                          <a:pt x="62941" y="66315"/>
                          <a:pt x="63235" y="66000"/>
                          <a:pt x="63235" y="66000"/>
                        </a:cubicBezTo>
                        <a:cubicBezTo>
                          <a:pt x="63529" y="66000"/>
                          <a:pt x="64411" y="65368"/>
                          <a:pt x="64411" y="65368"/>
                        </a:cubicBezTo>
                        <a:cubicBezTo>
                          <a:pt x="64411" y="65368"/>
                          <a:pt x="65294" y="65368"/>
                          <a:pt x="65294" y="65684"/>
                        </a:cubicBezTo>
                        <a:cubicBezTo>
                          <a:pt x="65294" y="66000"/>
                          <a:pt x="66470" y="66947"/>
                          <a:pt x="66470" y="66947"/>
                        </a:cubicBezTo>
                        <a:cubicBezTo>
                          <a:pt x="66470" y="66947"/>
                          <a:pt x="66764" y="68210"/>
                          <a:pt x="66764" y="68210"/>
                        </a:cubicBezTo>
                        <a:cubicBezTo>
                          <a:pt x="66470" y="68526"/>
                          <a:pt x="65588" y="68842"/>
                          <a:pt x="65588" y="69157"/>
                        </a:cubicBezTo>
                        <a:cubicBezTo>
                          <a:pt x="65294" y="69157"/>
                          <a:pt x="64411" y="69157"/>
                          <a:pt x="64411" y="69157"/>
                        </a:cubicBezTo>
                        <a:cubicBezTo>
                          <a:pt x="64117" y="69473"/>
                          <a:pt x="62941" y="69789"/>
                          <a:pt x="62941" y="69789"/>
                        </a:cubicBezTo>
                        <a:cubicBezTo>
                          <a:pt x="62941" y="68526"/>
                          <a:pt x="62941" y="68526"/>
                          <a:pt x="62941" y="68526"/>
                        </a:cubicBezTo>
                        <a:cubicBezTo>
                          <a:pt x="62941" y="68526"/>
                          <a:pt x="62941" y="68210"/>
                          <a:pt x="62647" y="68210"/>
                        </a:cubicBezTo>
                        <a:cubicBezTo>
                          <a:pt x="62647" y="68210"/>
                          <a:pt x="60882" y="67578"/>
                          <a:pt x="60882" y="67578"/>
                        </a:cubicBezTo>
                        <a:cubicBezTo>
                          <a:pt x="60588" y="66000"/>
                          <a:pt x="60588" y="66000"/>
                          <a:pt x="60588" y="66000"/>
                        </a:cubicBezTo>
                        <a:cubicBezTo>
                          <a:pt x="59705" y="65052"/>
                          <a:pt x="59705" y="65052"/>
                          <a:pt x="59705" y="65052"/>
                        </a:cubicBezTo>
                        <a:cubicBezTo>
                          <a:pt x="58823" y="64421"/>
                          <a:pt x="58823" y="64421"/>
                          <a:pt x="58823" y="64421"/>
                        </a:cubicBezTo>
                        <a:cubicBezTo>
                          <a:pt x="58235" y="63473"/>
                          <a:pt x="58235" y="63473"/>
                          <a:pt x="58235" y="63473"/>
                        </a:cubicBezTo>
                        <a:cubicBezTo>
                          <a:pt x="57058" y="63473"/>
                          <a:pt x="57058" y="63473"/>
                          <a:pt x="57058" y="63473"/>
                        </a:cubicBezTo>
                        <a:cubicBezTo>
                          <a:pt x="57058" y="63473"/>
                          <a:pt x="56470" y="63789"/>
                          <a:pt x="56470" y="63789"/>
                        </a:cubicBezTo>
                        <a:cubicBezTo>
                          <a:pt x="56176" y="64105"/>
                          <a:pt x="55000" y="63789"/>
                          <a:pt x="55000" y="63789"/>
                        </a:cubicBezTo>
                        <a:cubicBezTo>
                          <a:pt x="54117" y="64105"/>
                          <a:pt x="54117" y="64105"/>
                          <a:pt x="54117" y="64105"/>
                        </a:cubicBezTo>
                        <a:cubicBezTo>
                          <a:pt x="54117" y="64736"/>
                          <a:pt x="54117" y="64736"/>
                          <a:pt x="54117" y="64736"/>
                        </a:cubicBezTo>
                        <a:cubicBezTo>
                          <a:pt x="55588" y="64736"/>
                          <a:pt x="55588" y="64736"/>
                          <a:pt x="55588" y="64736"/>
                        </a:cubicBezTo>
                        <a:cubicBezTo>
                          <a:pt x="56764" y="65052"/>
                          <a:pt x="56764" y="65052"/>
                          <a:pt x="56764" y="65052"/>
                        </a:cubicBezTo>
                        <a:cubicBezTo>
                          <a:pt x="58529" y="65368"/>
                          <a:pt x="58529" y="65368"/>
                          <a:pt x="58529" y="65368"/>
                        </a:cubicBezTo>
                        <a:cubicBezTo>
                          <a:pt x="58529" y="66631"/>
                          <a:pt x="58529" y="66631"/>
                          <a:pt x="58529" y="66631"/>
                        </a:cubicBezTo>
                        <a:cubicBezTo>
                          <a:pt x="58529" y="66631"/>
                          <a:pt x="58823" y="67263"/>
                          <a:pt x="58823" y="67578"/>
                        </a:cubicBezTo>
                        <a:cubicBezTo>
                          <a:pt x="58823" y="67894"/>
                          <a:pt x="59411" y="69157"/>
                          <a:pt x="59411" y="69157"/>
                        </a:cubicBezTo>
                        <a:cubicBezTo>
                          <a:pt x="60000" y="71052"/>
                          <a:pt x="60000" y="71052"/>
                          <a:pt x="60000" y="71052"/>
                        </a:cubicBezTo>
                        <a:cubicBezTo>
                          <a:pt x="60588" y="72315"/>
                          <a:pt x="60588" y="72315"/>
                          <a:pt x="60588" y="72315"/>
                        </a:cubicBezTo>
                        <a:cubicBezTo>
                          <a:pt x="61176" y="72631"/>
                          <a:pt x="61176" y="72631"/>
                          <a:pt x="61176" y="72631"/>
                        </a:cubicBezTo>
                        <a:cubicBezTo>
                          <a:pt x="61176" y="73894"/>
                          <a:pt x="61176" y="73894"/>
                          <a:pt x="61176" y="73894"/>
                        </a:cubicBezTo>
                        <a:cubicBezTo>
                          <a:pt x="61764" y="74210"/>
                          <a:pt x="61764" y="74210"/>
                          <a:pt x="61764" y="74210"/>
                        </a:cubicBezTo>
                        <a:cubicBezTo>
                          <a:pt x="61764" y="74210"/>
                          <a:pt x="61470" y="74526"/>
                          <a:pt x="61470" y="74842"/>
                        </a:cubicBezTo>
                        <a:cubicBezTo>
                          <a:pt x="61470" y="74842"/>
                          <a:pt x="60882" y="75789"/>
                          <a:pt x="60882" y="75789"/>
                        </a:cubicBezTo>
                        <a:cubicBezTo>
                          <a:pt x="60882" y="75789"/>
                          <a:pt x="60294" y="75789"/>
                          <a:pt x="60000" y="75789"/>
                        </a:cubicBezTo>
                        <a:cubicBezTo>
                          <a:pt x="60000" y="75473"/>
                          <a:pt x="59705" y="74842"/>
                          <a:pt x="59411" y="74842"/>
                        </a:cubicBezTo>
                        <a:cubicBezTo>
                          <a:pt x="58823" y="74526"/>
                          <a:pt x="58823" y="73894"/>
                          <a:pt x="58529" y="73894"/>
                        </a:cubicBezTo>
                        <a:cubicBezTo>
                          <a:pt x="58235" y="73894"/>
                          <a:pt x="57352" y="73894"/>
                          <a:pt x="57352" y="73894"/>
                        </a:cubicBezTo>
                        <a:cubicBezTo>
                          <a:pt x="57352" y="73894"/>
                          <a:pt x="56764" y="72947"/>
                          <a:pt x="56470" y="72631"/>
                        </a:cubicBezTo>
                        <a:cubicBezTo>
                          <a:pt x="56470" y="72631"/>
                          <a:pt x="56176" y="72315"/>
                          <a:pt x="55882" y="72000"/>
                        </a:cubicBezTo>
                        <a:cubicBezTo>
                          <a:pt x="55588" y="71684"/>
                          <a:pt x="55000" y="70736"/>
                          <a:pt x="55000" y="71052"/>
                        </a:cubicBezTo>
                        <a:cubicBezTo>
                          <a:pt x="55000" y="71684"/>
                          <a:pt x="55294" y="72315"/>
                          <a:pt x="55000" y="72315"/>
                        </a:cubicBezTo>
                        <a:cubicBezTo>
                          <a:pt x="54411" y="72315"/>
                          <a:pt x="54117" y="72315"/>
                          <a:pt x="54117" y="72315"/>
                        </a:cubicBezTo>
                        <a:cubicBezTo>
                          <a:pt x="54117" y="72315"/>
                          <a:pt x="53529" y="72947"/>
                          <a:pt x="53235" y="73263"/>
                        </a:cubicBezTo>
                        <a:cubicBezTo>
                          <a:pt x="53235" y="73263"/>
                          <a:pt x="53529" y="73263"/>
                          <a:pt x="52941" y="73578"/>
                        </a:cubicBezTo>
                        <a:cubicBezTo>
                          <a:pt x="52647" y="73578"/>
                          <a:pt x="52058" y="73578"/>
                          <a:pt x="52058" y="73578"/>
                        </a:cubicBezTo>
                        <a:cubicBezTo>
                          <a:pt x="52058" y="73263"/>
                          <a:pt x="52058" y="73263"/>
                          <a:pt x="52058" y="72947"/>
                        </a:cubicBezTo>
                        <a:cubicBezTo>
                          <a:pt x="52352" y="72631"/>
                          <a:pt x="54117" y="71684"/>
                          <a:pt x="54117" y="71684"/>
                        </a:cubicBezTo>
                        <a:cubicBezTo>
                          <a:pt x="54117" y="71368"/>
                          <a:pt x="53529" y="70421"/>
                          <a:pt x="53529" y="70421"/>
                        </a:cubicBezTo>
                        <a:cubicBezTo>
                          <a:pt x="53235" y="70736"/>
                          <a:pt x="53235" y="70736"/>
                          <a:pt x="53235" y="70736"/>
                        </a:cubicBezTo>
                        <a:cubicBezTo>
                          <a:pt x="52352" y="71368"/>
                          <a:pt x="52352" y="71368"/>
                          <a:pt x="52352" y="71368"/>
                        </a:cubicBezTo>
                        <a:cubicBezTo>
                          <a:pt x="51176" y="72315"/>
                          <a:pt x="51176" y="72315"/>
                          <a:pt x="51176" y="72315"/>
                        </a:cubicBezTo>
                        <a:cubicBezTo>
                          <a:pt x="50294" y="72631"/>
                          <a:pt x="50294" y="72631"/>
                          <a:pt x="50294" y="72631"/>
                        </a:cubicBezTo>
                        <a:cubicBezTo>
                          <a:pt x="49411" y="73263"/>
                          <a:pt x="49411" y="73263"/>
                          <a:pt x="49411" y="73263"/>
                        </a:cubicBezTo>
                        <a:cubicBezTo>
                          <a:pt x="48235" y="73578"/>
                          <a:pt x="48235" y="73578"/>
                          <a:pt x="48235" y="73578"/>
                        </a:cubicBezTo>
                        <a:cubicBezTo>
                          <a:pt x="47058" y="73578"/>
                          <a:pt x="47058" y="73578"/>
                          <a:pt x="47058" y="73578"/>
                        </a:cubicBezTo>
                        <a:cubicBezTo>
                          <a:pt x="46470" y="73263"/>
                          <a:pt x="46470" y="73263"/>
                          <a:pt x="46470" y="73263"/>
                        </a:cubicBezTo>
                        <a:cubicBezTo>
                          <a:pt x="45882" y="72315"/>
                          <a:pt x="45882" y="72315"/>
                          <a:pt x="45882" y="72315"/>
                        </a:cubicBezTo>
                        <a:cubicBezTo>
                          <a:pt x="45588" y="72315"/>
                          <a:pt x="45588" y="72315"/>
                          <a:pt x="45588" y="72315"/>
                        </a:cubicBezTo>
                        <a:cubicBezTo>
                          <a:pt x="45588" y="72315"/>
                          <a:pt x="45294" y="71684"/>
                          <a:pt x="45588" y="71368"/>
                        </a:cubicBezTo>
                        <a:cubicBezTo>
                          <a:pt x="45588" y="71368"/>
                          <a:pt x="45882" y="71052"/>
                          <a:pt x="46470" y="71052"/>
                        </a:cubicBezTo>
                        <a:cubicBezTo>
                          <a:pt x="47058" y="71052"/>
                          <a:pt x="47352" y="71052"/>
                          <a:pt x="47647" y="71052"/>
                        </a:cubicBezTo>
                        <a:cubicBezTo>
                          <a:pt x="47941" y="71052"/>
                          <a:pt x="48235" y="70736"/>
                          <a:pt x="48235" y="70736"/>
                        </a:cubicBezTo>
                        <a:cubicBezTo>
                          <a:pt x="48235" y="70736"/>
                          <a:pt x="48529" y="70736"/>
                          <a:pt x="48529" y="70421"/>
                        </a:cubicBezTo>
                        <a:cubicBezTo>
                          <a:pt x="48529" y="70105"/>
                          <a:pt x="47647" y="68842"/>
                          <a:pt x="47647" y="68842"/>
                        </a:cubicBezTo>
                        <a:cubicBezTo>
                          <a:pt x="47647" y="68842"/>
                          <a:pt x="46470" y="68842"/>
                          <a:pt x="46176" y="69157"/>
                        </a:cubicBezTo>
                        <a:cubicBezTo>
                          <a:pt x="45588" y="69157"/>
                          <a:pt x="45588" y="69789"/>
                          <a:pt x="45000" y="69473"/>
                        </a:cubicBezTo>
                        <a:cubicBezTo>
                          <a:pt x="44411" y="69157"/>
                          <a:pt x="42941" y="68526"/>
                          <a:pt x="42941" y="68526"/>
                        </a:cubicBezTo>
                        <a:cubicBezTo>
                          <a:pt x="41764" y="67263"/>
                          <a:pt x="41764" y="67263"/>
                          <a:pt x="41764" y="67263"/>
                        </a:cubicBezTo>
                        <a:cubicBezTo>
                          <a:pt x="41176" y="67894"/>
                          <a:pt x="41176" y="67894"/>
                          <a:pt x="41176" y="67894"/>
                        </a:cubicBezTo>
                        <a:cubicBezTo>
                          <a:pt x="40294" y="68526"/>
                          <a:pt x="40294" y="68526"/>
                          <a:pt x="40294" y="68526"/>
                        </a:cubicBezTo>
                        <a:cubicBezTo>
                          <a:pt x="40294" y="68526"/>
                          <a:pt x="40294" y="69157"/>
                          <a:pt x="39705" y="68526"/>
                        </a:cubicBezTo>
                        <a:cubicBezTo>
                          <a:pt x="39117" y="67578"/>
                          <a:pt x="39117" y="66947"/>
                          <a:pt x="39117" y="66947"/>
                        </a:cubicBezTo>
                        <a:cubicBezTo>
                          <a:pt x="38235" y="66947"/>
                          <a:pt x="38235" y="66947"/>
                          <a:pt x="38235" y="66947"/>
                        </a:cubicBezTo>
                        <a:cubicBezTo>
                          <a:pt x="37941" y="67894"/>
                          <a:pt x="37941" y="67894"/>
                          <a:pt x="37941" y="67894"/>
                        </a:cubicBezTo>
                        <a:cubicBezTo>
                          <a:pt x="37941" y="67894"/>
                          <a:pt x="37352" y="68842"/>
                          <a:pt x="37352" y="68842"/>
                        </a:cubicBezTo>
                        <a:cubicBezTo>
                          <a:pt x="37058" y="68842"/>
                          <a:pt x="36176" y="68842"/>
                          <a:pt x="35882" y="69157"/>
                        </a:cubicBezTo>
                        <a:cubicBezTo>
                          <a:pt x="35882" y="69157"/>
                          <a:pt x="34411" y="69157"/>
                          <a:pt x="34411" y="69157"/>
                        </a:cubicBezTo>
                        <a:cubicBezTo>
                          <a:pt x="32352" y="68526"/>
                          <a:pt x="32352" y="68526"/>
                          <a:pt x="32352" y="68526"/>
                        </a:cubicBezTo>
                        <a:cubicBezTo>
                          <a:pt x="32352" y="68526"/>
                          <a:pt x="31764" y="68842"/>
                          <a:pt x="31764" y="68842"/>
                        </a:cubicBezTo>
                        <a:cubicBezTo>
                          <a:pt x="31470" y="69157"/>
                          <a:pt x="28529" y="69789"/>
                          <a:pt x="28529" y="69789"/>
                        </a:cubicBezTo>
                        <a:cubicBezTo>
                          <a:pt x="27058" y="70736"/>
                          <a:pt x="27058" y="70736"/>
                          <a:pt x="27058" y="70736"/>
                        </a:cubicBezTo>
                        <a:cubicBezTo>
                          <a:pt x="26176" y="70736"/>
                          <a:pt x="26176" y="70736"/>
                          <a:pt x="26176" y="70736"/>
                        </a:cubicBezTo>
                        <a:cubicBezTo>
                          <a:pt x="25294" y="69473"/>
                          <a:pt x="25294" y="69473"/>
                          <a:pt x="25294" y="69473"/>
                        </a:cubicBezTo>
                        <a:cubicBezTo>
                          <a:pt x="24705" y="68526"/>
                          <a:pt x="24705" y="68526"/>
                          <a:pt x="24705" y="68526"/>
                        </a:cubicBezTo>
                        <a:cubicBezTo>
                          <a:pt x="24705" y="69789"/>
                          <a:pt x="24705" y="69789"/>
                          <a:pt x="24705" y="69789"/>
                        </a:cubicBezTo>
                        <a:cubicBezTo>
                          <a:pt x="24411" y="70421"/>
                          <a:pt x="24411" y="70421"/>
                          <a:pt x="24411" y="70421"/>
                        </a:cubicBezTo>
                        <a:cubicBezTo>
                          <a:pt x="24411" y="70421"/>
                          <a:pt x="23235" y="71684"/>
                          <a:pt x="22941" y="72000"/>
                        </a:cubicBezTo>
                        <a:cubicBezTo>
                          <a:pt x="22941" y="72000"/>
                          <a:pt x="21470" y="70421"/>
                          <a:pt x="21470" y="70421"/>
                        </a:cubicBezTo>
                        <a:cubicBezTo>
                          <a:pt x="21176" y="68210"/>
                          <a:pt x="21176" y="68210"/>
                          <a:pt x="21176" y="68210"/>
                        </a:cubicBezTo>
                        <a:cubicBezTo>
                          <a:pt x="19705" y="66631"/>
                          <a:pt x="19705" y="66631"/>
                          <a:pt x="19705" y="66631"/>
                        </a:cubicBezTo>
                        <a:cubicBezTo>
                          <a:pt x="18823" y="66947"/>
                          <a:pt x="18823" y="66947"/>
                          <a:pt x="18823" y="66947"/>
                        </a:cubicBezTo>
                        <a:cubicBezTo>
                          <a:pt x="18529" y="65368"/>
                          <a:pt x="18529" y="65368"/>
                          <a:pt x="18529" y="65368"/>
                        </a:cubicBezTo>
                        <a:cubicBezTo>
                          <a:pt x="17941" y="64421"/>
                          <a:pt x="17941" y="64421"/>
                          <a:pt x="17941" y="64421"/>
                        </a:cubicBezTo>
                        <a:cubicBezTo>
                          <a:pt x="16764" y="64421"/>
                          <a:pt x="16764" y="64421"/>
                          <a:pt x="16764" y="64421"/>
                        </a:cubicBezTo>
                        <a:cubicBezTo>
                          <a:pt x="16470" y="65052"/>
                          <a:pt x="16470" y="65052"/>
                          <a:pt x="16470" y="65052"/>
                        </a:cubicBezTo>
                        <a:cubicBezTo>
                          <a:pt x="16176" y="66000"/>
                          <a:pt x="16176" y="66000"/>
                          <a:pt x="16176" y="66000"/>
                        </a:cubicBezTo>
                        <a:cubicBezTo>
                          <a:pt x="16176" y="66000"/>
                          <a:pt x="16470" y="66947"/>
                          <a:pt x="16470" y="66947"/>
                        </a:cubicBezTo>
                        <a:cubicBezTo>
                          <a:pt x="16470" y="67263"/>
                          <a:pt x="16176" y="67578"/>
                          <a:pt x="15882" y="67578"/>
                        </a:cubicBezTo>
                        <a:cubicBezTo>
                          <a:pt x="15882" y="67578"/>
                          <a:pt x="14411" y="68210"/>
                          <a:pt x="14411" y="68210"/>
                        </a:cubicBezTo>
                        <a:cubicBezTo>
                          <a:pt x="14411" y="68210"/>
                          <a:pt x="14117" y="67263"/>
                          <a:pt x="14117" y="66947"/>
                        </a:cubicBezTo>
                        <a:cubicBezTo>
                          <a:pt x="14117" y="66315"/>
                          <a:pt x="14117" y="65368"/>
                          <a:pt x="14117" y="65368"/>
                        </a:cubicBezTo>
                        <a:cubicBezTo>
                          <a:pt x="14117" y="65368"/>
                          <a:pt x="15294" y="64736"/>
                          <a:pt x="15294" y="64736"/>
                        </a:cubicBezTo>
                        <a:cubicBezTo>
                          <a:pt x="15294" y="64421"/>
                          <a:pt x="16176" y="62842"/>
                          <a:pt x="16176" y="62842"/>
                        </a:cubicBezTo>
                        <a:cubicBezTo>
                          <a:pt x="16176" y="61894"/>
                          <a:pt x="16176" y="61894"/>
                          <a:pt x="16176" y="61894"/>
                        </a:cubicBezTo>
                        <a:cubicBezTo>
                          <a:pt x="16176" y="61894"/>
                          <a:pt x="17352" y="61578"/>
                          <a:pt x="17647" y="61578"/>
                        </a:cubicBezTo>
                        <a:cubicBezTo>
                          <a:pt x="17941" y="61578"/>
                          <a:pt x="18529" y="61578"/>
                          <a:pt x="18823" y="61894"/>
                        </a:cubicBezTo>
                        <a:cubicBezTo>
                          <a:pt x="19411" y="62210"/>
                          <a:pt x="19117" y="62210"/>
                          <a:pt x="19705" y="62210"/>
                        </a:cubicBezTo>
                        <a:cubicBezTo>
                          <a:pt x="20294" y="61894"/>
                          <a:pt x="20882" y="61578"/>
                          <a:pt x="20882" y="61263"/>
                        </a:cubicBezTo>
                        <a:cubicBezTo>
                          <a:pt x="20882" y="60947"/>
                          <a:pt x="21176" y="59684"/>
                          <a:pt x="20294" y="59684"/>
                        </a:cubicBezTo>
                        <a:cubicBezTo>
                          <a:pt x="19705" y="59684"/>
                          <a:pt x="18823" y="60315"/>
                          <a:pt x="18529" y="60315"/>
                        </a:cubicBezTo>
                        <a:cubicBezTo>
                          <a:pt x="18235" y="60631"/>
                          <a:pt x="17941" y="60315"/>
                          <a:pt x="17352" y="60000"/>
                        </a:cubicBezTo>
                        <a:cubicBezTo>
                          <a:pt x="17058" y="60000"/>
                          <a:pt x="16470" y="59684"/>
                          <a:pt x="16470" y="59684"/>
                        </a:cubicBezTo>
                        <a:cubicBezTo>
                          <a:pt x="15588" y="60631"/>
                          <a:pt x="15588" y="60631"/>
                          <a:pt x="15588" y="60631"/>
                        </a:cubicBezTo>
                        <a:cubicBezTo>
                          <a:pt x="15588" y="60631"/>
                          <a:pt x="16176" y="61894"/>
                          <a:pt x="15000" y="60947"/>
                        </a:cubicBezTo>
                        <a:cubicBezTo>
                          <a:pt x="13823" y="60315"/>
                          <a:pt x="13823" y="60000"/>
                          <a:pt x="13823" y="60000"/>
                        </a:cubicBezTo>
                        <a:cubicBezTo>
                          <a:pt x="12647" y="58736"/>
                          <a:pt x="12647" y="58736"/>
                          <a:pt x="12647" y="58736"/>
                        </a:cubicBezTo>
                        <a:cubicBezTo>
                          <a:pt x="12058" y="56526"/>
                          <a:pt x="12058" y="56526"/>
                          <a:pt x="12058" y="56526"/>
                        </a:cubicBezTo>
                        <a:cubicBezTo>
                          <a:pt x="11176" y="55263"/>
                          <a:pt x="11176" y="55263"/>
                          <a:pt x="11176" y="55263"/>
                        </a:cubicBezTo>
                        <a:cubicBezTo>
                          <a:pt x="11176" y="55263"/>
                          <a:pt x="10882" y="55894"/>
                          <a:pt x="10588" y="56526"/>
                        </a:cubicBezTo>
                        <a:cubicBezTo>
                          <a:pt x="10294" y="56842"/>
                          <a:pt x="9705" y="56842"/>
                          <a:pt x="9411" y="56526"/>
                        </a:cubicBezTo>
                        <a:cubicBezTo>
                          <a:pt x="9411" y="55894"/>
                          <a:pt x="8529" y="54631"/>
                          <a:pt x="8529" y="54631"/>
                        </a:cubicBezTo>
                        <a:cubicBezTo>
                          <a:pt x="8823" y="53368"/>
                          <a:pt x="8823" y="53368"/>
                          <a:pt x="8823" y="53368"/>
                        </a:cubicBezTo>
                        <a:cubicBezTo>
                          <a:pt x="7647" y="53052"/>
                          <a:pt x="7647" y="53052"/>
                          <a:pt x="7647" y="53052"/>
                        </a:cubicBezTo>
                        <a:cubicBezTo>
                          <a:pt x="7647" y="53052"/>
                          <a:pt x="7058" y="52736"/>
                          <a:pt x="7058" y="52421"/>
                        </a:cubicBezTo>
                        <a:cubicBezTo>
                          <a:pt x="7352" y="51789"/>
                          <a:pt x="7941" y="50842"/>
                          <a:pt x="7941" y="50842"/>
                        </a:cubicBezTo>
                        <a:cubicBezTo>
                          <a:pt x="8529" y="49578"/>
                          <a:pt x="8529" y="49578"/>
                          <a:pt x="8529" y="49578"/>
                        </a:cubicBezTo>
                        <a:cubicBezTo>
                          <a:pt x="8529" y="49578"/>
                          <a:pt x="8529" y="48631"/>
                          <a:pt x="8235" y="48315"/>
                        </a:cubicBezTo>
                        <a:cubicBezTo>
                          <a:pt x="8235" y="48000"/>
                          <a:pt x="7941" y="43894"/>
                          <a:pt x="7941" y="43894"/>
                        </a:cubicBezTo>
                        <a:cubicBezTo>
                          <a:pt x="10294" y="42315"/>
                          <a:pt x="10294" y="42315"/>
                          <a:pt x="10294" y="42315"/>
                        </a:cubicBezTo>
                        <a:cubicBezTo>
                          <a:pt x="11764" y="39789"/>
                          <a:pt x="11764" y="39789"/>
                          <a:pt x="11764" y="39789"/>
                        </a:cubicBezTo>
                        <a:cubicBezTo>
                          <a:pt x="12352" y="36947"/>
                          <a:pt x="12352" y="36947"/>
                          <a:pt x="12352" y="36947"/>
                        </a:cubicBezTo>
                        <a:cubicBezTo>
                          <a:pt x="13235" y="34421"/>
                          <a:pt x="13235" y="34421"/>
                          <a:pt x="13235" y="34421"/>
                        </a:cubicBezTo>
                        <a:cubicBezTo>
                          <a:pt x="13235" y="34421"/>
                          <a:pt x="14411" y="33157"/>
                          <a:pt x="14411" y="33473"/>
                        </a:cubicBezTo>
                        <a:cubicBezTo>
                          <a:pt x="14705" y="33789"/>
                          <a:pt x="14411" y="30947"/>
                          <a:pt x="14411" y="30947"/>
                        </a:cubicBezTo>
                        <a:cubicBezTo>
                          <a:pt x="13529" y="30000"/>
                          <a:pt x="13529" y="30000"/>
                          <a:pt x="13529" y="30000"/>
                        </a:cubicBezTo>
                        <a:cubicBezTo>
                          <a:pt x="13529" y="28421"/>
                          <a:pt x="13529" y="28421"/>
                          <a:pt x="13529" y="28421"/>
                        </a:cubicBezTo>
                        <a:cubicBezTo>
                          <a:pt x="13529" y="28421"/>
                          <a:pt x="15000" y="28105"/>
                          <a:pt x="15294" y="28105"/>
                        </a:cubicBezTo>
                        <a:cubicBezTo>
                          <a:pt x="15588" y="28105"/>
                          <a:pt x="16176" y="27789"/>
                          <a:pt x="17058" y="27473"/>
                        </a:cubicBezTo>
                        <a:cubicBezTo>
                          <a:pt x="17647" y="27473"/>
                          <a:pt x="18235" y="26842"/>
                          <a:pt x="18823" y="26842"/>
                        </a:cubicBezTo>
                        <a:cubicBezTo>
                          <a:pt x="19117" y="26842"/>
                          <a:pt x="20588" y="26842"/>
                          <a:pt x="20588" y="26842"/>
                        </a:cubicBezTo>
                        <a:cubicBezTo>
                          <a:pt x="20588" y="26842"/>
                          <a:pt x="22058" y="25894"/>
                          <a:pt x="22352" y="25578"/>
                        </a:cubicBezTo>
                        <a:cubicBezTo>
                          <a:pt x="22647" y="25263"/>
                          <a:pt x="23529" y="24000"/>
                          <a:pt x="23529" y="24000"/>
                        </a:cubicBezTo>
                        <a:cubicBezTo>
                          <a:pt x="23529" y="24000"/>
                          <a:pt x="23823" y="22421"/>
                          <a:pt x="24411" y="22105"/>
                        </a:cubicBezTo>
                        <a:cubicBezTo>
                          <a:pt x="24705" y="22105"/>
                          <a:pt x="25588" y="21473"/>
                          <a:pt x="26176" y="21473"/>
                        </a:cubicBezTo>
                        <a:cubicBezTo>
                          <a:pt x="26764" y="21157"/>
                          <a:pt x="28235" y="20842"/>
                          <a:pt x="28529" y="20842"/>
                        </a:cubicBezTo>
                        <a:cubicBezTo>
                          <a:pt x="28823" y="20842"/>
                          <a:pt x="32352" y="20210"/>
                          <a:pt x="32352" y="20210"/>
                        </a:cubicBezTo>
                        <a:cubicBezTo>
                          <a:pt x="33823" y="18947"/>
                          <a:pt x="33823" y="18947"/>
                          <a:pt x="33823" y="18947"/>
                        </a:cubicBezTo>
                        <a:cubicBezTo>
                          <a:pt x="33529" y="16105"/>
                          <a:pt x="33529" y="16105"/>
                          <a:pt x="33529" y="16105"/>
                        </a:cubicBezTo>
                        <a:cubicBezTo>
                          <a:pt x="37941" y="15473"/>
                          <a:pt x="37941" y="15473"/>
                          <a:pt x="37941" y="15473"/>
                        </a:cubicBezTo>
                        <a:cubicBezTo>
                          <a:pt x="39705" y="14210"/>
                          <a:pt x="39705" y="14210"/>
                          <a:pt x="39705" y="14210"/>
                        </a:cubicBezTo>
                        <a:cubicBezTo>
                          <a:pt x="39705" y="14210"/>
                          <a:pt x="40588" y="13263"/>
                          <a:pt x="40882" y="13263"/>
                        </a:cubicBezTo>
                        <a:cubicBezTo>
                          <a:pt x="41176" y="13578"/>
                          <a:pt x="41764" y="13263"/>
                          <a:pt x="41764" y="13263"/>
                        </a:cubicBezTo>
                        <a:cubicBezTo>
                          <a:pt x="43823" y="12631"/>
                          <a:pt x="43823" y="12631"/>
                          <a:pt x="43823" y="12631"/>
                        </a:cubicBezTo>
                        <a:cubicBezTo>
                          <a:pt x="43823" y="12631"/>
                          <a:pt x="46470" y="11684"/>
                          <a:pt x="46764" y="11368"/>
                        </a:cubicBezTo>
                        <a:cubicBezTo>
                          <a:pt x="46764" y="11368"/>
                          <a:pt x="48235" y="10736"/>
                          <a:pt x="48235" y="10736"/>
                        </a:cubicBezTo>
                        <a:cubicBezTo>
                          <a:pt x="48823" y="9473"/>
                          <a:pt x="48823" y="9473"/>
                          <a:pt x="48823" y="9473"/>
                        </a:cubicBezTo>
                        <a:cubicBezTo>
                          <a:pt x="48823" y="9473"/>
                          <a:pt x="49411" y="8842"/>
                          <a:pt x="50294" y="8842"/>
                        </a:cubicBezTo>
                        <a:cubicBezTo>
                          <a:pt x="50882" y="8842"/>
                          <a:pt x="51470" y="8842"/>
                          <a:pt x="51764" y="8842"/>
                        </a:cubicBezTo>
                        <a:cubicBezTo>
                          <a:pt x="51764" y="8526"/>
                          <a:pt x="52058" y="7894"/>
                          <a:pt x="52352" y="7894"/>
                        </a:cubicBezTo>
                        <a:cubicBezTo>
                          <a:pt x="52647" y="7894"/>
                          <a:pt x="54411" y="7578"/>
                          <a:pt x="54411" y="7578"/>
                        </a:cubicBezTo>
                        <a:cubicBezTo>
                          <a:pt x="55294" y="9157"/>
                          <a:pt x="55294" y="9157"/>
                          <a:pt x="55294" y="9157"/>
                        </a:cubicBezTo>
                        <a:cubicBezTo>
                          <a:pt x="55294" y="9157"/>
                          <a:pt x="57058" y="10421"/>
                          <a:pt x="57352" y="10421"/>
                        </a:cubicBezTo>
                        <a:cubicBezTo>
                          <a:pt x="57647" y="10421"/>
                          <a:pt x="59117" y="9157"/>
                          <a:pt x="59117" y="9157"/>
                        </a:cubicBezTo>
                        <a:cubicBezTo>
                          <a:pt x="62058" y="10105"/>
                          <a:pt x="62058" y="10105"/>
                          <a:pt x="62058" y="10105"/>
                        </a:cubicBezTo>
                        <a:cubicBezTo>
                          <a:pt x="64411" y="10736"/>
                          <a:pt x="64411" y="10736"/>
                          <a:pt x="64411" y="10736"/>
                        </a:cubicBezTo>
                        <a:cubicBezTo>
                          <a:pt x="65294" y="10105"/>
                          <a:pt x="65294" y="10105"/>
                          <a:pt x="65294" y="10105"/>
                        </a:cubicBezTo>
                        <a:close/>
                        <a:moveTo>
                          <a:pt x="55294" y="47052"/>
                        </a:moveTo>
                        <a:cubicBezTo>
                          <a:pt x="55294" y="47052"/>
                          <a:pt x="55294" y="47052"/>
                          <a:pt x="55294" y="47052"/>
                        </a:cubicBezTo>
                        <a:cubicBezTo>
                          <a:pt x="55588" y="47368"/>
                          <a:pt x="55588" y="47368"/>
                          <a:pt x="55588" y="47368"/>
                        </a:cubicBezTo>
                        <a:cubicBezTo>
                          <a:pt x="55588" y="47368"/>
                          <a:pt x="56176" y="47368"/>
                          <a:pt x="56470" y="47052"/>
                        </a:cubicBezTo>
                        <a:cubicBezTo>
                          <a:pt x="56764" y="47052"/>
                          <a:pt x="56176" y="46736"/>
                          <a:pt x="56176" y="46736"/>
                        </a:cubicBezTo>
                        <a:cubicBezTo>
                          <a:pt x="55588" y="46736"/>
                          <a:pt x="55588" y="46736"/>
                          <a:pt x="55588" y="46736"/>
                        </a:cubicBezTo>
                        <a:cubicBezTo>
                          <a:pt x="55588" y="46736"/>
                          <a:pt x="55294" y="47052"/>
                          <a:pt x="55294" y="47052"/>
                        </a:cubicBezTo>
                        <a:close/>
                        <a:moveTo>
                          <a:pt x="54117" y="49578"/>
                        </a:moveTo>
                        <a:cubicBezTo>
                          <a:pt x="54117" y="49578"/>
                          <a:pt x="54117" y="49578"/>
                          <a:pt x="54117" y="49578"/>
                        </a:cubicBezTo>
                        <a:cubicBezTo>
                          <a:pt x="54411" y="49894"/>
                          <a:pt x="54411" y="49894"/>
                          <a:pt x="54411" y="49894"/>
                        </a:cubicBezTo>
                        <a:cubicBezTo>
                          <a:pt x="54411" y="49894"/>
                          <a:pt x="54705" y="48947"/>
                          <a:pt x="55000" y="48631"/>
                        </a:cubicBezTo>
                        <a:cubicBezTo>
                          <a:pt x="55294" y="48000"/>
                          <a:pt x="54705" y="48315"/>
                          <a:pt x="54705" y="48315"/>
                        </a:cubicBezTo>
                        <a:cubicBezTo>
                          <a:pt x="54411" y="48631"/>
                          <a:pt x="54411" y="48631"/>
                          <a:pt x="54411" y="48631"/>
                        </a:cubicBezTo>
                        <a:cubicBezTo>
                          <a:pt x="54411" y="48631"/>
                          <a:pt x="54117" y="49578"/>
                          <a:pt x="54117" y="49578"/>
                        </a:cubicBezTo>
                        <a:close/>
                        <a:moveTo>
                          <a:pt x="93529" y="72947"/>
                        </a:moveTo>
                        <a:cubicBezTo>
                          <a:pt x="93529" y="72947"/>
                          <a:pt x="93529" y="72947"/>
                          <a:pt x="93529" y="72947"/>
                        </a:cubicBezTo>
                        <a:cubicBezTo>
                          <a:pt x="93529" y="72947"/>
                          <a:pt x="94411" y="73578"/>
                          <a:pt x="94411" y="73578"/>
                        </a:cubicBezTo>
                        <a:cubicBezTo>
                          <a:pt x="93823" y="74842"/>
                          <a:pt x="93823" y="74842"/>
                          <a:pt x="93823" y="74842"/>
                        </a:cubicBezTo>
                        <a:cubicBezTo>
                          <a:pt x="92941" y="74210"/>
                          <a:pt x="92941" y="74210"/>
                          <a:pt x="92941" y="74210"/>
                        </a:cubicBezTo>
                        <a:cubicBezTo>
                          <a:pt x="93529" y="72947"/>
                          <a:pt x="93529" y="72947"/>
                          <a:pt x="93529" y="72947"/>
                        </a:cubicBezTo>
                        <a:close/>
                        <a:moveTo>
                          <a:pt x="100588" y="78947"/>
                        </a:moveTo>
                        <a:cubicBezTo>
                          <a:pt x="100588" y="78947"/>
                          <a:pt x="100588" y="78947"/>
                          <a:pt x="100588" y="78947"/>
                        </a:cubicBezTo>
                        <a:cubicBezTo>
                          <a:pt x="100588" y="78947"/>
                          <a:pt x="102058" y="79263"/>
                          <a:pt x="102058" y="78947"/>
                        </a:cubicBezTo>
                        <a:cubicBezTo>
                          <a:pt x="102058" y="78631"/>
                          <a:pt x="102352" y="78000"/>
                          <a:pt x="102352" y="78000"/>
                        </a:cubicBezTo>
                        <a:cubicBezTo>
                          <a:pt x="102058" y="77684"/>
                          <a:pt x="101176" y="77368"/>
                          <a:pt x="101176" y="77368"/>
                        </a:cubicBezTo>
                        <a:cubicBezTo>
                          <a:pt x="100882" y="77368"/>
                          <a:pt x="100588" y="77368"/>
                          <a:pt x="100294" y="77052"/>
                        </a:cubicBezTo>
                        <a:cubicBezTo>
                          <a:pt x="98529" y="74842"/>
                          <a:pt x="99705" y="77684"/>
                          <a:pt x="100588" y="78000"/>
                        </a:cubicBezTo>
                        <a:cubicBezTo>
                          <a:pt x="100588" y="78315"/>
                          <a:pt x="100588" y="78315"/>
                          <a:pt x="100588" y="78315"/>
                        </a:cubicBezTo>
                        <a:cubicBezTo>
                          <a:pt x="100588" y="78947"/>
                          <a:pt x="100588" y="78947"/>
                          <a:pt x="100588" y="78947"/>
                        </a:cubicBezTo>
                        <a:close/>
                        <a:moveTo>
                          <a:pt x="102647" y="81157"/>
                        </a:moveTo>
                        <a:cubicBezTo>
                          <a:pt x="102647" y="81157"/>
                          <a:pt x="102647" y="81157"/>
                          <a:pt x="102647" y="81157"/>
                        </a:cubicBezTo>
                        <a:cubicBezTo>
                          <a:pt x="103823" y="79578"/>
                          <a:pt x="103823" y="79578"/>
                          <a:pt x="103823" y="79578"/>
                        </a:cubicBezTo>
                        <a:cubicBezTo>
                          <a:pt x="103823" y="79578"/>
                          <a:pt x="104411" y="78947"/>
                          <a:pt x="104705" y="78947"/>
                        </a:cubicBezTo>
                        <a:cubicBezTo>
                          <a:pt x="105000" y="78947"/>
                          <a:pt x="106176" y="78631"/>
                          <a:pt x="106176" y="78631"/>
                        </a:cubicBezTo>
                        <a:cubicBezTo>
                          <a:pt x="106176" y="78631"/>
                          <a:pt x="107058" y="78947"/>
                          <a:pt x="106470" y="79263"/>
                        </a:cubicBezTo>
                        <a:cubicBezTo>
                          <a:pt x="106176" y="79578"/>
                          <a:pt x="105294" y="80210"/>
                          <a:pt x="105000" y="80210"/>
                        </a:cubicBezTo>
                        <a:cubicBezTo>
                          <a:pt x="104705" y="80526"/>
                          <a:pt x="104117" y="81473"/>
                          <a:pt x="104117" y="81473"/>
                        </a:cubicBezTo>
                        <a:cubicBezTo>
                          <a:pt x="102941" y="81789"/>
                          <a:pt x="102941" y="81789"/>
                          <a:pt x="102941" y="81789"/>
                        </a:cubicBezTo>
                        <a:cubicBezTo>
                          <a:pt x="101764" y="82421"/>
                          <a:pt x="101764" y="82421"/>
                          <a:pt x="101764" y="82421"/>
                        </a:cubicBezTo>
                        <a:cubicBezTo>
                          <a:pt x="102058" y="83684"/>
                          <a:pt x="102058" y="83684"/>
                          <a:pt x="102058" y="83684"/>
                        </a:cubicBezTo>
                        <a:cubicBezTo>
                          <a:pt x="102058" y="83684"/>
                          <a:pt x="101764" y="84000"/>
                          <a:pt x="101470" y="84000"/>
                        </a:cubicBezTo>
                        <a:cubicBezTo>
                          <a:pt x="101470" y="83684"/>
                          <a:pt x="100588" y="83052"/>
                          <a:pt x="100588" y="83052"/>
                        </a:cubicBezTo>
                        <a:cubicBezTo>
                          <a:pt x="100882" y="81473"/>
                          <a:pt x="100882" y="81473"/>
                          <a:pt x="100882" y="81473"/>
                        </a:cubicBezTo>
                        <a:cubicBezTo>
                          <a:pt x="102058" y="81473"/>
                          <a:pt x="102058" y="81473"/>
                          <a:pt x="102058" y="81473"/>
                        </a:cubicBezTo>
                        <a:cubicBezTo>
                          <a:pt x="102647" y="81157"/>
                          <a:pt x="102647" y="81157"/>
                          <a:pt x="102647" y="81157"/>
                        </a:cubicBezTo>
                        <a:close/>
                        <a:moveTo>
                          <a:pt x="114117" y="90315"/>
                        </a:moveTo>
                        <a:cubicBezTo>
                          <a:pt x="114117" y="90315"/>
                          <a:pt x="114117" y="90315"/>
                          <a:pt x="114117" y="90315"/>
                        </a:cubicBezTo>
                        <a:cubicBezTo>
                          <a:pt x="114117" y="90315"/>
                          <a:pt x="115294" y="91578"/>
                          <a:pt x="115294" y="91578"/>
                        </a:cubicBezTo>
                        <a:cubicBezTo>
                          <a:pt x="115000" y="93157"/>
                          <a:pt x="115000" y="93157"/>
                          <a:pt x="115000" y="93157"/>
                        </a:cubicBezTo>
                        <a:cubicBezTo>
                          <a:pt x="115000" y="93157"/>
                          <a:pt x="115000" y="93789"/>
                          <a:pt x="115588" y="93789"/>
                        </a:cubicBezTo>
                        <a:cubicBezTo>
                          <a:pt x="116176" y="94105"/>
                          <a:pt x="117058" y="94105"/>
                          <a:pt x="117058" y="93473"/>
                        </a:cubicBezTo>
                        <a:cubicBezTo>
                          <a:pt x="117058" y="92842"/>
                          <a:pt x="117352" y="92210"/>
                          <a:pt x="117647" y="91894"/>
                        </a:cubicBezTo>
                        <a:cubicBezTo>
                          <a:pt x="117941" y="91263"/>
                          <a:pt x="118529" y="90315"/>
                          <a:pt x="118529" y="90315"/>
                        </a:cubicBezTo>
                        <a:cubicBezTo>
                          <a:pt x="118529" y="90315"/>
                          <a:pt x="118823" y="90315"/>
                          <a:pt x="119117" y="90000"/>
                        </a:cubicBezTo>
                        <a:cubicBezTo>
                          <a:pt x="119411" y="90000"/>
                          <a:pt x="118823" y="89052"/>
                          <a:pt x="118823" y="89052"/>
                        </a:cubicBezTo>
                        <a:cubicBezTo>
                          <a:pt x="118823" y="89052"/>
                          <a:pt x="118529" y="89052"/>
                          <a:pt x="119117" y="87789"/>
                        </a:cubicBezTo>
                        <a:cubicBezTo>
                          <a:pt x="119705" y="86842"/>
                          <a:pt x="119705" y="86842"/>
                          <a:pt x="119705" y="86842"/>
                        </a:cubicBezTo>
                        <a:cubicBezTo>
                          <a:pt x="119705" y="86526"/>
                          <a:pt x="120000" y="85578"/>
                          <a:pt x="120000" y="85263"/>
                        </a:cubicBezTo>
                        <a:cubicBezTo>
                          <a:pt x="119705" y="84631"/>
                          <a:pt x="119411" y="83052"/>
                          <a:pt x="119411" y="83052"/>
                        </a:cubicBezTo>
                        <a:cubicBezTo>
                          <a:pt x="118823" y="83684"/>
                          <a:pt x="118823" y="83684"/>
                          <a:pt x="118823" y="83684"/>
                        </a:cubicBezTo>
                        <a:cubicBezTo>
                          <a:pt x="118823" y="83684"/>
                          <a:pt x="118235" y="84315"/>
                          <a:pt x="117647" y="84315"/>
                        </a:cubicBezTo>
                        <a:cubicBezTo>
                          <a:pt x="117058" y="84631"/>
                          <a:pt x="116470" y="84947"/>
                          <a:pt x="116470" y="85263"/>
                        </a:cubicBezTo>
                        <a:cubicBezTo>
                          <a:pt x="116470" y="85263"/>
                          <a:pt x="116470" y="86210"/>
                          <a:pt x="116176" y="86526"/>
                        </a:cubicBezTo>
                        <a:cubicBezTo>
                          <a:pt x="115882" y="86842"/>
                          <a:pt x="115000" y="87789"/>
                          <a:pt x="115000" y="87789"/>
                        </a:cubicBezTo>
                        <a:cubicBezTo>
                          <a:pt x="114411" y="89368"/>
                          <a:pt x="114411" y="89368"/>
                          <a:pt x="114411" y="89368"/>
                        </a:cubicBezTo>
                        <a:cubicBezTo>
                          <a:pt x="114411" y="89368"/>
                          <a:pt x="114117" y="90315"/>
                          <a:pt x="114117" y="90315"/>
                        </a:cubicBezTo>
                        <a:close/>
                        <a:moveTo>
                          <a:pt x="109705" y="104526"/>
                        </a:moveTo>
                        <a:cubicBezTo>
                          <a:pt x="109705" y="104526"/>
                          <a:pt x="109705" y="104526"/>
                          <a:pt x="109705" y="104526"/>
                        </a:cubicBezTo>
                        <a:cubicBezTo>
                          <a:pt x="109117" y="104210"/>
                          <a:pt x="108529" y="103578"/>
                          <a:pt x="108529" y="102947"/>
                        </a:cubicBezTo>
                        <a:cubicBezTo>
                          <a:pt x="108529" y="102631"/>
                          <a:pt x="108823" y="102000"/>
                          <a:pt x="108823" y="102000"/>
                        </a:cubicBezTo>
                        <a:cubicBezTo>
                          <a:pt x="108823" y="102000"/>
                          <a:pt x="108235" y="101684"/>
                          <a:pt x="108235" y="101368"/>
                        </a:cubicBezTo>
                        <a:cubicBezTo>
                          <a:pt x="108235" y="101368"/>
                          <a:pt x="108823" y="100105"/>
                          <a:pt x="108823" y="99473"/>
                        </a:cubicBezTo>
                        <a:cubicBezTo>
                          <a:pt x="108529" y="99157"/>
                          <a:pt x="108823" y="97263"/>
                          <a:pt x="108823" y="97263"/>
                        </a:cubicBezTo>
                        <a:cubicBezTo>
                          <a:pt x="108823" y="97263"/>
                          <a:pt x="109705" y="96947"/>
                          <a:pt x="109705" y="97263"/>
                        </a:cubicBezTo>
                        <a:cubicBezTo>
                          <a:pt x="109705" y="97578"/>
                          <a:pt x="109411" y="98526"/>
                          <a:pt x="109411" y="98842"/>
                        </a:cubicBezTo>
                        <a:cubicBezTo>
                          <a:pt x="109411" y="99157"/>
                          <a:pt x="109117" y="100421"/>
                          <a:pt x="109117" y="100736"/>
                        </a:cubicBezTo>
                        <a:cubicBezTo>
                          <a:pt x="109117" y="100736"/>
                          <a:pt x="109411" y="100421"/>
                          <a:pt x="110000" y="101052"/>
                        </a:cubicBezTo>
                        <a:cubicBezTo>
                          <a:pt x="110588" y="101684"/>
                          <a:pt x="110588" y="102631"/>
                          <a:pt x="110588" y="102631"/>
                        </a:cubicBezTo>
                        <a:cubicBezTo>
                          <a:pt x="110000" y="103263"/>
                          <a:pt x="110000" y="103263"/>
                          <a:pt x="110000" y="103263"/>
                        </a:cubicBezTo>
                        <a:cubicBezTo>
                          <a:pt x="109705" y="104526"/>
                          <a:pt x="109705" y="104526"/>
                          <a:pt x="109705" y="104526"/>
                        </a:cubicBezTo>
                        <a:close/>
                        <a:moveTo>
                          <a:pt x="106176" y="105157"/>
                        </a:moveTo>
                        <a:cubicBezTo>
                          <a:pt x="106176" y="105157"/>
                          <a:pt x="106176" y="105157"/>
                          <a:pt x="106176" y="105157"/>
                        </a:cubicBezTo>
                        <a:cubicBezTo>
                          <a:pt x="106176" y="105157"/>
                          <a:pt x="105882" y="106421"/>
                          <a:pt x="105882" y="106736"/>
                        </a:cubicBezTo>
                        <a:cubicBezTo>
                          <a:pt x="105882" y="106736"/>
                          <a:pt x="106176" y="106736"/>
                          <a:pt x="106470" y="106736"/>
                        </a:cubicBezTo>
                        <a:cubicBezTo>
                          <a:pt x="106764" y="106421"/>
                          <a:pt x="107058" y="106421"/>
                          <a:pt x="107352" y="106105"/>
                        </a:cubicBezTo>
                        <a:cubicBezTo>
                          <a:pt x="107647" y="105789"/>
                          <a:pt x="108529" y="105157"/>
                          <a:pt x="108823" y="105157"/>
                        </a:cubicBezTo>
                        <a:cubicBezTo>
                          <a:pt x="109117" y="104842"/>
                          <a:pt x="107647" y="104210"/>
                          <a:pt x="107647" y="104210"/>
                        </a:cubicBezTo>
                        <a:cubicBezTo>
                          <a:pt x="106176" y="105157"/>
                          <a:pt x="106176" y="105157"/>
                          <a:pt x="106176" y="105157"/>
                        </a:cubicBezTo>
                        <a:close/>
                        <a:moveTo>
                          <a:pt x="66176" y="41684"/>
                        </a:moveTo>
                        <a:cubicBezTo>
                          <a:pt x="66176" y="41684"/>
                          <a:pt x="66176" y="41684"/>
                          <a:pt x="66176" y="41684"/>
                        </a:cubicBezTo>
                        <a:cubicBezTo>
                          <a:pt x="66764" y="42000"/>
                          <a:pt x="66764" y="42000"/>
                          <a:pt x="66764" y="42000"/>
                        </a:cubicBezTo>
                        <a:cubicBezTo>
                          <a:pt x="66764" y="42000"/>
                          <a:pt x="67058" y="41684"/>
                          <a:pt x="67352" y="41368"/>
                        </a:cubicBezTo>
                        <a:cubicBezTo>
                          <a:pt x="67647" y="41052"/>
                          <a:pt x="67058" y="40736"/>
                          <a:pt x="67058" y="40736"/>
                        </a:cubicBezTo>
                        <a:cubicBezTo>
                          <a:pt x="66764" y="41052"/>
                          <a:pt x="66764" y="41052"/>
                          <a:pt x="66764" y="41052"/>
                        </a:cubicBezTo>
                        <a:cubicBezTo>
                          <a:pt x="66764" y="41052"/>
                          <a:pt x="66176" y="41684"/>
                          <a:pt x="66176" y="41684"/>
                        </a:cubicBezTo>
                        <a:close/>
                        <a:moveTo>
                          <a:pt x="48235" y="51789"/>
                        </a:moveTo>
                        <a:cubicBezTo>
                          <a:pt x="48235" y="51789"/>
                          <a:pt x="48235" y="51789"/>
                          <a:pt x="48235" y="51789"/>
                        </a:cubicBezTo>
                        <a:cubicBezTo>
                          <a:pt x="48529" y="52105"/>
                          <a:pt x="48529" y="52105"/>
                          <a:pt x="48529" y="52105"/>
                        </a:cubicBezTo>
                        <a:cubicBezTo>
                          <a:pt x="48529" y="52105"/>
                          <a:pt x="48823" y="51473"/>
                          <a:pt x="49411" y="51157"/>
                        </a:cubicBezTo>
                        <a:cubicBezTo>
                          <a:pt x="49705" y="50842"/>
                          <a:pt x="49117" y="50842"/>
                          <a:pt x="49117" y="50842"/>
                        </a:cubicBezTo>
                        <a:cubicBezTo>
                          <a:pt x="48529" y="51157"/>
                          <a:pt x="48529" y="51157"/>
                          <a:pt x="48529" y="51157"/>
                        </a:cubicBezTo>
                        <a:cubicBezTo>
                          <a:pt x="48529" y="51157"/>
                          <a:pt x="48235" y="51473"/>
                          <a:pt x="48235" y="51789"/>
                        </a:cubicBezTo>
                        <a:close/>
                        <a:moveTo>
                          <a:pt x="51176" y="51157"/>
                        </a:moveTo>
                        <a:cubicBezTo>
                          <a:pt x="51176" y="51157"/>
                          <a:pt x="51176" y="51157"/>
                          <a:pt x="51176" y="51157"/>
                        </a:cubicBezTo>
                        <a:cubicBezTo>
                          <a:pt x="51176" y="51789"/>
                          <a:pt x="51176" y="51789"/>
                          <a:pt x="51176" y="51789"/>
                        </a:cubicBezTo>
                        <a:cubicBezTo>
                          <a:pt x="51176" y="51789"/>
                          <a:pt x="52058" y="52105"/>
                          <a:pt x="52647" y="52421"/>
                        </a:cubicBezTo>
                        <a:cubicBezTo>
                          <a:pt x="53529" y="52736"/>
                          <a:pt x="52941" y="51789"/>
                          <a:pt x="52941" y="51789"/>
                        </a:cubicBezTo>
                        <a:cubicBezTo>
                          <a:pt x="52352" y="51157"/>
                          <a:pt x="52352" y="51157"/>
                          <a:pt x="52352" y="51157"/>
                        </a:cubicBezTo>
                        <a:cubicBezTo>
                          <a:pt x="52352" y="51157"/>
                          <a:pt x="51470" y="50842"/>
                          <a:pt x="51176" y="51157"/>
                        </a:cubicBezTo>
                        <a:close/>
                        <a:moveTo>
                          <a:pt x="62058" y="51789"/>
                        </a:moveTo>
                        <a:cubicBezTo>
                          <a:pt x="62058" y="51789"/>
                          <a:pt x="62058" y="51789"/>
                          <a:pt x="62058" y="51789"/>
                        </a:cubicBezTo>
                        <a:cubicBezTo>
                          <a:pt x="61764" y="52421"/>
                          <a:pt x="61764" y="52421"/>
                          <a:pt x="61764" y="52421"/>
                        </a:cubicBezTo>
                        <a:cubicBezTo>
                          <a:pt x="61764" y="52421"/>
                          <a:pt x="62352" y="53052"/>
                          <a:pt x="62647" y="53684"/>
                        </a:cubicBezTo>
                        <a:cubicBezTo>
                          <a:pt x="62941" y="53684"/>
                          <a:pt x="64117" y="54947"/>
                          <a:pt x="64705" y="54947"/>
                        </a:cubicBezTo>
                        <a:cubicBezTo>
                          <a:pt x="67058" y="55894"/>
                          <a:pt x="63235" y="52736"/>
                          <a:pt x="62941" y="52421"/>
                        </a:cubicBezTo>
                        <a:cubicBezTo>
                          <a:pt x="62941" y="52421"/>
                          <a:pt x="62058" y="51473"/>
                          <a:pt x="62058" y="51789"/>
                        </a:cubicBezTo>
                        <a:close/>
                        <a:moveTo>
                          <a:pt x="75882" y="56210"/>
                        </a:moveTo>
                        <a:cubicBezTo>
                          <a:pt x="75882" y="56210"/>
                          <a:pt x="75882" y="56210"/>
                          <a:pt x="75882" y="56210"/>
                        </a:cubicBezTo>
                        <a:cubicBezTo>
                          <a:pt x="76470" y="56842"/>
                          <a:pt x="76470" y="56842"/>
                          <a:pt x="76470" y="56842"/>
                        </a:cubicBezTo>
                        <a:cubicBezTo>
                          <a:pt x="76470" y="56842"/>
                          <a:pt x="77352" y="56526"/>
                          <a:pt x="77941" y="56210"/>
                        </a:cubicBezTo>
                        <a:cubicBezTo>
                          <a:pt x="78529" y="56210"/>
                          <a:pt x="77941" y="55578"/>
                          <a:pt x="77941" y="55578"/>
                        </a:cubicBezTo>
                        <a:cubicBezTo>
                          <a:pt x="77058" y="55578"/>
                          <a:pt x="77058" y="55578"/>
                          <a:pt x="77058" y="55578"/>
                        </a:cubicBezTo>
                        <a:cubicBezTo>
                          <a:pt x="77058" y="55578"/>
                          <a:pt x="75882" y="55894"/>
                          <a:pt x="75882" y="56210"/>
                        </a:cubicBezTo>
                        <a:close/>
                        <a:moveTo>
                          <a:pt x="70000" y="23052"/>
                        </a:moveTo>
                        <a:cubicBezTo>
                          <a:pt x="70000" y="23052"/>
                          <a:pt x="70000" y="23052"/>
                          <a:pt x="70000" y="23052"/>
                        </a:cubicBezTo>
                        <a:cubicBezTo>
                          <a:pt x="70000" y="23052"/>
                          <a:pt x="68823" y="23684"/>
                          <a:pt x="68823" y="23684"/>
                        </a:cubicBezTo>
                        <a:cubicBezTo>
                          <a:pt x="68529" y="23684"/>
                          <a:pt x="68823" y="24315"/>
                          <a:pt x="69117" y="24315"/>
                        </a:cubicBezTo>
                        <a:cubicBezTo>
                          <a:pt x="69411" y="24631"/>
                          <a:pt x="70294" y="24947"/>
                          <a:pt x="70294" y="24947"/>
                        </a:cubicBezTo>
                        <a:cubicBezTo>
                          <a:pt x="70588" y="24947"/>
                          <a:pt x="71470" y="24315"/>
                          <a:pt x="72058" y="23684"/>
                        </a:cubicBezTo>
                        <a:cubicBezTo>
                          <a:pt x="72647" y="23368"/>
                          <a:pt x="71470" y="23052"/>
                          <a:pt x="71470" y="23052"/>
                        </a:cubicBezTo>
                        <a:cubicBezTo>
                          <a:pt x="70000" y="23052"/>
                          <a:pt x="70000" y="23052"/>
                          <a:pt x="70000" y="23052"/>
                        </a:cubicBezTo>
                        <a:close/>
                        <a:moveTo>
                          <a:pt x="59411" y="20842"/>
                        </a:moveTo>
                        <a:cubicBezTo>
                          <a:pt x="59411" y="20842"/>
                          <a:pt x="59411" y="20842"/>
                          <a:pt x="59411" y="20842"/>
                        </a:cubicBezTo>
                        <a:cubicBezTo>
                          <a:pt x="59411" y="20842"/>
                          <a:pt x="58235" y="20842"/>
                          <a:pt x="57941" y="20842"/>
                        </a:cubicBezTo>
                        <a:cubicBezTo>
                          <a:pt x="57941" y="20842"/>
                          <a:pt x="57647" y="21157"/>
                          <a:pt x="57352" y="21473"/>
                        </a:cubicBezTo>
                        <a:cubicBezTo>
                          <a:pt x="57058" y="21789"/>
                          <a:pt x="57058" y="22421"/>
                          <a:pt x="56764" y="23052"/>
                        </a:cubicBezTo>
                        <a:cubicBezTo>
                          <a:pt x="56764" y="23684"/>
                          <a:pt x="57058" y="23684"/>
                          <a:pt x="57058" y="23684"/>
                        </a:cubicBezTo>
                        <a:cubicBezTo>
                          <a:pt x="57352" y="24000"/>
                          <a:pt x="57352" y="24000"/>
                          <a:pt x="57941" y="24631"/>
                        </a:cubicBezTo>
                        <a:cubicBezTo>
                          <a:pt x="58529" y="24947"/>
                          <a:pt x="59117" y="24315"/>
                          <a:pt x="59705" y="24000"/>
                        </a:cubicBezTo>
                        <a:cubicBezTo>
                          <a:pt x="60588" y="23684"/>
                          <a:pt x="60000" y="23368"/>
                          <a:pt x="60294" y="22736"/>
                        </a:cubicBezTo>
                        <a:cubicBezTo>
                          <a:pt x="60294" y="22421"/>
                          <a:pt x="60000" y="21473"/>
                          <a:pt x="60000" y="21473"/>
                        </a:cubicBezTo>
                        <a:cubicBezTo>
                          <a:pt x="60000" y="21157"/>
                          <a:pt x="59411" y="20842"/>
                          <a:pt x="59411" y="20842"/>
                        </a:cubicBezTo>
                        <a:close/>
                        <a:moveTo>
                          <a:pt x="69411" y="32526"/>
                        </a:moveTo>
                        <a:cubicBezTo>
                          <a:pt x="69411" y="32526"/>
                          <a:pt x="69411" y="32526"/>
                          <a:pt x="69411" y="32526"/>
                        </a:cubicBezTo>
                        <a:cubicBezTo>
                          <a:pt x="69411" y="32526"/>
                          <a:pt x="69117" y="33157"/>
                          <a:pt x="69117" y="33157"/>
                        </a:cubicBezTo>
                        <a:cubicBezTo>
                          <a:pt x="69117" y="33157"/>
                          <a:pt x="69117" y="33789"/>
                          <a:pt x="69117" y="33789"/>
                        </a:cubicBezTo>
                        <a:cubicBezTo>
                          <a:pt x="69117" y="33789"/>
                          <a:pt x="68823" y="34105"/>
                          <a:pt x="68529" y="34421"/>
                        </a:cubicBezTo>
                        <a:cubicBezTo>
                          <a:pt x="67941" y="35052"/>
                          <a:pt x="68529" y="35052"/>
                          <a:pt x="68823" y="35368"/>
                        </a:cubicBezTo>
                        <a:cubicBezTo>
                          <a:pt x="69117" y="36000"/>
                          <a:pt x="68823" y="35684"/>
                          <a:pt x="69117" y="35684"/>
                        </a:cubicBezTo>
                        <a:cubicBezTo>
                          <a:pt x="69117" y="36000"/>
                          <a:pt x="69411" y="35684"/>
                          <a:pt x="70000" y="35368"/>
                        </a:cubicBezTo>
                        <a:cubicBezTo>
                          <a:pt x="70588" y="35052"/>
                          <a:pt x="70294" y="35052"/>
                          <a:pt x="70294" y="35052"/>
                        </a:cubicBezTo>
                        <a:cubicBezTo>
                          <a:pt x="70294" y="35052"/>
                          <a:pt x="69705" y="34105"/>
                          <a:pt x="69705" y="34105"/>
                        </a:cubicBezTo>
                        <a:cubicBezTo>
                          <a:pt x="69705" y="34105"/>
                          <a:pt x="69705" y="33789"/>
                          <a:pt x="69705" y="33789"/>
                        </a:cubicBezTo>
                        <a:cubicBezTo>
                          <a:pt x="69705" y="33473"/>
                          <a:pt x="70000" y="33473"/>
                          <a:pt x="70294" y="33157"/>
                        </a:cubicBezTo>
                        <a:cubicBezTo>
                          <a:pt x="70588" y="32526"/>
                          <a:pt x="70588" y="32210"/>
                          <a:pt x="70588" y="32210"/>
                        </a:cubicBezTo>
                        <a:cubicBezTo>
                          <a:pt x="70588" y="31894"/>
                          <a:pt x="70000" y="31894"/>
                          <a:pt x="70000" y="31894"/>
                        </a:cubicBezTo>
                        <a:cubicBezTo>
                          <a:pt x="70000" y="31894"/>
                          <a:pt x="69411" y="32210"/>
                          <a:pt x="69411" y="32526"/>
                        </a:cubicBezTo>
                        <a:close/>
                        <a:moveTo>
                          <a:pt x="68529" y="33157"/>
                        </a:moveTo>
                        <a:cubicBezTo>
                          <a:pt x="68529" y="33157"/>
                          <a:pt x="68529" y="33157"/>
                          <a:pt x="68529" y="33157"/>
                        </a:cubicBezTo>
                        <a:cubicBezTo>
                          <a:pt x="68235" y="32526"/>
                          <a:pt x="68235" y="32526"/>
                          <a:pt x="68235" y="32526"/>
                        </a:cubicBezTo>
                        <a:cubicBezTo>
                          <a:pt x="68235" y="32526"/>
                          <a:pt x="67941" y="32210"/>
                          <a:pt x="67058" y="32210"/>
                        </a:cubicBezTo>
                        <a:cubicBezTo>
                          <a:pt x="66470" y="32210"/>
                          <a:pt x="66470" y="32526"/>
                          <a:pt x="65882" y="32526"/>
                        </a:cubicBezTo>
                        <a:cubicBezTo>
                          <a:pt x="65294" y="32526"/>
                          <a:pt x="65294" y="33157"/>
                          <a:pt x="65294" y="33473"/>
                        </a:cubicBezTo>
                        <a:cubicBezTo>
                          <a:pt x="65000" y="34105"/>
                          <a:pt x="65294" y="33789"/>
                          <a:pt x="65588" y="34105"/>
                        </a:cubicBezTo>
                        <a:cubicBezTo>
                          <a:pt x="65882" y="34421"/>
                          <a:pt x="65588" y="34421"/>
                          <a:pt x="65882" y="35368"/>
                        </a:cubicBezTo>
                        <a:cubicBezTo>
                          <a:pt x="65882" y="36000"/>
                          <a:pt x="66176" y="35684"/>
                          <a:pt x="66176" y="35684"/>
                        </a:cubicBezTo>
                        <a:cubicBezTo>
                          <a:pt x="66470" y="36000"/>
                          <a:pt x="66764" y="35684"/>
                          <a:pt x="67352" y="35368"/>
                        </a:cubicBezTo>
                        <a:cubicBezTo>
                          <a:pt x="67941" y="34736"/>
                          <a:pt x="67352" y="34736"/>
                          <a:pt x="67352" y="34736"/>
                        </a:cubicBezTo>
                        <a:cubicBezTo>
                          <a:pt x="67352" y="34736"/>
                          <a:pt x="67941" y="34421"/>
                          <a:pt x="68529" y="33789"/>
                        </a:cubicBezTo>
                        <a:cubicBezTo>
                          <a:pt x="68823" y="33157"/>
                          <a:pt x="68529" y="33157"/>
                          <a:pt x="68529" y="33157"/>
                        </a:cubicBezTo>
                        <a:close/>
                        <a:moveTo>
                          <a:pt x="83529" y="43894"/>
                        </a:moveTo>
                        <a:cubicBezTo>
                          <a:pt x="83529" y="43894"/>
                          <a:pt x="83529" y="43894"/>
                          <a:pt x="83529" y="43894"/>
                        </a:cubicBezTo>
                        <a:cubicBezTo>
                          <a:pt x="83235" y="43894"/>
                          <a:pt x="82941" y="44526"/>
                          <a:pt x="82941" y="44526"/>
                        </a:cubicBezTo>
                        <a:cubicBezTo>
                          <a:pt x="82941" y="44526"/>
                          <a:pt x="82647" y="44842"/>
                          <a:pt x="82647" y="45157"/>
                        </a:cubicBezTo>
                        <a:cubicBezTo>
                          <a:pt x="82352" y="45157"/>
                          <a:pt x="82058" y="45789"/>
                          <a:pt x="82058" y="45789"/>
                        </a:cubicBezTo>
                        <a:cubicBezTo>
                          <a:pt x="82058" y="45789"/>
                          <a:pt x="82352" y="46105"/>
                          <a:pt x="82647" y="46105"/>
                        </a:cubicBezTo>
                        <a:cubicBezTo>
                          <a:pt x="82941" y="46421"/>
                          <a:pt x="82941" y="46421"/>
                          <a:pt x="83235" y="46421"/>
                        </a:cubicBezTo>
                        <a:cubicBezTo>
                          <a:pt x="83529" y="46421"/>
                          <a:pt x="83529" y="46421"/>
                          <a:pt x="84411" y="46421"/>
                        </a:cubicBezTo>
                        <a:cubicBezTo>
                          <a:pt x="85588" y="46421"/>
                          <a:pt x="86470" y="46421"/>
                          <a:pt x="86764" y="46421"/>
                        </a:cubicBezTo>
                        <a:cubicBezTo>
                          <a:pt x="86764" y="46421"/>
                          <a:pt x="87352" y="46105"/>
                          <a:pt x="87352" y="46105"/>
                        </a:cubicBezTo>
                        <a:cubicBezTo>
                          <a:pt x="87352" y="45789"/>
                          <a:pt x="87352" y="45789"/>
                          <a:pt x="87058" y="45473"/>
                        </a:cubicBezTo>
                        <a:cubicBezTo>
                          <a:pt x="86764" y="44842"/>
                          <a:pt x="86176" y="44526"/>
                          <a:pt x="86176" y="44526"/>
                        </a:cubicBezTo>
                        <a:cubicBezTo>
                          <a:pt x="85882" y="44526"/>
                          <a:pt x="86176" y="43894"/>
                          <a:pt x="86470" y="44210"/>
                        </a:cubicBezTo>
                        <a:cubicBezTo>
                          <a:pt x="86470" y="44210"/>
                          <a:pt x="87352" y="45157"/>
                          <a:pt x="87352" y="45157"/>
                        </a:cubicBezTo>
                        <a:cubicBezTo>
                          <a:pt x="87647" y="45157"/>
                          <a:pt x="88235" y="45157"/>
                          <a:pt x="88235" y="44526"/>
                        </a:cubicBezTo>
                        <a:cubicBezTo>
                          <a:pt x="87941" y="44210"/>
                          <a:pt x="88529" y="43578"/>
                          <a:pt x="87647" y="43263"/>
                        </a:cubicBezTo>
                        <a:cubicBezTo>
                          <a:pt x="87058" y="42947"/>
                          <a:pt x="86764" y="42631"/>
                          <a:pt x="86470" y="42631"/>
                        </a:cubicBezTo>
                        <a:cubicBezTo>
                          <a:pt x="85882" y="42631"/>
                          <a:pt x="86764" y="42947"/>
                          <a:pt x="85588" y="42000"/>
                        </a:cubicBezTo>
                        <a:cubicBezTo>
                          <a:pt x="84411" y="41052"/>
                          <a:pt x="84411" y="41368"/>
                          <a:pt x="84411" y="41368"/>
                        </a:cubicBezTo>
                        <a:cubicBezTo>
                          <a:pt x="84411" y="41368"/>
                          <a:pt x="85000" y="40421"/>
                          <a:pt x="84705" y="40105"/>
                        </a:cubicBezTo>
                        <a:cubicBezTo>
                          <a:pt x="84705" y="40105"/>
                          <a:pt x="83529" y="39789"/>
                          <a:pt x="83529" y="39789"/>
                        </a:cubicBezTo>
                        <a:cubicBezTo>
                          <a:pt x="83529" y="39789"/>
                          <a:pt x="82058" y="40105"/>
                          <a:pt x="82058" y="40105"/>
                        </a:cubicBezTo>
                        <a:cubicBezTo>
                          <a:pt x="81764" y="40421"/>
                          <a:pt x="81470" y="40736"/>
                          <a:pt x="81470" y="40736"/>
                        </a:cubicBezTo>
                        <a:cubicBezTo>
                          <a:pt x="81470" y="41368"/>
                          <a:pt x="81470" y="41368"/>
                          <a:pt x="81470" y="41368"/>
                        </a:cubicBezTo>
                        <a:cubicBezTo>
                          <a:pt x="80882" y="41684"/>
                          <a:pt x="80882" y="41684"/>
                          <a:pt x="80882" y="41684"/>
                        </a:cubicBezTo>
                        <a:cubicBezTo>
                          <a:pt x="80882" y="41684"/>
                          <a:pt x="80588" y="42315"/>
                          <a:pt x="80588" y="42315"/>
                        </a:cubicBezTo>
                        <a:cubicBezTo>
                          <a:pt x="80294" y="42315"/>
                          <a:pt x="79705" y="42631"/>
                          <a:pt x="79705" y="42631"/>
                        </a:cubicBezTo>
                        <a:cubicBezTo>
                          <a:pt x="79411" y="42631"/>
                          <a:pt x="78823" y="42631"/>
                          <a:pt x="78823" y="42947"/>
                        </a:cubicBezTo>
                        <a:cubicBezTo>
                          <a:pt x="78529" y="43263"/>
                          <a:pt x="77647" y="43578"/>
                          <a:pt x="77647" y="43578"/>
                        </a:cubicBezTo>
                        <a:cubicBezTo>
                          <a:pt x="77647" y="43578"/>
                          <a:pt x="77352" y="43894"/>
                          <a:pt x="77941" y="44526"/>
                        </a:cubicBezTo>
                        <a:cubicBezTo>
                          <a:pt x="78529" y="44842"/>
                          <a:pt x="79117" y="44842"/>
                          <a:pt x="79117" y="45157"/>
                        </a:cubicBezTo>
                        <a:cubicBezTo>
                          <a:pt x="79411" y="45157"/>
                          <a:pt x="79411" y="45157"/>
                          <a:pt x="79705" y="45157"/>
                        </a:cubicBezTo>
                        <a:cubicBezTo>
                          <a:pt x="80000" y="45473"/>
                          <a:pt x="80000" y="45473"/>
                          <a:pt x="80588" y="45473"/>
                        </a:cubicBezTo>
                        <a:cubicBezTo>
                          <a:pt x="80882" y="45157"/>
                          <a:pt x="81470" y="45157"/>
                          <a:pt x="81470" y="44842"/>
                        </a:cubicBezTo>
                        <a:cubicBezTo>
                          <a:pt x="81764" y="44526"/>
                          <a:pt x="81764" y="44210"/>
                          <a:pt x="82058" y="43894"/>
                        </a:cubicBezTo>
                        <a:cubicBezTo>
                          <a:pt x="82058" y="43578"/>
                          <a:pt x="82058" y="43263"/>
                          <a:pt x="82647" y="43263"/>
                        </a:cubicBezTo>
                        <a:cubicBezTo>
                          <a:pt x="82941" y="43263"/>
                          <a:pt x="83529" y="42947"/>
                          <a:pt x="83529" y="42947"/>
                        </a:cubicBezTo>
                        <a:cubicBezTo>
                          <a:pt x="83529" y="42947"/>
                          <a:pt x="83529" y="43894"/>
                          <a:pt x="83529" y="43894"/>
                        </a:cubicBezTo>
                        <a:close/>
                        <a:moveTo>
                          <a:pt x="85000" y="57473"/>
                        </a:moveTo>
                        <a:cubicBezTo>
                          <a:pt x="85000" y="57473"/>
                          <a:pt x="85000" y="57473"/>
                          <a:pt x="85000" y="57473"/>
                        </a:cubicBezTo>
                        <a:cubicBezTo>
                          <a:pt x="84705" y="57157"/>
                          <a:pt x="84705" y="57157"/>
                          <a:pt x="84705" y="57157"/>
                        </a:cubicBezTo>
                        <a:cubicBezTo>
                          <a:pt x="84705" y="56842"/>
                          <a:pt x="84705" y="56842"/>
                          <a:pt x="84705" y="56842"/>
                        </a:cubicBezTo>
                        <a:cubicBezTo>
                          <a:pt x="83823" y="55894"/>
                          <a:pt x="83823" y="55894"/>
                          <a:pt x="83823" y="55894"/>
                        </a:cubicBezTo>
                        <a:cubicBezTo>
                          <a:pt x="83823" y="55894"/>
                          <a:pt x="85000" y="55578"/>
                          <a:pt x="85588" y="55263"/>
                        </a:cubicBezTo>
                        <a:cubicBezTo>
                          <a:pt x="86470" y="54947"/>
                          <a:pt x="85588" y="54631"/>
                          <a:pt x="85588" y="54315"/>
                        </a:cubicBezTo>
                        <a:cubicBezTo>
                          <a:pt x="85588" y="54315"/>
                          <a:pt x="85294" y="54315"/>
                          <a:pt x="84705" y="54315"/>
                        </a:cubicBezTo>
                        <a:cubicBezTo>
                          <a:pt x="84411" y="54315"/>
                          <a:pt x="84117" y="54315"/>
                          <a:pt x="83529" y="54631"/>
                        </a:cubicBezTo>
                        <a:cubicBezTo>
                          <a:pt x="83235" y="54631"/>
                          <a:pt x="82941" y="54000"/>
                          <a:pt x="82941" y="54000"/>
                        </a:cubicBezTo>
                        <a:cubicBezTo>
                          <a:pt x="82647" y="54000"/>
                          <a:pt x="81470" y="54000"/>
                          <a:pt x="81176" y="54000"/>
                        </a:cubicBezTo>
                        <a:cubicBezTo>
                          <a:pt x="81176" y="54000"/>
                          <a:pt x="80882" y="54631"/>
                          <a:pt x="80588" y="54947"/>
                        </a:cubicBezTo>
                        <a:cubicBezTo>
                          <a:pt x="80294" y="55263"/>
                          <a:pt x="80000" y="55578"/>
                          <a:pt x="79705" y="55578"/>
                        </a:cubicBezTo>
                        <a:cubicBezTo>
                          <a:pt x="79411" y="55894"/>
                          <a:pt x="80588" y="56526"/>
                          <a:pt x="80882" y="56526"/>
                        </a:cubicBezTo>
                        <a:cubicBezTo>
                          <a:pt x="80882" y="56842"/>
                          <a:pt x="81764" y="56842"/>
                          <a:pt x="81764" y="57157"/>
                        </a:cubicBezTo>
                        <a:cubicBezTo>
                          <a:pt x="82058" y="57157"/>
                          <a:pt x="82941" y="57789"/>
                          <a:pt x="83235" y="57789"/>
                        </a:cubicBezTo>
                        <a:cubicBezTo>
                          <a:pt x="83529" y="58105"/>
                          <a:pt x="82941" y="58421"/>
                          <a:pt x="82647" y="59052"/>
                        </a:cubicBezTo>
                        <a:cubicBezTo>
                          <a:pt x="82352" y="59684"/>
                          <a:pt x="82058" y="59684"/>
                          <a:pt x="81764" y="60000"/>
                        </a:cubicBezTo>
                        <a:cubicBezTo>
                          <a:pt x="81470" y="60315"/>
                          <a:pt x="82058" y="60631"/>
                          <a:pt x="82352" y="60947"/>
                        </a:cubicBezTo>
                        <a:cubicBezTo>
                          <a:pt x="82647" y="61263"/>
                          <a:pt x="83235" y="61578"/>
                          <a:pt x="83235" y="61578"/>
                        </a:cubicBezTo>
                        <a:cubicBezTo>
                          <a:pt x="83529" y="61578"/>
                          <a:pt x="84411" y="60947"/>
                          <a:pt x="84411" y="60947"/>
                        </a:cubicBezTo>
                        <a:cubicBezTo>
                          <a:pt x="84411" y="60947"/>
                          <a:pt x="84705" y="60000"/>
                          <a:pt x="84705" y="60000"/>
                        </a:cubicBezTo>
                        <a:cubicBezTo>
                          <a:pt x="84705" y="59684"/>
                          <a:pt x="85000" y="59052"/>
                          <a:pt x="85000" y="59052"/>
                        </a:cubicBezTo>
                        <a:cubicBezTo>
                          <a:pt x="85294" y="58736"/>
                          <a:pt x="85294" y="58736"/>
                          <a:pt x="85294" y="58736"/>
                        </a:cubicBezTo>
                        <a:cubicBezTo>
                          <a:pt x="85000" y="57473"/>
                          <a:pt x="85000" y="57473"/>
                          <a:pt x="85000" y="57473"/>
                        </a:cubicBezTo>
                        <a:close/>
                        <a:moveTo>
                          <a:pt x="92941" y="66000"/>
                        </a:moveTo>
                        <a:cubicBezTo>
                          <a:pt x="92941" y="66000"/>
                          <a:pt x="92941" y="66000"/>
                          <a:pt x="92941" y="66000"/>
                        </a:cubicBezTo>
                        <a:cubicBezTo>
                          <a:pt x="93235" y="65684"/>
                          <a:pt x="93823" y="65052"/>
                          <a:pt x="93823" y="64736"/>
                        </a:cubicBezTo>
                        <a:cubicBezTo>
                          <a:pt x="93823" y="64736"/>
                          <a:pt x="94411" y="64736"/>
                          <a:pt x="94705" y="64736"/>
                        </a:cubicBezTo>
                        <a:cubicBezTo>
                          <a:pt x="94705" y="64736"/>
                          <a:pt x="95882" y="65052"/>
                          <a:pt x="95882" y="65052"/>
                        </a:cubicBezTo>
                        <a:cubicBezTo>
                          <a:pt x="95882" y="65052"/>
                          <a:pt x="96764" y="65052"/>
                          <a:pt x="96764" y="65052"/>
                        </a:cubicBezTo>
                        <a:cubicBezTo>
                          <a:pt x="96764" y="65052"/>
                          <a:pt x="97647" y="64421"/>
                          <a:pt x="97647" y="64421"/>
                        </a:cubicBezTo>
                        <a:cubicBezTo>
                          <a:pt x="97941" y="64421"/>
                          <a:pt x="98823" y="65368"/>
                          <a:pt x="98823" y="65368"/>
                        </a:cubicBezTo>
                        <a:cubicBezTo>
                          <a:pt x="98823" y="65368"/>
                          <a:pt x="98235" y="66315"/>
                          <a:pt x="97941" y="66315"/>
                        </a:cubicBezTo>
                        <a:cubicBezTo>
                          <a:pt x="97647" y="66631"/>
                          <a:pt x="97352" y="66631"/>
                          <a:pt x="97058" y="66947"/>
                        </a:cubicBezTo>
                        <a:cubicBezTo>
                          <a:pt x="96764" y="67578"/>
                          <a:pt x="96764" y="67578"/>
                          <a:pt x="96764" y="67894"/>
                        </a:cubicBezTo>
                        <a:cubicBezTo>
                          <a:pt x="96470" y="67894"/>
                          <a:pt x="96176" y="68526"/>
                          <a:pt x="95588" y="67894"/>
                        </a:cubicBezTo>
                        <a:cubicBezTo>
                          <a:pt x="95000" y="67578"/>
                          <a:pt x="94411" y="66947"/>
                          <a:pt x="94411" y="66947"/>
                        </a:cubicBezTo>
                        <a:cubicBezTo>
                          <a:pt x="94411" y="66947"/>
                          <a:pt x="93823" y="67263"/>
                          <a:pt x="93529" y="67263"/>
                        </a:cubicBezTo>
                        <a:cubicBezTo>
                          <a:pt x="93235" y="67578"/>
                          <a:pt x="92647" y="67263"/>
                          <a:pt x="92647" y="67263"/>
                        </a:cubicBezTo>
                        <a:cubicBezTo>
                          <a:pt x="92941" y="66947"/>
                          <a:pt x="92647" y="66315"/>
                          <a:pt x="92941" y="66000"/>
                        </a:cubicBezTo>
                        <a:close/>
                        <a:moveTo>
                          <a:pt x="86764" y="72315"/>
                        </a:moveTo>
                        <a:cubicBezTo>
                          <a:pt x="86764" y="72315"/>
                          <a:pt x="86764" y="72315"/>
                          <a:pt x="86764" y="72315"/>
                        </a:cubicBezTo>
                        <a:cubicBezTo>
                          <a:pt x="86764" y="72315"/>
                          <a:pt x="85588" y="71684"/>
                          <a:pt x="85882" y="71368"/>
                        </a:cubicBezTo>
                        <a:cubicBezTo>
                          <a:pt x="86176" y="70736"/>
                          <a:pt x="87352" y="69473"/>
                          <a:pt x="87647" y="69157"/>
                        </a:cubicBezTo>
                        <a:cubicBezTo>
                          <a:pt x="87647" y="69157"/>
                          <a:pt x="88529" y="69473"/>
                          <a:pt x="88529" y="69473"/>
                        </a:cubicBezTo>
                        <a:cubicBezTo>
                          <a:pt x="88823" y="69473"/>
                          <a:pt x="89117" y="68526"/>
                          <a:pt x="89411" y="68526"/>
                        </a:cubicBezTo>
                        <a:cubicBezTo>
                          <a:pt x="89411" y="68526"/>
                          <a:pt x="90588" y="68526"/>
                          <a:pt x="90588" y="68526"/>
                        </a:cubicBezTo>
                        <a:cubicBezTo>
                          <a:pt x="90588" y="68526"/>
                          <a:pt x="90000" y="69789"/>
                          <a:pt x="89411" y="70105"/>
                        </a:cubicBezTo>
                        <a:cubicBezTo>
                          <a:pt x="88823" y="70421"/>
                          <a:pt x="88529" y="70421"/>
                          <a:pt x="88529" y="70736"/>
                        </a:cubicBezTo>
                        <a:cubicBezTo>
                          <a:pt x="88235" y="71052"/>
                          <a:pt x="87941" y="71368"/>
                          <a:pt x="87941" y="71684"/>
                        </a:cubicBezTo>
                        <a:cubicBezTo>
                          <a:pt x="87647" y="71684"/>
                          <a:pt x="86764" y="72315"/>
                          <a:pt x="86764" y="72315"/>
                        </a:cubicBezTo>
                        <a:close/>
                        <a:moveTo>
                          <a:pt x="82941" y="84631"/>
                        </a:moveTo>
                        <a:cubicBezTo>
                          <a:pt x="82941" y="84631"/>
                          <a:pt x="82941" y="84631"/>
                          <a:pt x="82941" y="84631"/>
                        </a:cubicBezTo>
                        <a:cubicBezTo>
                          <a:pt x="83235" y="84947"/>
                          <a:pt x="82647" y="86210"/>
                          <a:pt x="81764" y="85578"/>
                        </a:cubicBezTo>
                        <a:cubicBezTo>
                          <a:pt x="81764" y="85578"/>
                          <a:pt x="81470" y="84947"/>
                          <a:pt x="82058" y="84631"/>
                        </a:cubicBezTo>
                        <a:cubicBezTo>
                          <a:pt x="82352" y="84631"/>
                          <a:pt x="82941" y="84631"/>
                          <a:pt x="82941" y="84631"/>
                        </a:cubicBezTo>
                        <a:close/>
                        <a:moveTo>
                          <a:pt x="82058" y="92210"/>
                        </a:moveTo>
                        <a:cubicBezTo>
                          <a:pt x="82058" y="92210"/>
                          <a:pt x="82058" y="92210"/>
                          <a:pt x="82058" y="92210"/>
                        </a:cubicBezTo>
                        <a:cubicBezTo>
                          <a:pt x="82058" y="92210"/>
                          <a:pt x="82647" y="91578"/>
                          <a:pt x="82647" y="91578"/>
                        </a:cubicBezTo>
                        <a:cubicBezTo>
                          <a:pt x="82941" y="91578"/>
                          <a:pt x="83235" y="91894"/>
                          <a:pt x="83235" y="91894"/>
                        </a:cubicBezTo>
                        <a:cubicBezTo>
                          <a:pt x="83235" y="91894"/>
                          <a:pt x="84117" y="92526"/>
                          <a:pt x="84117" y="92526"/>
                        </a:cubicBezTo>
                        <a:cubicBezTo>
                          <a:pt x="84117" y="92842"/>
                          <a:pt x="84411" y="93473"/>
                          <a:pt x="84117" y="93473"/>
                        </a:cubicBezTo>
                        <a:cubicBezTo>
                          <a:pt x="83823" y="93789"/>
                          <a:pt x="83529" y="94105"/>
                          <a:pt x="83235" y="93789"/>
                        </a:cubicBezTo>
                        <a:cubicBezTo>
                          <a:pt x="82941" y="93789"/>
                          <a:pt x="82647" y="93789"/>
                          <a:pt x="82647" y="93473"/>
                        </a:cubicBezTo>
                        <a:cubicBezTo>
                          <a:pt x="82647" y="93157"/>
                          <a:pt x="82647" y="93157"/>
                          <a:pt x="82647" y="92842"/>
                        </a:cubicBezTo>
                        <a:cubicBezTo>
                          <a:pt x="82647" y="92842"/>
                          <a:pt x="82058" y="92842"/>
                          <a:pt x="82058" y="92842"/>
                        </a:cubicBezTo>
                        <a:cubicBezTo>
                          <a:pt x="82058" y="92210"/>
                          <a:pt x="82058" y="92210"/>
                          <a:pt x="82058" y="92210"/>
                        </a:cubicBezTo>
                        <a:close/>
                        <a:moveTo>
                          <a:pt x="70000" y="88105"/>
                        </a:moveTo>
                        <a:cubicBezTo>
                          <a:pt x="70000" y="88105"/>
                          <a:pt x="70000" y="88105"/>
                          <a:pt x="70000" y="88105"/>
                        </a:cubicBezTo>
                        <a:cubicBezTo>
                          <a:pt x="70294" y="88105"/>
                          <a:pt x="70882" y="87789"/>
                          <a:pt x="70882" y="88105"/>
                        </a:cubicBezTo>
                        <a:cubicBezTo>
                          <a:pt x="71176" y="88421"/>
                          <a:pt x="71470" y="88421"/>
                          <a:pt x="71470" y="88736"/>
                        </a:cubicBezTo>
                        <a:cubicBezTo>
                          <a:pt x="71470" y="88736"/>
                          <a:pt x="71764" y="89052"/>
                          <a:pt x="71176" y="89368"/>
                        </a:cubicBezTo>
                        <a:cubicBezTo>
                          <a:pt x="70588" y="89368"/>
                          <a:pt x="70294" y="89368"/>
                          <a:pt x="70294" y="89368"/>
                        </a:cubicBezTo>
                        <a:cubicBezTo>
                          <a:pt x="70588" y="90315"/>
                          <a:pt x="70588" y="90315"/>
                          <a:pt x="70588" y="90315"/>
                        </a:cubicBezTo>
                        <a:cubicBezTo>
                          <a:pt x="70588" y="90315"/>
                          <a:pt x="71176" y="90315"/>
                          <a:pt x="70294" y="90947"/>
                        </a:cubicBezTo>
                        <a:cubicBezTo>
                          <a:pt x="69705" y="91578"/>
                          <a:pt x="69117" y="91578"/>
                          <a:pt x="69117" y="91578"/>
                        </a:cubicBezTo>
                        <a:cubicBezTo>
                          <a:pt x="69117" y="91263"/>
                          <a:pt x="69117" y="91263"/>
                          <a:pt x="69117" y="91263"/>
                        </a:cubicBezTo>
                        <a:cubicBezTo>
                          <a:pt x="68235" y="91578"/>
                          <a:pt x="68235" y="91578"/>
                          <a:pt x="68235" y="91578"/>
                        </a:cubicBezTo>
                        <a:cubicBezTo>
                          <a:pt x="68235" y="91578"/>
                          <a:pt x="67941" y="91894"/>
                          <a:pt x="67941" y="91578"/>
                        </a:cubicBezTo>
                        <a:cubicBezTo>
                          <a:pt x="67647" y="90947"/>
                          <a:pt x="67352" y="90315"/>
                          <a:pt x="67941" y="90315"/>
                        </a:cubicBezTo>
                        <a:cubicBezTo>
                          <a:pt x="68529" y="90000"/>
                          <a:pt x="68529" y="89684"/>
                          <a:pt x="68823" y="90000"/>
                        </a:cubicBezTo>
                        <a:cubicBezTo>
                          <a:pt x="69117" y="90315"/>
                          <a:pt x="69117" y="90631"/>
                          <a:pt x="69117" y="90631"/>
                        </a:cubicBezTo>
                        <a:cubicBezTo>
                          <a:pt x="69411" y="89684"/>
                          <a:pt x="69411" y="89684"/>
                          <a:pt x="69411" y="89684"/>
                        </a:cubicBezTo>
                        <a:cubicBezTo>
                          <a:pt x="69411" y="89684"/>
                          <a:pt x="69117" y="89684"/>
                          <a:pt x="69117" y="89368"/>
                        </a:cubicBezTo>
                        <a:cubicBezTo>
                          <a:pt x="69411" y="89052"/>
                          <a:pt x="69411" y="89052"/>
                          <a:pt x="69705" y="88736"/>
                        </a:cubicBezTo>
                        <a:cubicBezTo>
                          <a:pt x="70000" y="88736"/>
                          <a:pt x="70294" y="89052"/>
                          <a:pt x="70294" y="89052"/>
                        </a:cubicBezTo>
                        <a:cubicBezTo>
                          <a:pt x="70000" y="88105"/>
                          <a:pt x="70000" y="88105"/>
                          <a:pt x="70000" y="88105"/>
                        </a:cubicBezTo>
                        <a:close/>
                        <a:moveTo>
                          <a:pt x="75882" y="90315"/>
                        </a:moveTo>
                        <a:cubicBezTo>
                          <a:pt x="75882" y="90315"/>
                          <a:pt x="75882" y="90315"/>
                          <a:pt x="75882" y="90315"/>
                        </a:cubicBezTo>
                        <a:cubicBezTo>
                          <a:pt x="75882" y="90315"/>
                          <a:pt x="76176" y="90315"/>
                          <a:pt x="76176" y="90631"/>
                        </a:cubicBezTo>
                        <a:cubicBezTo>
                          <a:pt x="76470" y="90947"/>
                          <a:pt x="76470" y="90947"/>
                          <a:pt x="76176" y="90947"/>
                        </a:cubicBezTo>
                        <a:cubicBezTo>
                          <a:pt x="76176" y="90947"/>
                          <a:pt x="75294" y="90947"/>
                          <a:pt x="75294" y="90947"/>
                        </a:cubicBezTo>
                        <a:cubicBezTo>
                          <a:pt x="75294" y="90947"/>
                          <a:pt x="75000" y="91263"/>
                          <a:pt x="75000" y="90631"/>
                        </a:cubicBezTo>
                        <a:cubicBezTo>
                          <a:pt x="75000" y="90315"/>
                          <a:pt x="75000" y="90000"/>
                          <a:pt x="75000" y="90000"/>
                        </a:cubicBezTo>
                        <a:cubicBezTo>
                          <a:pt x="75882" y="90315"/>
                          <a:pt x="75882" y="90315"/>
                          <a:pt x="75882" y="90315"/>
                        </a:cubicBezTo>
                        <a:close/>
                        <a:moveTo>
                          <a:pt x="77941" y="89052"/>
                        </a:moveTo>
                        <a:cubicBezTo>
                          <a:pt x="77941" y="89052"/>
                          <a:pt x="77941" y="89052"/>
                          <a:pt x="77941" y="89052"/>
                        </a:cubicBezTo>
                        <a:cubicBezTo>
                          <a:pt x="79117" y="88105"/>
                          <a:pt x="79117" y="88105"/>
                          <a:pt x="79117" y="88105"/>
                        </a:cubicBezTo>
                        <a:cubicBezTo>
                          <a:pt x="79117" y="88105"/>
                          <a:pt x="79411" y="89052"/>
                          <a:pt x="78823" y="89368"/>
                        </a:cubicBezTo>
                        <a:cubicBezTo>
                          <a:pt x="78529" y="89684"/>
                          <a:pt x="78235" y="89684"/>
                          <a:pt x="78235" y="89684"/>
                        </a:cubicBezTo>
                        <a:cubicBezTo>
                          <a:pt x="77647" y="89368"/>
                          <a:pt x="77647" y="89368"/>
                          <a:pt x="77647" y="89368"/>
                        </a:cubicBezTo>
                        <a:cubicBezTo>
                          <a:pt x="77941" y="89052"/>
                          <a:pt x="77941" y="89052"/>
                          <a:pt x="77941" y="89052"/>
                        </a:cubicBezTo>
                        <a:close/>
                        <a:moveTo>
                          <a:pt x="80294" y="86842"/>
                        </a:moveTo>
                        <a:cubicBezTo>
                          <a:pt x="80294" y="86842"/>
                          <a:pt x="80294" y="86842"/>
                          <a:pt x="80294" y="86842"/>
                        </a:cubicBezTo>
                        <a:cubicBezTo>
                          <a:pt x="80294" y="86842"/>
                          <a:pt x="80000" y="87789"/>
                          <a:pt x="80294" y="88421"/>
                        </a:cubicBezTo>
                        <a:cubicBezTo>
                          <a:pt x="80294" y="88736"/>
                          <a:pt x="80294" y="88736"/>
                          <a:pt x="80588" y="88736"/>
                        </a:cubicBezTo>
                        <a:cubicBezTo>
                          <a:pt x="80882" y="89052"/>
                          <a:pt x="81176" y="89052"/>
                          <a:pt x="81470" y="88736"/>
                        </a:cubicBezTo>
                        <a:cubicBezTo>
                          <a:pt x="81764" y="88736"/>
                          <a:pt x="81764" y="87789"/>
                          <a:pt x="81764" y="87789"/>
                        </a:cubicBezTo>
                        <a:cubicBezTo>
                          <a:pt x="81764" y="87789"/>
                          <a:pt x="81764" y="87473"/>
                          <a:pt x="81470" y="86842"/>
                        </a:cubicBezTo>
                        <a:cubicBezTo>
                          <a:pt x="81176" y="85894"/>
                          <a:pt x="80588" y="86842"/>
                          <a:pt x="80294" y="86842"/>
                        </a:cubicBezTo>
                        <a:close/>
                        <a:moveTo>
                          <a:pt x="80588" y="81789"/>
                        </a:moveTo>
                        <a:cubicBezTo>
                          <a:pt x="80588" y="81789"/>
                          <a:pt x="80588" y="81789"/>
                          <a:pt x="80588" y="81789"/>
                        </a:cubicBezTo>
                        <a:cubicBezTo>
                          <a:pt x="80588" y="81473"/>
                          <a:pt x="80588" y="80526"/>
                          <a:pt x="80882" y="80210"/>
                        </a:cubicBezTo>
                        <a:cubicBezTo>
                          <a:pt x="81176" y="80210"/>
                          <a:pt x="81176" y="79894"/>
                          <a:pt x="81470" y="79578"/>
                        </a:cubicBezTo>
                        <a:cubicBezTo>
                          <a:pt x="81470" y="79263"/>
                          <a:pt x="82647" y="79263"/>
                          <a:pt x="82647" y="79263"/>
                        </a:cubicBezTo>
                        <a:cubicBezTo>
                          <a:pt x="82941" y="79894"/>
                          <a:pt x="82941" y="79894"/>
                          <a:pt x="82941" y="79894"/>
                        </a:cubicBezTo>
                        <a:cubicBezTo>
                          <a:pt x="82941" y="79894"/>
                          <a:pt x="82941" y="80526"/>
                          <a:pt x="82941" y="80842"/>
                        </a:cubicBezTo>
                        <a:cubicBezTo>
                          <a:pt x="82941" y="81157"/>
                          <a:pt x="82941" y="81157"/>
                          <a:pt x="83235" y="81789"/>
                        </a:cubicBezTo>
                        <a:cubicBezTo>
                          <a:pt x="83235" y="82105"/>
                          <a:pt x="82941" y="82736"/>
                          <a:pt x="82941" y="83052"/>
                        </a:cubicBezTo>
                        <a:cubicBezTo>
                          <a:pt x="82647" y="83368"/>
                          <a:pt x="82647" y="83684"/>
                          <a:pt x="82352" y="83684"/>
                        </a:cubicBezTo>
                        <a:cubicBezTo>
                          <a:pt x="82058" y="84000"/>
                          <a:pt x="82058" y="84315"/>
                          <a:pt x="81764" y="84000"/>
                        </a:cubicBezTo>
                        <a:cubicBezTo>
                          <a:pt x="81470" y="83684"/>
                          <a:pt x="80588" y="83368"/>
                          <a:pt x="80588" y="83052"/>
                        </a:cubicBezTo>
                        <a:cubicBezTo>
                          <a:pt x="80588" y="83052"/>
                          <a:pt x="80588" y="82421"/>
                          <a:pt x="80588" y="82421"/>
                        </a:cubicBezTo>
                        <a:cubicBezTo>
                          <a:pt x="80588" y="81789"/>
                          <a:pt x="80588" y="81789"/>
                          <a:pt x="80588" y="81789"/>
                        </a:cubicBezTo>
                        <a:close/>
                        <a:moveTo>
                          <a:pt x="77058" y="83368"/>
                        </a:moveTo>
                        <a:cubicBezTo>
                          <a:pt x="77058" y="83368"/>
                          <a:pt x="77058" y="83368"/>
                          <a:pt x="77058" y="83368"/>
                        </a:cubicBezTo>
                        <a:cubicBezTo>
                          <a:pt x="77058" y="83052"/>
                          <a:pt x="77352" y="81789"/>
                          <a:pt x="77352" y="81789"/>
                        </a:cubicBezTo>
                        <a:cubicBezTo>
                          <a:pt x="77352" y="81789"/>
                          <a:pt x="77352" y="81157"/>
                          <a:pt x="77941" y="80842"/>
                        </a:cubicBezTo>
                        <a:cubicBezTo>
                          <a:pt x="78235" y="80842"/>
                          <a:pt x="78235" y="80526"/>
                          <a:pt x="78529" y="80842"/>
                        </a:cubicBezTo>
                        <a:cubicBezTo>
                          <a:pt x="78823" y="81157"/>
                          <a:pt x="79117" y="81473"/>
                          <a:pt x="79117" y="81473"/>
                        </a:cubicBezTo>
                        <a:cubicBezTo>
                          <a:pt x="79117" y="81473"/>
                          <a:pt x="78823" y="81473"/>
                          <a:pt x="78823" y="81789"/>
                        </a:cubicBezTo>
                        <a:cubicBezTo>
                          <a:pt x="78823" y="81789"/>
                          <a:pt x="79117" y="82421"/>
                          <a:pt x="79117" y="82421"/>
                        </a:cubicBezTo>
                        <a:cubicBezTo>
                          <a:pt x="78823" y="82736"/>
                          <a:pt x="78529" y="83052"/>
                          <a:pt x="78235" y="83368"/>
                        </a:cubicBezTo>
                        <a:cubicBezTo>
                          <a:pt x="78235" y="83684"/>
                          <a:pt x="77647" y="84000"/>
                          <a:pt x="77647" y="84000"/>
                        </a:cubicBezTo>
                        <a:cubicBezTo>
                          <a:pt x="76764" y="84631"/>
                          <a:pt x="76764" y="84631"/>
                          <a:pt x="76764" y="84631"/>
                        </a:cubicBezTo>
                        <a:cubicBezTo>
                          <a:pt x="76764" y="84947"/>
                          <a:pt x="76764" y="84947"/>
                          <a:pt x="76764" y="84947"/>
                        </a:cubicBezTo>
                        <a:cubicBezTo>
                          <a:pt x="76470" y="84947"/>
                          <a:pt x="76470" y="84947"/>
                          <a:pt x="76470" y="84947"/>
                        </a:cubicBezTo>
                        <a:cubicBezTo>
                          <a:pt x="75882" y="84000"/>
                          <a:pt x="75882" y="84000"/>
                          <a:pt x="75882" y="84000"/>
                        </a:cubicBezTo>
                        <a:cubicBezTo>
                          <a:pt x="76764" y="83368"/>
                          <a:pt x="76764" y="83368"/>
                          <a:pt x="76764" y="83368"/>
                        </a:cubicBezTo>
                        <a:cubicBezTo>
                          <a:pt x="77058" y="83368"/>
                          <a:pt x="77058" y="83368"/>
                          <a:pt x="77058" y="83368"/>
                        </a:cubicBezTo>
                        <a:close/>
                        <a:moveTo>
                          <a:pt x="71176" y="84631"/>
                        </a:moveTo>
                        <a:cubicBezTo>
                          <a:pt x="71176" y="84631"/>
                          <a:pt x="71176" y="84631"/>
                          <a:pt x="71176" y="84631"/>
                        </a:cubicBezTo>
                        <a:cubicBezTo>
                          <a:pt x="72058" y="84315"/>
                          <a:pt x="72058" y="84315"/>
                          <a:pt x="72058" y="84315"/>
                        </a:cubicBezTo>
                        <a:cubicBezTo>
                          <a:pt x="72941" y="84947"/>
                          <a:pt x="72941" y="84947"/>
                          <a:pt x="72941" y="84947"/>
                        </a:cubicBezTo>
                        <a:cubicBezTo>
                          <a:pt x="72941" y="85894"/>
                          <a:pt x="72941" y="85894"/>
                          <a:pt x="72941" y="85894"/>
                        </a:cubicBezTo>
                        <a:cubicBezTo>
                          <a:pt x="72941" y="85894"/>
                          <a:pt x="72352" y="87157"/>
                          <a:pt x="72058" y="86842"/>
                        </a:cubicBezTo>
                        <a:cubicBezTo>
                          <a:pt x="71764" y="86210"/>
                          <a:pt x="71764" y="85578"/>
                          <a:pt x="71764" y="85578"/>
                        </a:cubicBezTo>
                        <a:cubicBezTo>
                          <a:pt x="71176" y="84631"/>
                          <a:pt x="71176" y="84631"/>
                          <a:pt x="71176" y="84631"/>
                        </a:cubicBezTo>
                        <a:close/>
                        <a:moveTo>
                          <a:pt x="67352" y="82105"/>
                        </a:moveTo>
                        <a:cubicBezTo>
                          <a:pt x="67352" y="82105"/>
                          <a:pt x="67352" y="82105"/>
                          <a:pt x="67352" y="82105"/>
                        </a:cubicBezTo>
                        <a:cubicBezTo>
                          <a:pt x="67352" y="82105"/>
                          <a:pt x="68823" y="81789"/>
                          <a:pt x="68823" y="82105"/>
                        </a:cubicBezTo>
                        <a:cubicBezTo>
                          <a:pt x="68823" y="82105"/>
                          <a:pt x="68823" y="82736"/>
                          <a:pt x="69117" y="82736"/>
                        </a:cubicBezTo>
                        <a:cubicBezTo>
                          <a:pt x="69117" y="83052"/>
                          <a:pt x="68235" y="84000"/>
                          <a:pt x="67941" y="84000"/>
                        </a:cubicBezTo>
                        <a:cubicBezTo>
                          <a:pt x="67941" y="84000"/>
                          <a:pt x="67647" y="83684"/>
                          <a:pt x="67647" y="83684"/>
                        </a:cubicBezTo>
                        <a:cubicBezTo>
                          <a:pt x="67352" y="82105"/>
                          <a:pt x="67352" y="82105"/>
                          <a:pt x="67352" y="82105"/>
                        </a:cubicBezTo>
                        <a:close/>
                        <a:moveTo>
                          <a:pt x="66176" y="78000"/>
                        </a:moveTo>
                        <a:cubicBezTo>
                          <a:pt x="66176" y="78000"/>
                          <a:pt x="66176" y="78000"/>
                          <a:pt x="66176" y="78000"/>
                        </a:cubicBezTo>
                        <a:cubicBezTo>
                          <a:pt x="66176" y="78000"/>
                          <a:pt x="66470" y="77684"/>
                          <a:pt x="66764" y="77684"/>
                        </a:cubicBezTo>
                        <a:cubicBezTo>
                          <a:pt x="67058" y="78000"/>
                          <a:pt x="67058" y="78947"/>
                          <a:pt x="67058" y="78947"/>
                        </a:cubicBezTo>
                        <a:cubicBezTo>
                          <a:pt x="66764" y="79894"/>
                          <a:pt x="66764" y="79894"/>
                          <a:pt x="66764" y="79894"/>
                        </a:cubicBezTo>
                        <a:cubicBezTo>
                          <a:pt x="66764" y="79894"/>
                          <a:pt x="66176" y="80842"/>
                          <a:pt x="66176" y="80842"/>
                        </a:cubicBezTo>
                        <a:cubicBezTo>
                          <a:pt x="66176" y="80526"/>
                          <a:pt x="65882" y="78947"/>
                          <a:pt x="65882" y="78947"/>
                        </a:cubicBezTo>
                        <a:cubicBezTo>
                          <a:pt x="66176" y="78000"/>
                          <a:pt x="66176" y="78000"/>
                          <a:pt x="66176" y="78000"/>
                        </a:cubicBezTo>
                        <a:close/>
                        <a:moveTo>
                          <a:pt x="64411" y="75473"/>
                        </a:moveTo>
                        <a:cubicBezTo>
                          <a:pt x="64411" y="75473"/>
                          <a:pt x="64411" y="75473"/>
                          <a:pt x="64411" y="75473"/>
                        </a:cubicBezTo>
                        <a:cubicBezTo>
                          <a:pt x="64411" y="75473"/>
                          <a:pt x="64117" y="76421"/>
                          <a:pt x="64117" y="76736"/>
                        </a:cubicBezTo>
                        <a:cubicBezTo>
                          <a:pt x="64117" y="76736"/>
                          <a:pt x="64411" y="77368"/>
                          <a:pt x="64411" y="77368"/>
                        </a:cubicBezTo>
                        <a:cubicBezTo>
                          <a:pt x="64411" y="77684"/>
                          <a:pt x="64411" y="77368"/>
                          <a:pt x="64705" y="77052"/>
                        </a:cubicBezTo>
                        <a:cubicBezTo>
                          <a:pt x="65000" y="76736"/>
                          <a:pt x="65000" y="76421"/>
                          <a:pt x="65000" y="76421"/>
                        </a:cubicBezTo>
                        <a:cubicBezTo>
                          <a:pt x="65000" y="76421"/>
                          <a:pt x="65588" y="76105"/>
                          <a:pt x="65588" y="75789"/>
                        </a:cubicBezTo>
                        <a:cubicBezTo>
                          <a:pt x="65882" y="75789"/>
                          <a:pt x="65882" y="74842"/>
                          <a:pt x="65882" y="74842"/>
                        </a:cubicBezTo>
                        <a:cubicBezTo>
                          <a:pt x="65882" y="74842"/>
                          <a:pt x="65000" y="74210"/>
                          <a:pt x="65000" y="74526"/>
                        </a:cubicBezTo>
                        <a:cubicBezTo>
                          <a:pt x="64705" y="74526"/>
                          <a:pt x="64411" y="75473"/>
                          <a:pt x="64411" y="75473"/>
                        </a:cubicBezTo>
                        <a:close/>
                        <a:moveTo>
                          <a:pt x="68529" y="74842"/>
                        </a:moveTo>
                        <a:cubicBezTo>
                          <a:pt x="68529" y="74842"/>
                          <a:pt x="68529" y="74842"/>
                          <a:pt x="68529" y="74842"/>
                        </a:cubicBezTo>
                        <a:cubicBezTo>
                          <a:pt x="68823" y="74842"/>
                          <a:pt x="68823" y="74842"/>
                          <a:pt x="68823" y="74842"/>
                        </a:cubicBezTo>
                        <a:cubicBezTo>
                          <a:pt x="68823" y="75157"/>
                          <a:pt x="68823" y="75157"/>
                          <a:pt x="68823" y="75157"/>
                        </a:cubicBezTo>
                        <a:cubicBezTo>
                          <a:pt x="68823" y="75157"/>
                          <a:pt x="69705" y="74842"/>
                          <a:pt x="70000" y="74842"/>
                        </a:cubicBezTo>
                        <a:cubicBezTo>
                          <a:pt x="70294" y="74526"/>
                          <a:pt x="70000" y="74210"/>
                          <a:pt x="70000" y="73894"/>
                        </a:cubicBezTo>
                        <a:cubicBezTo>
                          <a:pt x="69705" y="73578"/>
                          <a:pt x="68529" y="74842"/>
                          <a:pt x="68529" y="74842"/>
                        </a:cubicBezTo>
                        <a:close/>
                        <a:moveTo>
                          <a:pt x="72647" y="76105"/>
                        </a:moveTo>
                        <a:cubicBezTo>
                          <a:pt x="72647" y="76105"/>
                          <a:pt x="72647" y="76105"/>
                          <a:pt x="72647" y="76105"/>
                        </a:cubicBezTo>
                        <a:cubicBezTo>
                          <a:pt x="72058" y="75789"/>
                          <a:pt x="72058" y="75789"/>
                          <a:pt x="72058" y="75789"/>
                        </a:cubicBezTo>
                        <a:cubicBezTo>
                          <a:pt x="72058" y="76421"/>
                          <a:pt x="72058" y="76421"/>
                          <a:pt x="72058" y="76421"/>
                        </a:cubicBezTo>
                        <a:cubicBezTo>
                          <a:pt x="72058" y="76421"/>
                          <a:pt x="72352" y="77052"/>
                          <a:pt x="72647" y="77368"/>
                        </a:cubicBezTo>
                        <a:cubicBezTo>
                          <a:pt x="72647" y="77368"/>
                          <a:pt x="72058" y="78000"/>
                          <a:pt x="72058" y="78000"/>
                        </a:cubicBezTo>
                        <a:cubicBezTo>
                          <a:pt x="72647" y="78947"/>
                          <a:pt x="72647" y="78947"/>
                          <a:pt x="72647" y="78947"/>
                        </a:cubicBezTo>
                        <a:cubicBezTo>
                          <a:pt x="73529" y="77368"/>
                          <a:pt x="73529" y="77368"/>
                          <a:pt x="73529" y="77368"/>
                        </a:cubicBezTo>
                        <a:cubicBezTo>
                          <a:pt x="73529" y="77368"/>
                          <a:pt x="73235" y="76736"/>
                          <a:pt x="73235" y="76736"/>
                        </a:cubicBezTo>
                        <a:cubicBezTo>
                          <a:pt x="73235" y="76421"/>
                          <a:pt x="72647" y="76105"/>
                          <a:pt x="72647" y="76105"/>
                        </a:cubicBezTo>
                        <a:close/>
                        <a:moveTo>
                          <a:pt x="76764" y="76105"/>
                        </a:moveTo>
                        <a:cubicBezTo>
                          <a:pt x="76764" y="76105"/>
                          <a:pt x="76764" y="76105"/>
                          <a:pt x="76764" y="76105"/>
                        </a:cubicBezTo>
                        <a:cubicBezTo>
                          <a:pt x="77058" y="76736"/>
                          <a:pt x="77058" y="76736"/>
                          <a:pt x="77058" y="76736"/>
                        </a:cubicBezTo>
                        <a:cubicBezTo>
                          <a:pt x="77058" y="76736"/>
                          <a:pt x="76764" y="77368"/>
                          <a:pt x="76470" y="77368"/>
                        </a:cubicBezTo>
                        <a:cubicBezTo>
                          <a:pt x="76470" y="77368"/>
                          <a:pt x="76176" y="77052"/>
                          <a:pt x="76176" y="77052"/>
                        </a:cubicBezTo>
                        <a:cubicBezTo>
                          <a:pt x="76764" y="76105"/>
                          <a:pt x="76764" y="76105"/>
                          <a:pt x="76764" y="76105"/>
                        </a:cubicBezTo>
                        <a:close/>
                        <a:moveTo>
                          <a:pt x="77647" y="75157"/>
                        </a:moveTo>
                        <a:cubicBezTo>
                          <a:pt x="77647" y="75157"/>
                          <a:pt x="77647" y="75157"/>
                          <a:pt x="77647" y="75157"/>
                        </a:cubicBezTo>
                        <a:cubicBezTo>
                          <a:pt x="77941" y="75789"/>
                          <a:pt x="77941" y="75789"/>
                          <a:pt x="77941" y="75789"/>
                        </a:cubicBezTo>
                        <a:cubicBezTo>
                          <a:pt x="77941" y="75789"/>
                          <a:pt x="78823" y="75473"/>
                          <a:pt x="79411" y="75157"/>
                        </a:cubicBezTo>
                        <a:cubicBezTo>
                          <a:pt x="80294" y="74842"/>
                          <a:pt x="79411" y="74526"/>
                          <a:pt x="79411" y="74526"/>
                        </a:cubicBezTo>
                        <a:cubicBezTo>
                          <a:pt x="78529" y="74526"/>
                          <a:pt x="78529" y="74526"/>
                          <a:pt x="78529" y="74526"/>
                        </a:cubicBezTo>
                        <a:cubicBezTo>
                          <a:pt x="78529" y="74526"/>
                          <a:pt x="77647" y="74842"/>
                          <a:pt x="77647" y="75157"/>
                        </a:cubicBezTo>
                        <a:close/>
                        <a:moveTo>
                          <a:pt x="72647" y="72631"/>
                        </a:moveTo>
                        <a:cubicBezTo>
                          <a:pt x="72647" y="72631"/>
                          <a:pt x="72647" y="72631"/>
                          <a:pt x="72647" y="72631"/>
                        </a:cubicBezTo>
                        <a:cubicBezTo>
                          <a:pt x="73529" y="73578"/>
                          <a:pt x="73529" y="73578"/>
                          <a:pt x="73529" y="73578"/>
                        </a:cubicBezTo>
                        <a:cubicBezTo>
                          <a:pt x="73529" y="73578"/>
                          <a:pt x="74705" y="74210"/>
                          <a:pt x="75000" y="74210"/>
                        </a:cubicBezTo>
                        <a:cubicBezTo>
                          <a:pt x="75000" y="74526"/>
                          <a:pt x="75588" y="74210"/>
                          <a:pt x="76176" y="74210"/>
                        </a:cubicBezTo>
                        <a:cubicBezTo>
                          <a:pt x="76470" y="73894"/>
                          <a:pt x="76470" y="73894"/>
                          <a:pt x="76470" y="73578"/>
                        </a:cubicBezTo>
                        <a:cubicBezTo>
                          <a:pt x="76470" y="73578"/>
                          <a:pt x="76176" y="73263"/>
                          <a:pt x="76176" y="73263"/>
                        </a:cubicBezTo>
                        <a:cubicBezTo>
                          <a:pt x="76176" y="73263"/>
                          <a:pt x="75882" y="72631"/>
                          <a:pt x="75000" y="72631"/>
                        </a:cubicBezTo>
                        <a:cubicBezTo>
                          <a:pt x="74411" y="72947"/>
                          <a:pt x="74411" y="72631"/>
                          <a:pt x="74411" y="72631"/>
                        </a:cubicBezTo>
                        <a:cubicBezTo>
                          <a:pt x="74411" y="72631"/>
                          <a:pt x="74117" y="72631"/>
                          <a:pt x="73235" y="72315"/>
                        </a:cubicBezTo>
                        <a:cubicBezTo>
                          <a:pt x="72647" y="72315"/>
                          <a:pt x="72941" y="72631"/>
                          <a:pt x="72647" y="72631"/>
                        </a:cubicBezTo>
                        <a:close/>
                        <a:moveTo>
                          <a:pt x="72058" y="72315"/>
                        </a:moveTo>
                        <a:cubicBezTo>
                          <a:pt x="72058" y="72315"/>
                          <a:pt x="72058" y="72315"/>
                          <a:pt x="72058" y="72315"/>
                        </a:cubicBezTo>
                        <a:cubicBezTo>
                          <a:pt x="72352" y="72000"/>
                          <a:pt x="72352" y="72000"/>
                          <a:pt x="72352" y="72000"/>
                        </a:cubicBezTo>
                        <a:cubicBezTo>
                          <a:pt x="72352" y="72000"/>
                          <a:pt x="72352" y="71368"/>
                          <a:pt x="72352" y="70421"/>
                        </a:cubicBezTo>
                        <a:cubicBezTo>
                          <a:pt x="72352" y="69789"/>
                          <a:pt x="72058" y="70105"/>
                          <a:pt x="72058" y="70105"/>
                        </a:cubicBezTo>
                        <a:cubicBezTo>
                          <a:pt x="72058" y="69789"/>
                          <a:pt x="72058" y="69473"/>
                          <a:pt x="71764" y="68842"/>
                        </a:cubicBezTo>
                        <a:cubicBezTo>
                          <a:pt x="71470" y="68526"/>
                          <a:pt x="71470" y="68842"/>
                          <a:pt x="71176" y="68842"/>
                        </a:cubicBezTo>
                        <a:cubicBezTo>
                          <a:pt x="71176" y="68842"/>
                          <a:pt x="70882" y="69157"/>
                          <a:pt x="70294" y="69157"/>
                        </a:cubicBezTo>
                        <a:cubicBezTo>
                          <a:pt x="69705" y="69157"/>
                          <a:pt x="70000" y="68526"/>
                          <a:pt x="69705" y="68210"/>
                        </a:cubicBezTo>
                        <a:cubicBezTo>
                          <a:pt x="69411" y="67894"/>
                          <a:pt x="68823" y="67894"/>
                          <a:pt x="68823" y="67894"/>
                        </a:cubicBezTo>
                        <a:cubicBezTo>
                          <a:pt x="68529" y="67894"/>
                          <a:pt x="67941" y="68842"/>
                          <a:pt x="67941" y="69157"/>
                        </a:cubicBezTo>
                        <a:cubicBezTo>
                          <a:pt x="67941" y="69473"/>
                          <a:pt x="68235" y="69473"/>
                          <a:pt x="69117" y="70421"/>
                        </a:cubicBezTo>
                        <a:cubicBezTo>
                          <a:pt x="70000" y="71052"/>
                          <a:pt x="70294" y="71052"/>
                          <a:pt x="70588" y="71052"/>
                        </a:cubicBezTo>
                        <a:cubicBezTo>
                          <a:pt x="70882" y="71368"/>
                          <a:pt x="71764" y="72000"/>
                          <a:pt x="72058" y="72315"/>
                        </a:cubicBezTo>
                        <a:close/>
                        <a:moveTo>
                          <a:pt x="63529" y="113684"/>
                        </a:moveTo>
                        <a:cubicBezTo>
                          <a:pt x="63529" y="113684"/>
                          <a:pt x="63529" y="113684"/>
                          <a:pt x="63529" y="113684"/>
                        </a:cubicBezTo>
                        <a:cubicBezTo>
                          <a:pt x="63823" y="112736"/>
                          <a:pt x="63823" y="112736"/>
                          <a:pt x="63823" y="112736"/>
                        </a:cubicBezTo>
                        <a:cubicBezTo>
                          <a:pt x="63235" y="111789"/>
                          <a:pt x="63235" y="111789"/>
                          <a:pt x="63235" y="111789"/>
                        </a:cubicBezTo>
                        <a:cubicBezTo>
                          <a:pt x="63235" y="110526"/>
                          <a:pt x="63235" y="110526"/>
                          <a:pt x="63235" y="110526"/>
                        </a:cubicBezTo>
                        <a:cubicBezTo>
                          <a:pt x="63529" y="110210"/>
                          <a:pt x="63529" y="110210"/>
                          <a:pt x="63529" y="110210"/>
                        </a:cubicBezTo>
                        <a:cubicBezTo>
                          <a:pt x="63529" y="110210"/>
                          <a:pt x="64117" y="110842"/>
                          <a:pt x="64117" y="111157"/>
                        </a:cubicBezTo>
                        <a:cubicBezTo>
                          <a:pt x="64117" y="111473"/>
                          <a:pt x="64117" y="112105"/>
                          <a:pt x="64117" y="112105"/>
                        </a:cubicBezTo>
                        <a:cubicBezTo>
                          <a:pt x="64117" y="112105"/>
                          <a:pt x="65000" y="112736"/>
                          <a:pt x="65000" y="112736"/>
                        </a:cubicBezTo>
                        <a:cubicBezTo>
                          <a:pt x="65294" y="112736"/>
                          <a:pt x="67058" y="112421"/>
                          <a:pt x="67058" y="112421"/>
                        </a:cubicBezTo>
                        <a:cubicBezTo>
                          <a:pt x="67058" y="112421"/>
                          <a:pt x="67647" y="111473"/>
                          <a:pt x="67647" y="111473"/>
                        </a:cubicBezTo>
                        <a:cubicBezTo>
                          <a:pt x="67941" y="111157"/>
                          <a:pt x="68823" y="110526"/>
                          <a:pt x="68823" y="110526"/>
                        </a:cubicBezTo>
                        <a:cubicBezTo>
                          <a:pt x="68823" y="110526"/>
                          <a:pt x="68823" y="110210"/>
                          <a:pt x="69411" y="110842"/>
                        </a:cubicBezTo>
                        <a:cubicBezTo>
                          <a:pt x="70000" y="111157"/>
                          <a:pt x="69411" y="112105"/>
                          <a:pt x="69411" y="112105"/>
                        </a:cubicBezTo>
                        <a:cubicBezTo>
                          <a:pt x="69117" y="112105"/>
                          <a:pt x="69117" y="112421"/>
                          <a:pt x="69117" y="112421"/>
                        </a:cubicBezTo>
                        <a:cubicBezTo>
                          <a:pt x="69705" y="113052"/>
                          <a:pt x="69705" y="113052"/>
                          <a:pt x="69705" y="113052"/>
                        </a:cubicBezTo>
                        <a:cubicBezTo>
                          <a:pt x="69705" y="113052"/>
                          <a:pt x="69705" y="112421"/>
                          <a:pt x="70000" y="112421"/>
                        </a:cubicBezTo>
                        <a:cubicBezTo>
                          <a:pt x="70294" y="112421"/>
                          <a:pt x="70294" y="112105"/>
                          <a:pt x="70588" y="112105"/>
                        </a:cubicBezTo>
                        <a:cubicBezTo>
                          <a:pt x="70588" y="112421"/>
                          <a:pt x="71176" y="113052"/>
                          <a:pt x="71176" y="113052"/>
                        </a:cubicBezTo>
                        <a:cubicBezTo>
                          <a:pt x="71176" y="113052"/>
                          <a:pt x="71176" y="114000"/>
                          <a:pt x="71470" y="114000"/>
                        </a:cubicBezTo>
                        <a:cubicBezTo>
                          <a:pt x="71764" y="113684"/>
                          <a:pt x="72352" y="114000"/>
                          <a:pt x="72647" y="113684"/>
                        </a:cubicBezTo>
                        <a:cubicBezTo>
                          <a:pt x="72941" y="113684"/>
                          <a:pt x="75882" y="112736"/>
                          <a:pt x="75882" y="112736"/>
                        </a:cubicBezTo>
                        <a:cubicBezTo>
                          <a:pt x="76764" y="112105"/>
                          <a:pt x="76764" y="112105"/>
                          <a:pt x="76764" y="112105"/>
                        </a:cubicBezTo>
                        <a:cubicBezTo>
                          <a:pt x="76764" y="112105"/>
                          <a:pt x="77352" y="111789"/>
                          <a:pt x="77941" y="111789"/>
                        </a:cubicBezTo>
                        <a:cubicBezTo>
                          <a:pt x="78235" y="111789"/>
                          <a:pt x="80000" y="111157"/>
                          <a:pt x="80000" y="111157"/>
                        </a:cubicBezTo>
                        <a:cubicBezTo>
                          <a:pt x="80000" y="111157"/>
                          <a:pt x="80882" y="110526"/>
                          <a:pt x="81470" y="110842"/>
                        </a:cubicBezTo>
                        <a:cubicBezTo>
                          <a:pt x="81764" y="111473"/>
                          <a:pt x="82941" y="112421"/>
                          <a:pt x="82941" y="112421"/>
                        </a:cubicBezTo>
                        <a:cubicBezTo>
                          <a:pt x="84705" y="112105"/>
                          <a:pt x="84705" y="112105"/>
                          <a:pt x="84705" y="112105"/>
                        </a:cubicBezTo>
                        <a:cubicBezTo>
                          <a:pt x="84705" y="112105"/>
                          <a:pt x="85294" y="111789"/>
                          <a:pt x="85294" y="111789"/>
                        </a:cubicBezTo>
                        <a:cubicBezTo>
                          <a:pt x="85588" y="112105"/>
                          <a:pt x="87352" y="111789"/>
                          <a:pt x="87352" y="111789"/>
                        </a:cubicBezTo>
                        <a:cubicBezTo>
                          <a:pt x="87352" y="111789"/>
                          <a:pt x="88235" y="110842"/>
                          <a:pt x="88529" y="110842"/>
                        </a:cubicBezTo>
                        <a:cubicBezTo>
                          <a:pt x="88529" y="110842"/>
                          <a:pt x="90588" y="110210"/>
                          <a:pt x="90588" y="110210"/>
                        </a:cubicBezTo>
                        <a:cubicBezTo>
                          <a:pt x="90588" y="110210"/>
                          <a:pt x="90882" y="110210"/>
                          <a:pt x="90882" y="110842"/>
                        </a:cubicBezTo>
                        <a:cubicBezTo>
                          <a:pt x="90882" y="111473"/>
                          <a:pt x="90882" y="112421"/>
                          <a:pt x="90882" y="112736"/>
                        </a:cubicBezTo>
                        <a:cubicBezTo>
                          <a:pt x="91176" y="113052"/>
                          <a:pt x="90882" y="113684"/>
                          <a:pt x="91470" y="113684"/>
                        </a:cubicBezTo>
                        <a:cubicBezTo>
                          <a:pt x="92058" y="113368"/>
                          <a:pt x="92647" y="113052"/>
                          <a:pt x="92647" y="113052"/>
                        </a:cubicBezTo>
                        <a:cubicBezTo>
                          <a:pt x="92647" y="113052"/>
                          <a:pt x="92058" y="113052"/>
                          <a:pt x="93235" y="112421"/>
                        </a:cubicBezTo>
                        <a:cubicBezTo>
                          <a:pt x="94117" y="111789"/>
                          <a:pt x="94411" y="111473"/>
                          <a:pt x="94705" y="111473"/>
                        </a:cubicBezTo>
                        <a:cubicBezTo>
                          <a:pt x="95000" y="111473"/>
                          <a:pt x="95000" y="111157"/>
                          <a:pt x="95294" y="111157"/>
                        </a:cubicBezTo>
                        <a:cubicBezTo>
                          <a:pt x="95882" y="111157"/>
                          <a:pt x="95882" y="111157"/>
                          <a:pt x="96176" y="111157"/>
                        </a:cubicBezTo>
                        <a:cubicBezTo>
                          <a:pt x="96470" y="110842"/>
                          <a:pt x="97058" y="109894"/>
                          <a:pt x="97058" y="109894"/>
                        </a:cubicBezTo>
                        <a:cubicBezTo>
                          <a:pt x="97058" y="109894"/>
                          <a:pt x="97352" y="109263"/>
                          <a:pt x="97647" y="109263"/>
                        </a:cubicBezTo>
                        <a:cubicBezTo>
                          <a:pt x="97647" y="109263"/>
                          <a:pt x="98235" y="108947"/>
                          <a:pt x="98235" y="108947"/>
                        </a:cubicBezTo>
                        <a:cubicBezTo>
                          <a:pt x="97941" y="109894"/>
                          <a:pt x="97941" y="109894"/>
                          <a:pt x="97941" y="109894"/>
                        </a:cubicBezTo>
                        <a:cubicBezTo>
                          <a:pt x="97941" y="109894"/>
                          <a:pt x="98529" y="111157"/>
                          <a:pt x="98529" y="111473"/>
                        </a:cubicBezTo>
                        <a:cubicBezTo>
                          <a:pt x="98529" y="111473"/>
                          <a:pt x="98529" y="111789"/>
                          <a:pt x="98235" y="112105"/>
                        </a:cubicBezTo>
                        <a:cubicBezTo>
                          <a:pt x="98235" y="112736"/>
                          <a:pt x="98235" y="113052"/>
                          <a:pt x="98235" y="113052"/>
                        </a:cubicBezTo>
                        <a:cubicBezTo>
                          <a:pt x="97941" y="113368"/>
                          <a:pt x="97941" y="113684"/>
                          <a:pt x="97941" y="114000"/>
                        </a:cubicBezTo>
                        <a:cubicBezTo>
                          <a:pt x="97647" y="114000"/>
                          <a:pt x="96764" y="114631"/>
                          <a:pt x="96764" y="114631"/>
                        </a:cubicBezTo>
                        <a:cubicBezTo>
                          <a:pt x="95294" y="114315"/>
                          <a:pt x="95294" y="114315"/>
                          <a:pt x="95294" y="114315"/>
                        </a:cubicBezTo>
                        <a:cubicBezTo>
                          <a:pt x="95294" y="114315"/>
                          <a:pt x="94705" y="114631"/>
                          <a:pt x="94411" y="114947"/>
                        </a:cubicBezTo>
                        <a:cubicBezTo>
                          <a:pt x="93823" y="114947"/>
                          <a:pt x="92941" y="115894"/>
                          <a:pt x="92647" y="115894"/>
                        </a:cubicBezTo>
                        <a:cubicBezTo>
                          <a:pt x="92352" y="115894"/>
                          <a:pt x="91470" y="115894"/>
                          <a:pt x="90588" y="115894"/>
                        </a:cubicBezTo>
                        <a:cubicBezTo>
                          <a:pt x="89705" y="116210"/>
                          <a:pt x="87352" y="116842"/>
                          <a:pt x="87352" y="116842"/>
                        </a:cubicBezTo>
                        <a:cubicBezTo>
                          <a:pt x="87352" y="116842"/>
                          <a:pt x="87058" y="117157"/>
                          <a:pt x="86764" y="117473"/>
                        </a:cubicBezTo>
                        <a:cubicBezTo>
                          <a:pt x="86176" y="117473"/>
                          <a:pt x="85000" y="118105"/>
                          <a:pt x="84705" y="118105"/>
                        </a:cubicBezTo>
                        <a:cubicBezTo>
                          <a:pt x="84411" y="118421"/>
                          <a:pt x="83529" y="119052"/>
                          <a:pt x="83235" y="119052"/>
                        </a:cubicBezTo>
                        <a:cubicBezTo>
                          <a:pt x="82941" y="119052"/>
                          <a:pt x="82647" y="119368"/>
                          <a:pt x="81470" y="119368"/>
                        </a:cubicBezTo>
                        <a:cubicBezTo>
                          <a:pt x="80000" y="119684"/>
                          <a:pt x="79705" y="120000"/>
                          <a:pt x="79705" y="120000"/>
                        </a:cubicBezTo>
                        <a:cubicBezTo>
                          <a:pt x="78823" y="120000"/>
                          <a:pt x="78823" y="120000"/>
                          <a:pt x="78823" y="120000"/>
                        </a:cubicBezTo>
                        <a:cubicBezTo>
                          <a:pt x="78823" y="117789"/>
                          <a:pt x="78823" y="117789"/>
                          <a:pt x="78823" y="117789"/>
                        </a:cubicBezTo>
                        <a:cubicBezTo>
                          <a:pt x="78823" y="117789"/>
                          <a:pt x="78823" y="116842"/>
                          <a:pt x="77941" y="117157"/>
                        </a:cubicBezTo>
                        <a:cubicBezTo>
                          <a:pt x="77058" y="117473"/>
                          <a:pt x="78235" y="117157"/>
                          <a:pt x="76470" y="117473"/>
                        </a:cubicBezTo>
                        <a:cubicBezTo>
                          <a:pt x="75000" y="117789"/>
                          <a:pt x="74117" y="116842"/>
                          <a:pt x="74117" y="116842"/>
                        </a:cubicBezTo>
                        <a:cubicBezTo>
                          <a:pt x="74117" y="116842"/>
                          <a:pt x="72647" y="116842"/>
                          <a:pt x="72058" y="117157"/>
                        </a:cubicBezTo>
                        <a:cubicBezTo>
                          <a:pt x="71470" y="117157"/>
                          <a:pt x="70588" y="117157"/>
                          <a:pt x="70294" y="117157"/>
                        </a:cubicBezTo>
                        <a:cubicBezTo>
                          <a:pt x="70000" y="117473"/>
                          <a:pt x="70000" y="117157"/>
                          <a:pt x="69117" y="117473"/>
                        </a:cubicBezTo>
                        <a:cubicBezTo>
                          <a:pt x="68235" y="117473"/>
                          <a:pt x="67352" y="117789"/>
                          <a:pt x="67352" y="117789"/>
                        </a:cubicBezTo>
                        <a:cubicBezTo>
                          <a:pt x="66470" y="117157"/>
                          <a:pt x="66470" y="117157"/>
                          <a:pt x="66470" y="117157"/>
                        </a:cubicBezTo>
                        <a:cubicBezTo>
                          <a:pt x="66470" y="117157"/>
                          <a:pt x="65588" y="117157"/>
                          <a:pt x="65294" y="117473"/>
                        </a:cubicBezTo>
                        <a:cubicBezTo>
                          <a:pt x="64705" y="117789"/>
                          <a:pt x="65000" y="118105"/>
                          <a:pt x="64411" y="118105"/>
                        </a:cubicBezTo>
                        <a:cubicBezTo>
                          <a:pt x="63823" y="118105"/>
                          <a:pt x="64117" y="118421"/>
                          <a:pt x="63529" y="118105"/>
                        </a:cubicBezTo>
                        <a:cubicBezTo>
                          <a:pt x="62647" y="117789"/>
                          <a:pt x="62058" y="117473"/>
                          <a:pt x="62058" y="117473"/>
                        </a:cubicBezTo>
                        <a:cubicBezTo>
                          <a:pt x="61764" y="115578"/>
                          <a:pt x="61764" y="115578"/>
                          <a:pt x="61764" y="115578"/>
                        </a:cubicBezTo>
                        <a:cubicBezTo>
                          <a:pt x="61764" y="115578"/>
                          <a:pt x="61764" y="115578"/>
                          <a:pt x="61764" y="114631"/>
                        </a:cubicBezTo>
                        <a:cubicBezTo>
                          <a:pt x="61470" y="114000"/>
                          <a:pt x="61176" y="112736"/>
                          <a:pt x="61176" y="112736"/>
                        </a:cubicBezTo>
                        <a:cubicBezTo>
                          <a:pt x="61764" y="111789"/>
                          <a:pt x="61764" y="111789"/>
                          <a:pt x="61764" y="111789"/>
                        </a:cubicBezTo>
                        <a:cubicBezTo>
                          <a:pt x="61764" y="111789"/>
                          <a:pt x="62058" y="112421"/>
                          <a:pt x="62058" y="112736"/>
                        </a:cubicBezTo>
                        <a:cubicBezTo>
                          <a:pt x="62058" y="112736"/>
                          <a:pt x="62058" y="113684"/>
                          <a:pt x="62352" y="113684"/>
                        </a:cubicBezTo>
                        <a:cubicBezTo>
                          <a:pt x="62941" y="113684"/>
                          <a:pt x="63529" y="113684"/>
                          <a:pt x="63529" y="113684"/>
                        </a:cubicBezTo>
                        <a:close/>
                        <a:moveTo>
                          <a:pt x="50588" y="100736"/>
                        </a:moveTo>
                        <a:cubicBezTo>
                          <a:pt x="50588" y="100736"/>
                          <a:pt x="50588" y="100736"/>
                          <a:pt x="50588" y="100736"/>
                        </a:cubicBezTo>
                        <a:cubicBezTo>
                          <a:pt x="51470" y="100421"/>
                          <a:pt x="51470" y="100421"/>
                          <a:pt x="51470" y="100421"/>
                        </a:cubicBezTo>
                        <a:cubicBezTo>
                          <a:pt x="51764" y="101368"/>
                          <a:pt x="51764" y="101368"/>
                          <a:pt x="51764" y="101368"/>
                        </a:cubicBezTo>
                        <a:cubicBezTo>
                          <a:pt x="52647" y="101684"/>
                          <a:pt x="52647" y="101684"/>
                          <a:pt x="52647" y="101684"/>
                        </a:cubicBezTo>
                        <a:cubicBezTo>
                          <a:pt x="52647" y="101684"/>
                          <a:pt x="53823" y="102315"/>
                          <a:pt x="53823" y="102631"/>
                        </a:cubicBezTo>
                        <a:cubicBezTo>
                          <a:pt x="53823" y="102631"/>
                          <a:pt x="53235" y="103578"/>
                          <a:pt x="53235" y="103578"/>
                        </a:cubicBezTo>
                        <a:cubicBezTo>
                          <a:pt x="53235" y="103578"/>
                          <a:pt x="53235" y="104210"/>
                          <a:pt x="53235" y="104526"/>
                        </a:cubicBezTo>
                        <a:cubicBezTo>
                          <a:pt x="53235" y="104526"/>
                          <a:pt x="52647" y="104526"/>
                          <a:pt x="52352" y="104526"/>
                        </a:cubicBezTo>
                        <a:cubicBezTo>
                          <a:pt x="52058" y="104210"/>
                          <a:pt x="51176" y="103894"/>
                          <a:pt x="51176" y="103894"/>
                        </a:cubicBezTo>
                        <a:cubicBezTo>
                          <a:pt x="51176" y="102631"/>
                          <a:pt x="51176" y="102631"/>
                          <a:pt x="51176" y="102631"/>
                        </a:cubicBezTo>
                        <a:cubicBezTo>
                          <a:pt x="50294" y="101684"/>
                          <a:pt x="50294" y="101684"/>
                          <a:pt x="50294" y="101684"/>
                        </a:cubicBezTo>
                        <a:cubicBezTo>
                          <a:pt x="50588" y="100736"/>
                          <a:pt x="50588" y="100736"/>
                          <a:pt x="50588" y="100736"/>
                        </a:cubicBezTo>
                        <a:close/>
                        <a:moveTo>
                          <a:pt x="27058" y="73263"/>
                        </a:moveTo>
                        <a:cubicBezTo>
                          <a:pt x="27058" y="73263"/>
                          <a:pt x="27058" y="73263"/>
                          <a:pt x="27058" y="73263"/>
                        </a:cubicBezTo>
                        <a:cubicBezTo>
                          <a:pt x="27058" y="73263"/>
                          <a:pt x="26470" y="73263"/>
                          <a:pt x="26470" y="73263"/>
                        </a:cubicBezTo>
                        <a:cubicBezTo>
                          <a:pt x="26176" y="73263"/>
                          <a:pt x="25882" y="73263"/>
                          <a:pt x="25588" y="73263"/>
                        </a:cubicBezTo>
                        <a:cubicBezTo>
                          <a:pt x="25294" y="73263"/>
                          <a:pt x="25588" y="73894"/>
                          <a:pt x="25588" y="74210"/>
                        </a:cubicBezTo>
                        <a:cubicBezTo>
                          <a:pt x="25588" y="74210"/>
                          <a:pt x="25588" y="74842"/>
                          <a:pt x="25588" y="75157"/>
                        </a:cubicBezTo>
                        <a:cubicBezTo>
                          <a:pt x="25294" y="75473"/>
                          <a:pt x="25000" y="75789"/>
                          <a:pt x="25000" y="76105"/>
                        </a:cubicBezTo>
                        <a:cubicBezTo>
                          <a:pt x="25000" y="76105"/>
                          <a:pt x="25000" y="76736"/>
                          <a:pt x="25000" y="77052"/>
                        </a:cubicBezTo>
                        <a:cubicBezTo>
                          <a:pt x="24705" y="77052"/>
                          <a:pt x="24117" y="77684"/>
                          <a:pt x="23823" y="77684"/>
                        </a:cubicBezTo>
                        <a:cubicBezTo>
                          <a:pt x="23529" y="78000"/>
                          <a:pt x="22941" y="78315"/>
                          <a:pt x="22941" y="78315"/>
                        </a:cubicBezTo>
                        <a:cubicBezTo>
                          <a:pt x="23529" y="79894"/>
                          <a:pt x="23529" y="79894"/>
                          <a:pt x="23529" y="79894"/>
                        </a:cubicBezTo>
                        <a:cubicBezTo>
                          <a:pt x="23529" y="79894"/>
                          <a:pt x="24117" y="79578"/>
                          <a:pt x="24411" y="79894"/>
                        </a:cubicBezTo>
                        <a:cubicBezTo>
                          <a:pt x="24705" y="80210"/>
                          <a:pt x="25588" y="80842"/>
                          <a:pt x="25882" y="80842"/>
                        </a:cubicBezTo>
                        <a:cubicBezTo>
                          <a:pt x="25882" y="80842"/>
                          <a:pt x="26470" y="82736"/>
                          <a:pt x="26470" y="82736"/>
                        </a:cubicBezTo>
                        <a:cubicBezTo>
                          <a:pt x="26764" y="83052"/>
                          <a:pt x="27058" y="82736"/>
                          <a:pt x="27058" y="82736"/>
                        </a:cubicBezTo>
                        <a:cubicBezTo>
                          <a:pt x="27058" y="82736"/>
                          <a:pt x="27647" y="83052"/>
                          <a:pt x="27941" y="83368"/>
                        </a:cubicBezTo>
                        <a:cubicBezTo>
                          <a:pt x="28235" y="83368"/>
                          <a:pt x="28823" y="83684"/>
                          <a:pt x="29117" y="84000"/>
                        </a:cubicBezTo>
                        <a:cubicBezTo>
                          <a:pt x="29411" y="84000"/>
                          <a:pt x="30000" y="84947"/>
                          <a:pt x="30294" y="84947"/>
                        </a:cubicBezTo>
                        <a:cubicBezTo>
                          <a:pt x="30588" y="85263"/>
                          <a:pt x="31176" y="85894"/>
                          <a:pt x="31176" y="85894"/>
                        </a:cubicBezTo>
                        <a:cubicBezTo>
                          <a:pt x="31176" y="85894"/>
                          <a:pt x="31764" y="86842"/>
                          <a:pt x="32058" y="87473"/>
                        </a:cubicBezTo>
                        <a:cubicBezTo>
                          <a:pt x="32058" y="87789"/>
                          <a:pt x="32058" y="87789"/>
                          <a:pt x="31764" y="88105"/>
                        </a:cubicBezTo>
                        <a:cubicBezTo>
                          <a:pt x="31470" y="88421"/>
                          <a:pt x="31470" y="88736"/>
                          <a:pt x="31176" y="89368"/>
                        </a:cubicBezTo>
                        <a:cubicBezTo>
                          <a:pt x="30882" y="90000"/>
                          <a:pt x="31470" y="90631"/>
                          <a:pt x="31470" y="90631"/>
                        </a:cubicBezTo>
                        <a:cubicBezTo>
                          <a:pt x="31470" y="92210"/>
                          <a:pt x="31470" y="92210"/>
                          <a:pt x="31470" y="92210"/>
                        </a:cubicBezTo>
                        <a:cubicBezTo>
                          <a:pt x="31764" y="92842"/>
                          <a:pt x="31764" y="92842"/>
                          <a:pt x="31764" y="92842"/>
                        </a:cubicBezTo>
                        <a:cubicBezTo>
                          <a:pt x="31764" y="92842"/>
                          <a:pt x="32058" y="93157"/>
                          <a:pt x="32352" y="93157"/>
                        </a:cubicBezTo>
                        <a:cubicBezTo>
                          <a:pt x="32647" y="93473"/>
                          <a:pt x="32647" y="93473"/>
                          <a:pt x="32647" y="93473"/>
                        </a:cubicBezTo>
                        <a:cubicBezTo>
                          <a:pt x="32647" y="93473"/>
                          <a:pt x="33235" y="94105"/>
                          <a:pt x="33529" y="94421"/>
                        </a:cubicBezTo>
                        <a:cubicBezTo>
                          <a:pt x="33529" y="94736"/>
                          <a:pt x="33235" y="95052"/>
                          <a:pt x="33235" y="95368"/>
                        </a:cubicBezTo>
                        <a:cubicBezTo>
                          <a:pt x="33235" y="95684"/>
                          <a:pt x="33529" y="96947"/>
                          <a:pt x="33529" y="96947"/>
                        </a:cubicBezTo>
                        <a:cubicBezTo>
                          <a:pt x="33529" y="96947"/>
                          <a:pt x="34117" y="96631"/>
                          <a:pt x="34705" y="96315"/>
                        </a:cubicBezTo>
                        <a:cubicBezTo>
                          <a:pt x="35000" y="96315"/>
                          <a:pt x="35294" y="96631"/>
                          <a:pt x="35588" y="96631"/>
                        </a:cubicBezTo>
                        <a:cubicBezTo>
                          <a:pt x="35882" y="96947"/>
                          <a:pt x="35882" y="97263"/>
                          <a:pt x="35882" y="97263"/>
                        </a:cubicBezTo>
                        <a:cubicBezTo>
                          <a:pt x="35882" y="97263"/>
                          <a:pt x="36764" y="96631"/>
                          <a:pt x="36764" y="96315"/>
                        </a:cubicBezTo>
                        <a:cubicBezTo>
                          <a:pt x="36764" y="96315"/>
                          <a:pt x="36764" y="95684"/>
                          <a:pt x="36764" y="95684"/>
                        </a:cubicBezTo>
                        <a:cubicBezTo>
                          <a:pt x="36764" y="95684"/>
                          <a:pt x="36764" y="94421"/>
                          <a:pt x="36764" y="94105"/>
                        </a:cubicBezTo>
                        <a:cubicBezTo>
                          <a:pt x="36764" y="93789"/>
                          <a:pt x="36470" y="92842"/>
                          <a:pt x="36470" y="92526"/>
                        </a:cubicBezTo>
                        <a:cubicBezTo>
                          <a:pt x="36470" y="92526"/>
                          <a:pt x="36764" y="91894"/>
                          <a:pt x="36764" y="91894"/>
                        </a:cubicBezTo>
                        <a:cubicBezTo>
                          <a:pt x="36764" y="91894"/>
                          <a:pt x="37647" y="91578"/>
                          <a:pt x="37941" y="91578"/>
                        </a:cubicBezTo>
                        <a:cubicBezTo>
                          <a:pt x="38235" y="91578"/>
                          <a:pt x="38529" y="91894"/>
                          <a:pt x="38823" y="92210"/>
                        </a:cubicBezTo>
                        <a:cubicBezTo>
                          <a:pt x="38823" y="92526"/>
                          <a:pt x="38823" y="93789"/>
                          <a:pt x="38823" y="93789"/>
                        </a:cubicBezTo>
                        <a:cubicBezTo>
                          <a:pt x="40588" y="94105"/>
                          <a:pt x="40588" y="94105"/>
                          <a:pt x="40588" y="94105"/>
                        </a:cubicBezTo>
                        <a:cubicBezTo>
                          <a:pt x="40588" y="94105"/>
                          <a:pt x="41176" y="94421"/>
                          <a:pt x="41176" y="94421"/>
                        </a:cubicBezTo>
                        <a:cubicBezTo>
                          <a:pt x="41176" y="94736"/>
                          <a:pt x="41470" y="95368"/>
                          <a:pt x="41764" y="95684"/>
                        </a:cubicBezTo>
                        <a:cubicBezTo>
                          <a:pt x="42058" y="96000"/>
                          <a:pt x="42352" y="96315"/>
                          <a:pt x="42352" y="96315"/>
                        </a:cubicBezTo>
                        <a:cubicBezTo>
                          <a:pt x="42352" y="96315"/>
                          <a:pt x="42941" y="97894"/>
                          <a:pt x="43235" y="98210"/>
                        </a:cubicBezTo>
                        <a:cubicBezTo>
                          <a:pt x="43235" y="98526"/>
                          <a:pt x="43235" y="99157"/>
                          <a:pt x="43235" y="99789"/>
                        </a:cubicBezTo>
                        <a:cubicBezTo>
                          <a:pt x="43235" y="100421"/>
                          <a:pt x="43235" y="100421"/>
                          <a:pt x="43235" y="100421"/>
                        </a:cubicBezTo>
                        <a:cubicBezTo>
                          <a:pt x="43235" y="100421"/>
                          <a:pt x="44117" y="100736"/>
                          <a:pt x="44411" y="101052"/>
                        </a:cubicBezTo>
                        <a:cubicBezTo>
                          <a:pt x="45000" y="101368"/>
                          <a:pt x="44705" y="101052"/>
                          <a:pt x="45000" y="100736"/>
                        </a:cubicBezTo>
                        <a:cubicBezTo>
                          <a:pt x="45294" y="100421"/>
                          <a:pt x="45000" y="100105"/>
                          <a:pt x="45000" y="99789"/>
                        </a:cubicBezTo>
                        <a:cubicBezTo>
                          <a:pt x="45000" y="99473"/>
                          <a:pt x="45000" y="98842"/>
                          <a:pt x="44705" y="98210"/>
                        </a:cubicBezTo>
                        <a:cubicBezTo>
                          <a:pt x="44705" y="97894"/>
                          <a:pt x="44705" y="97578"/>
                          <a:pt x="44705" y="97578"/>
                        </a:cubicBezTo>
                        <a:cubicBezTo>
                          <a:pt x="44705" y="97578"/>
                          <a:pt x="45000" y="96947"/>
                          <a:pt x="45000" y="96631"/>
                        </a:cubicBezTo>
                        <a:cubicBezTo>
                          <a:pt x="45000" y="96631"/>
                          <a:pt x="45000" y="96000"/>
                          <a:pt x="45000" y="95684"/>
                        </a:cubicBezTo>
                        <a:cubicBezTo>
                          <a:pt x="45000" y="95368"/>
                          <a:pt x="45588" y="95052"/>
                          <a:pt x="45588" y="95052"/>
                        </a:cubicBezTo>
                        <a:cubicBezTo>
                          <a:pt x="45588" y="95052"/>
                          <a:pt x="45588" y="94736"/>
                          <a:pt x="45882" y="94105"/>
                        </a:cubicBezTo>
                        <a:cubicBezTo>
                          <a:pt x="46176" y="93789"/>
                          <a:pt x="45882" y="94105"/>
                          <a:pt x="46176" y="94105"/>
                        </a:cubicBezTo>
                        <a:cubicBezTo>
                          <a:pt x="46470" y="93789"/>
                          <a:pt x="46764" y="93789"/>
                          <a:pt x="47352" y="93789"/>
                        </a:cubicBezTo>
                        <a:cubicBezTo>
                          <a:pt x="47647" y="93789"/>
                          <a:pt x="47941" y="94105"/>
                          <a:pt x="47941" y="94105"/>
                        </a:cubicBezTo>
                        <a:cubicBezTo>
                          <a:pt x="48529" y="95052"/>
                          <a:pt x="48529" y="95052"/>
                          <a:pt x="48529" y="95052"/>
                        </a:cubicBezTo>
                        <a:cubicBezTo>
                          <a:pt x="48529" y="95052"/>
                          <a:pt x="48529" y="95052"/>
                          <a:pt x="48529" y="95368"/>
                        </a:cubicBezTo>
                        <a:cubicBezTo>
                          <a:pt x="48529" y="95684"/>
                          <a:pt x="49117" y="96315"/>
                          <a:pt x="49117" y="96315"/>
                        </a:cubicBezTo>
                        <a:cubicBezTo>
                          <a:pt x="50294" y="97263"/>
                          <a:pt x="50294" y="97263"/>
                          <a:pt x="50294" y="97263"/>
                        </a:cubicBezTo>
                        <a:cubicBezTo>
                          <a:pt x="50294" y="97263"/>
                          <a:pt x="50294" y="97578"/>
                          <a:pt x="50294" y="97578"/>
                        </a:cubicBezTo>
                        <a:cubicBezTo>
                          <a:pt x="50294" y="97894"/>
                          <a:pt x="50588" y="98526"/>
                          <a:pt x="50882" y="98842"/>
                        </a:cubicBezTo>
                        <a:cubicBezTo>
                          <a:pt x="51176" y="99473"/>
                          <a:pt x="50882" y="98526"/>
                          <a:pt x="51176" y="98526"/>
                        </a:cubicBezTo>
                        <a:cubicBezTo>
                          <a:pt x="51176" y="98210"/>
                          <a:pt x="51470" y="97894"/>
                          <a:pt x="51470" y="97894"/>
                        </a:cubicBezTo>
                        <a:cubicBezTo>
                          <a:pt x="52058" y="98842"/>
                          <a:pt x="52058" y="98842"/>
                          <a:pt x="52058" y="98842"/>
                        </a:cubicBezTo>
                        <a:cubicBezTo>
                          <a:pt x="52058" y="98842"/>
                          <a:pt x="53235" y="99157"/>
                          <a:pt x="53529" y="99157"/>
                        </a:cubicBezTo>
                        <a:cubicBezTo>
                          <a:pt x="53823" y="98842"/>
                          <a:pt x="54117" y="98526"/>
                          <a:pt x="54117" y="98526"/>
                        </a:cubicBezTo>
                        <a:cubicBezTo>
                          <a:pt x="53529" y="97894"/>
                          <a:pt x="53529" y="97894"/>
                          <a:pt x="53529" y="97894"/>
                        </a:cubicBezTo>
                        <a:cubicBezTo>
                          <a:pt x="52941" y="96947"/>
                          <a:pt x="52941" y="96947"/>
                          <a:pt x="52941" y="96947"/>
                        </a:cubicBezTo>
                        <a:cubicBezTo>
                          <a:pt x="52941" y="96947"/>
                          <a:pt x="52058" y="96000"/>
                          <a:pt x="51764" y="96000"/>
                        </a:cubicBezTo>
                        <a:cubicBezTo>
                          <a:pt x="51470" y="95684"/>
                          <a:pt x="51176" y="95368"/>
                          <a:pt x="51176" y="95052"/>
                        </a:cubicBezTo>
                        <a:cubicBezTo>
                          <a:pt x="50882" y="94736"/>
                          <a:pt x="50882" y="94105"/>
                          <a:pt x="50882" y="94105"/>
                        </a:cubicBezTo>
                        <a:cubicBezTo>
                          <a:pt x="51176" y="93789"/>
                          <a:pt x="51176" y="93157"/>
                          <a:pt x="51470" y="92526"/>
                        </a:cubicBezTo>
                        <a:cubicBezTo>
                          <a:pt x="51764" y="91894"/>
                          <a:pt x="51176" y="92526"/>
                          <a:pt x="51176" y="92526"/>
                        </a:cubicBezTo>
                        <a:cubicBezTo>
                          <a:pt x="51176" y="92526"/>
                          <a:pt x="50588" y="91578"/>
                          <a:pt x="50882" y="91263"/>
                        </a:cubicBezTo>
                        <a:cubicBezTo>
                          <a:pt x="50882" y="91263"/>
                          <a:pt x="49705" y="89368"/>
                          <a:pt x="49705" y="89368"/>
                        </a:cubicBezTo>
                        <a:cubicBezTo>
                          <a:pt x="49705" y="89368"/>
                          <a:pt x="49411" y="88736"/>
                          <a:pt x="49411" y="88736"/>
                        </a:cubicBezTo>
                        <a:cubicBezTo>
                          <a:pt x="49411" y="88736"/>
                          <a:pt x="48529" y="88105"/>
                          <a:pt x="48235" y="88105"/>
                        </a:cubicBezTo>
                        <a:cubicBezTo>
                          <a:pt x="47941" y="87789"/>
                          <a:pt x="47647" y="87473"/>
                          <a:pt x="47647" y="87473"/>
                        </a:cubicBezTo>
                        <a:cubicBezTo>
                          <a:pt x="47647" y="87157"/>
                          <a:pt x="47647" y="86526"/>
                          <a:pt x="47647" y="86210"/>
                        </a:cubicBezTo>
                        <a:cubicBezTo>
                          <a:pt x="47352" y="85894"/>
                          <a:pt x="47058" y="85263"/>
                          <a:pt x="46764" y="84947"/>
                        </a:cubicBezTo>
                        <a:cubicBezTo>
                          <a:pt x="46470" y="84631"/>
                          <a:pt x="46176" y="84000"/>
                          <a:pt x="45882" y="83368"/>
                        </a:cubicBezTo>
                        <a:cubicBezTo>
                          <a:pt x="45588" y="83052"/>
                          <a:pt x="45294" y="82421"/>
                          <a:pt x="45294" y="82421"/>
                        </a:cubicBezTo>
                        <a:cubicBezTo>
                          <a:pt x="45000" y="81157"/>
                          <a:pt x="45000" y="81157"/>
                          <a:pt x="45000" y="81157"/>
                        </a:cubicBezTo>
                        <a:cubicBezTo>
                          <a:pt x="45000" y="80526"/>
                          <a:pt x="45000" y="80526"/>
                          <a:pt x="45000" y="80526"/>
                        </a:cubicBezTo>
                        <a:cubicBezTo>
                          <a:pt x="45882" y="81157"/>
                          <a:pt x="45882" y="81157"/>
                          <a:pt x="45882" y="81157"/>
                        </a:cubicBezTo>
                        <a:cubicBezTo>
                          <a:pt x="45882" y="81157"/>
                          <a:pt x="46470" y="80842"/>
                          <a:pt x="46764" y="80842"/>
                        </a:cubicBezTo>
                        <a:cubicBezTo>
                          <a:pt x="47058" y="80842"/>
                          <a:pt x="47941" y="81157"/>
                          <a:pt x="47941" y="81157"/>
                        </a:cubicBezTo>
                        <a:cubicBezTo>
                          <a:pt x="47941" y="81157"/>
                          <a:pt x="48529" y="81473"/>
                          <a:pt x="48823" y="81473"/>
                        </a:cubicBezTo>
                        <a:cubicBezTo>
                          <a:pt x="48823" y="81473"/>
                          <a:pt x="49117" y="81789"/>
                          <a:pt x="49411" y="81473"/>
                        </a:cubicBezTo>
                        <a:cubicBezTo>
                          <a:pt x="49705" y="81473"/>
                          <a:pt x="50000" y="82105"/>
                          <a:pt x="50000" y="82421"/>
                        </a:cubicBezTo>
                        <a:cubicBezTo>
                          <a:pt x="50000" y="82736"/>
                          <a:pt x="49705" y="83052"/>
                          <a:pt x="49705" y="83052"/>
                        </a:cubicBezTo>
                        <a:cubicBezTo>
                          <a:pt x="49705" y="83368"/>
                          <a:pt x="49705" y="83684"/>
                          <a:pt x="49705" y="83684"/>
                        </a:cubicBezTo>
                        <a:cubicBezTo>
                          <a:pt x="49705" y="83684"/>
                          <a:pt x="50294" y="84000"/>
                          <a:pt x="50588" y="84000"/>
                        </a:cubicBezTo>
                        <a:cubicBezTo>
                          <a:pt x="50588" y="84315"/>
                          <a:pt x="50294" y="84631"/>
                          <a:pt x="50294" y="84631"/>
                        </a:cubicBezTo>
                        <a:cubicBezTo>
                          <a:pt x="50294" y="84631"/>
                          <a:pt x="50294" y="85263"/>
                          <a:pt x="50294" y="85578"/>
                        </a:cubicBezTo>
                        <a:cubicBezTo>
                          <a:pt x="50588" y="85578"/>
                          <a:pt x="50882" y="84947"/>
                          <a:pt x="50882" y="84947"/>
                        </a:cubicBezTo>
                        <a:cubicBezTo>
                          <a:pt x="50882" y="84947"/>
                          <a:pt x="51176" y="84315"/>
                          <a:pt x="51176" y="84000"/>
                        </a:cubicBezTo>
                        <a:cubicBezTo>
                          <a:pt x="51176" y="83684"/>
                          <a:pt x="51764" y="83368"/>
                          <a:pt x="51764" y="83368"/>
                        </a:cubicBezTo>
                        <a:cubicBezTo>
                          <a:pt x="52352" y="82105"/>
                          <a:pt x="52352" y="82105"/>
                          <a:pt x="52352" y="82105"/>
                        </a:cubicBezTo>
                        <a:cubicBezTo>
                          <a:pt x="52941" y="81473"/>
                          <a:pt x="52941" y="81473"/>
                          <a:pt x="52941" y="81473"/>
                        </a:cubicBezTo>
                        <a:cubicBezTo>
                          <a:pt x="52941" y="81473"/>
                          <a:pt x="54117" y="81157"/>
                          <a:pt x="54411" y="80842"/>
                        </a:cubicBezTo>
                        <a:cubicBezTo>
                          <a:pt x="54705" y="80526"/>
                          <a:pt x="54705" y="80842"/>
                          <a:pt x="54705" y="80526"/>
                        </a:cubicBezTo>
                        <a:cubicBezTo>
                          <a:pt x="55000" y="80526"/>
                          <a:pt x="55000" y="79894"/>
                          <a:pt x="55000" y="79894"/>
                        </a:cubicBezTo>
                        <a:cubicBezTo>
                          <a:pt x="54411" y="79263"/>
                          <a:pt x="54411" y="79263"/>
                          <a:pt x="54411" y="79263"/>
                        </a:cubicBezTo>
                        <a:cubicBezTo>
                          <a:pt x="53235" y="79578"/>
                          <a:pt x="53235" y="79578"/>
                          <a:pt x="53235" y="79578"/>
                        </a:cubicBezTo>
                        <a:cubicBezTo>
                          <a:pt x="52941" y="78947"/>
                          <a:pt x="52941" y="78947"/>
                          <a:pt x="52941" y="78947"/>
                        </a:cubicBezTo>
                        <a:cubicBezTo>
                          <a:pt x="52941" y="78947"/>
                          <a:pt x="52941" y="78947"/>
                          <a:pt x="53235" y="78947"/>
                        </a:cubicBezTo>
                        <a:cubicBezTo>
                          <a:pt x="53235" y="78947"/>
                          <a:pt x="53235" y="77684"/>
                          <a:pt x="53235" y="77684"/>
                        </a:cubicBezTo>
                        <a:cubicBezTo>
                          <a:pt x="53235" y="77684"/>
                          <a:pt x="52647" y="78000"/>
                          <a:pt x="52352" y="78000"/>
                        </a:cubicBezTo>
                        <a:cubicBezTo>
                          <a:pt x="52058" y="78000"/>
                          <a:pt x="52352" y="78947"/>
                          <a:pt x="52352" y="78947"/>
                        </a:cubicBezTo>
                        <a:cubicBezTo>
                          <a:pt x="52352" y="78947"/>
                          <a:pt x="50882" y="78631"/>
                          <a:pt x="50588" y="78631"/>
                        </a:cubicBezTo>
                        <a:cubicBezTo>
                          <a:pt x="50294" y="78315"/>
                          <a:pt x="50294" y="78000"/>
                          <a:pt x="50294" y="78000"/>
                        </a:cubicBezTo>
                        <a:cubicBezTo>
                          <a:pt x="50000" y="77684"/>
                          <a:pt x="50588" y="76736"/>
                          <a:pt x="50588" y="76736"/>
                        </a:cubicBezTo>
                        <a:cubicBezTo>
                          <a:pt x="50882" y="75473"/>
                          <a:pt x="50882" y="75473"/>
                          <a:pt x="50882" y="75473"/>
                        </a:cubicBezTo>
                        <a:cubicBezTo>
                          <a:pt x="50882" y="75473"/>
                          <a:pt x="49411" y="75157"/>
                          <a:pt x="49411" y="74842"/>
                        </a:cubicBezTo>
                        <a:cubicBezTo>
                          <a:pt x="49411" y="74526"/>
                          <a:pt x="47941" y="75473"/>
                          <a:pt x="47352" y="74842"/>
                        </a:cubicBezTo>
                        <a:cubicBezTo>
                          <a:pt x="47058" y="74210"/>
                          <a:pt x="47058" y="74210"/>
                          <a:pt x="47058" y="74210"/>
                        </a:cubicBezTo>
                        <a:cubicBezTo>
                          <a:pt x="46470" y="73578"/>
                          <a:pt x="46470" y="73578"/>
                          <a:pt x="46470" y="73578"/>
                        </a:cubicBezTo>
                        <a:cubicBezTo>
                          <a:pt x="45882" y="73578"/>
                          <a:pt x="45882" y="73578"/>
                          <a:pt x="45882" y="73578"/>
                        </a:cubicBezTo>
                        <a:cubicBezTo>
                          <a:pt x="45882" y="73578"/>
                          <a:pt x="45000" y="73894"/>
                          <a:pt x="44705" y="73894"/>
                        </a:cubicBezTo>
                        <a:cubicBezTo>
                          <a:pt x="44411" y="73894"/>
                          <a:pt x="44411" y="73263"/>
                          <a:pt x="44411" y="73263"/>
                        </a:cubicBezTo>
                        <a:cubicBezTo>
                          <a:pt x="42941" y="72631"/>
                          <a:pt x="42941" y="72631"/>
                          <a:pt x="42941" y="72631"/>
                        </a:cubicBezTo>
                        <a:cubicBezTo>
                          <a:pt x="41470" y="72315"/>
                          <a:pt x="41470" y="72315"/>
                          <a:pt x="41470" y="72315"/>
                        </a:cubicBezTo>
                        <a:cubicBezTo>
                          <a:pt x="41470" y="72315"/>
                          <a:pt x="39705" y="72000"/>
                          <a:pt x="39117" y="71684"/>
                        </a:cubicBezTo>
                        <a:cubicBezTo>
                          <a:pt x="38823" y="71684"/>
                          <a:pt x="37352" y="71368"/>
                          <a:pt x="36764" y="71368"/>
                        </a:cubicBezTo>
                        <a:cubicBezTo>
                          <a:pt x="36176" y="71368"/>
                          <a:pt x="35588" y="71368"/>
                          <a:pt x="35000" y="71052"/>
                        </a:cubicBezTo>
                        <a:cubicBezTo>
                          <a:pt x="34705" y="70736"/>
                          <a:pt x="33823" y="70421"/>
                          <a:pt x="33823" y="70421"/>
                        </a:cubicBezTo>
                        <a:cubicBezTo>
                          <a:pt x="33823" y="70421"/>
                          <a:pt x="32058" y="69789"/>
                          <a:pt x="32058" y="69789"/>
                        </a:cubicBezTo>
                        <a:cubicBezTo>
                          <a:pt x="31764" y="69789"/>
                          <a:pt x="31470" y="69789"/>
                          <a:pt x="31470" y="69789"/>
                        </a:cubicBezTo>
                        <a:cubicBezTo>
                          <a:pt x="31176" y="69789"/>
                          <a:pt x="30588" y="70736"/>
                          <a:pt x="30000" y="71052"/>
                        </a:cubicBezTo>
                        <a:cubicBezTo>
                          <a:pt x="29705" y="71052"/>
                          <a:pt x="29705" y="72000"/>
                          <a:pt x="29411" y="72315"/>
                        </a:cubicBezTo>
                        <a:cubicBezTo>
                          <a:pt x="29411" y="72947"/>
                          <a:pt x="29117" y="73263"/>
                          <a:pt x="28823" y="73263"/>
                        </a:cubicBezTo>
                        <a:cubicBezTo>
                          <a:pt x="28823" y="73578"/>
                          <a:pt x="27058" y="72947"/>
                          <a:pt x="27058" y="73263"/>
                        </a:cubicBezTo>
                        <a:close/>
                        <a:moveTo>
                          <a:pt x="17647" y="79578"/>
                        </a:moveTo>
                        <a:cubicBezTo>
                          <a:pt x="17647" y="79578"/>
                          <a:pt x="17647" y="79578"/>
                          <a:pt x="17647" y="79578"/>
                        </a:cubicBezTo>
                        <a:cubicBezTo>
                          <a:pt x="17647" y="79578"/>
                          <a:pt x="18235" y="79263"/>
                          <a:pt x="18235" y="79578"/>
                        </a:cubicBezTo>
                        <a:cubicBezTo>
                          <a:pt x="18235" y="79578"/>
                          <a:pt x="18529" y="79894"/>
                          <a:pt x="18529" y="80210"/>
                        </a:cubicBezTo>
                        <a:cubicBezTo>
                          <a:pt x="18823" y="80210"/>
                          <a:pt x="19411" y="80842"/>
                          <a:pt x="19705" y="80842"/>
                        </a:cubicBezTo>
                        <a:cubicBezTo>
                          <a:pt x="20000" y="80842"/>
                          <a:pt x="20882" y="80842"/>
                          <a:pt x="20882" y="80842"/>
                        </a:cubicBezTo>
                        <a:cubicBezTo>
                          <a:pt x="21764" y="81789"/>
                          <a:pt x="21764" y="81789"/>
                          <a:pt x="21764" y="81789"/>
                        </a:cubicBezTo>
                        <a:cubicBezTo>
                          <a:pt x="21764" y="81789"/>
                          <a:pt x="22647" y="82105"/>
                          <a:pt x="22647" y="82421"/>
                        </a:cubicBezTo>
                        <a:cubicBezTo>
                          <a:pt x="22647" y="82421"/>
                          <a:pt x="21176" y="83368"/>
                          <a:pt x="21176" y="83368"/>
                        </a:cubicBezTo>
                        <a:cubicBezTo>
                          <a:pt x="20882" y="83684"/>
                          <a:pt x="20882" y="83684"/>
                          <a:pt x="20882" y="83684"/>
                        </a:cubicBezTo>
                        <a:cubicBezTo>
                          <a:pt x="20882" y="83684"/>
                          <a:pt x="20882" y="84315"/>
                          <a:pt x="20294" y="84000"/>
                        </a:cubicBezTo>
                        <a:cubicBezTo>
                          <a:pt x="20000" y="84000"/>
                          <a:pt x="19705" y="84000"/>
                          <a:pt x="19411" y="83684"/>
                        </a:cubicBezTo>
                        <a:cubicBezTo>
                          <a:pt x="19411" y="83368"/>
                          <a:pt x="19411" y="83368"/>
                          <a:pt x="19117" y="83052"/>
                        </a:cubicBezTo>
                        <a:cubicBezTo>
                          <a:pt x="18529" y="82736"/>
                          <a:pt x="17352" y="81789"/>
                          <a:pt x="17352" y="81789"/>
                        </a:cubicBezTo>
                        <a:cubicBezTo>
                          <a:pt x="17352" y="80842"/>
                          <a:pt x="17352" y="80842"/>
                          <a:pt x="17352" y="80842"/>
                        </a:cubicBezTo>
                        <a:cubicBezTo>
                          <a:pt x="17352" y="80210"/>
                          <a:pt x="17352" y="80210"/>
                          <a:pt x="17352" y="80210"/>
                        </a:cubicBezTo>
                        <a:cubicBezTo>
                          <a:pt x="17647" y="79578"/>
                          <a:pt x="17647" y="79578"/>
                          <a:pt x="17647" y="79578"/>
                        </a:cubicBezTo>
                        <a:close/>
                        <a:moveTo>
                          <a:pt x="14117" y="73894"/>
                        </a:moveTo>
                        <a:cubicBezTo>
                          <a:pt x="14117" y="73894"/>
                          <a:pt x="14117" y="73894"/>
                          <a:pt x="14117" y="73894"/>
                        </a:cubicBezTo>
                        <a:cubicBezTo>
                          <a:pt x="13235" y="72631"/>
                          <a:pt x="13235" y="72631"/>
                          <a:pt x="13235" y="72631"/>
                        </a:cubicBezTo>
                        <a:cubicBezTo>
                          <a:pt x="12647" y="73894"/>
                          <a:pt x="12647" y="73894"/>
                          <a:pt x="12647" y="73894"/>
                        </a:cubicBezTo>
                        <a:cubicBezTo>
                          <a:pt x="12352" y="75157"/>
                          <a:pt x="12352" y="75157"/>
                          <a:pt x="12352" y="75157"/>
                        </a:cubicBezTo>
                        <a:cubicBezTo>
                          <a:pt x="13235" y="75789"/>
                          <a:pt x="13235" y="75789"/>
                          <a:pt x="13235" y="75789"/>
                        </a:cubicBezTo>
                        <a:cubicBezTo>
                          <a:pt x="13529" y="75789"/>
                          <a:pt x="13529" y="75789"/>
                          <a:pt x="13529" y="75789"/>
                        </a:cubicBezTo>
                        <a:cubicBezTo>
                          <a:pt x="14117" y="74842"/>
                          <a:pt x="14117" y="74842"/>
                          <a:pt x="14117" y="74842"/>
                        </a:cubicBezTo>
                        <a:cubicBezTo>
                          <a:pt x="14705" y="75789"/>
                          <a:pt x="14705" y="75789"/>
                          <a:pt x="14705" y="75789"/>
                        </a:cubicBezTo>
                        <a:cubicBezTo>
                          <a:pt x="15294" y="77052"/>
                          <a:pt x="15294" y="77052"/>
                          <a:pt x="15294" y="77052"/>
                        </a:cubicBezTo>
                        <a:cubicBezTo>
                          <a:pt x="15294" y="77052"/>
                          <a:pt x="15882" y="76421"/>
                          <a:pt x="16176" y="76105"/>
                        </a:cubicBezTo>
                        <a:cubicBezTo>
                          <a:pt x="16470" y="76105"/>
                          <a:pt x="17647" y="77052"/>
                          <a:pt x="17647" y="77052"/>
                        </a:cubicBezTo>
                        <a:cubicBezTo>
                          <a:pt x="17647" y="77052"/>
                          <a:pt x="18823" y="76421"/>
                          <a:pt x="19117" y="76421"/>
                        </a:cubicBezTo>
                        <a:cubicBezTo>
                          <a:pt x="19411" y="76421"/>
                          <a:pt x="18529" y="75473"/>
                          <a:pt x="18529" y="75473"/>
                        </a:cubicBezTo>
                        <a:cubicBezTo>
                          <a:pt x="17647" y="74526"/>
                          <a:pt x="17647" y="74526"/>
                          <a:pt x="17647" y="74526"/>
                        </a:cubicBezTo>
                        <a:cubicBezTo>
                          <a:pt x="17058" y="73894"/>
                          <a:pt x="17058" y="73894"/>
                          <a:pt x="17058" y="73894"/>
                        </a:cubicBezTo>
                        <a:cubicBezTo>
                          <a:pt x="15882" y="73263"/>
                          <a:pt x="15882" y="73263"/>
                          <a:pt x="15882" y="73263"/>
                        </a:cubicBezTo>
                        <a:cubicBezTo>
                          <a:pt x="15882" y="72947"/>
                          <a:pt x="15882" y="72947"/>
                          <a:pt x="15882" y="72947"/>
                        </a:cubicBezTo>
                        <a:cubicBezTo>
                          <a:pt x="16176" y="72315"/>
                          <a:pt x="16176" y="72315"/>
                          <a:pt x="16176" y="72315"/>
                        </a:cubicBezTo>
                        <a:cubicBezTo>
                          <a:pt x="16176" y="72315"/>
                          <a:pt x="16176" y="72947"/>
                          <a:pt x="16764" y="72631"/>
                        </a:cubicBezTo>
                        <a:cubicBezTo>
                          <a:pt x="17352" y="72631"/>
                          <a:pt x="17352" y="72631"/>
                          <a:pt x="17352" y="72315"/>
                        </a:cubicBezTo>
                        <a:cubicBezTo>
                          <a:pt x="17647" y="72315"/>
                          <a:pt x="17352" y="72000"/>
                          <a:pt x="17352" y="72000"/>
                        </a:cubicBezTo>
                        <a:cubicBezTo>
                          <a:pt x="16470" y="71368"/>
                          <a:pt x="16470" y="71368"/>
                          <a:pt x="16470" y="71368"/>
                        </a:cubicBezTo>
                        <a:cubicBezTo>
                          <a:pt x="16764" y="70421"/>
                          <a:pt x="16764" y="70421"/>
                          <a:pt x="16764" y="70421"/>
                        </a:cubicBezTo>
                        <a:cubicBezTo>
                          <a:pt x="15882" y="69789"/>
                          <a:pt x="15882" y="69789"/>
                          <a:pt x="15882" y="69789"/>
                        </a:cubicBezTo>
                        <a:cubicBezTo>
                          <a:pt x="15588" y="70736"/>
                          <a:pt x="15588" y="70736"/>
                          <a:pt x="15588" y="70736"/>
                        </a:cubicBezTo>
                        <a:cubicBezTo>
                          <a:pt x="14705" y="70421"/>
                          <a:pt x="14705" y="70421"/>
                          <a:pt x="14705" y="70421"/>
                        </a:cubicBezTo>
                        <a:cubicBezTo>
                          <a:pt x="14705" y="70421"/>
                          <a:pt x="14411" y="71052"/>
                          <a:pt x="14411" y="71052"/>
                        </a:cubicBezTo>
                        <a:cubicBezTo>
                          <a:pt x="14411" y="71368"/>
                          <a:pt x="14705" y="72315"/>
                          <a:pt x="14705" y="72315"/>
                        </a:cubicBezTo>
                        <a:cubicBezTo>
                          <a:pt x="14117" y="73894"/>
                          <a:pt x="14117" y="73894"/>
                          <a:pt x="14117" y="73894"/>
                        </a:cubicBezTo>
                        <a:close/>
                        <a:moveTo>
                          <a:pt x="3235" y="50842"/>
                        </a:moveTo>
                        <a:cubicBezTo>
                          <a:pt x="3235" y="50842"/>
                          <a:pt x="3235" y="50842"/>
                          <a:pt x="3235" y="50842"/>
                        </a:cubicBezTo>
                        <a:cubicBezTo>
                          <a:pt x="2647" y="50842"/>
                          <a:pt x="2647" y="50842"/>
                          <a:pt x="2647" y="50842"/>
                        </a:cubicBezTo>
                        <a:cubicBezTo>
                          <a:pt x="2647" y="50842"/>
                          <a:pt x="2647" y="51157"/>
                          <a:pt x="2941" y="51473"/>
                        </a:cubicBezTo>
                        <a:cubicBezTo>
                          <a:pt x="3235" y="51789"/>
                          <a:pt x="3823" y="53684"/>
                          <a:pt x="3823" y="53684"/>
                        </a:cubicBezTo>
                        <a:cubicBezTo>
                          <a:pt x="4411" y="54000"/>
                          <a:pt x="4411" y="54000"/>
                          <a:pt x="4411" y="54000"/>
                        </a:cubicBezTo>
                        <a:cubicBezTo>
                          <a:pt x="5588" y="54631"/>
                          <a:pt x="5588" y="54631"/>
                          <a:pt x="5588" y="54631"/>
                        </a:cubicBezTo>
                        <a:cubicBezTo>
                          <a:pt x="6470" y="55578"/>
                          <a:pt x="6470" y="55578"/>
                          <a:pt x="6470" y="55578"/>
                        </a:cubicBezTo>
                        <a:cubicBezTo>
                          <a:pt x="6470" y="55578"/>
                          <a:pt x="7058" y="56526"/>
                          <a:pt x="6176" y="56210"/>
                        </a:cubicBezTo>
                        <a:cubicBezTo>
                          <a:pt x="5294" y="55894"/>
                          <a:pt x="4411" y="55263"/>
                          <a:pt x="4117" y="54947"/>
                        </a:cubicBezTo>
                        <a:cubicBezTo>
                          <a:pt x="3529" y="54947"/>
                          <a:pt x="2941" y="54631"/>
                          <a:pt x="2941" y="54631"/>
                        </a:cubicBezTo>
                        <a:cubicBezTo>
                          <a:pt x="2941" y="54631"/>
                          <a:pt x="2647" y="53052"/>
                          <a:pt x="2647" y="52736"/>
                        </a:cubicBezTo>
                        <a:cubicBezTo>
                          <a:pt x="2352" y="52736"/>
                          <a:pt x="1764" y="52421"/>
                          <a:pt x="1764" y="52421"/>
                        </a:cubicBezTo>
                        <a:cubicBezTo>
                          <a:pt x="0" y="51473"/>
                          <a:pt x="0" y="51473"/>
                          <a:pt x="0" y="51473"/>
                        </a:cubicBezTo>
                        <a:cubicBezTo>
                          <a:pt x="0" y="51473"/>
                          <a:pt x="0" y="50210"/>
                          <a:pt x="294" y="49894"/>
                        </a:cubicBezTo>
                        <a:cubicBezTo>
                          <a:pt x="294" y="49894"/>
                          <a:pt x="294" y="49263"/>
                          <a:pt x="882" y="49263"/>
                        </a:cubicBezTo>
                        <a:cubicBezTo>
                          <a:pt x="1176" y="48947"/>
                          <a:pt x="2058" y="48947"/>
                          <a:pt x="2058" y="48947"/>
                        </a:cubicBezTo>
                        <a:cubicBezTo>
                          <a:pt x="2058" y="48947"/>
                          <a:pt x="2058" y="48000"/>
                          <a:pt x="2352" y="48315"/>
                        </a:cubicBezTo>
                        <a:cubicBezTo>
                          <a:pt x="2647" y="48631"/>
                          <a:pt x="3235" y="49578"/>
                          <a:pt x="3235" y="49578"/>
                        </a:cubicBezTo>
                        <a:lnTo>
                          <a:pt x="3235" y="50842"/>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94" name="Shape 2057"/>
                  <p:cNvSpPr/>
                  <p:nvPr/>
                </p:nvSpPr>
                <p:spPr>
                  <a:xfrm>
                    <a:off x="5477832" y="363797"/>
                    <a:ext cx="722325" cy="1278502"/>
                  </a:xfrm>
                  <a:custGeom>
                    <a:avLst/>
                    <a:gdLst/>
                    <a:ahLst/>
                    <a:cxnLst/>
                    <a:rect l="0" t="0" r="0" b="0"/>
                    <a:pathLst>
                      <a:path w="120000" h="120000" extrusionOk="0">
                        <a:moveTo>
                          <a:pt x="7570" y="20761"/>
                        </a:moveTo>
                        <a:cubicBezTo>
                          <a:pt x="6435" y="19723"/>
                          <a:pt x="6435" y="19723"/>
                          <a:pt x="6435" y="19723"/>
                        </a:cubicBezTo>
                        <a:cubicBezTo>
                          <a:pt x="4921" y="19307"/>
                          <a:pt x="4921" y="19307"/>
                          <a:pt x="4921" y="19307"/>
                        </a:cubicBezTo>
                        <a:cubicBezTo>
                          <a:pt x="3028" y="18892"/>
                          <a:pt x="3028" y="18892"/>
                          <a:pt x="3028" y="18892"/>
                        </a:cubicBezTo>
                        <a:cubicBezTo>
                          <a:pt x="3028" y="18062"/>
                          <a:pt x="3028" y="18062"/>
                          <a:pt x="3028" y="18062"/>
                        </a:cubicBezTo>
                        <a:cubicBezTo>
                          <a:pt x="378" y="17231"/>
                          <a:pt x="378" y="17231"/>
                          <a:pt x="378" y="17231"/>
                        </a:cubicBezTo>
                        <a:cubicBezTo>
                          <a:pt x="378" y="17231"/>
                          <a:pt x="0" y="16816"/>
                          <a:pt x="378" y="16816"/>
                        </a:cubicBezTo>
                        <a:cubicBezTo>
                          <a:pt x="757" y="16608"/>
                          <a:pt x="2271" y="16608"/>
                          <a:pt x="2649" y="16608"/>
                        </a:cubicBezTo>
                        <a:cubicBezTo>
                          <a:pt x="2649" y="16401"/>
                          <a:pt x="2649" y="16401"/>
                          <a:pt x="2649" y="16401"/>
                        </a:cubicBezTo>
                        <a:cubicBezTo>
                          <a:pt x="3028" y="16401"/>
                          <a:pt x="3028" y="16401"/>
                          <a:pt x="3028" y="16401"/>
                        </a:cubicBezTo>
                        <a:cubicBezTo>
                          <a:pt x="3406" y="16401"/>
                          <a:pt x="3406" y="16193"/>
                          <a:pt x="3406" y="16193"/>
                        </a:cubicBezTo>
                        <a:cubicBezTo>
                          <a:pt x="3406" y="16193"/>
                          <a:pt x="2271" y="14948"/>
                          <a:pt x="3028" y="14325"/>
                        </a:cubicBezTo>
                        <a:cubicBezTo>
                          <a:pt x="3028" y="14117"/>
                          <a:pt x="3028" y="14117"/>
                          <a:pt x="3028" y="14117"/>
                        </a:cubicBezTo>
                        <a:cubicBezTo>
                          <a:pt x="3028" y="14117"/>
                          <a:pt x="3028" y="14117"/>
                          <a:pt x="3028" y="14117"/>
                        </a:cubicBezTo>
                        <a:cubicBezTo>
                          <a:pt x="3785" y="13702"/>
                          <a:pt x="5299" y="13702"/>
                          <a:pt x="6056" y="14117"/>
                        </a:cubicBezTo>
                        <a:cubicBezTo>
                          <a:pt x="7570" y="14325"/>
                          <a:pt x="7570" y="14325"/>
                          <a:pt x="7570" y="14325"/>
                        </a:cubicBezTo>
                        <a:cubicBezTo>
                          <a:pt x="10220" y="15986"/>
                          <a:pt x="10220" y="15986"/>
                          <a:pt x="10220" y="15986"/>
                        </a:cubicBezTo>
                        <a:cubicBezTo>
                          <a:pt x="12492" y="17439"/>
                          <a:pt x="12492" y="17439"/>
                          <a:pt x="12492" y="17439"/>
                        </a:cubicBezTo>
                        <a:cubicBezTo>
                          <a:pt x="12492" y="17439"/>
                          <a:pt x="15899" y="18892"/>
                          <a:pt x="16656" y="19100"/>
                        </a:cubicBezTo>
                        <a:cubicBezTo>
                          <a:pt x="17413" y="19307"/>
                          <a:pt x="21577" y="19723"/>
                          <a:pt x="21955" y="19930"/>
                        </a:cubicBezTo>
                        <a:cubicBezTo>
                          <a:pt x="23091" y="19100"/>
                          <a:pt x="23091" y="19100"/>
                          <a:pt x="23091" y="19100"/>
                        </a:cubicBezTo>
                        <a:cubicBezTo>
                          <a:pt x="24605" y="18477"/>
                          <a:pt x="24605" y="18477"/>
                          <a:pt x="24605" y="18477"/>
                        </a:cubicBezTo>
                        <a:cubicBezTo>
                          <a:pt x="24227" y="18062"/>
                          <a:pt x="24227" y="18062"/>
                          <a:pt x="24227" y="18062"/>
                        </a:cubicBezTo>
                        <a:cubicBezTo>
                          <a:pt x="26119" y="17439"/>
                          <a:pt x="26119" y="17439"/>
                          <a:pt x="26119" y="17439"/>
                        </a:cubicBezTo>
                        <a:cubicBezTo>
                          <a:pt x="27634" y="18062"/>
                          <a:pt x="27634" y="18062"/>
                          <a:pt x="27634" y="18062"/>
                        </a:cubicBezTo>
                        <a:cubicBezTo>
                          <a:pt x="31419" y="18477"/>
                          <a:pt x="31419" y="18477"/>
                          <a:pt x="31419" y="18477"/>
                        </a:cubicBezTo>
                        <a:cubicBezTo>
                          <a:pt x="32933" y="19100"/>
                          <a:pt x="32933" y="19100"/>
                          <a:pt x="32933" y="19100"/>
                        </a:cubicBezTo>
                        <a:cubicBezTo>
                          <a:pt x="32933" y="19100"/>
                          <a:pt x="33312" y="19100"/>
                          <a:pt x="33690" y="18892"/>
                        </a:cubicBezTo>
                        <a:cubicBezTo>
                          <a:pt x="33690" y="18892"/>
                          <a:pt x="33690" y="18892"/>
                          <a:pt x="33690" y="18892"/>
                        </a:cubicBezTo>
                        <a:cubicBezTo>
                          <a:pt x="34069" y="18892"/>
                          <a:pt x="34069" y="18892"/>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477"/>
                          <a:pt x="34447" y="18477"/>
                          <a:pt x="34447" y="18477"/>
                        </a:cubicBezTo>
                        <a:cubicBezTo>
                          <a:pt x="34447" y="18269"/>
                          <a:pt x="34447" y="17024"/>
                          <a:pt x="34447" y="17024"/>
                        </a:cubicBezTo>
                        <a:cubicBezTo>
                          <a:pt x="34447" y="17024"/>
                          <a:pt x="33312" y="16608"/>
                          <a:pt x="34447" y="16193"/>
                        </a:cubicBezTo>
                        <a:cubicBezTo>
                          <a:pt x="35583" y="15570"/>
                          <a:pt x="37097" y="14948"/>
                          <a:pt x="37097" y="14948"/>
                        </a:cubicBezTo>
                        <a:cubicBezTo>
                          <a:pt x="37097" y="14948"/>
                          <a:pt x="37854" y="14740"/>
                          <a:pt x="37854" y="14117"/>
                        </a:cubicBezTo>
                        <a:cubicBezTo>
                          <a:pt x="37854" y="13494"/>
                          <a:pt x="37097" y="11833"/>
                          <a:pt x="37097" y="11833"/>
                        </a:cubicBezTo>
                        <a:cubicBezTo>
                          <a:pt x="37097" y="11833"/>
                          <a:pt x="36340" y="10795"/>
                          <a:pt x="36340" y="10380"/>
                        </a:cubicBezTo>
                        <a:cubicBezTo>
                          <a:pt x="37097" y="7889"/>
                          <a:pt x="35205" y="6020"/>
                          <a:pt x="36340" y="5813"/>
                        </a:cubicBezTo>
                        <a:cubicBezTo>
                          <a:pt x="36340" y="5813"/>
                          <a:pt x="36340" y="5813"/>
                          <a:pt x="36340" y="5813"/>
                        </a:cubicBezTo>
                        <a:cubicBezTo>
                          <a:pt x="37097" y="5605"/>
                          <a:pt x="37097" y="5605"/>
                          <a:pt x="37097" y="5605"/>
                        </a:cubicBezTo>
                        <a:cubicBezTo>
                          <a:pt x="38233" y="5190"/>
                          <a:pt x="38233" y="5190"/>
                          <a:pt x="38233" y="5190"/>
                        </a:cubicBezTo>
                        <a:cubicBezTo>
                          <a:pt x="38233" y="5190"/>
                          <a:pt x="38233" y="4982"/>
                          <a:pt x="38233" y="4982"/>
                        </a:cubicBezTo>
                        <a:cubicBezTo>
                          <a:pt x="38233" y="3944"/>
                          <a:pt x="35962" y="2906"/>
                          <a:pt x="38611" y="2698"/>
                        </a:cubicBezTo>
                        <a:cubicBezTo>
                          <a:pt x="39747" y="2283"/>
                          <a:pt x="39747" y="2283"/>
                          <a:pt x="39747" y="2283"/>
                        </a:cubicBezTo>
                        <a:cubicBezTo>
                          <a:pt x="43154" y="2283"/>
                          <a:pt x="43154" y="2283"/>
                          <a:pt x="43154" y="2283"/>
                        </a:cubicBezTo>
                        <a:cubicBezTo>
                          <a:pt x="43911" y="1038"/>
                          <a:pt x="43911" y="1038"/>
                          <a:pt x="43911" y="1038"/>
                        </a:cubicBezTo>
                        <a:cubicBezTo>
                          <a:pt x="45425" y="207"/>
                          <a:pt x="45425" y="207"/>
                          <a:pt x="45425" y="207"/>
                        </a:cubicBezTo>
                        <a:cubicBezTo>
                          <a:pt x="46561" y="207"/>
                          <a:pt x="48075" y="0"/>
                          <a:pt x="48832" y="207"/>
                        </a:cubicBezTo>
                        <a:cubicBezTo>
                          <a:pt x="49589" y="830"/>
                          <a:pt x="49589" y="1245"/>
                          <a:pt x="51104" y="1453"/>
                        </a:cubicBezTo>
                        <a:cubicBezTo>
                          <a:pt x="55646" y="2283"/>
                          <a:pt x="55646" y="2283"/>
                          <a:pt x="55646" y="2283"/>
                        </a:cubicBezTo>
                        <a:cubicBezTo>
                          <a:pt x="58296" y="2491"/>
                          <a:pt x="58296" y="2491"/>
                          <a:pt x="58296" y="2491"/>
                        </a:cubicBezTo>
                        <a:cubicBezTo>
                          <a:pt x="59053" y="2906"/>
                          <a:pt x="59053" y="2906"/>
                          <a:pt x="59053" y="2906"/>
                        </a:cubicBezTo>
                        <a:cubicBezTo>
                          <a:pt x="59053" y="2906"/>
                          <a:pt x="59053" y="2906"/>
                          <a:pt x="59053" y="2906"/>
                        </a:cubicBezTo>
                        <a:cubicBezTo>
                          <a:pt x="59053" y="3321"/>
                          <a:pt x="59053" y="3737"/>
                          <a:pt x="59432" y="3944"/>
                        </a:cubicBezTo>
                        <a:cubicBezTo>
                          <a:pt x="59432" y="4359"/>
                          <a:pt x="59810" y="4982"/>
                          <a:pt x="59810" y="4982"/>
                        </a:cubicBezTo>
                        <a:cubicBezTo>
                          <a:pt x="59810" y="4982"/>
                          <a:pt x="59432" y="5605"/>
                          <a:pt x="59432" y="6020"/>
                        </a:cubicBezTo>
                        <a:cubicBezTo>
                          <a:pt x="59053" y="6228"/>
                          <a:pt x="59053" y="6851"/>
                          <a:pt x="59053" y="7058"/>
                        </a:cubicBezTo>
                        <a:cubicBezTo>
                          <a:pt x="59053" y="7266"/>
                          <a:pt x="59053" y="7474"/>
                          <a:pt x="59053" y="7681"/>
                        </a:cubicBezTo>
                        <a:cubicBezTo>
                          <a:pt x="59053" y="8096"/>
                          <a:pt x="59432" y="8719"/>
                          <a:pt x="59810" y="8927"/>
                        </a:cubicBezTo>
                        <a:cubicBezTo>
                          <a:pt x="59810" y="9134"/>
                          <a:pt x="61703" y="9757"/>
                          <a:pt x="61703" y="9757"/>
                        </a:cubicBezTo>
                        <a:cubicBezTo>
                          <a:pt x="61703" y="9757"/>
                          <a:pt x="61703" y="9965"/>
                          <a:pt x="59810" y="10795"/>
                        </a:cubicBezTo>
                        <a:cubicBezTo>
                          <a:pt x="58296" y="11833"/>
                          <a:pt x="58296" y="11833"/>
                          <a:pt x="58296" y="11833"/>
                        </a:cubicBezTo>
                        <a:cubicBezTo>
                          <a:pt x="60946" y="12249"/>
                          <a:pt x="60946" y="12249"/>
                          <a:pt x="60946" y="12249"/>
                        </a:cubicBezTo>
                        <a:cubicBezTo>
                          <a:pt x="60946" y="13287"/>
                          <a:pt x="60946" y="13287"/>
                          <a:pt x="60946" y="13287"/>
                        </a:cubicBezTo>
                        <a:cubicBezTo>
                          <a:pt x="60946" y="14117"/>
                          <a:pt x="60946" y="14117"/>
                          <a:pt x="60946" y="14117"/>
                        </a:cubicBezTo>
                        <a:cubicBezTo>
                          <a:pt x="60567" y="15363"/>
                          <a:pt x="60567" y="15363"/>
                          <a:pt x="60567" y="15363"/>
                        </a:cubicBezTo>
                        <a:cubicBezTo>
                          <a:pt x="59432" y="16193"/>
                          <a:pt x="59432" y="16193"/>
                          <a:pt x="59432" y="16193"/>
                        </a:cubicBezTo>
                        <a:cubicBezTo>
                          <a:pt x="60946" y="17439"/>
                          <a:pt x="60946" y="17439"/>
                          <a:pt x="60946" y="17439"/>
                        </a:cubicBezTo>
                        <a:cubicBezTo>
                          <a:pt x="62839" y="19100"/>
                          <a:pt x="62839" y="19100"/>
                          <a:pt x="62839" y="19100"/>
                        </a:cubicBezTo>
                        <a:cubicBezTo>
                          <a:pt x="65488" y="19930"/>
                          <a:pt x="65488" y="19930"/>
                          <a:pt x="65488" y="19930"/>
                        </a:cubicBezTo>
                        <a:cubicBezTo>
                          <a:pt x="65488" y="19930"/>
                          <a:pt x="65867" y="19723"/>
                          <a:pt x="68517" y="19930"/>
                        </a:cubicBezTo>
                        <a:cubicBezTo>
                          <a:pt x="71167" y="20346"/>
                          <a:pt x="71924" y="21591"/>
                          <a:pt x="71924" y="21591"/>
                        </a:cubicBezTo>
                        <a:cubicBezTo>
                          <a:pt x="73438" y="22629"/>
                          <a:pt x="73438" y="22629"/>
                          <a:pt x="73438" y="22629"/>
                        </a:cubicBezTo>
                        <a:cubicBezTo>
                          <a:pt x="75709" y="23460"/>
                          <a:pt x="75709" y="23460"/>
                          <a:pt x="75709" y="23460"/>
                        </a:cubicBezTo>
                        <a:cubicBezTo>
                          <a:pt x="76845" y="24083"/>
                          <a:pt x="76845" y="24083"/>
                          <a:pt x="76845" y="24083"/>
                        </a:cubicBezTo>
                        <a:cubicBezTo>
                          <a:pt x="76466" y="25951"/>
                          <a:pt x="76466" y="25951"/>
                          <a:pt x="76466" y="25951"/>
                        </a:cubicBezTo>
                        <a:cubicBezTo>
                          <a:pt x="76466" y="25951"/>
                          <a:pt x="75331" y="26989"/>
                          <a:pt x="75709" y="27820"/>
                        </a:cubicBezTo>
                        <a:cubicBezTo>
                          <a:pt x="75709" y="28858"/>
                          <a:pt x="74574" y="30311"/>
                          <a:pt x="74574" y="30726"/>
                        </a:cubicBezTo>
                        <a:cubicBezTo>
                          <a:pt x="74574" y="30934"/>
                          <a:pt x="73817" y="32595"/>
                          <a:pt x="73817" y="32595"/>
                        </a:cubicBezTo>
                        <a:cubicBezTo>
                          <a:pt x="74952" y="34048"/>
                          <a:pt x="74952" y="34048"/>
                          <a:pt x="74952" y="34048"/>
                        </a:cubicBezTo>
                        <a:cubicBezTo>
                          <a:pt x="76466" y="34878"/>
                          <a:pt x="76466" y="34878"/>
                          <a:pt x="76466" y="34878"/>
                        </a:cubicBezTo>
                        <a:cubicBezTo>
                          <a:pt x="78738" y="36332"/>
                          <a:pt x="78738" y="36332"/>
                          <a:pt x="78738" y="36332"/>
                        </a:cubicBezTo>
                        <a:cubicBezTo>
                          <a:pt x="81766" y="38200"/>
                          <a:pt x="81766" y="38200"/>
                          <a:pt x="81766" y="38200"/>
                        </a:cubicBezTo>
                        <a:cubicBezTo>
                          <a:pt x="82902" y="39653"/>
                          <a:pt x="82902" y="39653"/>
                          <a:pt x="82902" y="39653"/>
                        </a:cubicBezTo>
                        <a:cubicBezTo>
                          <a:pt x="82902" y="39653"/>
                          <a:pt x="85930" y="40692"/>
                          <a:pt x="85930" y="40899"/>
                        </a:cubicBezTo>
                        <a:cubicBezTo>
                          <a:pt x="85930" y="41107"/>
                          <a:pt x="87066" y="42145"/>
                          <a:pt x="87066" y="42145"/>
                        </a:cubicBezTo>
                        <a:cubicBezTo>
                          <a:pt x="88580" y="43598"/>
                          <a:pt x="88580" y="43598"/>
                          <a:pt x="88580" y="43598"/>
                        </a:cubicBezTo>
                        <a:cubicBezTo>
                          <a:pt x="88201" y="44636"/>
                          <a:pt x="88201" y="44636"/>
                          <a:pt x="88201" y="44636"/>
                        </a:cubicBezTo>
                        <a:cubicBezTo>
                          <a:pt x="87066" y="45674"/>
                          <a:pt x="87066" y="45674"/>
                          <a:pt x="87066" y="45674"/>
                        </a:cubicBezTo>
                        <a:cubicBezTo>
                          <a:pt x="87066" y="46297"/>
                          <a:pt x="87066" y="46297"/>
                          <a:pt x="87066" y="46297"/>
                        </a:cubicBezTo>
                        <a:cubicBezTo>
                          <a:pt x="88201" y="47128"/>
                          <a:pt x="88201" y="47128"/>
                          <a:pt x="88201" y="47128"/>
                        </a:cubicBezTo>
                        <a:cubicBezTo>
                          <a:pt x="87823" y="47958"/>
                          <a:pt x="87823" y="47958"/>
                          <a:pt x="87823" y="47958"/>
                        </a:cubicBezTo>
                        <a:cubicBezTo>
                          <a:pt x="88958" y="49204"/>
                          <a:pt x="88958" y="49204"/>
                          <a:pt x="88958" y="49204"/>
                        </a:cubicBezTo>
                        <a:cubicBezTo>
                          <a:pt x="88201" y="50034"/>
                          <a:pt x="88201" y="50034"/>
                          <a:pt x="88201" y="50034"/>
                        </a:cubicBezTo>
                        <a:cubicBezTo>
                          <a:pt x="90094" y="50449"/>
                          <a:pt x="90094" y="50449"/>
                          <a:pt x="90094" y="50449"/>
                        </a:cubicBezTo>
                        <a:cubicBezTo>
                          <a:pt x="90094" y="50449"/>
                          <a:pt x="90473" y="50657"/>
                          <a:pt x="90094" y="51072"/>
                        </a:cubicBezTo>
                        <a:cubicBezTo>
                          <a:pt x="89716" y="51280"/>
                          <a:pt x="89337" y="52733"/>
                          <a:pt x="89337" y="52733"/>
                        </a:cubicBezTo>
                        <a:cubicBezTo>
                          <a:pt x="91230" y="54394"/>
                          <a:pt x="91230" y="54394"/>
                          <a:pt x="91230" y="54394"/>
                        </a:cubicBezTo>
                        <a:cubicBezTo>
                          <a:pt x="93880" y="54602"/>
                          <a:pt x="93880" y="54602"/>
                          <a:pt x="93880" y="54602"/>
                        </a:cubicBezTo>
                        <a:cubicBezTo>
                          <a:pt x="93880" y="54602"/>
                          <a:pt x="95394" y="54602"/>
                          <a:pt x="95394" y="54809"/>
                        </a:cubicBezTo>
                        <a:cubicBezTo>
                          <a:pt x="95772" y="55017"/>
                          <a:pt x="96151" y="55640"/>
                          <a:pt x="96151" y="55640"/>
                        </a:cubicBezTo>
                        <a:cubicBezTo>
                          <a:pt x="95015" y="56885"/>
                          <a:pt x="95015" y="56885"/>
                          <a:pt x="95015" y="56885"/>
                        </a:cubicBezTo>
                        <a:cubicBezTo>
                          <a:pt x="95015" y="56885"/>
                          <a:pt x="95394" y="57508"/>
                          <a:pt x="96529" y="57923"/>
                        </a:cubicBezTo>
                        <a:cubicBezTo>
                          <a:pt x="97287" y="58131"/>
                          <a:pt x="98044" y="58131"/>
                          <a:pt x="98044" y="58546"/>
                        </a:cubicBezTo>
                        <a:cubicBezTo>
                          <a:pt x="98422" y="58961"/>
                          <a:pt x="98422" y="59584"/>
                          <a:pt x="98801" y="59377"/>
                        </a:cubicBezTo>
                        <a:cubicBezTo>
                          <a:pt x="99558" y="59377"/>
                          <a:pt x="101072" y="59584"/>
                          <a:pt x="101072" y="59584"/>
                        </a:cubicBezTo>
                        <a:cubicBezTo>
                          <a:pt x="102208" y="60622"/>
                          <a:pt x="102208" y="60622"/>
                          <a:pt x="102208" y="60622"/>
                        </a:cubicBezTo>
                        <a:cubicBezTo>
                          <a:pt x="102965" y="61453"/>
                          <a:pt x="102965" y="61453"/>
                          <a:pt x="102965" y="61453"/>
                        </a:cubicBezTo>
                        <a:cubicBezTo>
                          <a:pt x="102965" y="61453"/>
                          <a:pt x="102965" y="62076"/>
                          <a:pt x="102965" y="62283"/>
                        </a:cubicBezTo>
                        <a:cubicBezTo>
                          <a:pt x="102965" y="62698"/>
                          <a:pt x="102586" y="63944"/>
                          <a:pt x="102586" y="63944"/>
                        </a:cubicBezTo>
                        <a:cubicBezTo>
                          <a:pt x="100694" y="65605"/>
                          <a:pt x="100694" y="65605"/>
                          <a:pt x="100694" y="65605"/>
                        </a:cubicBezTo>
                        <a:cubicBezTo>
                          <a:pt x="100694" y="65605"/>
                          <a:pt x="102208" y="66643"/>
                          <a:pt x="103343" y="67058"/>
                        </a:cubicBezTo>
                        <a:cubicBezTo>
                          <a:pt x="104479" y="67474"/>
                          <a:pt x="105993" y="68096"/>
                          <a:pt x="106372" y="68096"/>
                        </a:cubicBezTo>
                        <a:cubicBezTo>
                          <a:pt x="106750" y="68096"/>
                          <a:pt x="108643" y="68304"/>
                          <a:pt x="109400" y="68512"/>
                        </a:cubicBezTo>
                        <a:cubicBezTo>
                          <a:pt x="109779" y="68512"/>
                          <a:pt x="111293" y="68927"/>
                          <a:pt x="111671" y="69134"/>
                        </a:cubicBezTo>
                        <a:cubicBezTo>
                          <a:pt x="112050" y="69342"/>
                          <a:pt x="114700" y="70173"/>
                          <a:pt x="114700" y="70173"/>
                        </a:cubicBezTo>
                        <a:cubicBezTo>
                          <a:pt x="116971" y="70795"/>
                          <a:pt x="116971" y="70795"/>
                          <a:pt x="116971" y="70795"/>
                        </a:cubicBezTo>
                        <a:cubicBezTo>
                          <a:pt x="119242" y="71833"/>
                          <a:pt x="119242" y="71833"/>
                          <a:pt x="119242" y="71833"/>
                        </a:cubicBezTo>
                        <a:cubicBezTo>
                          <a:pt x="120000" y="74325"/>
                          <a:pt x="120000" y="74325"/>
                          <a:pt x="120000" y="74325"/>
                        </a:cubicBezTo>
                        <a:cubicBezTo>
                          <a:pt x="120000" y="74325"/>
                          <a:pt x="119242" y="78062"/>
                          <a:pt x="118864" y="78477"/>
                        </a:cubicBezTo>
                        <a:cubicBezTo>
                          <a:pt x="118864" y="78892"/>
                          <a:pt x="117728" y="80761"/>
                          <a:pt x="117350" y="80968"/>
                        </a:cubicBezTo>
                        <a:cubicBezTo>
                          <a:pt x="116593" y="81176"/>
                          <a:pt x="115835" y="81384"/>
                          <a:pt x="115835" y="81799"/>
                        </a:cubicBezTo>
                        <a:cubicBezTo>
                          <a:pt x="115835" y="82214"/>
                          <a:pt x="114700" y="84498"/>
                          <a:pt x="114700" y="84498"/>
                        </a:cubicBezTo>
                        <a:cubicBezTo>
                          <a:pt x="114700" y="84498"/>
                          <a:pt x="113564" y="85951"/>
                          <a:pt x="113564" y="86366"/>
                        </a:cubicBezTo>
                        <a:cubicBezTo>
                          <a:pt x="113564" y="86782"/>
                          <a:pt x="112429" y="88027"/>
                          <a:pt x="112429" y="88442"/>
                        </a:cubicBezTo>
                        <a:cubicBezTo>
                          <a:pt x="112050" y="88650"/>
                          <a:pt x="111293" y="90311"/>
                          <a:pt x="111293" y="90311"/>
                        </a:cubicBezTo>
                        <a:cubicBezTo>
                          <a:pt x="106372" y="95709"/>
                          <a:pt x="106372" y="95709"/>
                          <a:pt x="106372" y="95709"/>
                        </a:cubicBezTo>
                        <a:cubicBezTo>
                          <a:pt x="105236" y="97785"/>
                          <a:pt x="105236" y="97785"/>
                          <a:pt x="105236" y="97785"/>
                        </a:cubicBezTo>
                        <a:cubicBezTo>
                          <a:pt x="105236" y="97785"/>
                          <a:pt x="104100" y="97993"/>
                          <a:pt x="103722" y="98408"/>
                        </a:cubicBezTo>
                        <a:cubicBezTo>
                          <a:pt x="103343" y="99031"/>
                          <a:pt x="102965" y="99446"/>
                          <a:pt x="102586" y="100069"/>
                        </a:cubicBezTo>
                        <a:cubicBezTo>
                          <a:pt x="102586" y="100484"/>
                          <a:pt x="100694" y="102352"/>
                          <a:pt x="100694" y="102352"/>
                        </a:cubicBezTo>
                        <a:cubicBezTo>
                          <a:pt x="99936" y="103391"/>
                          <a:pt x="99936" y="103391"/>
                          <a:pt x="99936" y="103391"/>
                        </a:cubicBezTo>
                        <a:cubicBezTo>
                          <a:pt x="98422" y="104429"/>
                          <a:pt x="98422" y="104429"/>
                          <a:pt x="98422" y="104429"/>
                        </a:cubicBezTo>
                        <a:cubicBezTo>
                          <a:pt x="98422" y="104429"/>
                          <a:pt x="97287" y="104844"/>
                          <a:pt x="97287" y="104844"/>
                        </a:cubicBezTo>
                        <a:cubicBezTo>
                          <a:pt x="97287" y="104844"/>
                          <a:pt x="96529" y="104844"/>
                          <a:pt x="96529" y="104844"/>
                        </a:cubicBezTo>
                        <a:cubicBezTo>
                          <a:pt x="94637" y="104844"/>
                          <a:pt x="94637" y="104844"/>
                          <a:pt x="94637" y="104844"/>
                        </a:cubicBezTo>
                        <a:cubicBezTo>
                          <a:pt x="93501" y="104429"/>
                          <a:pt x="93501" y="104429"/>
                          <a:pt x="93501" y="104429"/>
                        </a:cubicBezTo>
                        <a:cubicBezTo>
                          <a:pt x="93501" y="104429"/>
                          <a:pt x="92365" y="104844"/>
                          <a:pt x="92365" y="104844"/>
                        </a:cubicBezTo>
                        <a:cubicBezTo>
                          <a:pt x="92365" y="105051"/>
                          <a:pt x="91608" y="105259"/>
                          <a:pt x="91608" y="105467"/>
                        </a:cubicBezTo>
                        <a:cubicBezTo>
                          <a:pt x="91608" y="105467"/>
                          <a:pt x="91230" y="105882"/>
                          <a:pt x="90851" y="105882"/>
                        </a:cubicBezTo>
                        <a:cubicBezTo>
                          <a:pt x="90473" y="106089"/>
                          <a:pt x="90094" y="106297"/>
                          <a:pt x="89716" y="106297"/>
                        </a:cubicBezTo>
                        <a:cubicBezTo>
                          <a:pt x="89716" y="106505"/>
                          <a:pt x="88958" y="106505"/>
                          <a:pt x="88958" y="106505"/>
                        </a:cubicBezTo>
                        <a:cubicBezTo>
                          <a:pt x="88958" y="106505"/>
                          <a:pt x="88958" y="106712"/>
                          <a:pt x="88580" y="106920"/>
                        </a:cubicBezTo>
                        <a:cubicBezTo>
                          <a:pt x="88580" y="106920"/>
                          <a:pt x="87444" y="106920"/>
                          <a:pt x="87066" y="106712"/>
                        </a:cubicBezTo>
                        <a:cubicBezTo>
                          <a:pt x="86687" y="106505"/>
                          <a:pt x="85930" y="106297"/>
                          <a:pt x="86309" y="106297"/>
                        </a:cubicBezTo>
                        <a:cubicBezTo>
                          <a:pt x="86309" y="106505"/>
                          <a:pt x="85930" y="106920"/>
                          <a:pt x="85930" y="106920"/>
                        </a:cubicBezTo>
                        <a:cubicBezTo>
                          <a:pt x="85930" y="107128"/>
                          <a:pt x="85173" y="107750"/>
                          <a:pt x="84794" y="107750"/>
                        </a:cubicBezTo>
                        <a:cubicBezTo>
                          <a:pt x="84416" y="107750"/>
                          <a:pt x="83659" y="107543"/>
                          <a:pt x="83280" y="107335"/>
                        </a:cubicBezTo>
                        <a:cubicBezTo>
                          <a:pt x="82902" y="107335"/>
                          <a:pt x="82523" y="107335"/>
                          <a:pt x="82523" y="107335"/>
                        </a:cubicBezTo>
                        <a:cubicBezTo>
                          <a:pt x="82523" y="107543"/>
                          <a:pt x="82523" y="108166"/>
                          <a:pt x="82523" y="108373"/>
                        </a:cubicBezTo>
                        <a:cubicBezTo>
                          <a:pt x="82523" y="108373"/>
                          <a:pt x="82523" y="108581"/>
                          <a:pt x="82523" y="108788"/>
                        </a:cubicBezTo>
                        <a:cubicBezTo>
                          <a:pt x="82145" y="108788"/>
                          <a:pt x="81388" y="108996"/>
                          <a:pt x="81388" y="108996"/>
                        </a:cubicBezTo>
                        <a:cubicBezTo>
                          <a:pt x="81388" y="108996"/>
                          <a:pt x="81766" y="109411"/>
                          <a:pt x="81388" y="109411"/>
                        </a:cubicBezTo>
                        <a:cubicBezTo>
                          <a:pt x="81009" y="109619"/>
                          <a:pt x="80630" y="109826"/>
                          <a:pt x="80252" y="109826"/>
                        </a:cubicBezTo>
                        <a:cubicBezTo>
                          <a:pt x="80252" y="109619"/>
                          <a:pt x="79495" y="109411"/>
                          <a:pt x="79495" y="109411"/>
                        </a:cubicBezTo>
                        <a:cubicBezTo>
                          <a:pt x="79116" y="109619"/>
                          <a:pt x="78738" y="110034"/>
                          <a:pt x="78738" y="110034"/>
                        </a:cubicBezTo>
                        <a:cubicBezTo>
                          <a:pt x="78738" y="110242"/>
                          <a:pt x="78359" y="110449"/>
                          <a:pt x="78359" y="110449"/>
                        </a:cubicBezTo>
                        <a:cubicBezTo>
                          <a:pt x="78359" y="110449"/>
                          <a:pt x="75709" y="112110"/>
                          <a:pt x="75709" y="112110"/>
                        </a:cubicBezTo>
                        <a:cubicBezTo>
                          <a:pt x="75331" y="112110"/>
                          <a:pt x="74574" y="111487"/>
                          <a:pt x="74574" y="111487"/>
                        </a:cubicBezTo>
                        <a:cubicBezTo>
                          <a:pt x="74574" y="111695"/>
                          <a:pt x="74574" y="112110"/>
                          <a:pt x="74574" y="112110"/>
                        </a:cubicBezTo>
                        <a:cubicBezTo>
                          <a:pt x="74195" y="112318"/>
                          <a:pt x="73438" y="112525"/>
                          <a:pt x="73438" y="112525"/>
                        </a:cubicBezTo>
                        <a:cubicBezTo>
                          <a:pt x="73438" y="112733"/>
                          <a:pt x="73059" y="112525"/>
                          <a:pt x="72681" y="112525"/>
                        </a:cubicBezTo>
                        <a:cubicBezTo>
                          <a:pt x="72681" y="112733"/>
                          <a:pt x="72302" y="112733"/>
                          <a:pt x="72302" y="112941"/>
                        </a:cubicBezTo>
                        <a:cubicBezTo>
                          <a:pt x="72302" y="113148"/>
                          <a:pt x="71924" y="113356"/>
                          <a:pt x="71924" y="113356"/>
                        </a:cubicBezTo>
                        <a:cubicBezTo>
                          <a:pt x="71924" y="113356"/>
                          <a:pt x="71167" y="113564"/>
                          <a:pt x="71167" y="113771"/>
                        </a:cubicBezTo>
                        <a:cubicBezTo>
                          <a:pt x="70788" y="113979"/>
                          <a:pt x="70031" y="114186"/>
                          <a:pt x="70031" y="114186"/>
                        </a:cubicBezTo>
                        <a:cubicBezTo>
                          <a:pt x="70031" y="114186"/>
                          <a:pt x="69652" y="114394"/>
                          <a:pt x="69274" y="114186"/>
                        </a:cubicBezTo>
                        <a:cubicBezTo>
                          <a:pt x="68895" y="114186"/>
                          <a:pt x="68138" y="113564"/>
                          <a:pt x="68138" y="113564"/>
                        </a:cubicBezTo>
                        <a:cubicBezTo>
                          <a:pt x="68138" y="113564"/>
                          <a:pt x="67381" y="113564"/>
                          <a:pt x="67381" y="113771"/>
                        </a:cubicBezTo>
                        <a:cubicBezTo>
                          <a:pt x="67003" y="113979"/>
                          <a:pt x="67003" y="114186"/>
                          <a:pt x="66624" y="114186"/>
                        </a:cubicBezTo>
                        <a:cubicBezTo>
                          <a:pt x="66246" y="114394"/>
                          <a:pt x="65867" y="114394"/>
                          <a:pt x="65488" y="114394"/>
                        </a:cubicBezTo>
                        <a:cubicBezTo>
                          <a:pt x="65110" y="114602"/>
                          <a:pt x="64353" y="114602"/>
                          <a:pt x="64353" y="114809"/>
                        </a:cubicBezTo>
                        <a:cubicBezTo>
                          <a:pt x="63974" y="114809"/>
                          <a:pt x="63596" y="115224"/>
                          <a:pt x="63596" y="115432"/>
                        </a:cubicBezTo>
                        <a:cubicBezTo>
                          <a:pt x="63596" y="115640"/>
                          <a:pt x="64353" y="115640"/>
                          <a:pt x="63596" y="115640"/>
                        </a:cubicBezTo>
                        <a:cubicBezTo>
                          <a:pt x="62839" y="115847"/>
                          <a:pt x="61703" y="115847"/>
                          <a:pt x="61703" y="115847"/>
                        </a:cubicBezTo>
                        <a:cubicBezTo>
                          <a:pt x="61703" y="115847"/>
                          <a:pt x="60946" y="116055"/>
                          <a:pt x="60946" y="116262"/>
                        </a:cubicBezTo>
                        <a:cubicBezTo>
                          <a:pt x="60567" y="116470"/>
                          <a:pt x="60946" y="116470"/>
                          <a:pt x="60189" y="116678"/>
                        </a:cubicBezTo>
                        <a:cubicBezTo>
                          <a:pt x="59810" y="116678"/>
                          <a:pt x="59432" y="116885"/>
                          <a:pt x="59432" y="116885"/>
                        </a:cubicBezTo>
                        <a:cubicBezTo>
                          <a:pt x="58675" y="116470"/>
                          <a:pt x="58675" y="116470"/>
                          <a:pt x="58675" y="116470"/>
                        </a:cubicBezTo>
                        <a:cubicBezTo>
                          <a:pt x="59053" y="116055"/>
                          <a:pt x="59053" y="116055"/>
                          <a:pt x="59053" y="116055"/>
                        </a:cubicBezTo>
                        <a:cubicBezTo>
                          <a:pt x="59053" y="116055"/>
                          <a:pt x="58675" y="115640"/>
                          <a:pt x="58675" y="115847"/>
                        </a:cubicBezTo>
                        <a:cubicBezTo>
                          <a:pt x="58296" y="116262"/>
                          <a:pt x="58675" y="116470"/>
                          <a:pt x="58675" y="116470"/>
                        </a:cubicBezTo>
                        <a:cubicBezTo>
                          <a:pt x="58675" y="116470"/>
                          <a:pt x="58296" y="116470"/>
                          <a:pt x="58296" y="116678"/>
                        </a:cubicBezTo>
                        <a:cubicBezTo>
                          <a:pt x="57917" y="116885"/>
                          <a:pt x="58296" y="116885"/>
                          <a:pt x="57917" y="117093"/>
                        </a:cubicBezTo>
                        <a:cubicBezTo>
                          <a:pt x="57917" y="117301"/>
                          <a:pt x="57539" y="117508"/>
                          <a:pt x="57160" y="117508"/>
                        </a:cubicBezTo>
                        <a:cubicBezTo>
                          <a:pt x="57160" y="117716"/>
                          <a:pt x="56782" y="117716"/>
                          <a:pt x="56403" y="117716"/>
                        </a:cubicBezTo>
                        <a:cubicBezTo>
                          <a:pt x="56403" y="117716"/>
                          <a:pt x="55646" y="117716"/>
                          <a:pt x="55646" y="117716"/>
                        </a:cubicBezTo>
                        <a:cubicBezTo>
                          <a:pt x="55268" y="117716"/>
                          <a:pt x="54889" y="117508"/>
                          <a:pt x="55268" y="117508"/>
                        </a:cubicBezTo>
                        <a:cubicBezTo>
                          <a:pt x="55268" y="117508"/>
                          <a:pt x="56025" y="117301"/>
                          <a:pt x="56025" y="117301"/>
                        </a:cubicBezTo>
                        <a:cubicBezTo>
                          <a:pt x="56025" y="117301"/>
                          <a:pt x="56403" y="117093"/>
                          <a:pt x="56025" y="117093"/>
                        </a:cubicBezTo>
                        <a:cubicBezTo>
                          <a:pt x="55646" y="116885"/>
                          <a:pt x="55268" y="116678"/>
                          <a:pt x="55268" y="116678"/>
                        </a:cubicBezTo>
                        <a:cubicBezTo>
                          <a:pt x="55268" y="116678"/>
                          <a:pt x="55646" y="116885"/>
                          <a:pt x="54511" y="116885"/>
                        </a:cubicBezTo>
                        <a:cubicBezTo>
                          <a:pt x="53753" y="117093"/>
                          <a:pt x="53375" y="117093"/>
                          <a:pt x="53375" y="116885"/>
                        </a:cubicBezTo>
                        <a:cubicBezTo>
                          <a:pt x="53375" y="116885"/>
                          <a:pt x="52618" y="116885"/>
                          <a:pt x="52996" y="116678"/>
                        </a:cubicBezTo>
                        <a:cubicBezTo>
                          <a:pt x="53753" y="116470"/>
                          <a:pt x="53753" y="116262"/>
                          <a:pt x="54132" y="116262"/>
                        </a:cubicBezTo>
                        <a:cubicBezTo>
                          <a:pt x="54511" y="116262"/>
                          <a:pt x="54511" y="115847"/>
                          <a:pt x="54511" y="115640"/>
                        </a:cubicBezTo>
                        <a:cubicBezTo>
                          <a:pt x="54511" y="115640"/>
                          <a:pt x="55268" y="116055"/>
                          <a:pt x="54132" y="115640"/>
                        </a:cubicBezTo>
                        <a:cubicBezTo>
                          <a:pt x="53375" y="115017"/>
                          <a:pt x="53375" y="115017"/>
                          <a:pt x="53375" y="115017"/>
                        </a:cubicBezTo>
                        <a:cubicBezTo>
                          <a:pt x="53375" y="115017"/>
                          <a:pt x="52996" y="115224"/>
                          <a:pt x="52996" y="115432"/>
                        </a:cubicBezTo>
                        <a:cubicBezTo>
                          <a:pt x="53375" y="115640"/>
                          <a:pt x="54132" y="115847"/>
                          <a:pt x="52996" y="116055"/>
                        </a:cubicBezTo>
                        <a:cubicBezTo>
                          <a:pt x="51861" y="116055"/>
                          <a:pt x="51861" y="116055"/>
                          <a:pt x="51861" y="116055"/>
                        </a:cubicBezTo>
                        <a:cubicBezTo>
                          <a:pt x="51482" y="116262"/>
                          <a:pt x="50347" y="116262"/>
                          <a:pt x="50347" y="116262"/>
                        </a:cubicBezTo>
                        <a:cubicBezTo>
                          <a:pt x="50347" y="116262"/>
                          <a:pt x="49589" y="116262"/>
                          <a:pt x="49968" y="116470"/>
                        </a:cubicBezTo>
                        <a:cubicBezTo>
                          <a:pt x="49968" y="116678"/>
                          <a:pt x="50725" y="116885"/>
                          <a:pt x="50725" y="116885"/>
                        </a:cubicBezTo>
                        <a:cubicBezTo>
                          <a:pt x="50725" y="116885"/>
                          <a:pt x="50725" y="117093"/>
                          <a:pt x="49968" y="117093"/>
                        </a:cubicBezTo>
                        <a:cubicBezTo>
                          <a:pt x="49589" y="117301"/>
                          <a:pt x="48832" y="117301"/>
                          <a:pt x="48832" y="117301"/>
                        </a:cubicBezTo>
                        <a:cubicBezTo>
                          <a:pt x="48454" y="117508"/>
                          <a:pt x="48454" y="117508"/>
                          <a:pt x="48454" y="117508"/>
                        </a:cubicBezTo>
                        <a:cubicBezTo>
                          <a:pt x="48454" y="117508"/>
                          <a:pt x="48075" y="117508"/>
                          <a:pt x="48075" y="117301"/>
                        </a:cubicBezTo>
                        <a:cubicBezTo>
                          <a:pt x="48075" y="117301"/>
                          <a:pt x="48454" y="117093"/>
                          <a:pt x="48454" y="116885"/>
                        </a:cubicBezTo>
                        <a:cubicBezTo>
                          <a:pt x="48454" y="116678"/>
                          <a:pt x="48832" y="116885"/>
                          <a:pt x="48454" y="116678"/>
                        </a:cubicBezTo>
                        <a:cubicBezTo>
                          <a:pt x="48075" y="116262"/>
                          <a:pt x="47697" y="116262"/>
                          <a:pt x="47697" y="116055"/>
                        </a:cubicBezTo>
                        <a:cubicBezTo>
                          <a:pt x="48075" y="115847"/>
                          <a:pt x="48832" y="115640"/>
                          <a:pt x="48832" y="115640"/>
                        </a:cubicBezTo>
                        <a:cubicBezTo>
                          <a:pt x="48832" y="115432"/>
                          <a:pt x="48832" y="115224"/>
                          <a:pt x="48832" y="115224"/>
                        </a:cubicBezTo>
                        <a:cubicBezTo>
                          <a:pt x="48832" y="115224"/>
                          <a:pt x="48454" y="115224"/>
                          <a:pt x="48832" y="115017"/>
                        </a:cubicBezTo>
                        <a:cubicBezTo>
                          <a:pt x="49211" y="114602"/>
                          <a:pt x="49589" y="114394"/>
                          <a:pt x="49589" y="114394"/>
                        </a:cubicBezTo>
                        <a:cubicBezTo>
                          <a:pt x="49589" y="114186"/>
                          <a:pt x="49211" y="113979"/>
                          <a:pt x="48832" y="113979"/>
                        </a:cubicBezTo>
                        <a:cubicBezTo>
                          <a:pt x="48832" y="113979"/>
                          <a:pt x="48454" y="114394"/>
                          <a:pt x="48454" y="114602"/>
                        </a:cubicBezTo>
                        <a:cubicBezTo>
                          <a:pt x="48454" y="114602"/>
                          <a:pt x="48832" y="115017"/>
                          <a:pt x="47697" y="114809"/>
                        </a:cubicBezTo>
                        <a:cubicBezTo>
                          <a:pt x="46561" y="114809"/>
                          <a:pt x="45804" y="114809"/>
                          <a:pt x="45425" y="114602"/>
                        </a:cubicBezTo>
                        <a:cubicBezTo>
                          <a:pt x="45425" y="114394"/>
                          <a:pt x="44668" y="114186"/>
                          <a:pt x="45804" y="114186"/>
                        </a:cubicBezTo>
                        <a:cubicBezTo>
                          <a:pt x="46940" y="113979"/>
                          <a:pt x="46940" y="113979"/>
                          <a:pt x="46940" y="113979"/>
                        </a:cubicBezTo>
                        <a:cubicBezTo>
                          <a:pt x="47318" y="113771"/>
                          <a:pt x="47318" y="113564"/>
                          <a:pt x="47318" y="113356"/>
                        </a:cubicBezTo>
                        <a:cubicBezTo>
                          <a:pt x="46940" y="113356"/>
                          <a:pt x="46561" y="112941"/>
                          <a:pt x="46561" y="113148"/>
                        </a:cubicBezTo>
                        <a:cubicBezTo>
                          <a:pt x="46182" y="113564"/>
                          <a:pt x="46182" y="113771"/>
                          <a:pt x="46182" y="113771"/>
                        </a:cubicBezTo>
                        <a:cubicBezTo>
                          <a:pt x="46182" y="113771"/>
                          <a:pt x="44668" y="113771"/>
                          <a:pt x="44668" y="113771"/>
                        </a:cubicBezTo>
                        <a:cubicBezTo>
                          <a:pt x="44668" y="113771"/>
                          <a:pt x="44290" y="113564"/>
                          <a:pt x="44290" y="113356"/>
                        </a:cubicBezTo>
                        <a:cubicBezTo>
                          <a:pt x="44290" y="113356"/>
                          <a:pt x="44668" y="112525"/>
                          <a:pt x="44668" y="112525"/>
                        </a:cubicBezTo>
                        <a:cubicBezTo>
                          <a:pt x="44668" y="112525"/>
                          <a:pt x="45425" y="112318"/>
                          <a:pt x="45047" y="112318"/>
                        </a:cubicBezTo>
                        <a:cubicBezTo>
                          <a:pt x="45047" y="112318"/>
                          <a:pt x="44290" y="112110"/>
                          <a:pt x="44290" y="112318"/>
                        </a:cubicBezTo>
                        <a:cubicBezTo>
                          <a:pt x="43911" y="112318"/>
                          <a:pt x="44290" y="112525"/>
                          <a:pt x="44290" y="112733"/>
                        </a:cubicBezTo>
                        <a:cubicBezTo>
                          <a:pt x="44290" y="112941"/>
                          <a:pt x="44290" y="113148"/>
                          <a:pt x="43911" y="113148"/>
                        </a:cubicBezTo>
                        <a:cubicBezTo>
                          <a:pt x="43533" y="113356"/>
                          <a:pt x="42018" y="113356"/>
                          <a:pt x="42018" y="113356"/>
                        </a:cubicBezTo>
                        <a:cubicBezTo>
                          <a:pt x="42018" y="113148"/>
                          <a:pt x="41640" y="113148"/>
                          <a:pt x="42018" y="112941"/>
                        </a:cubicBezTo>
                        <a:cubicBezTo>
                          <a:pt x="42018" y="112733"/>
                          <a:pt x="42018" y="112525"/>
                          <a:pt x="42018" y="112525"/>
                        </a:cubicBezTo>
                        <a:cubicBezTo>
                          <a:pt x="42018" y="112525"/>
                          <a:pt x="41640" y="112110"/>
                          <a:pt x="41640" y="112318"/>
                        </a:cubicBezTo>
                        <a:cubicBezTo>
                          <a:pt x="41261" y="112318"/>
                          <a:pt x="40883" y="112318"/>
                          <a:pt x="40883" y="112318"/>
                        </a:cubicBezTo>
                        <a:cubicBezTo>
                          <a:pt x="40883" y="111903"/>
                          <a:pt x="40883" y="111903"/>
                          <a:pt x="40883" y="111903"/>
                        </a:cubicBezTo>
                        <a:cubicBezTo>
                          <a:pt x="40126" y="111903"/>
                          <a:pt x="40126" y="111903"/>
                          <a:pt x="40126" y="111903"/>
                        </a:cubicBezTo>
                        <a:cubicBezTo>
                          <a:pt x="39747" y="111903"/>
                          <a:pt x="39747" y="111903"/>
                          <a:pt x="39747" y="111903"/>
                        </a:cubicBezTo>
                        <a:cubicBezTo>
                          <a:pt x="39747" y="111903"/>
                          <a:pt x="39369" y="111695"/>
                          <a:pt x="39369" y="111695"/>
                        </a:cubicBezTo>
                        <a:cubicBezTo>
                          <a:pt x="38990" y="111695"/>
                          <a:pt x="38990" y="111695"/>
                          <a:pt x="38990" y="111903"/>
                        </a:cubicBezTo>
                        <a:cubicBezTo>
                          <a:pt x="38611" y="111903"/>
                          <a:pt x="37476" y="112110"/>
                          <a:pt x="37476" y="112110"/>
                        </a:cubicBezTo>
                        <a:cubicBezTo>
                          <a:pt x="37476" y="112110"/>
                          <a:pt x="37476" y="111695"/>
                          <a:pt x="37097" y="112110"/>
                        </a:cubicBezTo>
                        <a:cubicBezTo>
                          <a:pt x="37097" y="112318"/>
                          <a:pt x="35205" y="112318"/>
                          <a:pt x="35205" y="112318"/>
                        </a:cubicBezTo>
                        <a:cubicBezTo>
                          <a:pt x="35205" y="112318"/>
                          <a:pt x="34826" y="111903"/>
                          <a:pt x="34826" y="111695"/>
                        </a:cubicBezTo>
                        <a:cubicBezTo>
                          <a:pt x="34826" y="111695"/>
                          <a:pt x="35205" y="111072"/>
                          <a:pt x="35205" y="111072"/>
                        </a:cubicBezTo>
                        <a:cubicBezTo>
                          <a:pt x="35583" y="110865"/>
                          <a:pt x="35583" y="110865"/>
                          <a:pt x="35583" y="110865"/>
                        </a:cubicBezTo>
                        <a:cubicBezTo>
                          <a:pt x="35205" y="110657"/>
                          <a:pt x="35205" y="110657"/>
                          <a:pt x="35205" y="110657"/>
                        </a:cubicBezTo>
                        <a:cubicBezTo>
                          <a:pt x="35205" y="110657"/>
                          <a:pt x="34069" y="110657"/>
                          <a:pt x="34447" y="110657"/>
                        </a:cubicBezTo>
                        <a:cubicBezTo>
                          <a:pt x="34447" y="110449"/>
                          <a:pt x="35205" y="110034"/>
                          <a:pt x="35205" y="110034"/>
                        </a:cubicBezTo>
                        <a:cubicBezTo>
                          <a:pt x="35205" y="110034"/>
                          <a:pt x="35583" y="109826"/>
                          <a:pt x="35583" y="109826"/>
                        </a:cubicBezTo>
                        <a:cubicBezTo>
                          <a:pt x="35962" y="109619"/>
                          <a:pt x="36719" y="109619"/>
                          <a:pt x="36340" y="109411"/>
                        </a:cubicBezTo>
                        <a:cubicBezTo>
                          <a:pt x="35962" y="109411"/>
                          <a:pt x="35583" y="109204"/>
                          <a:pt x="35583" y="109204"/>
                        </a:cubicBezTo>
                        <a:cubicBezTo>
                          <a:pt x="35583" y="109204"/>
                          <a:pt x="35205" y="109204"/>
                          <a:pt x="35205" y="108996"/>
                        </a:cubicBezTo>
                        <a:cubicBezTo>
                          <a:pt x="35205" y="108996"/>
                          <a:pt x="35583" y="108581"/>
                          <a:pt x="35583" y="108373"/>
                        </a:cubicBezTo>
                        <a:cubicBezTo>
                          <a:pt x="35583" y="108166"/>
                          <a:pt x="35205" y="107958"/>
                          <a:pt x="35205" y="107958"/>
                        </a:cubicBezTo>
                        <a:cubicBezTo>
                          <a:pt x="34826" y="107958"/>
                          <a:pt x="35205" y="108166"/>
                          <a:pt x="34447" y="108166"/>
                        </a:cubicBezTo>
                        <a:cubicBezTo>
                          <a:pt x="34069" y="108373"/>
                          <a:pt x="32933" y="108788"/>
                          <a:pt x="32933" y="108788"/>
                        </a:cubicBezTo>
                        <a:cubicBezTo>
                          <a:pt x="32933" y="108581"/>
                          <a:pt x="32933" y="108373"/>
                          <a:pt x="32933" y="108166"/>
                        </a:cubicBezTo>
                        <a:cubicBezTo>
                          <a:pt x="33312" y="107958"/>
                          <a:pt x="34447" y="107958"/>
                          <a:pt x="34826" y="107750"/>
                        </a:cubicBezTo>
                        <a:cubicBezTo>
                          <a:pt x="34826" y="107543"/>
                          <a:pt x="34069" y="106920"/>
                          <a:pt x="34069" y="106920"/>
                        </a:cubicBezTo>
                        <a:cubicBezTo>
                          <a:pt x="34069" y="106920"/>
                          <a:pt x="34826" y="107128"/>
                          <a:pt x="34447" y="106712"/>
                        </a:cubicBezTo>
                        <a:cubicBezTo>
                          <a:pt x="33690" y="106505"/>
                          <a:pt x="33690" y="106505"/>
                          <a:pt x="33690" y="106505"/>
                        </a:cubicBezTo>
                        <a:cubicBezTo>
                          <a:pt x="33690" y="106297"/>
                          <a:pt x="33690" y="106089"/>
                          <a:pt x="34069" y="105882"/>
                        </a:cubicBezTo>
                        <a:cubicBezTo>
                          <a:pt x="34447" y="105467"/>
                          <a:pt x="34826" y="105467"/>
                          <a:pt x="34826" y="105259"/>
                        </a:cubicBezTo>
                        <a:cubicBezTo>
                          <a:pt x="34826" y="105259"/>
                          <a:pt x="33690" y="105051"/>
                          <a:pt x="33690" y="104844"/>
                        </a:cubicBezTo>
                        <a:cubicBezTo>
                          <a:pt x="33690" y="104636"/>
                          <a:pt x="32933" y="104636"/>
                          <a:pt x="33690" y="104221"/>
                        </a:cubicBezTo>
                        <a:cubicBezTo>
                          <a:pt x="34069" y="104013"/>
                          <a:pt x="34447" y="104013"/>
                          <a:pt x="34447" y="104013"/>
                        </a:cubicBezTo>
                        <a:cubicBezTo>
                          <a:pt x="34447" y="104013"/>
                          <a:pt x="34447" y="103391"/>
                          <a:pt x="34447" y="103183"/>
                        </a:cubicBezTo>
                        <a:cubicBezTo>
                          <a:pt x="34447" y="102975"/>
                          <a:pt x="34826" y="102975"/>
                          <a:pt x="34826" y="102768"/>
                        </a:cubicBezTo>
                        <a:cubicBezTo>
                          <a:pt x="34447" y="102560"/>
                          <a:pt x="34069" y="102560"/>
                          <a:pt x="33690" y="102145"/>
                        </a:cubicBezTo>
                        <a:cubicBezTo>
                          <a:pt x="33690" y="101937"/>
                          <a:pt x="33690" y="101937"/>
                          <a:pt x="33690" y="101730"/>
                        </a:cubicBezTo>
                        <a:cubicBezTo>
                          <a:pt x="34069" y="101730"/>
                          <a:pt x="34447" y="101522"/>
                          <a:pt x="34069" y="101522"/>
                        </a:cubicBezTo>
                        <a:cubicBezTo>
                          <a:pt x="34069" y="101314"/>
                          <a:pt x="34069" y="101107"/>
                          <a:pt x="34069" y="101107"/>
                        </a:cubicBezTo>
                        <a:cubicBezTo>
                          <a:pt x="34069" y="101107"/>
                          <a:pt x="34069" y="101107"/>
                          <a:pt x="33690" y="100692"/>
                        </a:cubicBezTo>
                        <a:cubicBezTo>
                          <a:pt x="33312" y="100484"/>
                          <a:pt x="33312" y="100069"/>
                          <a:pt x="33312" y="99861"/>
                        </a:cubicBezTo>
                        <a:cubicBezTo>
                          <a:pt x="33312" y="99653"/>
                          <a:pt x="33690" y="98823"/>
                          <a:pt x="33690" y="98823"/>
                        </a:cubicBezTo>
                        <a:cubicBezTo>
                          <a:pt x="33690" y="98823"/>
                          <a:pt x="33690" y="98200"/>
                          <a:pt x="32933" y="97993"/>
                        </a:cubicBezTo>
                        <a:cubicBezTo>
                          <a:pt x="32555" y="97577"/>
                          <a:pt x="31798" y="97370"/>
                          <a:pt x="31798" y="97370"/>
                        </a:cubicBezTo>
                        <a:cubicBezTo>
                          <a:pt x="31798" y="97370"/>
                          <a:pt x="31798" y="96955"/>
                          <a:pt x="31798" y="96747"/>
                        </a:cubicBezTo>
                        <a:cubicBezTo>
                          <a:pt x="31798" y="96747"/>
                          <a:pt x="31041" y="96539"/>
                          <a:pt x="31041" y="96332"/>
                        </a:cubicBezTo>
                        <a:cubicBezTo>
                          <a:pt x="31041" y="96124"/>
                          <a:pt x="30662" y="95709"/>
                          <a:pt x="30662" y="95709"/>
                        </a:cubicBezTo>
                        <a:cubicBezTo>
                          <a:pt x="30662" y="95709"/>
                          <a:pt x="30283" y="95709"/>
                          <a:pt x="30662" y="95294"/>
                        </a:cubicBezTo>
                        <a:cubicBezTo>
                          <a:pt x="30662" y="94671"/>
                          <a:pt x="30662" y="94463"/>
                          <a:pt x="30662" y="94256"/>
                        </a:cubicBezTo>
                        <a:cubicBezTo>
                          <a:pt x="30283" y="94048"/>
                          <a:pt x="29905" y="93633"/>
                          <a:pt x="29905" y="93425"/>
                        </a:cubicBezTo>
                        <a:cubicBezTo>
                          <a:pt x="29905" y="93217"/>
                          <a:pt x="29905" y="92802"/>
                          <a:pt x="29905" y="92802"/>
                        </a:cubicBezTo>
                        <a:cubicBezTo>
                          <a:pt x="29905" y="92802"/>
                          <a:pt x="29905" y="92595"/>
                          <a:pt x="29526" y="92387"/>
                        </a:cubicBezTo>
                        <a:cubicBezTo>
                          <a:pt x="29148" y="92179"/>
                          <a:pt x="28012" y="91141"/>
                          <a:pt x="28012" y="91141"/>
                        </a:cubicBezTo>
                        <a:cubicBezTo>
                          <a:pt x="28012" y="91141"/>
                          <a:pt x="27634" y="91141"/>
                          <a:pt x="27634" y="90726"/>
                        </a:cubicBezTo>
                        <a:cubicBezTo>
                          <a:pt x="27255" y="90311"/>
                          <a:pt x="27255" y="89896"/>
                          <a:pt x="27255" y="89896"/>
                        </a:cubicBezTo>
                        <a:cubicBezTo>
                          <a:pt x="27255" y="89896"/>
                          <a:pt x="27255" y="89273"/>
                          <a:pt x="27255" y="89273"/>
                        </a:cubicBezTo>
                        <a:cubicBezTo>
                          <a:pt x="26119" y="88650"/>
                          <a:pt x="26119" y="88650"/>
                          <a:pt x="26119" y="88650"/>
                        </a:cubicBezTo>
                        <a:cubicBezTo>
                          <a:pt x="26498" y="87820"/>
                          <a:pt x="26498" y="87820"/>
                          <a:pt x="26498" y="87820"/>
                        </a:cubicBezTo>
                        <a:cubicBezTo>
                          <a:pt x="26498" y="86989"/>
                          <a:pt x="26498" y="86989"/>
                          <a:pt x="26498" y="86989"/>
                        </a:cubicBezTo>
                        <a:cubicBezTo>
                          <a:pt x="26498" y="86989"/>
                          <a:pt x="26498" y="85951"/>
                          <a:pt x="26876" y="85951"/>
                        </a:cubicBezTo>
                        <a:cubicBezTo>
                          <a:pt x="27255" y="85951"/>
                          <a:pt x="28012" y="85328"/>
                          <a:pt x="28012" y="85328"/>
                        </a:cubicBezTo>
                        <a:cubicBezTo>
                          <a:pt x="28012" y="85328"/>
                          <a:pt x="28769" y="84705"/>
                          <a:pt x="28391" y="84498"/>
                        </a:cubicBezTo>
                        <a:cubicBezTo>
                          <a:pt x="28391" y="84290"/>
                          <a:pt x="28012" y="83460"/>
                          <a:pt x="28012" y="83460"/>
                        </a:cubicBezTo>
                        <a:cubicBezTo>
                          <a:pt x="28012" y="83460"/>
                          <a:pt x="28769" y="82837"/>
                          <a:pt x="28391" y="82837"/>
                        </a:cubicBezTo>
                        <a:cubicBezTo>
                          <a:pt x="28391" y="82629"/>
                          <a:pt x="27634" y="81799"/>
                          <a:pt x="27634" y="81799"/>
                        </a:cubicBezTo>
                        <a:cubicBezTo>
                          <a:pt x="26498" y="82422"/>
                          <a:pt x="26498" y="82422"/>
                          <a:pt x="26498" y="82422"/>
                        </a:cubicBezTo>
                        <a:cubicBezTo>
                          <a:pt x="25741" y="82214"/>
                          <a:pt x="25741" y="82214"/>
                          <a:pt x="25741" y="82214"/>
                        </a:cubicBezTo>
                        <a:cubicBezTo>
                          <a:pt x="26119" y="81384"/>
                          <a:pt x="26119" y="81384"/>
                          <a:pt x="26119" y="81384"/>
                        </a:cubicBezTo>
                        <a:cubicBezTo>
                          <a:pt x="26119" y="81384"/>
                          <a:pt x="25362" y="80968"/>
                          <a:pt x="25362" y="80761"/>
                        </a:cubicBezTo>
                        <a:cubicBezTo>
                          <a:pt x="25362" y="80553"/>
                          <a:pt x="26119" y="80138"/>
                          <a:pt x="26119" y="80138"/>
                        </a:cubicBezTo>
                        <a:cubicBezTo>
                          <a:pt x="26119" y="80138"/>
                          <a:pt x="26876" y="80968"/>
                          <a:pt x="26876" y="81176"/>
                        </a:cubicBezTo>
                        <a:cubicBezTo>
                          <a:pt x="26876" y="81384"/>
                          <a:pt x="27634" y="81591"/>
                          <a:pt x="27634" y="81591"/>
                        </a:cubicBezTo>
                        <a:cubicBezTo>
                          <a:pt x="28012" y="81384"/>
                          <a:pt x="28012" y="80968"/>
                          <a:pt x="28391" y="80968"/>
                        </a:cubicBezTo>
                        <a:cubicBezTo>
                          <a:pt x="28769" y="80968"/>
                          <a:pt x="29148" y="81176"/>
                          <a:pt x="29148" y="81384"/>
                        </a:cubicBezTo>
                        <a:cubicBezTo>
                          <a:pt x="29148" y="81384"/>
                          <a:pt x="30662" y="81176"/>
                          <a:pt x="30662" y="81176"/>
                        </a:cubicBezTo>
                        <a:cubicBezTo>
                          <a:pt x="30662" y="81176"/>
                          <a:pt x="30283" y="80968"/>
                          <a:pt x="31419" y="80968"/>
                        </a:cubicBezTo>
                        <a:cubicBezTo>
                          <a:pt x="32555" y="81176"/>
                          <a:pt x="32555" y="80968"/>
                          <a:pt x="32555" y="80553"/>
                        </a:cubicBezTo>
                        <a:cubicBezTo>
                          <a:pt x="32555" y="80346"/>
                          <a:pt x="31419" y="79515"/>
                          <a:pt x="32176" y="79515"/>
                        </a:cubicBezTo>
                        <a:cubicBezTo>
                          <a:pt x="33312" y="79515"/>
                          <a:pt x="33690" y="79723"/>
                          <a:pt x="33690" y="79723"/>
                        </a:cubicBezTo>
                        <a:cubicBezTo>
                          <a:pt x="33690" y="79723"/>
                          <a:pt x="33690" y="79930"/>
                          <a:pt x="33690" y="80138"/>
                        </a:cubicBezTo>
                        <a:cubicBezTo>
                          <a:pt x="33690" y="80553"/>
                          <a:pt x="34826" y="80968"/>
                          <a:pt x="34826" y="80553"/>
                        </a:cubicBezTo>
                        <a:cubicBezTo>
                          <a:pt x="35205" y="80138"/>
                          <a:pt x="35205" y="80346"/>
                          <a:pt x="35205" y="79930"/>
                        </a:cubicBezTo>
                        <a:cubicBezTo>
                          <a:pt x="35205" y="79515"/>
                          <a:pt x="34447" y="79515"/>
                          <a:pt x="34069" y="79100"/>
                        </a:cubicBezTo>
                        <a:cubicBezTo>
                          <a:pt x="34069" y="78892"/>
                          <a:pt x="33690" y="79307"/>
                          <a:pt x="33690" y="78685"/>
                        </a:cubicBezTo>
                        <a:cubicBezTo>
                          <a:pt x="34069" y="78062"/>
                          <a:pt x="34069" y="77854"/>
                          <a:pt x="34447" y="77854"/>
                        </a:cubicBezTo>
                        <a:cubicBezTo>
                          <a:pt x="35205" y="77647"/>
                          <a:pt x="34447" y="77854"/>
                          <a:pt x="35205" y="77647"/>
                        </a:cubicBezTo>
                        <a:cubicBezTo>
                          <a:pt x="35962" y="77647"/>
                          <a:pt x="36340" y="77231"/>
                          <a:pt x="35962" y="76608"/>
                        </a:cubicBezTo>
                        <a:cubicBezTo>
                          <a:pt x="35962" y="76193"/>
                          <a:pt x="35583" y="75986"/>
                          <a:pt x="35962" y="75778"/>
                        </a:cubicBezTo>
                        <a:cubicBezTo>
                          <a:pt x="36719" y="75570"/>
                          <a:pt x="36340" y="75363"/>
                          <a:pt x="37097" y="75570"/>
                        </a:cubicBezTo>
                        <a:cubicBezTo>
                          <a:pt x="37854" y="75778"/>
                          <a:pt x="37476" y="75778"/>
                          <a:pt x="38233" y="75778"/>
                        </a:cubicBezTo>
                        <a:cubicBezTo>
                          <a:pt x="38611" y="75570"/>
                          <a:pt x="38611" y="74532"/>
                          <a:pt x="38611" y="74532"/>
                        </a:cubicBezTo>
                        <a:cubicBezTo>
                          <a:pt x="38233" y="74740"/>
                          <a:pt x="37476" y="74325"/>
                          <a:pt x="37476" y="74325"/>
                        </a:cubicBezTo>
                        <a:cubicBezTo>
                          <a:pt x="37097" y="74325"/>
                          <a:pt x="37097" y="73910"/>
                          <a:pt x="37476" y="73702"/>
                        </a:cubicBezTo>
                        <a:cubicBezTo>
                          <a:pt x="37476" y="73702"/>
                          <a:pt x="37476" y="73287"/>
                          <a:pt x="37854" y="73287"/>
                        </a:cubicBezTo>
                        <a:cubicBezTo>
                          <a:pt x="38611" y="73287"/>
                          <a:pt x="38611" y="73494"/>
                          <a:pt x="39369" y="73287"/>
                        </a:cubicBezTo>
                        <a:cubicBezTo>
                          <a:pt x="39747" y="73079"/>
                          <a:pt x="39747" y="73079"/>
                          <a:pt x="40126" y="72871"/>
                        </a:cubicBezTo>
                        <a:cubicBezTo>
                          <a:pt x="40504" y="72664"/>
                          <a:pt x="40883" y="72664"/>
                          <a:pt x="41261" y="72249"/>
                        </a:cubicBezTo>
                        <a:cubicBezTo>
                          <a:pt x="41261" y="72041"/>
                          <a:pt x="41640" y="70795"/>
                          <a:pt x="41640" y="70795"/>
                        </a:cubicBezTo>
                        <a:cubicBezTo>
                          <a:pt x="41261" y="70588"/>
                          <a:pt x="42018" y="70795"/>
                          <a:pt x="42776" y="70588"/>
                        </a:cubicBezTo>
                        <a:cubicBezTo>
                          <a:pt x="43154" y="70380"/>
                          <a:pt x="43533" y="69134"/>
                          <a:pt x="43911" y="68927"/>
                        </a:cubicBezTo>
                        <a:cubicBezTo>
                          <a:pt x="44290" y="68512"/>
                          <a:pt x="45425" y="67681"/>
                          <a:pt x="45425" y="67474"/>
                        </a:cubicBezTo>
                        <a:cubicBezTo>
                          <a:pt x="45425" y="67266"/>
                          <a:pt x="46561" y="65813"/>
                          <a:pt x="46561" y="65813"/>
                        </a:cubicBezTo>
                        <a:cubicBezTo>
                          <a:pt x="48075" y="64359"/>
                          <a:pt x="48075" y="64359"/>
                          <a:pt x="48075" y="64359"/>
                        </a:cubicBezTo>
                        <a:cubicBezTo>
                          <a:pt x="48075" y="64359"/>
                          <a:pt x="48075" y="63944"/>
                          <a:pt x="47697" y="63529"/>
                        </a:cubicBezTo>
                        <a:cubicBezTo>
                          <a:pt x="47697" y="63321"/>
                          <a:pt x="47318" y="62491"/>
                          <a:pt x="47697" y="62283"/>
                        </a:cubicBezTo>
                        <a:cubicBezTo>
                          <a:pt x="48075" y="62283"/>
                          <a:pt x="48454" y="61660"/>
                          <a:pt x="48454" y="61660"/>
                        </a:cubicBezTo>
                        <a:cubicBezTo>
                          <a:pt x="48454" y="60830"/>
                          <a:pt x="48454" y="60830"/>
                          <a:pt x="48454" y="60830"/>
                        </a:cubicBezTo>
                        <a:cubicBezTo>
                          <a:pt x="48454" y="60830"/>
                          <a:pt x="50347" y="60207"/>
                          <a:pt x="50347" y="60207"/>
                        </a:cubicBezTo>
                        <a:cubicBezTo>
                          <a:pt x="52618" y="60000"/>
                          <a:pt x="51104" y="59377"/>
                          <a:pt x="53753" y="60000"/>
                        </a:cubicBezTo>
                        <a:cubicBezTo>
                          <a:pt x="53753" y="60000"/>
                          <a:pt x="55268" y="59792"/>
                          <a:pt x="54889" y="59584"/>
                        </a:cubicBezTo>
                        <a:cubicBezTo>
                          <a:pt x="54889" y="59584"/>
                          <a:pt x="53375" y="58754"/>
                          <a:pt x="53375" y="58754"/>
                        </a:cubicBezTo>
                        <a:cubicBezTo>
                          <a:pt x="54132" y="58131"/>
                          <a:pt x="54132" y="58131"/>
                          <a:pt x="54132" y="58131"/>
                        </a:cubicBezTo>
                        <a:cubicBezTo>
                          <a:pt x="54132" y="58131"/>
                          <a:pt x="55268" y="57716"/>
                          <a:pt x="54132" y="57508"/>
                        </a:cubicBezTo>
                        <a:cubicBezTo>
                          <a:pt x="53375" y="57301"/>
                          <a:pt x="52618" y="57093"/>
                          <a:pt x="52618" y="56885"/>
                        </a:cubicBezTo>
                        <a:cubicBezTo>
                          <a:pt x="52618" y="56885"/>
                          <a:pt x="52239" y="56055"/>
                          <a:pt x="52239" y="55847"/>
                        </a:cubicBezTo>
                        <a:cubicBezTo>
                          <a:pt x="52239" y="55640"/>
                          <a:pt x="51861" y="55017"/>
                          <a:pt x="51861" y="55017"/>
                        </a:cubicBezTo>
                        <a:cubicBezTo>
                          <a:pt x="51861" y="55017"/>
                          <a:pt x="51861" y="54186"/>
                          <a:pt x="51861" y="53979"/>
                        </a:cubicBezTo>
                        <a:cubicBezTo>
                          <a:pt x="51861" y="53771"/>
                          <a:pt x="51482" y="53148"/>
                          <a:pt x="51104" y="52941"/>
                        </a:cubicBezTo>
                        <a:cubicBezTo>
                          <a:pt x="50725" y="52733"/>
                          <a:pt x="49211" y="52110"/>
                          <a:pt x="49211" y="52110"/>
                        </a:cubicBezTo>
                        <a:cubicBezTo>
                          <a:pt x="46561" y="51487"/>
                          <a:pt x="46561" y="51487"/>
                          <a:pt x="46561" y="51487"/>
                        </a:cubicBezTo>
                        <a:cubicBezTo>
                          <a:pt x="45804" y="51903"/>
                          <a:pt x="45804" y="51903"/>
                          <a:pt x="45804" y="51903"/>
                        </a:cubicBezTo>
                        <a:cubicBezTo>
                          <a:pt x="43911" y="50865"/>
                          <a:pt x="43911" y="50865"/>
                          <a:pt x="43911" y="50865"/>
                        </a:cubicBezTo>
                        <a:cubicBezTo>
                          <a:pt x="42397" y="50657"/>
                          <a:pt x="42397" y="50657"/>
                          <a:pt x="42397" y="50657"/>
                        </a:cubicBezTo>
                        <a:cubicBezTo>
                          <a:pt x="40883" y="50657"/>
                          <a:pt x="40883" y="50657"/>
                          <a:pt x="40883" y="50657"/>
                        </a:cubicBezTo>
                        <a:cubicBezTo>
                          <a:pt x="38233" y="47543"/>
                          <a:pt x="38233" y="47543"/>
                          <a:pt x="38233" y="47543"/>
                        </a:cubicBezTo>
                        <a:cubicBezTo>
                          <a:pt x="35962" y="46920"/>
                          <a:pt x="35962" y="46920"/>
                          <a:pt x="35962" y="46920"/>
                        </a:cubicBezTo>
                        <a:cubicBezTo>
                          <a:pt x="34447" y="46089"/>
                          <a:pt x="34447" y="46089"/>
                          <a:pt x="34447" y="46089"/>
                        </a:cubicBezTo>
                        <a:cubicBezTo>
                          <a:pt x="34447" y="45051"/>
                          <a:pt x="34447" y="45051"/>
                          <a:pt x="34447" y="45051"/>
                        </a:cubicBezTo>
                        <a:cubicBezTo>
                          <a:pt x="33312" y="44221"/>
                          <a:pt x="33312" y="44221"/>
                          <a:pt x="33312" y="44221"/>
                        </a:cubicBezTo>
                        <a:cubicBezTo>
                          <a:pt x="33312" y="44221"/>
                          <a:pt x="33690" y="43598"/>
                          <a:pt x="33690" y="43391"/>
                        </a:cubicBezTo>
                        <a:cubicBezTo>
                          <a:pt x="34069" y="43183"/>
                          <a:pt x="34826" y="42145"/>
                          <a:pt x="34826" y="42145"/>
                        </a:cubicBezTo>
                        <a:cubicBezTo>
                          <a:pt x="34826" y="42145"/>
                          <a:pt x="34447" y="41314"/>
                          <a:pt x="34447" y="41107"/>
                        </a:cubicBezTo>
                        <a:cubicBezTo>
                          <a:pt x="34447" y="40899"/>
                          <a:pt x="34826" y="39861"/>
                          <a:pt x="34826" y="39861"/>
                        </a:cubicBezTo>
                        <a:cubicBezTo>
                          <a:pt x="34447" y="38823"/>
                          <a:pt x="34447" y="38823"/>
                          <a:pt x="34447" y="38823"/>
                        </a:cubicBezTo>
                        <a:cubicBezTo>
                          <a:pt x="29905" y="35916"/>
                          <a:pt x="29905" y="35916"/>
                          <a:pt x="29905" y="35916"/>
                        </a:cubicBezTo>
                        <a:cubicBezTo>
                          <a:pt x="30283" y="34671"/>
                          <a:pt x="30283" y="34671"/>
                          <a:pt x="30283" y="34671"/>
                        </a:cubicBezTo>
                        <a:cubicBezTo>
                          <a:pt x="29905" y="34048"/>
                          <a:pt x="29905" y="34048"/>
                          <a:pt x="29905" y="34048"/>
                        </a:cubicBezTo>
                        <a:cubicBezTo>
                          <a:pt x="29526" y="33425"/>
                          <a:pt x="29526" y="33425"/>
                          <a:pt x="29905" y="33010"/>
                        </a:cubicBezTo>
                        <a:cubicBezTo>
                          <a:pt x="29905" y="32802"/>
                          <a:pt x="29905" y="32802"/>
                          <a:pt x="29905" y="32802"/>
                        </a:cubicBezTo>
                        <a:cubicBezTo>
                          <a:pt x="28391" y="33010"/>
                          <a:pt x="28391" y="33010"/>
                          <a:pt x="28391" y="33010"/>
                        </a:cubicBezTo>
                        <a:cubicBezTo>
                          <a:pt x="27255" y="32179"/>
                          <a:pt x="27255" y="32179"/>
                          <a:pt x="27255" y="32179"/>
                        </a:cubicBezTo>
                        <a:cubicBezTo>
                          <a:pt x="27634" y="31141"/>
                          <a:pt x="27634" y="31141"/>
                          <a:pt x="27634" y="31141"/>
                        </a:cubicBezTo>
                        <a:cubicBezTo>
                          <a:pt x="26876" y="28650"/>
                          <a:pt x="26876" y="28650"/>
                          <a:pt x="26876" y="28650"/>
                        </a:cubicBezTo>
                        <a:cubicBezTo>
                          <a:pt x="27634" y="27404"/>
                          <a:pt x="27634" y="27404"/>
                          <a:pt x="27634" y="27404"/>
                        </a:cubicBezTo>
                        <a:cubicBezTo>
                          <a:pt x="25362" y="26782"/>
                          <a:pt x="25362" y="26782"/>
                          <a:pt x="25362" y="26782"/>
                        </a:cubicBezTo>
                        <a:cubicBezTo>
                          <a:pt x="23848" y="25536"/>
                          <a:pt x="23848" y="25536"/>
                          <a:pt x="23848" y="25536"/>
                        </a:cubicBezTo>
                        <a:cubicBezTo>
                          <a:pt x="23848" y="25536"/>
                          <a:pt x="23470" y="25951"/>
                          <a:pt x="23091" y="25743"/>
                        </a:cubicBezTo>
                        <a:cubicBezTo>
                          <a:pt x="22712" y="25536"/>
                          <a:pt x="20820" y="23875"/>
                          <a:pt x="20820" y="23875"/>
                        </a:cubicBezTo>
                        <a:cubicBezTo>
                          <a:pt x="17413" y="23252"/>
                          <a:pt x="17413" y="23252"/>
                          <a:pt x="17413" y="23252"/>
                        </a:cubicBezTo>
                        <a:cubicBezTo>
                          <a:pt x="15899" y="22837"/>
                          <a:pt x="15899" y="22837"/>
                          <a:pt x="15899" y="22837"/>
                        </a:cubicBezTo>
                        <a:cubicBezTo>
                          <a:pt x="14006" y="22629"/>
                          <a:pt x="14006" y="22629"/>
                          <a:pt x="14006" y="22629"/>
                        </a:cubicBezTo>
                        <a:cubicBezTo>
                          <a:pt x="14006" y="22629"/>
                          <a:pt x="13627" y="23044"/>
                          <a:pt x="13249" y="22629"/>
                        </a:cubicBezTo>
                        <a:cubicBezTo>
                          <a:pt x="12870" y="22214"/>
                          <a:pt x="12113" y="21799"/>
                          <a:pt x="12113" y="21799"/>
                        </a:cubicBezTo>
                        <a:cubicBezTo>
                          <a:pt x="10599" y="22006"/>
                          <a:pt x="10599" y="22006"/>
                          <a:pt x="10599" y="22006"/>
                        </a:cubicBezTo>
                        <a:cubicBezTo>
                          <a:pt x="9463" y="21176"/>
                          <a:pt x="9463" y="21176"/>
                          <a:pt x="9463" y="21176"/>
                        </a:cubicBezTo>
                        <a:cubicBezTo>
                          <a:pt x="9463" y="21176"/>
                          <a:pt x="9085" y="21176"/>
                          <a:pt x="8706" y="21176"/>
                        </a:cubicBezTo>
                        <a:cubicBezTo>
                          <a:pt x="8328" y="20968"/>
                          <a:pt x="7570" y="20761"/>
                          <a:pt x="7570" y="20761"/>
                        </a:cubicBezTo>
                        <a:close/>
                        <a:moveTo>
                          <a:pt x="53753" y="117923"/>
                        </a:moveTo>
                        <a:cubicBezTo>
                          <a:pt x="53753" y="117923"/>
                          <a:pt x="53753" y="117923"/>
                          <a:pt x="53753" y="117923"/>
                        </a:cubicBezTo>
                        <a:cubicBezTo>
                          <a:pt x="53753" y="117923"/>
                          <a:pt x="53753" y="118131"/>
                          <a:pt x="53753" y="118339"/>
                        </a:cubicBezTo>
                        <a:cubicBezTo>
                          <a:pt x="53753" y="118339"/>
                          <a:pt x="54132" y="118546"/>
                          <a:pt x="54511" y="118546"/>
                        </a:cubicBezTo>
                        <a:cubicBezTo>
                          <a:pt x="54511" y="118546"/>
                          <a:pt x="55268" y="118339"/>
                          <a:pt x="55646" y="118131"/>
                        </a:cubicBezTo>
                        <a:cubicBezTo>
                          <a:pt x="56403" y="117923"/>
                          <a:pt x="55646" y="118131"/>
                          <a:pt x="55646" y="118131"/>
                        </a:cubicBezTo>
                        <a:cubicBezTo>
                          <a:pt x="54889" y="117716"/>
                          <a:pt x="54889" y="117716"/>
                          <a:pt x="54889" y="117716"/>
                        </a:cubicBezTo>
                        <a:cubicBezTo>
                          <a:pt x="54889" y="117716"/>
                          <a:pt x="54132" y="117923"/>
                          <a:pt x="53753" y="117923"/>
                        </a:cubicBezTo>
                        <a:close/>
                        <a:moveTo>
                          <a:pt x="48832" y="117923"/>
                        </a:moveTo>
                        <a:cubicBezTo>
                          <a:pt x="48832" y="117923"/>
                          <a:pt x="48832" y="117923"/>
                          <a:pt x="48832" y="117923"/>
                        </a:cubicBezTo>
                        <a:cubicBezTo>
                          <a:pt x="48832" y="117923"/>
                          <a:pt x="48832" y="118339"/>
                          <a:pt x="48832" y="118339"/>
                        </a:cubicBezTo>
                        <a:cubicBezTo>
                          <a:pt x="48832" y="118546"/>
                          <a:pt x="49211" y="118546"/>
                          <a:pt x="49589" y="118339"/>
                        </a:cubicBezTo>
                        <a:cubicBezTo>
                          <a:pt x="49589" y="118339"/>
                          <a:pt x="49968" y="118339"/>
                          <a:pt x="50347" y="118131"/>
                        </a:cubicBezTo>
                        <a:cubicBezTo>
                          <a:pt x="50725" y="117923"/>
                          <a:pt x="50347" y="117716"/>
                          <a:pt x="49968" y="117716"/>
                        </a:cubicBezTo>
                        <a:cubicBezTo>
                          <a:pt x="49968" y="117508"/>
                          <a:pt x="49589" y="117716"/>
                          <a:pt x="49589" y="117716"/>
                        </a:cubicBezTo>
                        <a:cubicBezTo>
                          <a:pt x="49211" y="117716"/>
                          <a:pt x="48832" y="117923"/>
                          <a:pt x="48832" y="117923"/>
                        </a:cubicBezTo>
                        <a:close/>
                        <a:moveTo>
                          <a:pt x="39747" y="115432"/>
                        </a:moveTo>
                        <a:cubicBezTo>
                          <a:pt x="39747" y="115432"/>
                          <a:pt x="39747" y="115432"/>
                          <a:pt x="39747" y="115432"/>
                        </a:cubicBezTo>
                        <a:cubicBezTo>
                          <a:pt x="39369" y="115640"/>
                          <a:pt x="39369" y="115640"/>
                          <a:pt x="39369" y="115640"/>
                        </a:cubicBezTo>
                        <a:cubicBezTo>
                          <a:pt x="39369" y="115640"/>
                          <a:pt x="38990" y="115847"/>
                          <a:pt x="39369" y="116055"/>
                        </a:cubicBezTo>
                        <a:cubicBezTo>
                          <a:pt x="39369" y="116470"/>
                          <a:pt x="39747" y="116470"/>
                          <a:pt x="39747" y="116470"/>
                        </a:cubicBezTo>
                        <a:cubicBezTo>
                          <a:pt x="39747" y="116470"/>
                          <a:pt x="40126" y="116262"/>
                          <a:pt x="40883" y="116262"/>
                        </a:cubicBezTo>
                        <a:cubicBezTo>
                          <a:pt x="41261" y="116262"/>
                          <a:pt x="42018" y="115847"/>
                          <a:pt x="42018" y="115640"/>
                        </a:cubicBezTo>
                        <a:cubicBezTo>
                          <a:pt x="42397" y="115640"/>
                          <a:pt x="42397" y="115224"/>
                          <a:pt x="42776" y="115224"/>
                        </a:cubicBezTo>
                        <a:cubicBezTo>
                          <a:pt x="43154" y="115224"/>
                          <a:pt x="44290" y="115432"/>
                          <a:pt x="44668" y="115432"/>
                        </a:cubicBezTo>
                        <a:cubicBezTo>
                          <a:pt x="45047" y="115432"/>
                          <a:pt x="44290" y="114809"/>
                          <a:pt x="44290" y="114809"/>
                        </a:cubicBezTo>
                        <a:cubicBezTo>
                          <a:pt x="44290" y="114602"/>
                          <a:pt x="43154" y="114809"/>
                          <a:pt x="43154" y="114809"/>
                        </a:cubicBezTo>
                        <a:cubicBezTo>
                          <a:pt x="43154" y="114809"/>
                          <a:pt x="42397" y="114809"/>
                          <a:pt x="42018" y="114602"/>
                        </a:cubicBezTo>
                        <a:cubicBezTo>
                          <a:pt x="41640" y="114602"/>
                          <a:pt x="41640" y="114602"/>
                          <a:pt x="41640" y="114602"/>
                        </a:cubicBezTo>
                        <a:cubicBezTo>
                          <a:pt x="41261" y="114809"/>
                          <a:pt x="41261" y="115017"/>
                          <a:pt x="40883" y="115224"/>
                        </a:cubicBezTo>
                        <a:cubicBezTo>
                          <a:pt x="40504" y="115432"/>
                          <a:pt x="40504" y="115224"/>
                          <a:pt x="40504" y="115017"/>
                        </a:cubicBezTo>
                        <a:cubicBezTo>
                          <a:pt x="40504" y="115017"/>
                          <a:pt x="39747" y="114809"/>
                          <a:pt x="39369" y="115017"/>
                        </a:cubicBezTo>
                        <a:cubicBezTo>
                          <a:pt x="39369" y="115017"/>
                          <a:pt x="39747" y="115224"/>
                          <a:pt x="39747" y="115432"/>
                        </a:cubicBezTo>
                        <a:close/>
                        <a:moveTo>
                          <a:pt x="36719" y="115432"/>
                        </a:moveTo>
                        <a:cubicBezTo>
                          <a:pt x="36719" y="115432"/>
                          <a:pt x="36719" y="115432"/>
                          <a:pt x="36719" y="115432"/>
                        </a:cubicBezTo>
                        <a:cubicBezTo>
                          <a:pt x="36719" y="115432"/>
                          <a:pt x="37476" y="115640"/>
                          <a:pt x="38233" y="115640"/>
                        </a:cubicBezTo>
                        <a:cubicBezTo>
                          <a:pt x="38611" y="115640"/>
                          <a:pt x="38233" y="115432"/>
                          <a:pt x="38611" y="115224"/>
                        </a:cubicBezTo>
                        <a:cubicBezTo>
                          <a:pt x="38611" y="115017"/>
                          <a:pt x="38233" y="115224"/>
                          <a:pt x="37854" y="115017"/>
                        </a:cubicBezTo>
                        <a:cubicBezTo>
                          <a:pt x="37476" y="115017"/>
                          <a:pt x="37476" y="115017"/>
                          <a:pt x="37097" y="115017"/>
                        </a:cubicBezTo>
                        <a:cubicBezTo>
                          <a:pt x="36340" y="115017"/>
                          <a:pt x="36719" y="115432"/>
                          <a:pt x="36719" y="115432"/>
                        </a:cubicBezTo>
                        <a:close/>
                        <a:moveTo>
                          <a:pt x="33312" y="113148"/>
                        </a:moveTo>
                        <a:cubicBezTo>
                          <a:pt x="33312" y="113148"/>
                          <a:pt x="33312" y="113148"/>
                          <a:pt x="33312" y="113148"/>
                        </a:cubicBezTo>
                        <a:cubicBezTo>
                          <a:pt x="32933" y="114186"/>
                          <a:pt x="34826" y="113564"/>
                          <a:pt x="34826" y="112941"/>
                        </a:cubicBezTo>
                        <a:cubicBezTo>
                          <a:pt x="34447" y="112525"/>
                          <a:pt x="34826" y="112525"/>
                          <a:pt x="34069" y="112110"/>
                        </a:cubicBezTo>
                        <a:cubicBezTo>
                          <a:pt x="33690" y="111487"/>
                          <a:pt x="33690" y="112110"/>
                          <a:pt x="33312" y="112318"/>
                        </a:cubicBezTo>
                        <a:cubicBezTo>
                          <a:pt x="32933" y="112733"/>
                          <a:pt x="33690" y="112733"/>
                          <a:pt x="33690" y="112941"/>
                        </a:cubicBezTo>
                        <a:cubicBezTo>
                          <a:pt x="33690" y="113148"/>
                          <a:pt x="33312" y="112941"/>
                          <a:pt x="33312" y="113148"/>
                        </a:cubicBezTo>
                        <a:close/>
                        <a:moveTo>
                          <a:pt x="30283" y="115640"/>
                        </a:moveTo>
                        <a:cubicBezTo>
                          <a:pt x="30283" y="115640"/>
                          <a:pt x="30283" y="115640"/>
                          <a:pt x="30283" y="115640"/>
                        </a:cubicBezTo>
                        <a:cubicBezTo>
                          <a:pt x="30283" y="115640"/>
                          <a:pt x="29905" y="115847"/>
                          <a:pt x="30283" y="116262"/>
                        </a:cubicBezTo>
                        <a:cubicBezTo>
                          <a:pt x="30283" y="116470"/>
                          <a:pt x="30283" y="116262"/>
                          <a:pt x="31419" y="115847"/>
                        </a:cubicBezTo>
                        <a:cubicBezTo>
                          <a:pt x="32176" y="115432"/>
                          <a:pt x="31041" y="115640"/>
                          <a:pt x="31041" y="115640"/>
                        </a:cubicBezTo>
                        <a:cubicBezTo>
                          <a:pt x="31041" y="115432"/>
                          <a:pt x="30662" y="115640"/>
                          <a:pt x="30283" y="115640"/>
                        </a:cubicBezTo>
                        <a:close/>
                        <a:moveTo>
                          <a:pt x="30283" y="116885"/>
                        </a:moveTo>
                        <a:cubicBezTo>
                          <a:pt x="30283" y="116885"/>
                          <a:pt x="30283" y="116885"/>
                          <a:pt x="30283" y="116885"/>
                        </a:cubicBezTo>
                        <a:cubicBezTo>
                          <a:pt x="30283" y="116885"/>
                          <a:pt x="30283" y="117301"/>
                          <a:pt x="30662" y="117301"/>
                        </a:cubicBezTo>
                        <a:cubicBezTo>
                          <a:pt x="31041" y="117301"/>
                          <a:pt x="31041" y="117093"/>
                          <a:pt x="31419" y="116885"/>
                        </a:cubicBezTo>
                        <a:cubicBezTo>
                          <a:pt x="31419" y="116678"/>
                          <a:pt x="31041" y="116678"/>
                          <a:pt x="31041" y="116470"/>
                        </a:cubicBezTo>
                        <a:cubicBezTo>
                          <a:pt x="30662" y="116470"/>
                          <a:pt x="30283" y="116678"/>
                          <a:pt x="30283" y="116885"/>
                        </a:cubicBezTo>
                        <a:close/>
                        <a:moveTo>
                          <a:pt x="29148" y="117923"/>
                        </a:moveTo>
                        <a:cubicBezTo>
                          <a:pt x="29148" y="117923"/>
                          <a:pt x="29148" y="117923"/>
                          <a:pt x="29148" y="117923"/>
                        </a:cubicBezTo>
                        <a:cubicBezTo>
                          <a:pt x="28391" y="117923"/>
                          <a:pt x="28391" y="117923"/>
                          <a:pt x="28391" y="117923"/>
                        </a:cubicBezTo>
                        <a:cubicBezTo>
                          <a:pt x="28391" y="117923"/>
                          <a:pt x="28391" y="117923"/>
                          <a:pt x="27255" y="118339"/>
                        </a:cubicBezTo>
                        <a:cubicBezTo>
                          <a:pt x="26119" y="118546"/>
                          <a:pt x="26876" y="118754"/>
                          <a:pt x="26876" y="118961"/>
                        </a:cubicBezTo>
                        <a:cubicBezTo>
                          <a:pt x="26876" y="119377"/>
                          <a:pt x="28012" y="118961"/>
                          <a:pt x="28769" y="118754"/>
                        </a:cubicBezTo>
                        <a:cubicBezTo>
                          <a:pt x="29148" y="118754"/>
                          <a:pt x="28769" y="118546"/>
                          <a:pt x="29148" y="118546"/>
                        </a:cubicBezTo>
                        <a:cubicBezTo>
                          <a:pt x="29148" y="118546"/>
                          <a:pt x="29148" y="118546"/>
                          <a:pt x="29905" y="118339"/>
                        </a:cubicBezTo>
                        <a:cubicBezTo>
                          <a:pt x="30662" y="118131"/>
                          <a:pt x="30283" y="118131"/>
                          <a:pt x="30283" y="117923"/>
                        </a:cubicBezTo>
                        <a:cubicBezTo>
                          <a:pt x="30283" y="117923"/>
                          <a:pt x="29526" y="117716"/>
                          <a:pt x="29148" y="117923"/>
                        </a:cubicBezTo>
                        <a:close/>
                        <a:moveTo>
                          <a:pt x="19305" y="118961"/>
                        </a:moveTo>
                        <a:cubicBezTo>
                          <a:pt x="19305" y="118961"/>
                          <a:pt x="19305" y="118961"/>
                          <a:pt x="19305" y="118961"/>
                        </a:cubicBezTo>
                        <a:cubicBezTo>
                          <a:pt x="19684" y="118961"/>
                          <a:pt x="20063" y="118754"/>
                          <a:pt x="20441" y="118961"/>
                        </a:cubicBezTo>
                        <a:cubicBezTo>
                          <a:pt x="20820" y="119169"/>
                          <a:pt x="20441" y="119584"/>
                          <a:pt x="20441" y="119584"/>
                        </a:cubicBezTo>
                        <a:cubicBezTo>
                          <a:pt x="20063" y="119792"/>
                          <a:pt x="19684" y="120000"/>
                          <a:pt x="19305" y="120000"/>
                        </a:cubicBezTo>
                        <a:cubicBezTo>
                          <a:pt x="18927" y="120000"/>
                          <a:pt x="18548" y="120000"/>
                          <a:pt x="18170" y="119792"/>
                        </a:cubicBezTo>
                        <a:cubicBezTo>
                          <a:pt x="18170" y="119584"/>
                          <a:pt x="18170" y="118961"/>
                          <a:pt x="18170" y="118961"/>
                        </a:cubicBezTo>
                        <a:cubicBezTo>
                          <a:pt x="18548" y="118961"/>
                          <a:pt x="19305" y="118961"/>
                          <a:pt x="19305" y="118961"/>
                        </a:cubicBezTo>
                        <a:close/>
                        <a:moveTo>
                          <a:pt x="22334" y="115847"/>
                        </a:moveTo>
                        <a:cubicBezTo>
                          <a:pt x="22334" y="115847"/>
                          <a:pt x="22334" y="115847"/>
                          <a:pt x="22334" y="115847"/>
                        </a:cubicBezTo>
                        <a:cubicBezTo>
                          <a:pt x="22334" y="115847"/>
                          <a:pt x="22334" y="115847"/>
                          <a:pt x="22334" y="115847"/>
                        </a:cubicBezTo>
                        <a:cubicBezTo>
                          <a:pt x="22334" y="115847"/>
                          <a:pt x="22334" y="116262"/>
                          <a:pt x="21955" y="116262"/>
                        </a:cubicBezTo>
                        <a:cubicBezTo>
                          <a:pt x="21198" y="116470"/>
                          <a:pt x="21577" y="115847"/>
                          <a:pt x="21577" y="115640"/>
                        </a:cubicBezTo>
                        <a:cubicBezTo>
                          <a:pt x="21577" y="115432"/>
                          <a:pt x="20063" y="115847"/>
                          <a:pt x="20063" y="115847"/>
                        </a:cubicBezTo>
                        <a:cubicBezTo>
                          <a:pt x="20063" y="115847"/>
                          <a:pt x="20063" y="116470"/>
                          <a:pt x="19684" y="116678"/>
                        </a:cubicBezTo>
                        <a:cubicBezTo>
                          <a:pt x="19305" y="116678"/>
                          <a:pt x="19305" y="116678"/>
                          <a:pt x="18927" y="116885"/>
                        </a:cubicBezTo>
                        <a:cubicBezTo>
                          <a:pt x="18548" y="117093"/>
                          <a:pt x="18548" y="117508"/>
                          <a:pt x="18548" y="117508"/>
                        </a:cubicBezTo>
                        <a:cubicBezTo>
                          <a:pt x="18927" y="117716"/>
                          <a:pt x="19684" y="117716"/>
                          <a:pt x="19684" y="117716"/>
                        </a:cubicBezTo>
                        <a:cubicBezTo>
                          <a:pt x="20063" y="117716"/>
                          <a:pt x="20063" y="117716"/>
                          <a:pt x="21198" y="118131"/>
                        </a:cubicBezTo>
                        <a:cubicBezTo>
                          <a:pt x="22712" y="118339"/>
                          <a:pt x="21577" y="118131"/>
                          <a:pt x="22712" y="118131"/>
                        </a:cubicBezTo>
                        <a:cubicBezTo>
                          <a:pt x="23470" y="118131"/>
                          <a:pt x="23091" y="118339"/>
                          <a:pt x="23470" y="118339"/>
                        </a:cubicBezTo>
                        <a:cubicBezTo>
                          <a:pt x="23848" y="118339"/>
                          <a:pt x="24227" y="118754"/>
                          <a:pt x="24605" y="118961"/>
                        </a:cubicBezTo>
                        <a:cubicBezTo>
                          <a:pt x="25362" y="119169"/>
                          <a:pt x="25741" y="118754"/>
                          <a:pt x="26119" y="118754"/>
                        </a:cubicBezTo>
                        <a:cubicBezTo>
                          <a:pt x="26119" y="118546"/>
                          <a:pt x="26876" y="117923"/>
                          <a:pt x="26876" y="117923"/>
                        </a:cubicBezTo>
                        <a:cubicBezTo>
                          <a:pt x="26876" y="117923"/>
                          <a:pt x="24605" y="117508"/>
                          <a:pt x="24605" y="117508"/>
                        </a:cubicBezTo>
                        <a:cubicBezTo>
                          <a:pt x="24227" y="117508"/>
                          <a:pt x="23848" y="116885"/>
                          <a:pt x="24605" y="116885"/>
                        </a:cubicBezTo>
                        <a:cubicBezTo>
                          <a:pt x="24984" y="116885"/>
                          <a:pt x="24984" y="117093"/>
                          <a:pt x="25362" y="117301"/>
                        </a:cubicBezTo>
                        <a:cubicBezTo>
                          <a:pt x="25362" y="117508"/>
                          <a:pt x="25741" y="117508"/>
                          <a:pt x="26119" y="117508"/>
                        </a:cubicBezTo>
                        <a:cubicBezTo>
                          <a:pt x="26498" y="117508"/>
                          <a:pt x="26876" y="117301"/>
                          <a:pt x="26876" y="117093"/>
                        </a:cubicBezTo>
                        <a:cubicBezTo>
                          <a:pt x="26876" y="116885"/>
                          <a:pt x="26498" y="117093"/>
                          <a:pt x="25741" y="116470"/>
                        </a:cubicBezTo>
                        <a:cubicBezTo>
                          <a:pt x="24605" y="115847"/>
                          <a:pt x="25741" y="116055"/>
                          <a:pt x="26119" y="116055"/>
                        </a:cubicBezTo>
                        <a:cubicBezTo>
                          <a:pt x="26119" y="115847"/>
                          <a:pt x="26876" y="115432"/>
                          <a:pt x="26876" y="115432"/>
                        </a:cubicBezTo>
                        <a:cubicBezTo>
                          <a:pt x="27255" y="115224"/>
                          <a:pt x="26119" y="115224"/>
                          <a:pt x="25741" y="115017"/>
                        </a:cubicBezTo>
                        <a:cubicBezTo>
                          <a:pt x="25362" y="115017"/>
                          <a:pt x="25362" y="115017"/>
                          <a:pt x="25362" y="115017"/>
                        </a:cubicBezTo>
                        <a:cubicBezTo>
                          <a:pt x="25362" y="115224"/>
                          <a:pt x="24227" y="115017"/>
                          <a:pt x="23848" y="114809"/>
                        </a:cubicBezTo>
                        <a:cubicBezTo>
                          <a:pt x="23848" y="114809"/>
                          <a:pt x="23848" y="114394"/>
                          <a:pt x="23470" y="114186"/>
                        </a:cubicBezTo>
                        <a:cubicBezTo>
                          <a:pt x="23470" y="114186"/>
                          <a:pt x="22712" y="114186"/>
                          <a:pt x="21955" y="114186"/>
                        </a:cubicBezTo>
                        <a:cubicBezTo>
                          <a:pt x="21198" y="114186"/>
                          <a:pt x="21577" y="114809"/>
                          <a:pt x="21577" y="114809"/>
                        </a:cubicBezTo>
                        <a:cubicBezTo>
                          <a:pt x="21577" y="114809"/>
                          <a:pt x="21955" y="115224"/>
                          <a:pt x="22334" y="115432"/>
                        </a:cubicBezTo>
                        <a:cubicBezTo>
                          <a:pt x="22334" y="115432"/>
                          <a:pt x="22334" y="115847"/>
                          <a:pt x="22334" y="115847"/>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grpSp>
            <p:sp>
              <p:nvSpPr>
                <p:cNvPr id="123" name="Freeform: Shape 62"/>
                <p:cNvSpPr/>
                <p:nvPr/>
              </p:nvSpPr>
              <p:spPr>
                <a:xfrm rot="7481213">
                  <a:off x="7051354" y="4420823"/>
                  <a:ext cx="193354" cy="1287556"/>
                </a:xfrm>
                <a:custGeom>
                  <a:avLst/>
                  <a:gdLst>
                    <a:gd name="connsiteX0" fmla="*/ 95250 w 629306"/>
                    <a:gd name="connsiteY0" fmla="*/ 0 h 2328863"/>
                    <a:gd name="connsiteX1" fmla="*/ 628650 w 629306"/>
                    <a:gd name="connsiteY1" fmla="*/ 966788 h 2328863"/>
                    <a:gd name="connsiteX2" fmla="*/ 0 w 629306"/>
                    <a:gd name="connsiteY2" fmla="*/ 2328863 h 2328863"/>
                  </a:gdLst>
                  <a:ahLst/>
                  <a:cxnLst>
                    <a:cxn ang="0">
                      <a:pos x="connsiteX0" y="connsiteY0"/>
                    </a:cxn>
                    <a:cxn ang="0">
                      <a:pos x="connsiteX1" y="connsiteY1"/>
                    </a:cxn>
                    <a:cxn ang="0">
                      <a:pos x="connsiteX2" y="connsiteY2"/>
                    </a:cxn>
                  </a:cxnLst>
                  <a:rect l="l" t="t" r="r" b="b"/>
                  <a:pathLst>
                    <a:path w="629306" h="2328863">
                      <a:moveTo>
                        <a:pt x="95250" y="0"/>
                      </a:moveTo>
                      <a:cubicBezTo>
                        <a:pt x="369887" y="289322"/>
                        <a:pt x="644525" y="578644"/>
                        <a:pt x="628650" y="966788"/>
                      </a:cubicBezTo>
                      <a:cubicBezTo>
                        <a:pt x="612775" y="1354932"/>
                        <a:pt x="306387" y="1841897"/>
                        <a:pt x="0" y="2328863"/>
                      </a:cubicBezTo>
                    </a:path>
                  </a:pathLst>
                </a:custGeom>
                <a:noFill/>
                <a:ln w="12700" cap="flat" cmpd="sng" algn="ctr">
                  <a:solidFill>
                    <a:srgbClr val="A5A5A5"/>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24" name="Freeform: Shape 267"/>
                <p:cNvSpPr/>
                <p:nvPr/>
              </p:nvSpPr>
              <p:spPr>
                <a:xfrm>
                  <a:off x="6696077" y="4056695"/>
                  <a:ext cx="994350" cy="581978"/>
                </a:xfrm>
                <a:custGeom>
                  <a:avLst/>
                  <a:gdLst>
                    <a:gd name="connsiteX0" fmla="*/ 0 w 3176588"/>
                    <a:gd name="connsiteY0" fmla="*/ 1781175 h 1781175"/>
                    <a:gd name="connsiteX1" fmla="*/ 2605088 w 3176588"/>
                    <a:gd name="connsiteY1" fmla="*/ 952500 h 1781175"/>
                    <a:gd name="connsiteX2" fmla="*/ 3176588 w 3176588"/>
                    <a:gd name="connsiteY2" fmla="*/ 0 h 1781175"/>
                  </a:gdLst>
                  <a:ahLst/>
                  <a:cxnLst>
                    <a:cxn ang="0">
                      <a:pos x="connsiteX0" y="connsiteY0"/>
                    </a:cxn>
                    <a:cxn ang="0">
                      <a:pos x="connsiteX1" y="connsiteY1"/>
                    </a:cxn>
                    <a:cxn ang="0">
                      <a:pos x="connsiteX2" y="connsiteY2"/>
                    </a:cxn>
                  </a:cxnLst>
                  <a:rect l="l" t="t" r="r" b="b"/>
                  <a:pathLst>
                    <a:path w="3176588" h="1781175">
                      <a:moveTo>
                        <a:pt x="0" y="1781175"/>
                      </a:moveTo>
                      <a:cubicBezTo>
                        <a:pt x="1037828" y="1515268"/>
                        <a:pt x="2075657" y="1249362"/>
                        <a:pt x="2605088" y="952500"/>
                      </a:cubicBezTo>
                      <a:cubicBezTo>
                        <a:pt x="3134519" y="655637"/>
                        <a:pt x="3155553" y="327818"/>
                        <a:pt x="3176588" y="0"/>
                      </a:cubicBezTo>
                    </a:path>
                  </a:pathLst>
                </a:custGeom>
                <a:noFill/>
                <a:ln w="12700" cap="flat" cmpd="sng" algn="ctr">
                  <a:solidFill>
                    <a:srgbClr val="A5A5A5"/>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grpSp>
              <p:nvGrpSpPr>
                <p:cNvPr id="125" name="Group 124"/>
                <p:cNvGrpSpPr/>
                <p:nvPr/>
              </p:nvGrpSpPr>
              <p:grpSpPr>
                <a:xfrm>
                  <a:off x="6419844" y="3938392"/>
                  <a:ext cx="560521" cy="560521"/>
                  <a:chOff x="4821018" y="1941899"/>
                  <a:chExt cx="784660" cy="784660"/>
                </a:xfrm>
              </p:grpSpPr>
              <p:sp>
                <p:nvSpPr>
                  <p:cNvPr id="135" name="Teardrop 134"/>
                  <p:cNvSpPr/>
                  <p:nvPr/>
                </p:nvSpPr>
                <p:spPr>
                  <a:xfrm rot="8100000">
                    <a:off x="4821018" y="1941899"/>
                    <a:ext cx="784660" cy="784660"/>
                  </a:xfrm>
                  <a:prstGeom prst="teardrop">
                    <a:avLst>
                      <a:gd name="adj" fmla="val 117662"/>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36" name="Oval 135"/>
                  <p:cNvSpPr/>
                  <p:nvPr/>
                </p:nvSpPr>
                <p:spPr>
                  <a:xfrm>
                    <a:off x="4920232" y="2038351"/>
                    <a:ext cx="585216" cy="585216"/>
                  </a:xfrm>
                  <a:prstGeom prst="ellipse">
                    <a:avLst/>
                  </a:prstGeom>
                  <a:solidFill>
                    <a:sysClr val="window" lastClr="FFFFFF">
                      <a:alpha val="6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37" name="Oval 136"/>
                  <p:cNvSpPr/>
                  <p:nvPr/>
                </p:nvSpPr>
                <p:spPr>
                  <a:xfrm>
                    <a:off x="4952006" y="2070497"/>
                    <a:ext cx="521208" cy="521208"/>
                  </a:xfrm>
                  <a:prstGeom prst="ellipse">
                    <a:avLst/>
                  </a:prstGeom>
                  <a:blipFill>
                    <a:blip r:embed="rId6"/>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black"/>
                      </a:solidFill>
                      <a:effectLst/>
                      <a:uLnTx/>
                      <a:uFillTx/>
                    </a:endParaRPr>
                  </a:p>
                </p:txBody>
              </p:sp>
            </p:grpSp>
            <p:grpSp>
              <p:nvGrpSpPr>
                <p:cNvPr id="126" name="Group 125"/>
                <p:cNvGrpSpPr/>
                <p:nvPr/>
              </p:nvGrpSpPr>
              <p:grpSpPr>
                <a:xfrm>
                  <a:off x="7411410" y="3315321"/>
                  <a:ext cx="560521" cy="560521"/>
                  <a:chOff x="1770091" y="3584305"/>
                  <a:chExt cx="784660" cy="784660"/>
                </a:xfrm>
              </p:grpSpPr>
              <p:sp>
                <p:nvSpPr>
                  <p:cNvPr id="133" name="Teardrop 132"/>
                  <p:cNvSpPr/>
                  <p:nvPr/>
                </p:nvSpPr>
                <p:spPr>
                  <a:xfrm rot="8100000">
                    <a:off x="1770091" y="3584305"/>
                    <a:ext cx="784660" cy="784660"/>
                  </a:xfrm>
                  <a:prstGeom prst="teardrop">
                    <a:avLst>
                      <a:gd name="adj" fmla="val 117662"/>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34" name="Oval 133"/>
                  <p:cNvSpPr/>
                  <p:nvPr/>
                </p:nvSpPr>
                <p:spPr>
                  <a:xfrm>
                    <a:off x="1865707" y="3683624"/>
                    <a:ext cx="585217" cy="585216"/>
                  </a:xfrm>
                  <a:prstGeom prst="ellipse">
                    <a:avLst/>
                  </a:prstGeom>
                  <a:solidFill>
                    <a:sysClr val="window" lastClr="FFFFFF">
                      <a:alpha val="6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grpSp>
            <p:grpSp>
              <p:nvGrpSpPr>
                <p:cNvPr id="127" name="Group 126"/>
                <p:cNvGrpSpPr/>
                <p:nvPr/>
              </p:nvGrpSpPr>
              <p:grpSpPr>
                <a:xfrm>
                  <a:off x="7470439" y="4664765"/>
                  <a:ext cx="560521" cy="560521"/>
                  <a:chOff x="4821018" y="1941899"/>
                  <a:chExt cx="784660" cy="784660"/>
                </a:xfrm>
              </p:grpSpPr>
              <p:sp>
                <p:nvSpPr>
                  <p:cNvPr id="130" name="Teardrop 129"/>
                  <p:cNvSpPr/>
                  <p:nvPr/>
                </p:nvSpPr>
                <p:spPr>
                  <a:xfrm rot="8100000">
                    <a:off x="4821018" y="1941899"/>
                    <a:ext cx="784660" cy="784660"/>
                  </a:xfrm>
                  <a:prstGeom prst="teardrop">
                    <a:avLst>
                      <a:gd name="adj" fmla="val 117662"/>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31" name="Oval 130"/>
                  <p:cNvSpPr/>
                  <p:nvPr/>
                </p:nvSpPr>
                <p:spPr>
                  <a:xfrm>
                    <a:off x="4920232" y="2038351"/>
                    <a:ext cx="585216" cy="585216"/>
                  </a:xfrm>
                  <a:prstGeom prst="ellipse">
                    <a:avLst/>
                  </a:prstGeom>
                  <a:solidFill>
                    <a:sysClr val="window" lastClr="FFFFFF">
                      <a:alpha val="6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32" name="Oval 131"/>
                  <p:cNvSpPr/>
                  <p:nvPr/>
                </p:nvSpPr>
                <p:spPr>
                  <a:xfrm>
                    <a:off x="4952006" y="2070497"/>
                    <a:ext cx="521208" cy="521208"/>
                  </a:xfrm>
                  <a:prstGeom prst="ellipse">
                    <a:avLst/>
                  </a:prstGeom>
                  <a:blipFill>
                    <a:blip r:embed="rId3">
                      <a:extLst>
                        <a:ext uri="{96DAC541-7B7A-43D3-8B79-37D633B846F1}">
                          <asvg:svgBlip xmlns:asvg="http://schemas.microsoft.com/office/drawing/2016/SVG/main" xmlns="" r:embed="rId4"/>
                        </a:ext>
                      </a:extLst>
                    </a:blip>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black"/>
                      </a:solidFill>
                      <a:effectLst/>
                      <a:uLnTx/>
                      <a:uFillTx/>
                    </a:endParaRPr>
                  </a:p>
                </p:txBody>
              </p:sp>
            </p:grpSp>
            <p:sp>
              <p:nvSpPr>
                <p:cNvPr id="128" name="Freeform 454"/>
                <p:cNvSpPr/>
                <p:nvPr/>
              </p:nvSpPr>
              <p:spPr>
                <a:xfrm rot="905815">
                  <a:off x="7185508" y="4261475"/>
                  <a:ext cx="361014" cy="375459"/>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5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29" name="Freeform 454"/>
                <p:cNvSpPr/>
                <p:nvPr/>
              </p:nvSpPr>
              <p:spPr>
                <a:xfrm rot="15789198">
                  <a:off x="7039568" y="5020908"/>
                  <a:ext cx="361014" cy="375458"/>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50" b="0" i="0" u="none" strike="noStrike" kern="0" cap="none" spc="0" normalizeH="0" baseline="0" dirty="0">
                    <a:ln>
                      <a:noFill/>
                    </a:ln>
                    <a:solidFill>
                      <a:prstClr val="white"/>
                    </a:solidFill>
                    <a:effectLst/>
                    <a:uLnTx/>
                    <a:uFillTx/>
                    <a:latin typeface="Calibri" panose="020F0502020204030204"/>
                    <a:ea typeface="+mn-ea"/>
                    <a:cs typeface="+mn-cs"/>
                  </a:endParaRPr>
                </a:p>
              </p:txBody>
            </p:sp>
          </p:grpSp>
          <p:pic>
            <p:nvPicPr>
              <p:cNvPr id="120" name="Picture 119"/>
              <p:cNvPicPr>
                <a:picLocks noChangeAspect="1"/>
              </p:cNvPicPr>
              <p:nvPr/>
            </p:nvPicPr>
            <p:blipFill rotWithShape="1">
              <a:blip r:embed="rId8"/>
              <a:srcRect r="52291"/>
              <a:stretch/>
            </p:blipFill>
            <p:spPr>
              <a:xfrm>
                <a:off x="10970394" y="2009726"/>
                <a:ext cx="1221606" cy="2505673"/>
              </a:xfrm>
              <a:prstGeom prst="rect">
                <a:avLst/>
              </a:prstGeom>
              <a:grpFill/>
              <a:ln w="3175" cap="flat" cmpd="sng">
                <a:noFill/>
                <a:prstDash val="solid"/>
                <a:miter/>
                <a:headEnd type="none" w="med" len="med"/>
                <a:tailEnd type="none" w="med" len="med"/>
              </a:ln>
            </p:spPr>
          </p:pic>
          <p:sp>
            <p:nvSpPr>
              <p:cNvPr id="121" name="Rectangle 120"/>
              <p:cNvSpPr>
                <a:spLocks noChangeAspect="1"/>
              </p:cNvSpPr>
              <p:nvPr/>
            </p:nvSpPr>
            <p:spPr>
              <a:xfrm>
                <a:off x="11374517" y="2174457"/>
                <a:ext cx="818987" cy="547428"/>
              </a:xfrm>
              <a:prstGeom prst="rect">
                <a:avLst/>
              </a:prstGeom>
              <a:blipFill>
                <a:blip r:embed="rId9">
                  <a:extLst>
                    <a:ext uri="{96DAC541-7B7A-43D3-8B79-37D633B846F1}">
                      <asvg:svgBlip xmlns:asvg="http://schemas.microsoft.com/office/drawing/2016/SVG/main" xmlns="" r:embed="rId10"/>
                    </a:ext>
                  </a:extLst>
                </a:blip>
                <a:stretch>
                  <a:fillRect/>
                </a:stretch>
              </a:blipFill>
              <a:ln w="571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50" b="0" i="0" u="none" strike="noStrike" kern="0" cap="none" spc="0" normalizeH="0" baseline="0" dirty="0">
                  <a:ln>
                    <a:noFill/>
                  </a:ln>
                  <a:solidFill>
                    <a:prstClr val="white"/>
                  </a:solidFill>
                  <a:effectLst/>
                  <a:uLnTx/>
                  <a:uFillTx/>
                  <a:latin typeface="Calibri" panose="020F0502020204030204"/>
                  <a:ea typeface="+mn-ea"/>
                  <a:cs typeface="+mn-cs"/>
                </a:endParaRPr>
              </a:p>
            </p:txBody>
          </p:sp>
        </p:grpSp>
        <p:pic>
          <p:nvPicPr>
            <p:cNvPr id="118" name="Picture 2" descr="Risultati immagini per germania"/>
            <p:cNvPicPr preferRelativeResize="0">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413711" y="2698292"/>
              <a:ext cx="244800" cy="244800"/>
            </a:xfrm>
            <a:prstGeom prst="ellipse">
              <a:avLst/>
            </a:prstGeom>
            <a:noFill/>
            <a:extLst>
              <a:ext uri="{909E8E84-426E-40DD-AFC4-6F175D3DCCD1}">
                <a14:hiddenFill xmlns:a14="http://schemas.microsoft.com/office/drawing/2010/main">
                  <a:solidFill>
                    <a:srgbClr val="FFFFFF"/>
                  </a:solidFill>
                </a14:hiddenFill>
              </a:ext>
            </a:extLst>
          </p:spPr>
        </p:pic>
      </p:grpSp>
      <p:sp>
        <p:nvSpPr>
          <p:cNvPr id="198" name="Rectangle 197"/>
          <p:cNvSpPr/>
          <p:nvPr/>
        </p:nvSpPr>
        <p:spPr>
          <a:xfrm>
            <a:off x="2301568" y="989448"/>
            <a:ext cx="5580000" cy="223918"/>
          </a:xfrm>
          <a:prstGeom prst="rect">
            <a:avLst/>
          </a:prstGeom>
          <a:solidFill>
            <a:sysClr val="windowText" lastClr="000000">
              <a:lumMod val="50000"/>
              <a:lumOff val="50000"/>
            </a:sysClr>
          </a:solidFill>
          <a:ln w="28575" cap="flat" cmpd="sng" algn="ctr">
            <a:noFill/>
            <a:prstDash val="solid"/>
            <a:miter lim="800000"/>
          </a:ln>
          <a:effectLst/>
        </p:spPr>
        <p:txBody>
          <a:bodyPr lIns="18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it-IT" sz="1600" b="1" kern="0" dirty="0">
                <a:solidFill>
                  <a:schemeClr val="bg1"/>
                </a:solidFill>
                <a:latin typeface="Calibri" panose="020F0502020204030204" pitchFamily="34" charset="0"/>
                <a:cs typeface="Calibri" panose="020F0502020204030204" pitchFamily="34" charset="0"/>
              </a:rPr>
              <a:t>Situazione corrente</a:t>
            </a:r>
            <a:endParaRPr kumimoji="0" lang="it-IT" sz="1600" b="1" i="0" u="none" strike="noStrike" kern="0" cap="none" spc="0" normalizeH="0" baseline="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199" name="Rectangle 198"/>
          <p:cNvSpPr/>
          <p:nvPr/>
        </p:nvSpPr>
        <p:spPr>
          <a:xfrm>
            <a:off x="2256427" y="1199217"/>
            <a:ext cx="5613366" cy="1616657"/>
          </a:xfrm>
          <a:prstGeom prst="rect">
            <a:avLst/>
          </a:prstGeom>
          <a:noFill/>
          <a:ln w="12700" cap="flat" cmpd="sng" algn="ctr">
            <a:noFill/>
            <a:prstDash val="solid"/>
            <a:miter lim="800000"/>
          </a:ln>
          <a:effectLst/>
        </p:spPr>
        <p:txBody>
          <a:bodyPr lIns="36000" rIns="36000" rtlCol="0" anchor="t"/>
          <a:lstStyle/>
          <a:p>
            <a:pPr marL="0" marR="0" lvl="0" indent="0" algn="just" defTabSz="914400" eaLnBrk="1" fontAlgn="auto" latinLnBrk="0" hangingPunct="1">
              <a:buClrTx/>
              <a:buSzPct val="150000"/>
              <a:buFontTx/>
              <a:buNone/>
              <a:tabLst/>
              <a:defRPr/>
            </a:pPr>
            <a:r>
              <a:rPr kumimoji="0" lang="it-IT" sz="1500" b="1" i="0" u="none" strike="noStrike" kern="0" cap="none" spc="0" normalizeH="0" baseline="0" dirty="0">
                <a:ln>
                  <a:noFill/>
                </a:ln>
                <a:effectLst/>
                <a:uLnTx/>
                <a:uFillTx/>
                <a:latin typeface="Calibri" panose="020F0502020204030204" pitchFamily="34" charset="0"/>
                <a:cs typeface="Calibri" panose="020F0502020204030204" pitchFamily="34" charset="0"/>
              </a:rPr>
              <a:t>Il Sig. Rossi</a:t>
            </a:r>
            <a:r>
              <a:rPr kumimoji="0" lang="it-IT" sz="1500" b="1" i="0" u="none" strike="noStrike" kern="0" cap="none" spc="0" normalizeH="0" dirty="0">
                <a:ln>
                  <a:noFill/>
                </a:ln>
                <a:effectLst/>
                <a:uLnTx/>
                <a:uFillTx/>
                <a:latin typeface="Calibri" panose="020F0502020204030204" pitchFamily="34" charset="0"/>
                <a:cs typeface="Calibri" panose="020F0502020204030204" pitchFamily="34" charset="0"/>
              </a:rPr>
              <a:t> possiede il suo Codice Fiscale in Italia</a:t>
            </a:r>
            <a:r>
              <a:rPr kumimoji="0" lang="it-IT" sz="1500" b="1" i="0" u="none" strike="noStrike" kern="0" cap="none" spc="0" normalizeH="0" baseline="0" dirty="0">
                <a:ln>
                  <a:noFill/>
                </a:ln>
                <a:effectLst/>
                <a:uLnTx/>
                <a:uFillTx/>
                <a:latin typeface="Calibri" panose="020F0502020204030204" pitchFamily="34" charset="0"/>
                <a:cs typeface="Calibri" panose="020F0502020204030204" pitchFamily="34" charset="0"/>
              </a:rPr>
              <a:t>, quando</a:t>
            </a:r>
            <a:r>
              <a:rPr kumimoji="0" lang="it-IT" sz="1500" b="1" i="0" u="none" strike="noStrike" kern="0" cap="none" spc="0" normalizeH="0" dirty="0">
                <a:ln>
                  <a:noFill/>
                </a:ln>
                <a:effectLst/>
                <a:uLnTx/>
                <a:uFillTx/>
                <a:latin typeface="Calibri" panose="020F0502020204030204" pitchFamily="34" charset="0"/>
                <a:cs typeface="Calibri" panose="020F0502020204030204" pitchFamily="34" charset="0"/>
              </a:rPr>
              <a:t> si reca in Francia richiede un Codice Fiscale francese e poi fa la stessa cosa quando si reca in Germania.</a:t>
            </a:r>
          </a:p>
          <a:p>
            <a:pPr marL="171450" lvl="0" indent="-171450" algn="just">
              <a:buClr>
                <a:srgbClr val="5B9BD5"/>
              </a:buClr>
              <a:buSzPct val="100000"/>
              <a:buFont typeface="Arial" panose="020B0604020202020204" pitchFamily="34" charset="0"/>
              <a:buChar char="•"/>
              <a:defRPr/>
            </a:pPr>
            <a:r>
              <a:rPr kumimoji="0" lang="it-IT" sz="1500" b="1" i="1" u="none" strike="noStrike" kern="0" cap="none" spc="0" normalizeH="0" baseline="0" dirty="0">
                <a:ln>
                  <a:noFill/>
                </a:ln>
                <a:effectLst/>
                <a:uLnTx/>
                <a:uFillTx/>
                <a:latin typeface="Calibri" panose="020F0502020204030204" pitchFamily="34" charset="0"/>
                <a:cs typeface="Calibri" panose="020F0502020204030204" pitchFamily="34" charset="0"/>
              </a:rPr>
              <a:t>Ogni Stato possiede</a:t>
            </a:r>
            <a:r>
              <a:rPr kumimoji="0" lang="it-IT" sz="1500" b="1" i="1" u="none" strike="noStrike" kern="0" cap="none" spc="0" normalizeH="0" dirty="0">
                <a:ln>
                  <a:noFill/>
                </a:ln>
                <a:effectLst/>
                <a:uLnTx/>
                <a:uFillTx/>
                <a:latin typeface="Calibri" panose="020F0502020204030204" pitchFamily="34" charset="0"/>
                <a:cs typeface="Calibri" panose="020F0502020204030204" pitchFamily="34" charset="0"/>
              </a:rPr>
              <a:t> il proprio ID </a:t>
            </a:r>
            <a:r>
              <a:rPr kumimoji="0" lang="it-IT" sz="1500" i="1" u="none" strike="noStrike" kern="0" cap="none" spc="0" normalizeH="0" dirty="0">
                <a:ln>
                  <a:noFill/>
                </a:ln>
                <a:effectLst/>
                <a:uLnTx/>
                <a:uFillTx/>
                <a:latin typeface="Calibri" panose="020F0502020204030204" pitchFamily="34" charset="0"/>
                <a:cs typeface="Calibri" panose="020F0502020204030204" pitchFamily="34" charset="0"/>
              </a:rPr>
              <a:t>ed i loro sistemi non sono </a:t>
            </a:r>
            <a:r>
              <a:rPr lang="it-IT" sz="1500" i="1" kern="0" dirty="0">
                <a:latin typeface="Calibri" panose="020F0502020204030204" pitchFamily="34" charset="0"/>
                <a:cs typeface="Calibri" panose="020F0502020204030204" pitchFamily="34" charset="0"/>
              </a:rPr>
              <a:t>connessi fra loro </a:t>
            </a:r>
            <a:endParaRPr kumimoji="0" lang="it-IT" sz="1500" i="1" u="none" strike="noStrike" kern="0" cap="none" spc="0" normalizeH="0" baseline="0" dirty="0">
              <a:ln>
                <a:noFill/>
              </a:ln>
              <a:effectLst/>
              <a:uLnTx/>
              <a:uFillTx/>
              <a:latin typeface="Calibri" panose="020F0502020204030204" pitchFamily="34" charset="0"/>
              <a:cs typeface="Calibri" panose="020F0502020204030204" pitchFamily="34" charset="0"/>
            </a:endParaRPr>
          </a:p>
          <a:p>
            <a:pPr marL="171450" lvl="0" indent="-171450" algn="just">
              <a:buClr>
                <a:srgbClr val="5B9BD5"/>
              </a:buClr>
              <a:buSzPct val="100000"/>
              <a:buFont typeface="Arial" panose="020B0604020202020204" pitchFamily="34" charset="0"/>
              <a:buChar char="•"/>
              <a:defRPr/>
            </a:pPr>
            <a:r>
              <a:rPr lang="it-IT" sz="1500" b="1" i="1" kern="0" dirty="0">
                <a:latin typeface="Calibri" panose="020F0502020204030204" pitchFamily="34" charset="0"/>
                <a:cs typeface="Calibri" panose="020F0502020204030204" pitchFamily="34" charset="0"/>
              </a:rPr>
              <a:t>Il Sig. Rossi può commettere frodi </a:t>
            </a:r>
            <a:r>
              <a:rPr lang="it-IT" sz="1500" i="1" kern="0" dirty="0">
                <a:latin typeface="Calibri" panose="020F0502020204030204" pitchFamily="34" charset="0"/>
                <a:cs typeface="Calibri" panose="020F0502020204030204" pitchFamily="34" charset="0"/>
              </a:rPr>
              <a:t>per prestazioni indebite, evasione fiscale, ecc.</a:t>
            </a:r>
            <a:endParaRPr kumimoji="0" lang="it-IT" sz="1500" i="1"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sp>
        <p:nvSpPr>
          <p:cNvPr id="205" name="Rectangle 204"/>
          <p:cNvSpPr/>
          <p:nvPr/>
        </p:nvSpPr>
        <p:spPr>
          <a:xfrm>
            <a:off x="2268638" y="3203348"/>
            <a:ext cx="5614647" cy="2957013"/>
          </a:xfrm>
          <a:prstGeom prst="rect">
            <a:avLst/>
          </a:prstGeom>
          <a:noFill/>
          <a:ln w="12700" cap="flat" cmpd="sng" algn="ctr">
            <a:noFill/>
            <a:prstDash val="solid"/>
            <a:miter lim="800000"/>
          </a:ln>
          <a:effectLst/>
        </p:spPr>
        <p:txBody>
          <a:bodyPr lIns="36000" rIns="36000" rtlCol="0" anchor="t"/>
          <a:lstStyle/>
          <a:p>
            <a:pPr marL="0" marR="0" lvl="0" indent="0" algn="just" defTabSz="914400" eaLnBrk="1" fontAlgn="auto" latinLnBrk="0" hangingPunct="1">
              <a:spcBef>
                <a:spcPts val="0"/>
              </a:spcBef>
              <a:spcAft>
                <a:spcPts val="0"/>
              </a:spcAft>
              <a:buClrTx/>
              <a:buSzPct val="150000"/>
              <a:buFontTx/>
              <a:buNone/>
              <a:tabLst/>
              <a:defRPr/>
            </a:pPr>
            <a:r>
              <a:rPr kumimoji="0" lang="it-IT" sz="1500" b="1" i="0" u="none" strike="noStrike" kern="0" cap="none" spc="0" normalizeH="0" baseline="0" dirty="0">
                <a:ln>
                  <a:noFill/>
                </a:ln>
                <a:effectLst/>
                <a:uLnTx/>
                <a:uFillTx/>
                <a:latin typeface="Calibri" panose="020F0502020204030204" pitchFamily="34" charset="0"/>
                <a:cs typeface="Calibri" panose="020F0502020204030204" pitchFamily="34" charset="0"/>
              </a:rPr>
              <a:t>Il Sig. Rossi possiede</a:t>
            </a:r>
            <a:r>
              <a:rPr kumimoji="0" lang="it-IT" sz="1500" b="1" i="0" u="none" strike="noStrike" kern="0" cap="none" spc="0" normalizeH="0" dirty="0">
                <a:ln>
                  <a:noFill/>
                </a:ln>
                <a:effectLst/>
                <a:uLnTx/>
                <a:uFillTx/>
                <a:latin typeface="Calibri" panose="020F0502020204030204" pitchFamily="34" charset="0"/>
                <a:cs typeface="Calibri" panose="020F0502020204030204" pitchFamily="34" charset="0"/>
              </a:rPr>
              <a:t> il suo Codice Fiscale in Italia ed in aggiunta ha un ID </a:t>
            </a:r>
            <a:r>
              <a:rPr lang="it-IT" sz="1500" b="1" kern="0" dirty="0">
                <a:latin typeface="Calibri" panose="020F0502020204030204" pitchFamily="34" charset="0"/>
                <a:cs typeface="Calibri" panose="020F0502020204030204" pitchFamily="34" charset="0"/>
              </a:rPr>
              <a:t>europeo</a:t>
            </a:r>
            <a:r>
              <a:rPr lang="it-IT" sz="1500" kern="0" dirty="0">
                <a:latin typeface="Calibri" panose="020F0502020204030204" pitchFamily="34" charset="0"/>
                <a:cs typeface="Calibri" panose="020F0502020204030204" pitchFamily="34" charset="0"/>
              </a:rPr>
              <a:t>.</a:t>
            </a:r>
            <a:endParaRPr kumimoji="0" lang="it-IT" sz="1500" b="1" i="0" u="none" strike="noStrike" kern="0" cap="none" spc="0" normalizeH="0" baseline="0" dirty="0">
              <a:ln>
                <a:noFill/>
              </a:ln>
              <a:effectLst/>
              <a:uLnTx/>
              <a:uFillTx/>
              <a:latin typeface="Calibri" panose="020F0502020204030204" pitchFamily="34" charset="0"/>
              <a:cs typeface="Calibri" panose="020F0502020204030204" pitchFamily="34" charset="0"/>
            </a:endParaRPr>
          </a:p>
          <a:p>
            <a:pPr marL="171450" marR="0" lvl="0" indent="-171450" algn="just" defTabSz="914400" eaLnBrk="1" fontAlgn="auto" latinLnBrk="0" hangingPunct="1">
              <a:spcBef>
                <a:spcPts val="0"/>
              </a:spcBef>
              <a:spcAft>
                <a:spcPts val="0"/>
              </a:spcAft>
              <a:buClr>
                <a:srgbClr val="5B9BD5"/>
              </a:buClr>
              <a:buSzPct val="100000"/>
              <a:buFont typeface="Arial" panose="020B0604020202020204" pitchFamily="34" charset="0"/>
              <a:buChar char="•"/>
              <a:tabLst/>
              <a:defRPr/>
            </a:pPr>
            <a:r>
              <a:rPr kumimoji="0" lang="it-IT" sz="1500" b="1" i="1" u="none" strike="noStrike" kern="0" cap="none" spc="0" normalizeH="0" baseline="0" dirty="0">
                <a:ln>
                  <a:noFill/>
                </a:ln>
                <a:effectLst/>
                <a:uLnTx/>
                <a:uFillTx/>
                <a:latin typeface="Calibri" panose="020F0502020204030204" pitchFamily="34" charset="0"/>
                <a:cs typeface="Calibri" panose="020F0502020204030204" pitchFamily="34" charset="0"/>
              </a:rPr>
              <a:t>L’</a:t>
            </a:r>
            <a:r>
              <a:rPr lang="it-IT" sz="1500" b="1" i="1" kern="0" dirty="0">
                <a:latin typeface="Calibri" panose="020F0502020204030204" pitchFamily="34" charset="0"/>
                <a:cs typeface="Calibri" panose="020F0502020204030204" pitchFamily="34" charset="0"/>
              </a:rPr>
              <a:t>Italia, essendo lo Stato di origine, fornisce il Codice Fiscale </a:t>
            </a:r>
            <a:r>
              <a:rPr lang="it-IT" sz="1500" i="1" kern="0" dirty="0">
                <a:latin typeface="Calibri" panose="020F0502020204030204" pitchFamily="34" charset="0"/>
                <a:cs typeface="Calibri" panose="020F0502020204030204" pitchFamily="34" charset="0"/>
              </a:rPr>
              <a:t>al Sig. Rossi</a:t>
            </a:r>
            <a:r>
              <a:rPr lang="it-IT" sz="1500" b="1" i="1" kern="0" dirty="0">
                <a:latin typeface="Calibri" panose="020F0502020204030204" pitchFamily="34" charset="0"/>
                <a:cs typeface="Calibri" panose="020F0502020204030204" pitchFamily="34" charset="0"/>
              </a:rPr>
              <a:t>. </a:t>
            </a:r>
            <a:r>
              <a:rPr lang="it-IT" sz="1500" i="1" kern="0" dirty="0">
                <a:latin typeface="Calibri" panose="020F0502020204030204" pitchFamily="34" charset="0"/>
                <a:cs typeface="Calibri" panose="020F0502020204030204" pitchFamily="34" charset="0"/>
              </a:rPr>
              <a:t>Quando il Sig. Rossi decide di recarsi in Francia, può utilizzare solamente il suo ID europeo</a:t>
            </a:r>
          </a:p>
          <a:p>
            <a:pPr marL="171450" marR="0" lvl="0" indent="-171450" algn="just" defTabSz="914400" eaLnBrk="1" fontAlgn="auto" latinLnBrk="0" hangingPunct="1">
              <a:spcBef>
                <a:spcPts val="0"/>
              </a:spcBef>
              <a:spcAft>
                <a:spcPts val="0"/>
              </a:spcAft>
              <a:buClr>
                <a:srgbClr val="5B9BD5"/>
              </a:buClr>
              <a:buSzPct val="100000"/>
              <a:buFont typeface="Arial" panose="020B0604020202020204" pitchFamily="34" charset="0"/>
              <a:buChar char="•"/>
              <a:tabLst/>
              <a:defRPr/>
            </a:pPr>
            <a:r>
              <a:rPr kumimoji="0" lang="it-IT" sz="1500" b="0" i="1" u="none" strike="noStrike" kern="0" cap="none" spc="0" normalizeH="0" baseline="0" dirty="0">
                <a:ln>
                  <a:noFill/>
                </a:ln>
                <a:effectLst/>
                <a:uLnTx/>
                <a:uFillTx/>
                <a:latin typeface="Calibri" panose="020F0502020204030204" pitchFamily="34" charset="0"/>
                <a:cs typeface="Calibri" panose="020F0502020204030204" pitchFamily="34" charset="0"/>
              </a:rPr>
              <a:t>Il Sig. Rossi è </a:t>
            </a:r>
            <a:r>
              <a:rPr kumimoji="0" lang="it-IT" sz="1500" b="1" i="1" u="none" strike="noStrike" kern="0" cap="none" spc="0" normalizeH="0" baseline="0" dirty="0">
                <a:ln>
                  <a:noFill/>
                </a:ln>
                <a:effectLst/>
                <a:uLnTx/>
                <a:uFillTx/>
                <a:latin typeface="Calibri" panose="020F0502020204030204" pitchFamily="34" charset="0"/>
                <a:cs typeface="Calibri" panose="020F0502020204030204" pitchFamily="34" charset="0"/>
              </a:rPr>
              <a:t>identificato univocamente</a:t>
            </a:r>
            <a:r>
              <a:rPr kumimoji="0" lang="it-IT" sz="1500" b="0" i="1" u="none" strike="noStrike" kern="0" cap="none" spc="0" normalizeH="0" baseline="0" dirty="0">
                <a:ln>
                  <a:noFill/>
                </a:ln>
                <a:effectLst/>
                <a:uLnTx/>
                <a:uFillTx/>
                <a:latin typeface="Calibri" panose="020F0502020204030204" pitchFamily="34" charset="0"/>
                <a:cs typeface="Calibri" panose="020F0502020204030204" pitchFamily="34" charset="0"/>
              </a:rPr>
              <a:t> dai 3 </a:t>
            </a:r>
            <a:r>
              <a:rPr lang="it-IT" sz="1500" i="1" kern="0" dirty="0">
                <a:latin typeface="Calibri" panose="020F0502020204030204" pitchFamily="34" charset="0"/>
                <a:cs typeface="Calibri" panose="020F0502020204030204" pitchFamily="34" charset="0"/>
              </a:rPr>
              <a:t>Stati e non può commettere frodi</a:t>
            </a:r>
          </a:p>
          <a:p>
            <a:pPr marL="171450" lvl="0" indent="-171450" algn="just">
              <a:buClr>
                <a:srgbClr val="5B9BD5"/>
              </a:buClr>
              <a:buSzPct val="100000"/>
              <a:buFont typeface="Arial" panose="020B0604020202020204" pitchFamily="34" charset="0"/>
              <a:buChar char="•"/>
              <a:defRPr/>
            </a:pPr>
            <a:r>
              <a:rPr lang="it-IT" sz="1500" i="1" kern="0" dirty="0">
                <a:latin typeface="Calibri" panose="020F0502020204030204" pitchFamily="34" charset="0"/>
                <a:cs typeface="Calibri" panose="020F0502020204030204" pitchFamily="34" charset="0"/>
              </a:rPr>
              <a:t>L'introduzione del codice UE oltre a quello creato nel Paese di origine può far fronte ai seguenti oneri: </a:t>
            </a:r>
            <a:r>
              <a:rPr lang="it-IT" sz="1500" b="1" i="1" kern="0" dirty="0">
                <a:latin typeface="Calibri" panose="020F0502020204030204" pitchFamily="34" charset="0"/>
                <a:cs typeface="Calibri" panose="020F0502020204030204" pitchFamily="34" charset="0"/>
              </a:rPr>
              <a:t>a)</a:t>
            </a:r>
            <a:r>
              <a:rPr lang="it-IT" sz="1500" i="1" kern="0" dirty="0">
                <a:latin typeface="Calibri" panose="020F0502020204030204" pitchFamily="34" charset="0"/>
                <a:cs typeface="Calibri" panose="020F0502020204030204" pitchFamily="34" charset="0"/>
              </a:rPr>
              <a:t> creazione di un </a:t>
            </a:r>
            <a:r>
              <a:rPr lang="it-IT" sz="1500" b="1" i="1" kern="0" dirty="0">
                <a:latin typeface="Calibri" panose="020F0502020204030204" pitchFamily="34" charset="0"/>
                <a:cs typeface="Calibri" panose="020F0502020204030204" pitchFamily="34" charset="0"/>
              </a:rPr>
              <a:t>doppio sistema di ID</a:t>
            </a:r>
            <a:r>
              <a:rPr lang="it-IT" sz="1500" i="1" kern="0" dirty="0">
                <a:latin typeface="Calibri" panose="020F0502020204030204" pitchFamily="34" charset="0"/>
                <a:cs typeface="Calibri" panose="020F0502020204030204" pitchFamily="34" charset="0"/>
              </a:rPr>
              <a:t> ed integrazione tra loro dei «sistemi in uscita»; </a:t>
            </a:r>
            <a:r>
              <a:rPr lang="it-IT" sz="1500" b="1" i="1" kern="0" dirty="0">
                <a:latin typeface="Calibri" panose="020F0502020204030204" pitchFamily="34" charset="0"/>
                <a:cs typeface="Calibri" panose="020F0502020204030204" pitchFamily="34" charset="0"/>
              </a:rPr>
              <a:t>b)</a:t>
            </a:r>
            <a:r>
              <a:rPr lang="it-IT" sz="1500" i="1" kern="0" dirty="0">
                <a:latin typeface="Calibri" panose="020F0502020204030204" pitchFamily="34" charset="0"/>
                <a:cs typeface="Calibri" panose="020F0502020204030204" pitchFamily="34" charset="0"/>
              </a:rPr>
              <a:t> </a:t>
            </a:r>
            <a:r>
              <a:rPr lang="it-IT" sz="1500" b="1" i="1" kern="0" dirty="0">
                <a:latin typeface="Calibri" panose="020F0502020204030204" pitchFamily="34" charset="0"/>
                <a:cs typeface="Calibri" panose="020F0502020204030204" pitchFamily="34" charset="0"/>
              </a:rPr>
              <a:t>limiti normativi alla condivisione dei dati</a:t>
            </a:r>
            <a:r>
              <a:rPr lang="it-IT" sz="1500" i="1" kern="0" dirty="0">
                <a:latin typeface="Calibri" panose="020F0502020204030204" pitchFamily="34" charset="0"/>
                <a:cs typeface="Calibri" panose="020F0502020204030204" pitchFamily="34" charset="0"/>
              </a:rPr>
              <a:t>; </a:t>
            </a:r>
            <a:r>
              <a:rPr lang="it-IT" sz="1500" b="1" i="1" kern="0" dirty="0">
                <a:latin typeface="Calibri" panose="020F0502020204030204" pitchFamily="34" charset="0"/>
                <a:cs typeface="Calibri" panose="020F0502020204030204" pitchFamily="34" charset="0"/>
              </a:rPr>
              <a:t>c)</a:t>
            </a:r>
            <a:r>
              <a:rPr lang="it-IT" sz="1500" i="1" kern="0" dirty="0">
                <a:latin typeface="Calibri" panose="020F0502020204030204" pitchFamily="34" charset="0"/>
                <a:cs typeface="Calibri" panose="020F0502020204030204" pitchFamily="34" charset="0"/>
              </a:rPr>
              <a:t> </a:t>
            </a:r>
            <a:r>
              <a:rPr lang="it-IT" sz="1500" b="1" i="1" kern="0" dirty="0">
                <a:latin typeface="Calibri" panose="020F0502020204030204" pitchFamily="34" charset="0"/>
                <a:cs typeface="Calibri" panose="020F0502020204030204" pitchFamily="34" charset="0"/>
              </a:rPr>
              <a:t>sicurezza della rete</a:t>
            </a:r>
            <a:r>
              <a:rPr lang="it-IT" sz="1500" i="1" kern="0" dirty="0">
                <a:latin typeface="Calibri" panose="020F0502020204030204" pitchFamily="34" charset="0"/>
                <a:cs typeface="Calibri" panose="020F0502020204030204" pitchFamily="34" charset="0"/>
              </a:rPr>
              <a:t>; </a:t>
            </a:r>
            <a:r>
              <a:rPr lang="it-IT" sz="1500" b="1" i="1" kern="0" dirty="0">
                <a:latin typeface="Calibri" panose="020F0502020204030204" pitchFamily="34" charset="0"/>
                <a:cs typeface="Calibri" panose="020F0502020204030204" pitchFamily="34" charset="0"/>
              </a:rPr>
              <a:t>d)</a:t>
            </a:r>
            <a:r>
              <a:rPr lang="it-IT" sz="1500" i="1" kern="0" dirty="0">
                <a:latin typeface="Calibri" panose="020F0502020204030204" pitchFamily="34" charset="0"/>
                <a:cs typeface="Calibri" panose="020F0502020204030204" pitchFamily="34" charset="0"/>
              </a:rPr>
              <a:t> le informazioni nei 3 sistemi </a:t>
            </a:r>
            <a:r>
              <a:rPr lang="it-IT" sz="1500" b="1" i="1" kern="0" dirty="0">
                <a:latin typeface="Calibri" panose="020F0502020204030204" pitchFamily="34" charset="0"/>
                <a:cs typeface="Calibri" panose="020F0502020204030204" pitchFamily="34" charset="0"/>
              </a:rPr>
              <a:t>non sono aggiornate simultaneamente</a:t>
            </a:r>
            <a:endParaRPr kumimoji="0" lang="it-IT" sz="1500" b="1" i="1"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sp>
        <p:nvSpPr>
          <p:cNvPr id="206" name="Rectangle 205"/>
          <p:cNvSpPr/>
          <p:nvPr/>
        </p:nvSpPr>
        <p:spPr>
          <a:xfrm>
            <a:off x="2301568" y="2994583"/>
            <a:ext cx="5580000" cy="223918"/>
          </a:xfrm>
          <a:prstGeom prst="rect">
            <a:avLst/>
          </a:prstGeom>
          <a:solidFill>
            <a:sysClr val="window" lastClr="FFFFFF">
              <a:lumMod val="50000"/>
            </a:sysClr>
          </a:solidFill>
          <a:ln w="28575" cap="flat" cmpd="sng" algn="ctr">
            <a:noFill/>
            <a:prstDash val="solid"/>
            <a:miter lim="800000"/>
          </a:ln>
          <a:effectLst/>
        </p:spPr>
        <p:txBody>
          <a:bodyPr lIns="18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solidFill>
                  <a:schemeClr val="bg1"/>
                </a:solidFill>
                <a:effectLst/>
                <a:uLnTx/>
                <a:uFillTx/>
                <a:latin typeface="Calibri" panose="020F0502020204030204" pitchFamily="34" charset="0"/>
                <a:cs typeface="Calibri" panose="020F0502020204030204" pitchFamily="34" charset="0"/>
              </a:rPr>
              <a:t>Codice nazionale e codice europeo</a:t>
            </a:r>
          </a:p>
        </p:txBody>
      </p:sp>
    </p:spTree>
    <p:extLst>
      <p:ext uri="{BB962C8B-B14F-4D97-AF65-F5344CB8AC3E}">
        <p14:creationId xmlns:p14="http://schemas.microsoft.com/office/powerpoint/2010/main" val="287997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2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
          <p:cNvGrpSpPr>
            <a:grpSpLocks noChangeAspect="1"/>
          </p:cNvGrpSpPr>
          <p:nvPr/>
        </p:nvGrpSpPr>
        <p:grpSpPr>
          <a:xfrm>
            <a:off x="606963" y="4231867"/>
            <a:ext cx="10978073" cy="1923605"/>
            <a:chOff x="407987" y="4135738"/>
            <a:chExt cx="11376025" cy="1993336"/>
          </a:xfrm>
        </p:grpSpPr>
        <p:sp>
          <p:nvSpPr>
            <p:cNvPr id="166" name="Rectangle 165"/>
            <p:cNvSpPr/>
            <p:nvPr/>
          </p:nvSpPr>
          <p:spPr>
            <a:xfrm>
              <a:off x="407987" y="4135738"/>
              <a:ext cx="11376025" cy="252000"/>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it-IT" sz="1600" b="1" dirty="0">
                  <a:solidFill>
                    <a:schemeClr val="bg1"/>
                  </a:solidFill>
                  <a:latin typeface="Calibri" panose="020F0502020204030204" pitchFamily="34" charset="0"/>
                  <a:cs typeface="Calibri" panose="020F0502020204030204" pitchFamily="34" charset="0"/>
                </a:rPr>
                <a:t>Il progetto ESSN, realizzato con la tecnologia Blockchain, potrebbe portare diversi vantaggi</a:t>
              </a:r>
            </a:p>
          </p:txBody>
        </p:sp>
        <p:sp>
          <p:nvSpPr>
            <p:cNvPr id="2" name="Rectangle 1"/>
            <p:cNvSpPr/>
            <p:nvPr/>
          </p:nvSpPr>
          <p:spPr>
            <a:xfrm>
              <a:off x="407987" y="4479746"/>
              <a:ext cx="2086637" cy="1649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6000" rIns="0" bIns="0" rtlCol="0" anchor="t"/>
            <a:lstStyle/>
            <a:p>
              <a:pPr algn="ctr"/>
              <a:r>
                <a:rPr lang="it-IT" sz="1600" dirty="0">
                  <a:solidFill>
                    <a:schemeClr val="tx1"/>
                  </a:solidFill>
                  <a:latin typeface="Calibri" panose="020F0502020204030204" pitchFamily="34" charset="0"/>
                  <a:ea typeface="Calibri" panose="020F0502020204030204" pitchFamily="34" charset="0"/>
                  <a:cs typeface="Calibri" panose="020F0502020204030204" pitchFamily="34" charset="0"/>
                </a:rPr>
                <a:t>Un unico standard </a:t>
              </a:r>
            </a:p>
            <a:p>
              <a:pPr algn="ctr"/>
              <a:r>
                <a:rPr lang="it-IT" sz="1600" dirty="0">
                  <a:solidFill>
                    <a:schemeClr val="tx1"/>
                  </a:solidFill>
                  <a:latin typeface="Calibri" panose="020F0502020204030204" pitchFamily="34" charset="0"/>
                  <a:cs typeface="Calibri" panose="020F0502020204030204" pitchFamily="34" charset="0"/>
                </a:rPr>
                <a:t>per il sistema di identificazione fiscale</a:t>
              </a:r>
            </a:p>
          </p:txBody>
        </p:sp>
        <p:sp>
          <p:nvSpPr>
            <p:cNvPr id="5" name="Rectangle 4"/>
            <p:cNvSpPr/>
            <p:nvPr/>
          </p:nvSpPr>
          <p:spPr>
            <a:xfrm>
              <a:off x="587485" y="4550899"/>
              <a:ext cx="1727641" cy="632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pic>
          <p:nvPicPr>
            <p:cNvPr id="3" name="Picture 2"/>
            <p:cNvPicPr>
              <a:picLocks noChangeAspect="1"/>
            </p:cNvPicPr>
            <p:nvPr/>
          </p:nvPicPr>
          <p:blipFill rotWithShape="1">
            <a:blip r:embed="rId6" cstate="print">
              <a:extLst>
                <a:ext uri="{28A0092B-C50C-407E-A947-70E740481C1C}">
                  <a14:useLocalDpi xmlns:a14="http://schemas.microsoft.com/office/drawing/2010/main" val="0"/>
                </a:ext>
              </a:extLst>
            </a:blip>
            <a:srcRect l="32924" r="15526"/>
            <a:stretch/>
          </p:blipFill>
          <p:spPr>
            <a:xfrm>
              <a:off x="1121250" y="4622339"/>
              <a:ext cx="660111" cy="489602"/>
            </a:xfrm>
            <a:prstGeom prst="rect">
              <a:avLst/>
            </a:prstGeom>
          </p:spPr>
        </p:pic>
        <p:sp>
          <p:nvSpPr>
            <p:cNvPr id="169" name="Rectangle 168"/>
            <p:cNvSpPr/>
            <p:nvPr/>
          </p:nvSpPr>
          <p:spPr>
            <a:xfrm>
              <a:off x="5052681" y="4479746"/>
              <a:ext cx="2086637" cy="1649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6000" rIns="0" bIns="0" rtlCol="0" anchor="t"/>
            <a:lstStyle/>
            <a:p>
              <a:pPr algn="ctr"/>
              <a:r>
                <a:rPr lang="it-IT" sz="1600" dirty="0">
                  <a:solidFill>
                    <a:schemeClr val="tx1"/>
                  </a:solidFill>
                  <a:latin typeface="Calibri" panose="020F0502020204030204" pitchFamily="34" charset="0"/>
                  <a:cs typeface="Calibri" panose="020F0502020204030204" pitchFamily="34" charset="0"/>
                </a:rPr>
                <a:t>Archivio distribuito e interoperabilità dei dati fiscali</a:t>
              </a:r>
            </a:p>
          </p:txBody>
        </p:sp>
        <p:sp>
          <p:nvSpPr>
            <p:cNvPr id="174" name="Rectangle 173"/>
            <p:cNvSpPr/>
            <p:nvPr/>
          </p:nvSpPr>
          <p:spPr>
            <a:xfrm>
              <a:off x="5232179" y="4550899"/>
              <a:ext cx="1727641" cy="632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pic>
          <p:nvPicPr>
            <p:cNvPr id="18" name="Picture 17"/>
            <p:cNvPicPr>
              <a:picLocks noChangeAspect="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66744" y="4597399"/>
              <a:ext cx="858511" cy="539482"/>
            </a:xfrm>
            <a:prstGeom prst="rect">
              <a:avLst/>
            </a:prstGeom>
          </p:spPr>
        </p:pic>
        <p:sp>
          <p:nvSpPr>
            <p:cNvPr id="170" name="Rectangle 169"/>
            <p:cNvSpPr/>
            <p:nvPr/>
          </p:nvSpPr>
          <p:spPr>
            <a:xfrm>
              <a:off x="7375028" y="4479746"/>
              <a:ext cx="2086637" cy="1649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6000" rIns="0" bIns="0" rtlCol="0" anchor="t"/>
            <a:lstStyle/>
            <a:p>
              <a:pPr algn="ctr"/>
              <a:r>
                <a:rPr lang="it-IT" sz="1600" dirty="0">
                  <a:solidFill>
                    <a:schemeClr val="tx1"/>
                  </a:solidFill>
                  <a:latin typeface="Calibri" panose="020F0502020204030204" pitchFamily="34" charset="0"/>
                  <a:cs typeface="Calibri" panose="020F0502020204030204" pitchFamily="34" charset="0"/>
                </a:rPr>
                <a:t>Protezione della privacy del cittadino grazie alla crittografia</a:t>
              </a:r>
            </a:p>
          </p:txBody>
        </p:sp>
        <p:sp>
          <p:nvSpPr>
            <p:cNvPr id="175" name="Rectangle 174"/>
            <p:cNvSpPr/>
            <p:nvPr/>
          </p:nvSpPr>
          <p:spPr>
            <a:xfrm>
              <a:off x="7554526" y="4550899"/>
              <a:ext cx="1727641" cy="632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50319" y="4603621"/>
              <a:ext cx="536056" cy="527038"/>
            </a:xfrm>
            <a:prstGeom prst="rect">
              <a:avLst/>
            </a:prstGeom>
          </p:spPr>
        </p:pic>
        <p:sp>
          <p:nvSpPr>
            <p:cNvPr id="171" name="Rectangle 170"/>
            <p:cNvSpPr/>
            <p:nvPr/>
          </p:nvSpPr>
          <p:spPr>
            <a:xfrm>
              <a:off x="9697375" y="4479746"/>
              <a:ext cx="2086637" cy="1649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6000" rIns="0" bIns="0" rtlCol="0" anchor="t"/>
            <a:lstStyle/>
            <a:p>
              <a:pPr algn="ctr"/>
              <a:r>
                <a:rPr lang="it-IT" sz="1600" dirty="0">
                  <a:solidFill>
                    <a:schemeClr val="tx1"/>
                  </a:solidFill>
                  <a:latin typeface="Calibri" panose="020F0502020204030204" pitchFamily="34" charset="0"/>
                  <a:cs typeface="Calibri" panose="020F0502020204030204" pitchFamily="34" charset="0"/>
                </a:rPr>
                <a:t>Recupero delle sole informazioni di interesse</a:t>
              </a:r>
            </a:p>
          </p:txBody>
        </p:sp>
        <p:sp>
          <p:nvSpPr>
            <p:cNvPr id="176" name="Rectangle 175"/>
            <p:cNvSpPr/>
            <p:nvPr/>
          </p:nvSpPr>
          <p:spPr>
            <a:xfrm>
              <a:off x="9876873" y="4550899"/>
              <a:ext cx="1727641" cy="632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87277" y="4617986"/>
              <a:ext cx="506834" cy="498308"/>
            </a:xfrm>
            <a:prstGeom prst="rect">
              <a:avLst/>
            </a:prstGeom>
          </p:spPr>
        </p:pic>
        <p:sp>
          <p:nvSpPr>
            <p:cNvPr id="163" name="Rectangle 162"/>
            <p:cNvSpPr/>
            <p:nvPr/>
          </p:nvSpPr>
          <p:spPr>
            <a:xfrm>
              <a:off x="2730334" y="4479746"/>
              <a:ext cx="2086637" cy="1649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6000" rIns="0" bIns="0" rtlCol="0" anchor="t"/>
            <a:lstStyle/>
            <a:p>
              <a:pPr algn="ctr"/>
              <a:r>
                <a:rPr lang="it-IT" sz="1600" dirty="0">
                  <a:solidFill>
                    <a:schemeClr val="tx1"/>
                  </a:solidFill>
                  <a:latin typeface="Calibri" panose="020F0502020204030204" pitchFamily="34" charset="0"/>
                  <a:cs typeface="Calibri" panose="020F0502020204030204" pitchFamily="34" charset="0"/>
                </a:rPr>
                <a:t>Nessuna modifica sui sistemi IT esistenti e per i Codici Fiscali</a:t>
              </a:r>
            </a:p>
          </p:txBody>
        </p:sp>
        <p:sp>
          <p:nvSpPr>
            <p:cNvPr id="173" name="Rectangle 172"/>
            <p:cNvSpPr/>
            <p:nvPr/>
          </p:nvSpPr>
          <p:spPr>
            <a:xfrm>
              <a:off x="2909832" y="4550899"/>
              <a:ext cx="1727641" cy="632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it-IT" sz="1200" b="1" dirty="0">
                <a:solidFill>
                  <a:schemeClr val="tx1"/>
                </a:solidFill>
                <a:latin typeface="Calibri" panose="020F0502020204030204" pitchFamily="34" charset="0"/>
                <a:cs typeface="Calibri" panose="020F0502020204030204" pitchFamily="34" charset="0"/>
              </a:endParaRPr>
            </a:p>
          </p:txBody>
        </p:sp>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52103" y="4649317"/>
              <a:ext cx="443100" cy="435646"/>
            </a:xfrm>
            <a:prstGeom prst="rect">
              <a:avLst/>
            </a:prstGeom>
          </p:spPr>
        </p:pic>
      </p:grpSp>
      <p:grpSp>
        <p:nvGrpSpPr>
          <p:cNvPr id="6" name="Group 5"/>
          <p:cNvGrpSpPr/>
          <p:nvPr/>
        </p:nvGrpSpPr>
        <p:grpSpPr>
          <a:xfrm>
            <a:off x="631010" y="1026599"/>
            <a:ext cx="8205982" cy="2659361"/>
            <a:chOff x="631010" y="1129679"/>
            <a:chExt cx="8205982" cy="2659361"/>
          </a:xfrm>
        </p:grpSpPr>
        <p:sp>
          <p:nvSpPr>
            <p:cNvPr id="45" name="Rectangle 44"/>
            <p:cNvSpPr/>
            <p:nvPr/>
          </p:nvSpPr>
          <p:spPr>
            <a:xfrm>
              <a:off x="4005846" y="1433359"/>
              <a:ext cx="4831146" cy="2052000"/>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algn="just">
                <a:lnSpc>
                  <a:spcPct val="102000"/>
                </a:lnSpc>
              </a:pPr>
              <a:r>
                <a:rPr lang="it-IT" sz="1600" b="1" dirty="0">
                  <a:solidFill>
                    <a:schemeClr val="tx1"/>
                  </a:solidFill>
                  <a:latin typeface="Calibri" panose="020F0502020204030204" pitchFamily="34" charset="0"/>
                  <a:ea typeface="Calibri" panose="020F0502020204030204" pitchFamily="34" charset="0"/>
                  <a:cs typeface="Calibri" panose="020F0502020204030204" pitchFamily="34" charset="0"/>
                </a:rPr>
                <a:t>La tecnologia Blockchain </a:t>
              </a:r>
              <a:r>
                <a:rPr lang="it-IT" sz="1600" dirty="0">
                  <a:solidFill>
                    <a:schemeClr val="tx1"/>
                  </a:solidFill>
                  <a:latin typeface="Calibri" panose="020F0502020204030204" pitchFamily="34" charset="0"/>
                  <a:ea typeface="Calibri" panose="020F0502020204030204" pitchFamily="34" charset="0"/>
                  <a:cs typeface="Calibri" panose="020F0502020204030204" pitchFamily="34" charset="0"/>
                </a:rPr>
                <a:t>è stata identificata come il mezzo per facilitare l’adozione di ESSN, dal momento che rappresenta la </a:t>
              </a:r>
              <a:r>
                <a:rPr lang="it-IT" sz="1600" b="1" dirty="0">
                  <a:solidFill>
                    <a:schemeClr val="tx1"/>
                  </a:solidFill>
                  <a:latin typeface="Calibri" panose="020F0502020204030204" pitchFamily="34" charset="0"/>
                  <a:ea typeface="Calibri" panose="020F0502020204030204" pitchFamily="34" charset="0"/>
                  <a:cs typeface="Calibri" panose="020F0502020204030204" pitchFamily="34" charset="0"/>
                </a:rPr>
                <a:t>risposta più concreta ai problemi di interoperabilità, sicurezza, trasparenza, sovranità e privacy</a:t>
              </a:r>
              <a:r>
                <a:rPr lang="it-IT" sz="1600" dirty="0">
                  <a:solidFill>
                    <a:schemeClr val="tx1"/>
                  </a:solidFill>
                  <a:latin typeface="Calibri" panose="020F0502020204030204" pitchFamily="34" charset="0"/>
                  <a:ea typeface="Calibri" panose="020F0502020204030204" pitchFamily="34" charset="0"/>
                  <a:cs typeface="Calibri" panose="020F0502020204030204" pitchFamily="34" charset="0"/>
                </a:rPr>
                <a:t>. Questa soluzione consente di identificare univocamente il cittadino tra gli Stati, riducendo pertanto eventuali fenomeni fraudolenti.</a:t>
              </a:r>
            </a:p>
          </p:txBody>
        </p:sp>
        <p:grpSp>
          <p:nvGrpSpPr>
            <p:cNvPr id="114" name="Group 47"/>
            <p:cNvGrpSpPr>
              <a:grpSpLocks noChangeAspect="1"/>
            </p:cNvGrpSpPr>
            <p:nvPr/>
          </p:nvGrpSpPr>
          <p:grpSpPr>
            <a:xfrm>
              <a:off x="631010" y="1129679"/>
              <a:ext cx="2983505" cy="2659361"/>
              <a:chOff x="1549761" y="2873914"/>
              <a:chExt cx="2968192" cy="2642664"/>
            </a:xfrm>
          </p:grpSpPr>
          <p:pic>
            <p:nvPicPr>
              <p:cNvPr id="115" name="Shape 338" descr="Compute-Engine_256px.png"/>
              <p:cNvPicPr preferRelativeResize="0">
                <a:picLocks noChangeAspect="1"/>
              </p:cNvPicPr>
              <p:nvPr/>
            </p:nvPicPr>
            <p:blipFill rotWithShape="1">
              <a:blip r:embed="rId11">
                <a:alphaModFix/>
              </a:blip>
              <a:srcRect t="5092" b="5092"/>
              <a:stretch/>
            </p:blipFill>
            <p:spPr>
              <a:xfrm>
                <a:off x="2813994" y="2873914"/>
                <a:ext cx="436025" cy="358059"/>
              </a:xfrm>
              <a:prstGeom prst="rect">
                <a:avLst/>
              </a:prstGeom>
              <a:noFill/>
              <a:ln>
                <a:noFill/>
              </a:ln>
            </p:spPr>
          </p:pic>
          <p:pic>
            <p:nvPicPr>
              <p:cNvPr id="116" name="Shape 338" descr="Compute-Engine_256px.png"/>
              <p:cNvPicPr preferRelativeResize="0">
                <a:picLocks noChangeAspect="1"/>
              </p:cNvPicPr>
              <p:nvPr/>
            </p:nvPicPr>
            <p:blipFill rotWithShape="1">
              <a:blip r:embed="rId11">
                <a:alphaModFix/>
              </a:blip>
              <a:srcRect t="5092" b="5092"/>
              <a:stretch/>
            </p:blipFill>
            <p:spPr>
              <a:xfrm>
                <a:off x="3897849" y="3447293"/>
                <a:ext cx="436025" cy="358059"/>
              </a:xfrm>
              <a:prstGeom prst="rect">
                <a:avLst/>
              </a:prstGeom>
              <a:noFill/>
              <a:ln>
                <a:noFill/>
              </a:ln>
            </p:spPr>
          </p:pic>
          <p:cxnSp>
            <p:nvCxnSpPr>
              <p:cNvPr id="117" name="Straight Connector 116"/>
              <p:cNvCxnSpPr>
                <a:stCxn id="181" idx="3"/>
                <a:endCxn id="115" idx="2"/>
              </p:cNvCxnSpPr>
              <p:nvPr/>
            </p:nvCxnSpPr>
            <p:spPr>
              <a:xfrm flipV="1">
                <a:off x="2156009" y="3231973"/>
                <a:ext cx="875998" cy="393638"/>
              </a:xfrm>
              <a:prstGeom prst="line">
                <a:avLst/>
              </a:prstGeom>
              <a:noFill/>
              <a:ln w="12700" cap="flat" cmpd="sng" algn="ctr">
                <a:solidFill>
                  <a:schemeClr val="tx1"/>
                </a:solidFill>
                <a:prstDash val="solid"/>
                <a:miter lim="800000"/>
              </a:ln>
              <a:effectLst/>
            </p:spPr>
          </p:cxnSp>
          <p:cxnSp>
            <p:nvCxnSpPr>
              <p:cNvPr id="118" name="Straight Connector 117"/>
              <p:cNvCxnSpPr>
                <a:stCxn id="181" idx="3"/>
                <a:endCxn id="180" idx="3"/>
              </p:cNvCxnSpPr>
              <p:nvPr/>
            </p:nvCxnSpPr>
            <p:spPr>
              <a:xfrm flipH="1">
                <a:off x="1985786" y="3625611"/>
                <a:ext cx="170223" cy="872186"/>
              </a:xfrm>
              <a:prstGeom prst="line">
                <a:avLst/>
              </a:prstGeom>
              <a:noFill/>
              <a:ln w="12700" cap="flat" cmpd="sng" algn="ctr">
                <a:solidFill>
                  <a:schemeClr val="tx1"/>
                </a:solidFill>
                <a:prstDash val="solid"/>
                <a:miter lim="800000"/>
              </a:ln>
              <a:effectLst/>
            </p:spPr>
          </p:cxnSp>
          <p:cxnSp>
            <p:nvCxnSpPr>
              <p:cNvPr id="119" name="Straight Connector 118"/>
              <p:cNvCxnSpPr>
                <a:stCxn id="180" idx="3"/>
                <a:endCxn id="177" idx="0"/>
              </p:cNvCxnSpPr>
              <p:nvPr/>
            </p:nvCxnSpPr>
            <p:spPr>
              <a:xfrm>
                <a:off x="1985786" y="4497797"/>
                <a:ext cx="536452" cy="660722"/>
              </a:xfrm>
              <a:prstGeom prst="line">
                <a:avLst/>
              </a:prstGeom>
              <a:noFill/>
              <a:ln w="12700" cap="flat" cmpd="sng" algn="ctr">
                <a:solidFill>
                  <a:schemeClr val="tx1"/>
                </a:solidFill>
                <a:prstDash val="solid"/>
                <a:miter lim="800000"/>
              </a:ln>
              <a:effectLst/>
            </p:spPr>
          </p:cxnSp>
          <p:cxnSp>
            <p:nvCxnSpPr>
              <p:cNvPr id="120" name="Straight Connector 119"/>
              <p:cNvCxnSpPr>
                <a:stCxn id="177" idx="0"/>
                <a:endCxn id="178" idx="0"/>
              </p:cNvCxnSpPr>
              <p:nvPr/>
            </p:nvCxnSpPr>
            <p:spPr>
              <a:xfrm flipV="1">
                <a:off x="2522238" y="5156428"/>
                <a:ext cx="1071600" cy="2091"/>
              </a:xfrm>
              <a:prstGeom prst="line">
                <a:avLst/>
              </a:prstGeom>
              <a:noFill/>
              <a:ln w="12700" cap="flat" cmpd="sng" algn="ctr">
                <a:solidFill>
                  <a:schemeClr val="tx1"/>
                </a:solidFill>
                <a:prstDash val="solid"/>
                <a:miter lim="800000"/>
              </a:ln>
              <a:effectLst/>
            </p:spPr>
          </p:cxnSp>
          <p:cxnSp>
            <p:nvCxnSpPr>
              <p:cNvPr id="121" name="Straight Connector 120"/>
              <p:cNvCxnSpPr>
                <a:stCxn id="178" idx="0"/>
                <a:endCxn id="179" idx="1"/>
              </p:cNvCxnSpPr>
              <p:nvPr/>
            </p:nvCxnSpPr>
            <p:spPr>
              <a:xfrm flipV="1">
                <a:off x="3593838" y="4508981"/>
                <a:ext cx="488090" cy="647447"/>
              </a:xfrm>
              <a:prstGeom prst="line">
                <a:avLst/>
              </a:prstGeom>
              <a:noFill/>
              <a:ln w="12700" cap="flat" cmpd="sng" algn="ctr">
                <a:solidFill>
                  <a:schemeClr val="tx1"/>
                </a:solidFill>
                <a:prstDash val="solid"/>
                <a:miter lim="800000"/>
              </a:ln>
              <a:effectLst/>
            </p:spPr>
          </p:cxnSp>
          <p:cxnSp>
            <p:nvCxnSpPr>
              <p:cNvPr id="122" name="Straight Connector 121"/>
              <p:cNvCxnSpPr>
                <a:stCxn id="116" idx="1"/>
                <a:endCxn id="179" idx="1"/>
              </p:cNvCxnSpPr>
              <p:nvPr/>
            </p:nvCxnSpPr>
            <p:spPr>
              <a:xfrm>
                <a:off x="3897849" y="3626323"/>
                <a:ext cx="184079" cy="882658"/>
              </a:xfrm>
              <a:prstGeom prst="line">
                <a:avLst/>
              </a:prstGeom>
              <a:noFill/>
              <a:ln w="12700" cap="flat" cmpd="sng" algn="ctr">
                <a:solidFill>
                  <a:schemeClr val="tx1"/>
                </a:solidFill>
                <a:prstDash val="solid"/>
                <a:miter lim="800000"/>
              </a:ln>
              <a:effectLst/>
            </p:spPr>
          </p:cxnSp>
          <p:cxnSp>
            <p:nvCxnSpPr>
              <p:cNvPr id="123" name="Straight Connector 122"/>
              <p:cNvCxnSpPr>
                <a:stCxn id="115" idx="2"/>
                <a:endCxn id="116" idx="1"/>
              </p:cNvCxnSpPr>
              <p:nvPr/>
            </p:nvCxnSpPr>
            <p:spPr>
              <a:xfrm>
                <a:off x="3032007" y="3231973"/>
                <a:ext cx="865842" cy="394349"/>
              </a:xfrm>
              <a:prstGeom prst="line">
                <a:avLst/>
              </a:prstGeom>
              <a:noFill/>
              <a:ln w="12700" cap="flat" cmpd="sng" algn="ctr">
                <a:solidFill>
                  <a:schemeClr val="tx1"/>
                </a:solidFill>
                <a:prstDash val="solid"/>
                <a:miter lim="800000"/>
              </a:ln>
              <a:effectLst/>
            </p:spPr>
          </p:cxnSp>
          <p:cxnSp>
            <p:nvCxnSpPr>
              <p:cNvPr id="124" name="Straight Connector 123"/>
              <p:cNvCxnSpPr>
                <a:endCxn id="116" idx="1"/>
              </p:cNvCxnSpPr>
              <p:nvPr/>
            </p:nvCxnSpPr>
            <p:spPr>
              <a:xfrm>
                <a:off x="2153864" y="3626322"/>
                <a:ext cx="1743985" cy="0"/>
              </a:xfrm>
              <a:prstGeom prst="line">
                <a:avLst/>
              </a:prstGeom>
              <a:noFill/>
              <a:ln w="12700" cap="flat" cmpd="sng" algn="ctr">
                <a:solidFill>
                  <a:schemeClr val="tx1"/>
                </a:solidFill>
                <a:prstDash val="solid"/>
                <a:miter lim="800000"/>
              </a:ln>
              <a:effectLst/>
            </p:spPr>
          </p:cxnSp>
          <p:cxnSp>
            <p:nvCxnSpPr>
              <p:cNvPr id="125" name="Straight Connector 124"/>
              <p:cNvCxnSpPr>
                <a:stCxn id="181" idx="3"/>
                <a:endCxn id="177" idx="0"/>
              </p:cNvCxnSpPr>
              <p:nvPr/>
            </p:nvCxnSpPr>
            <p:spPr>
              <a:xfrm>
                <a:off x="2156009" y="3625611"/>
                <a:ext cx="366229" cy="1532908"/>
              </a:xfrm>
              <a:prstGeom prst="line">
                <a:avLst/>
              </a:prstGeom>
              <a:noFill/>
              <a:ln w="12700" cap="flat" cmpd="sng" algn="ctr">
                <a:solidFill>
                  <a:schemeClr val="tx1"/>
                </a:solidFill>
                <a:prstDash val="solid"/>
                <a:miter lim="800000"/>
              </a:ln>
              <a:effectLst/>
            </p:spPr>
          </p:cxnSp>
          <p:cxnSp>
            <p:nvCxnSpPr>
              <p:cNvPr id="126" name="Straight Connector 125"/>
              <p:cNvCxnSpPr>
                <a:stCxn id="177" idx="0"/>
                <a:endCxn id="179" idx="1"/>
              </p:cNvCxnSpPr>
              <p:nvPr/>
            </p:nvCxnSpPr>
            <p:spPr>
              <a:xfrm flipV="1">
                <a:off x="2522238" y="4508981"/>
                <a:ext cx="1559690" cy="649538"/>
              </a:xfrm>
              <a:prstGeom prst="line">
                <a:avLst/>
              </a:prstGeom>
              <a:noFill/>
              <a:ln w="12700" cap="flat" cmpd="sng" algn="ctr">
                <a:solidFill>
                  <a:schemeClr val="tx1"/>
                </a:solidFill>
                <a:prstDash val="solid"/>
                <a:miter lim="800000"/>
              </a:ln>
              <a:effectLst/>
            </p:spPr>
          </p:cxnSp>
          <p:cxnSp>
            <p:nvCxnSpPr>
              <p:cNvPr id="127" name="Straight Connector 126"/>
              <p:cNvCxnSpPr>
                <a:stCxn id="179" idx="1"/>
                <a:endCxn id="115" idx="2"/>
              </p:cNvCxnSpPr>
              <p:nvPr/>
            </p:nvCxnSpPr>
            <p:spPr>
              <a:xfrm flipH="1" flipV="1">
                <a:off x="3032007" y="3231973"/>
                <a:ext cx="1049921" cy="1277008"/>
              </a:xfrm>
              <a:prstGeom prst="line">
                <a:avLst/>
              </a:prstGeom>
              <a:noFill/>
              <a:ln w="12700" cap="flat" cmpd="sng" algn="ctr">
                <a:solidFill>
                  <a:schemeClr val="tx1"/>
                </a:solidFill>
                <a:prstDash val="solid"/>
                <a:miter lim="800000"/>
              </a:ln>
              <a:effectLst/>
            </p:spPr>
          </p:cxnSp>
          <p:cxnSp>
            <p:nvCxnSpPr>
              <p:cNvPr id="128" name="Straight Connector 127"/>
              <p:cNvCxnSpPr>
                <a:stCxn id="115" idx="2"/>
                <a:endCxn id="180" idx="3"/>
              </p:cNvCxnSpPr>
              <p:nvPr/>
            </p:nvCxnSpPr>
            <p:spPr>
              <a:xfrm flipH="1">
                <a:off x="1985786" y="3231973"/>
                <a:ext cx="1046221" cy="1265824"/>
              </a:xfrm>
              <a:prstGeom prst="line">
                <a:avLst/>
              </a:prstGeom>
              <a:noFill/>
              <a:ln w="12700" cap="flat" cmpd="sng" algn="ctr">
                <a:solidFill>
                  <a:schemeClr val="tx1"/>
                </a:solidFill>
                <a:prstDash val="solid"/>
                <a:miter lim="800000"/>
              </a:ln>
              <a:effectLst/>
            </p:spPr>
          </p:cxnSp>
          <p:cxnSp>
            <p:nvCxnSpPr>
              <p:cNvPr id="129" name="Straight Connector 128"/>
              <p:cNvCxnSpPr>
                <a:stCxn id="180" idx="3"/>
                <a:endCxn id="178" idx="0"/>
              </p:cNvCxnSpPr>
              <p:nvPr/>
            </p:nvCxnSpPr>
            <p:spPr>
              <a:xfrm>
                <a:off x="1985786" y="4497797"/>
                <a:ext cx="1608052" cy="658631"/>
              </a:xfrm>
              <a:prstGeom prst="line">
                <a:avLst/>
              </a:prstGeom>
              <a:noFill/>
              <a:ln w="12700" cap="flat" cmpd="sng" algn="ctr">
                <a:solidFill>
                  <a:schemeClr val="tx1"/>
                </a:solidFill>
                <a:prstDash val="solid"/>
                <a:miter lim="800000"/>
              </a:ln>
              <a:effectLst/>
            </p:spPr>
          </p:cxnSp>
          <p:cxnSp>
            <p:nvCxnSpPr>
              <p:cNvPr id="130" name="Straight Connector 129"/>
              <p:cNvCxnSpPr>
                <a:stCxn id="178" idx="0"/>
                <a:endCxn id="116" idx="1"/>
              </p:cNvCxnSpPr>
              <p:nvPr/>
            </p:nvCxnSpPr>
            <p:spPr>
              <a:xfrm flipV="1">
                <a:off x="3593838" y="3626323"/>
                <a:ext cx="304011" cy="1530105"/>
              </a:xfrm>
              <a:prstGeom prst="line">
                <a:avLst/>
              </a:prstGeom>
              <a:noFill/>
              <a:ln w="12700" cap="flat" cmpd="sng" algn="ctr">
                <a:solidFill>
                  <a:schemeClr val="tx1"/>
                </a:solidFill>
                <a:prstDash val="solid"/>
                <a:miter lim="800000"/>
              </a:ln>
              <a:effectLst/>
            </p:spPr>
          </p:cxnSp>
          <p:cxnSp>
            <p:nvCxnSpPr>
              <p:cNvPr id="131" name="Straight Connector 130"/>
              <p:cNvCxnSpPr>
                <a:stCxn id="181" idx="3"/>
                <a:endCxn id="179" idx="1"/>
              </p:cNvCxnSpPr>
              <p:nvPr/>
            </p:nvCxnSpPr>
            <p:spPr>
              <a:xfrm>
                <a:off x="2156009" y="3625611"/>
                <a:ext cx="1925919" cy="883370"/>
              </a:xfrm>
              <a:prstGeom prst="line">
                <a:avLst/>
              </a:prstGeom>
              <a:noFill/>
              <a:ln w="12700" cap="flat" cmpd="sng" algn="ctr">
                <a:solidFill>
                  <a:schemeClr val="tx1"/>
                </a:solidFill>
                <a:prstDash val="solid"/>
                <a:miter lim="800000"/>
              </a:ln>
              <a:effectLst/>
            </p:spPr>
          </p:cxnSp>
          <p:cxnSp>
            <p:nvCxnSpPr>
              <p:cNvPr id="132" name="Straight Connector 131"/>
              <p:cNvCxnSpPr>
                <a:stCxn id="179" idx="1"/>
                <a:endCxn id="180" idx="3"/>
              </p:cNvCxnSpPr>
              <p:nvPr/>
            </p:nvCxnSpPr>
            <p:spPr>
              <a:xfrm flipH="1" flipV="1">
                <a:off x="1985786" y="4497797"/>
                <a:ext cx="2096142" cy="11184"/>
              </a:xfrm>
              <a:prstGeom prst="line">
                <a:avLst/>
              </a:prstGeom>
              <a:noFill/>
              <a:ln w="12700" cap="flat" cmpd="sng" algn="ctr">
                <a:solidFill>
                  <a:schemeClr val="tx1"/>
                </a:solidFill>
                <a:prstDash val="solid"/>
                <a:miter lim="800000"/>
              </a:ln>
              <a:effectLst/>
            </p:spPr>
          </p:cxnSp>
          <p:cxnSp>
            <p:nvCxnSpPr>
              <p:cNvPr id="162" name="Straight Connector 161"/>
              <p:cNvCxnSpPr>
                <a:stCxn id="180" idx="3"/>
                <a:endCxn id="116" idx="1"/>
              </p:cNvCxnSpPr>
              <p:nvPr/>
            </p:nvCxnSpPr>
            <p:spPr>
              <a:xfrm flipV="1">
                <a:off x="1985786" y="3626323"/>
                <a:ext cx="1912063" cy="871474"/>
              </a:xfrm>
              <a:prstGeom prst="line">
                <a:avLst/>
              </a:prstGeom>
              <a:noFill/>
              <a:ln w="12700" cap="flat" cmpd="sng" algn="ctr">
                <a:solidFill>
                  <a:schemeClr val="tx1"/>
                </a:solidFill>
                <a:prstDash val="solid"/>
                <a:miter lim="800000"/>
              </a:ln>
              <a:effectLst/>
            </p:spPr>
          </p:cxnSp>
          <p:cxnSp>
            <p:nvCxnSpPr>
              <p:cNvPr id="164" name="Straight Connector 163"/>
              <p:cNvCxnSpPr>
                <a:stCxn id="116" idx="1"/>
                <a:endCxn id="177" idx="0"/>
              </p:cNvCxnSpPr>
              <p:nvPr/>
            </p:nvCxnSpPr>
            <p:spPr>
              <a:xfrm flipH="1">
                <a:off x="2522238" y="3626323"/>
                <a:ext cx="1375611" cy="1532196"/>
              </a:xfrm>
              <a:prstGeom prst="line">
                <a:avLst/>
              </a:prstGeom>
              <a:noFill/>
              <a:ln w="12700" cap="flat" cmpd="sng" algn="ctr">
                <a:solidFill>
                  <a:schemeClr val="tx1"/>
                </a:solidFill>
                <a:prstDash val="solid"/>
                <a:miter lim="800000"/>
              </a:ln>
              <a:effectLst/>
            </p:spPr>
          </p:cxnSp>
          <p:cxnSp>
            <p:nvCxnSpPr>
              <p:cNvPr id="165" name="Straight Connector 164"/>
              <p:cNvCxnSpPr>
                <a:stCxn id="177" idx="0"/>
                <a:endCxn id="115" idx="2"/>
              </p:cNvCxnSpPr>
              <p:nvPr/>
            </p:nvCxnSpPr>
            <p:spPr>
              <a:xfrm flipV="1">
                <a:off x="2522238" y="3231973"/>
                <a:ext cx="509769" cy="1926546"/>
              </a:xfrm>
              <a:prstGeom prst="line">
                <a:avLst/>
              </a:prstGeom>
              <a:noFill/>
              <a:ln w="12700" cap="flat" cmpd="sng" algn="ctr">
                <a:solidFill>
                  <a:schemeClr val="tx1"/>
                </a:solidFill>
                <a:prstDash val="solid"/>
                <a:miter lim="800000"/>
              </a:ln>
              <a:effectLst/>
            </p:spPr>
          </p:cxnSp>
          <p:cxnSp>
            <p:nvCxnSpPr>
              <p:cNvPr id="168" name="Straight Connector 167"/>
              <p:cNvCxnSpPr>
                <a:stCxn id="115" idx="2"/>
                <a:endCxn id="178" idx="0"/>
              </p:cNvCxnSpPr>
              <p:nvPr/>
            </p:nvCxnSpPr>
            <p:spPr>
              <a:xfrm>
                <a:off x="3032007" y="3231973"/>
                <a:ext cx="561831" cy="1924455"/>
              </a:xfrm>
              <a:prstGeom prst="line">
                <a:avLst/>
              </a:prstGeom>
              <a:noFill/>
              <a:ln w="12700" cap="flat" cmpd="sng" algn="ctr">
                <a:solidFill>
                  <a:schemeClr val="tx1"/>
                </a:solidFill>
                <a:prstDash val="solid"/>
                <a:miter lim="800000"/>
              </a:ln>
              <a:effectLst/>
            </p:spPr>
          </p:cxnSp>
          <p:cxnSp>
            <p:nvCxnSpPr>
              <p:cNvPr id="172" name="Straight Connector 171"/>
              <p:cNvCxnSpPr>
                <a:stCxn id="178" idx="0"/>
                <a:endCxn id="181" idx="3"/>
              </p:cNvCxnSpPr>
              <p:nvPr/>
            </p:nvCxnSpPr>
            <p:spPr>
              <a:xfrm flipH="1" flipV="1">
                <a:off x="2156009" y="3625611"/>
                <a:ext cx="1437829" cy="1530817"/>
              </a:xfrm>
              <a:prstGeom prst="line">
                <a:avLst/>
              </a:prstGeom>
              <a:noFill/>
              <a:ln w="12700" cap="flat" cmpd="sng" algn="ctr">
                <a:solidFill>
                  <a:schemeClr val="tx1"/>
                </a:solidFill>
                <a:prstDash val="solid"/>
                <a:miter lim="800000"/>
              </a:ln>
              <a:effectLst/>
            </p:spPr>
          </p:cxnSp>
          <p:pic>
            <p:nvPicPr>
              <p:cNvPr id="177" name="Shape 338" descr="Compute-Engine_256px.png"/>
              <p:cNvPicPr preferRelativeResize="0">
                <a:picLocks noChangeAspect="1"/>
              </p:cNvPicPr>
              <p:nvPr/>
            </p:nvPicPr>
            <p:blipFill rotWithShape="1">
              <a:blip r:embed="rId11">
                <a:alphaModFix/>
              </a:blip>
              <a:srcRect t="5092" b="5092"/>
              <a:stretch/>
            </p:blipFill>
            <p:spPr>
              <a:xfrm>
                <a:off x="2304225" y="5158519"/>
                <a:ext cx="436025" cy="358059"/>
              </a:xfrm>
              <a:prstGeom prst="rect">
                <a:avLst/>
              </a:prstGeom>
              <a:noFill/>
              <a:ln>
                <a:noFill/>
              </a:ln>
            </p:spPr>
          </p:pic>
          <p:pic>
            <p:nvPicPr>
              <p:cNvPr id="178" name="Shape 338" descr="Compute-Engine_256px.png"/>
              <p:cNvPicPr preferRelativeResize="0">
                <a:picLocks noChangeAspect="1"/>
              </p:cNvPicPr>
              <p:nvPr/>
            </p:nvPicPr>
            <p:blipFill rotWithShape="1">
              <a:blip r:embed="rId11">
                <a:alphaModFix/>
              </a:blip>
              <a:srcRect t="5092" b="5092"/>
              <a:stretch/>
            </p:blipFill>
            <p:spPr>
              <a:xfrm>
                <a:off x="3375825" y="5156428"/>
                <a:ext cx="436025" cy="358059"/>
              </a:xfrm>
              <a:prstGeom prst="rect">
                <a:avLst/>
              </a:prstGeom>
              <a:noFill/>
              <a:ln>
                <a:noFill/>
              </a:ln>
            </p:spPr>
          </p:pic>
          <p:pic>
            <p:nvPicPr>
              <p:cNvPr id="179" name="Shape 338" descr="Compute-Engine_256px.png"/>
              <p:cNvPicPr preferRelativeResize="0">
                <a:picLocks noChangeAspect="1"/>
              </p:cNvPicPr>
              <p:nvPr/>
            </p:nvPicPr>
            <p:blipFill rotWithShape="1">
              <a:blip r:embed="rId11">
                <a:alphaModFix/>
              </a:blip>
              <a:srcRect t="5092" b="5092"/>
              <a:stretch/>
            </p:blipFill>
            <p:spPr>
              <a:xfrm>
                <a:off x="4081928" y="4329951"/>
                <a:ext cx="436025" cy="358059"/>
              </a:xfrm>
              <a:prstGeom prst="rect">
                <a:avLst/>
              </a:prstGeom>
              <a:noFill/>
              <a:ln>
                <a:noFill/>
              </a:ln>
            </p:spPr>
          </p:pic>
          <p:pic>
            <p:nvPicPr>
              <p:cNvPr id="180" name="Shape 338" descr="Compute-Engine_256px.png"/>
              <p:cNvPicPr preferRelativeResize="0">
                <a:picLocks noChangeAspect="1"/>
              </p:cNvPicPr>
              <p:nvPr/>
            </p:nvPicPr>
            <p:blipFill rotWithShape="1">
              <a:blip r:embed="rId11">
                <a:alphaModFix/>
              </a:blip>
              <a:srcRect t="5092" b="5092"/>
              <a:stretch/>
            </p:blipFill>
            <p:spPr>
              <a:xfrm>
                <a:off x="1549761" y="4318767"/>
                <a:ext cx="436025" cy="358059"/>
              </a:xfrm>
              <a:prstGeom prst="rect">
                <a:avLst/>
              </a:prstGeom>
              <a:noFill/>
              <a:ln>
                <a:noFill/>
              </a:ln>
            </p:spPr>
          </p:pic>
          <p:pic>
            <p:nvPicPr>
              <p:cNvPr id="181" name="Shape 338" descr="Compute-Engine_256px.png"/>
              <p:cNvPicPr preferRelativeResize="0">
                <a:picLocks noChangeAspect="1"/>
              </p:cNvPicPr>
              <p:nvPr/>
            </p:nvPicPr>
            <p:blipFill rotWithShape="1">
              <a:blip r:embed="rId11">
                <a:alphaModFix/>
              </a:blip>
              <a:srcRect t="5092" b="5092"/>
              <a:stretch/>
            </p:blipFill>
            <p:spPr>
              <a:xfrm>
                <a:off x="1719984" y="3446581"/>
                <a:ext cx="436025" cy="358059"/>
              </a:xfrm>
              <a:prstGeom prst="rect">
                <a:avLst/>
              </a:prstGeom>
              <a:noFill/>
              <a:ln>
                <a:noFill/>
              </a:ln>
            </p:spPr>
          </p:pic>
        </p:grpSp>
        <p:sp>
          <p:nvSpPr>
            <p:cNvPr id="182" name="Rectangle 87"/>
            <p:cNvSpPr/>
            <p:nvPr/>
          </p:nvSpPr>
          <p:spPr>
            <a:xfrm>
              <a:off x="1487980" y="2115575"/>
              <a:ext cx="1322820" cy="6262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b="1" dirty="0">
                  <a:solidFill>
                    <a:srgbClr val="4485F5"/>
                  </a:solidFill>
                  <a:effectLst>
                    <a:outerShdw blurRad="50800" dist="38100" dir="2700000" algn="tl" rotWithShape="0">
                      <a:prstClr val="black">
                        <a:alpha val="40000"/>
                      </a:prstClr>
                    </a:outerShdw>
                  </a:effectLst>
                  <a:latin typeface="Calibri" panose="020F0502020204030204" pitchFamily="34" charset="0"/>
                  <a:cs typeface="Calibri" panose="020F0502020204030204" pitchFamily="34" charset="0"/>
                </a:rPr>
                <a:t>Blockchain ESSN </a:t>
              </a:r>
            </a:p>
          </p:txBody>
        </p:sp>
        <p:cxnSp>
          <p:nvCxnSpPr>
            <p:cNvPr id="22" name="Straight Connector 21"/>
            <p:cNvCxnSpPr/>
            <p:nvPr/>
          </p:nvCxnSpPr>
          <p:spPr>
            <a:xfrm>
              <a:off x="3922301" y="1379359"/>
              <a:ext cx="0" cy="216000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11" name="Group 110"/>
          <p:cNvGrpSpPr>
            <a:grpSpLocks noChangeAspect="1"/>
          </p:cNvGrpSpPr>
          <p:nvPr/>
        </p:nvGrpSpPr>
        <p:grpSpPr>
          <a:xfrm>
            <a:off x="8652424" y="960803"/>
            <a:ext cx="2934331" cy="3109621"/>
            <a:chOff x="8965740" y="1132887"/>
            <a:chExt cx="3227764" cy="3420583"/>
          </a:xfrm>
        </p:grpSpPr>
        <p:grpSp>
          <p:nvGrpSpPr>
            <p:cNvPr id="112" name="Group 111"/>
            <p:cNvGrpSpPr/>
            <p:nvPr/>
          </p:nvGrpSpPr>
          <p:grpSpPr>
            <a:xfrm>
              <a:off x="8965740" y="1132887"/>
              <a:ext cx="3227764" cy="3420583"/>
              <a:chOff x="8965740" y="2009726"/>
              <a:chExt cx="3227764" cy="3420583"/>
            </a:xfrm>
          </p:grpSpPr>
          <p:grpSp>
            <p:nvGrpSpPr>
              <p:cNvPr id="134" name="Group 133"/>
              <p:cNvGrpSpPr>
                <a:grpSpLocks noChangeAspect="1"/>
              </p:cNvGrpSpPr>
              <p:nvPr/>
            </p:nvGrpSpPr>
            <p:grpSpPr>
              <a:xfrm>
                <a:off x="8965740" y="2242939"/>
                <a:ext cx="3200676" cy="3187370"/>
                <a:chOff x="5301787" y="1383244"/>
                <a:chExt cx="4868657" cy="4848418"/>
              </a:xfrm>
            </p:grpSpPr>
            <p:grpSp>
              <p:nvGrpSpPr>
                <p:cNvPr id="137" name="Shape 2012"/>
                <p:cNvGrpSpPr/>
                <p:nvPr/>
              </p:nvGrpSpPr>
              <p:grpSpPr>
                <a:xfrm>
                  <a:off x="5301787" y="1383244"/>
                  <a:ext cx="4868657" cy="4848418"/>
                  <a:chOff x="3117355" y="235947"/>
                  <a:chExt cx="4298771" cy="4279785"/>
                </a:xfrm>
                <a:solidFill>
                  <a:sysClr val="window" lastClr="FFFFFF">
                    <a:lumMod val="85000"/>
                  </a:sysClr>
                </a:solidFill>
              </p:grpSpPr>
              <p:sp>
                <p:nvSpPr>
                  <p:cNvPr id="153" name="Shape 2013"/>
                  <p:cNvSpPr/>
                  <p:nvPr/>
                </p:nvSpPr>
                <p:spPr>
                  <a:xfrm>
                    <a:off x="5709810" y="2172877"/>
                    <a:ext cx="237476" cy="119326"/>
                  </a:xfrm>
                  <a:custGeom>
                    <a:avLst/>
                    <a:gdLst/>
                    <a:ahLst/>
                    <a:cxnLst/>
                    <a:rect l="0" t="0" r="0" b="0"/>
                    <a:pathLst>
                      <a:path w="120000" h="120000" extrusionOk="0">
                        <a:moveTo>
                          <a:pt x="50769" y="2222"/>
                        </a:moveTo>
                        <a:cubicBezTo>
                          <a:pt x="55384" y="8888"/>
                          <a:pt x="55384" y="8888"/>
                          <a:pt x="55384" y="8888"/>
                        </a:cubicBezTo>
                        <a:cubicBezTo>
                          <a:pt x="58846" y="11111"/>
                          <a:pt x="58846" y="11111"/>
                          <a:pt x="58846" y="11111"/>
                        </a:cubicBezTo>
                        <a:cubicBezTo>
                          <a:pt x="65769" y="17777"/>
                          <a:pt x="65769" y="17777"/>
                          <a:pt x="65769" y="17777"/>
                        </a:cubicBezTo>
                        <a:cubicBezTo>
                          <a:pt x="79615" y="20000"/>
                          <a:pt x="79615" y="20000"/>
                          <a:pt x="79615" y="20000"/>
                        </a:cubicBezTo>
                        <a:cubicBezTo>
                          <a:pt x="81923" y="15555"/>
                          <a:pt x="81923" y="15555"/>
                          <a:pt x="81923" y="15555"/>
                        </a:cubicBezTo>
                        <a:cubicBezTo>
                          <a:pt x="86538" y="13333"/>
                          <a:pt x="86538" y="13333"/>
                          <a:pt x="86538" y="13333"/>
                        </a:cubicBezTo>
                        <a:cubicBezTo>
                          <a:pt x="94615" y="8888"/>
                          <a:pt x="94615" y="8888"/>
                          <a:pt x="94615" y="8888"/>
                        </a:cubicBezTo>
                        <a:cubicBezTo>
                          <a:pt x="98076" y="17777"/>
                          <a:pt x="98076" y="17777"/>
                          <a:pt x="98076" y="17777"/>
                        </a:cubicBezTo>
                        <a:cubicBezTo>
                          <a:pt x="100384" y="17777"/>
                          <a:pt x="100384" y="17777"/>
                          <a:pt x="100384" y="17777"/>
                        </a:cubicBezTo>
                        <a:cubicBezTo>
                          <a:pt x="100384" y="17777"/>
                          <a:pt x="102692" y="22222"/>
                          <a:pt x="105000" y="26666"/>
                        </a:cubicBezTo>
                        <a:cubicBezTo>
                          <a:pt x="106153" y="31111"/>
                          <a:pt x="108461" y="33333"/>
                          <a:pt x="108461" y="33333"/>
                        </a:cubicBezTo>
                        <a:cubicBezTo>
                          <a:pt x="106153" y="48888"/>
                          <a:pt x="106153" y="48888"/>
                          <a:pt x="106153" y="48888"/>
                        </a:cubicBezTo>
                        <a:cubicBezTo>
                          <a:pt x="106153" y="55555"/>
                          <a:pt x="106153" y="55555"/>
                          <a:pt x="106153" y="55555"/>
                        </a:cubicBezTo>
                        <a:cubicBezTo>
                          <a:pt x="106153" y="77777"/>
                          <a:pt x="106153" y="77777"/>
                          <a:pt x="106153" y="77777"/>
                        </a:cubicBezTo>
                        <a:cubicBezTo>
                          <a:pt x="109615" y="86666"/>
                          <a:pt x="109615" y="86666"/>
                          <a:pt x="109615" y="86666"/>
                        </a:cubicBezTo>
                        <a:cubicBezTo>
                          <a:pt x="109615" y="88888"/>
                          <a:pt x="109615" y="88888"/>
                          <a:pt x="109615" y="88888"/>
                        </a:cubicBezTo>
                        <a:cubicBezTo>
                          <a:pt x="114230" y="86666"/>
                          <a:pt x="114230" y="86666"/>
                          <a:pt x="114230" y="86666"/>
                        </a:cubicBezTo>
                        <a:cubicBezTo>
                          <a:pt x="114230" y="86666"/>
                          <a:pt x="115384" y="86666"/>
                          <a:pt x="115384" y="84444"/>
                        </a:cubicBezTo>
                        <a:cubicBezTo>
                          <a:pt x="115384" y="86666"/>
                          <a:pt x="114230" y="86666"/>
                          <a:pt x="114230" y="86666"/>
                        </a:cubicBezTo>
                        <a:cubicBezTo>
                          <a:pt x="103846" y="91111"/>
                          <a:pt x="103846" y="91111"/>
                          <a:pt x="103846" y="91111"/>
                        </a:cubicBezTo>
                        <a:cubicBezTo>
                          <a:pt x="94615" y="102222"/>
                          <a:pt x="94615" y="102222"/>
                          <a:pt x="94615" y="102222"/>
                        </a:cubicBezTo>
                        <a:cubicBezTo>
                          <a:pt x="94615" y="102222"/>
                          <a:pt x="72692" y="106666"/>
                          <a:pt x="70384" y="106666"/>
                        </a:cubicBezTo>
                        <a:cubicBezTo>
                          <a:pt x="69230" y="106666"/>
                          <a:pt x="55384" y="108888"/>
                          <a:pt x="53076" y="108888"/>
                        </a:cubicBezTo>
                        <a:cubicBezTo>
                          <a:pt x="51923" y="111111"/>
                          <a:pt x="45000" y="113333"/>
                          <a:pt x="42692" y="113333"/>
                        </a:cubicBezTo>
                        <a:cubicBezTo>
                          <a:pt x="40384" y="113333"/>
                          <a:pt x="30000" y="115555"/>
                          <a:pt x="27692" y="115555"/>
                        </a:cubicBezTo>
                        <a:cubicBezTo>
                          <a:pt x="25384" y="115555"/>
                          <a:pt x="19615" y="115555"/>
                          <a:pt x="19615" y="115555"/>
                        </a:cubicBezTo>
                        <a:cubicBezTo>
                          <a:pt x="19615" y="115555"/>
                          <a:pt x="8076" y="117777"/>
                          <a:pt x="4615" y="117777"/>
                        </a:cubicBezTo>
                        <a:cubicBezTo>
                          <a:pt x="1153" y="120000"/>
                          <a:pt x="5769" y="108888"/>
                          <a:pt x="5769" y="108888"/>
                        </a:cubicBezTo>
                        <a:cubicBezTo>
                          <a:pt x="5769" y="108888"/>
                          <a:pt x="19615" y="86666"/>
                          <a:pt x="15000" y="88888"/>
                        </a:cubicBezTo>
                        <a:cubicBezTo>
                          <a:pt x="9230" y="84444"/>
                          <a:pt x="9230" y="84444"/>
                          <a:pt x="9230" y="84444"/>
                        </a:cubicBezTo>
                        <a:cubicBezTo>
                          <a:pt x="4615" y="77777"/>
                          <a:pt x="4615" y="77777"/>
                          <a:pt x="4615" y="77777"/>
                        </a:cubicBezTo>
                        <a:cubicBezTo>
                          <a:pt x="0" y="57777"/>
                          <a:pt x="5769" y="48888"/>
                          <a:pt x="10384" y="48888"/>
                        </a:cubicBezTo>
                        <a:cubicBezTo>
                          <a:pt x="13846" y="48888"/>
                          <a:pt x="23076" y="55555"/>
                          <a:pt x="28846" y="55555"/>
                        </a:cubicBezTo>
                        <a:cubicBezTo>
                          <a:pt x="49615" y="55555"/>
                          <a:pt x="45000" y="42222"/>
                          <a:pt x="43846" y="17777"/>
                        </a:cubicBezTo>
                        <a:cubicBezTo>
                          <a:pt x="43846" y="11111"/>
                          <a:pt x="45000" y="4444"/>
                          <a:pt x="46153" y="2222"/>
                        </a:cubicBezTo>
                        <a:cubicBezTo>
                          <a:pt x="47307" y="0"/>
                          <a:pt x="49615" y="4444"/>
                          <a:pt x="50769" y="2222"/>
                        </a:cubicBezTo>
                        <a:close/>
                        <a:moveTo>
                          <a:pt x="117692" y="82222"/>
                        </a:moveTo>
                        <a:cubicBezTo>
                          <a:pt x="117692" y="82222"/>
                          <a:pt x="117692" y="82222"/>
                          <a:pt x="117692" y="82222"/>
                        </a:cubicBezTo>
                        <a:cubicBezTo>
                          <a:pt x="117692" y="82222"/>
                          <a:pt x="117692" y="82222"/>
                          <a:pt x="117692" y="82222"/>
                        </a:cubicBezTo>
                        <a:cubicBezTo>
                          <a:pt x="117692" y="84444"/>
                          <a:pt x="117692" y="84444"/>
                          <a:pt x="117692" y="84444"/>
                        </a:cubicBezTo>
                        <a:cubicBezTo>
                          <a:pt x="117692" y="82222"/>
                          <a:pt x="117692" y="82222"/>
                          <a:pt x="117692" y="82222"/>
                        </a:cubicBezTo>
                        <a:cubicBezTo>
                          <a:pt x="117692" y="82222"/>
                          <a:pt x="117692" y="82222"/>
                          <a:pt x="117692" y="82222"/>
                        </a:cubicBezTo>
                        <a:close/>
                        <a:moveTo>
                          <a:pt x="117692" y="84444"/>
                        </a:moveTo>
                        <a:cubicBezTo>
                          <a:pt x="117692" y="84444"/>
                          <a:pt x="117692" y="84444"/>
                          <a:pt x="117692" y="84444"/>
                        </a:cubicBezTo>
                        <a:cubicBezTo>
                          <a:pt x="118846" y="86666"/>
                          <a:pt x="120000" y="91111"/>
                          <a:pt x="120000" y="93333"/>
                        </a:cubicBezTo>
                        <a:cubicBezTo>
                          <a:pt x="120000" y="93333"/>
                          <a:pt x="120000" y="93333"/>
                          <a:pt x="120000" y="93333"/>
                        </a:cubicBezTo>
                        <a:cubicBezTo>
                          <a:pt x="120000" y="91111"/>
                          <a:pt x="118846" y="86666"/>
                          <a:pt x="117692" y="8444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4" name="Shape 2014"/>
                  <p:cNvSpPr/>
                  <p:nvPr/>
                </p:nvSpPr>
                <p:spPr>
                  <a:xfrm>
                    <a:off x="5951685" y="3592014"/>
                    <a:ext cx="171510" cy="172598"/>
                  </a:xfrm>
                  <a:custGeom>
                    <a:avLst/>
                    <a:gdLst/>
                    <a:ahLst/>
                    <a:cxnLst/>
                    <a:rect l="0" t="0" r="0" b="0"/>
                    <a:pathLst>
                      <a:path w="120000" h="120000" extrusionOk="0">
                        <a:moveTo>
                          <a:pt x="113600" y="73846"/>
                        </a:moveTo>
                        <a:cubicBezTo>
                          <a:pt x="112000" y="75384"/>
                          <a:pt x="112000" y="75384"/>
                          <a:pt x="112000" y="75384"/>
                        </a:cubicBezTo>
                        <a:cubicBezTo>
                          <a:pt x="105600" y="78461"/>
                          <a:pt x="97600" y="75384"/>
                          <a:pt x="96000" y="86153"/>
                        </a:cubicBezTo>
                        <a:cubicBezTo>
                          <a:pt x="96000" y="104615"/>
                          <a:pt x="89600" y="86153"/>
                          <a:pt x="83200" y="86153"/>
                        </a:cubicBezTo>
                        <a:cubicBezTo>
                          <a:pt x="78400" y="86153"/>
                          <a:pt x="78400" y="89230"/>
                          <a:pt x="75200" y="92307"/>
                        </a:cubicBezTo>
                        <a:cubicBezTo>
                          <a:pt x="70400" y="95384"/>
                          <a:pt x="65600" y="96923"/>
                          <a:pt x="64000" y="100000"/>
                        </a:cubicBezTo>
                        <a:cubicBezTo>
                          <a:pt x="64000" y="103076"/>
                          <a:pt x="62400" y="106153"/>
                          <a:pt x="62400" y="109230"/>
                        </a:cubicBezTo>
                        <a:cubicBezTo>
                          <a:pt x="64000" y="113846"/>
                          <a:pt x="64000" y="118461"/>
                          <a:pt x="60800" y="118461"/>
                        </a:cubicBezTo>
                        <a:cubicBezTo>
                          <a:pt x="59200" y="118461"/>
                          <a:pt x="54400" y="120000"/>
                          <a:pt x="51200" y="118461"/>
                        </a:cubicBezTo>
                        <a:cubicBezTo>
                          <a:pt x="51200" y="116923"/>
                          <a:pt x="51200" y="116923"/>
                          <a:pt x="51200" y="116923"/>
                        </a:cubicBezTo>
                        <a:cubicBezTo>
                          <a:pt x="52800" y="112307"/>
                          <a:pt x="52800" y="112307"/>
                          <a:pt x="52800" y="112307"/>
                        </a:cubicBezTo>
                        <a:cubicBezTo>
                          <a:pt x="49600" y="107692"/>
                          <a:pt x="49600" y="107692"/>
                          <a:pt x="49600" y="107692"/>
                        </a:cubicBezTo>
                        <a:cubicBezTo>
                          <a:pt x="49600" y="107692"/>
                          <a:pt x="49600" y="107692"/>
                          <a:pt x="49600" y="106153"/>
                        </a:cubicBezTo>
                        <a:cubicBezTo>
                          <a:pt x="48000" y="104615"/>
                          <a:pt x="48000" y="101538"/>
                          <a:pt x="48000" y="101538"/>
                        </a:cubicBezTo>
                        <a:cubicBezTo>
                          <a:pt x="46400" y="96923"/>
                          <a:pt x="46400" y="96923"/>
                          <a:pt x="46400" y="96923"/>
                        </a:cubicBezTo>
                        <a:cubicBezTo>
                          <a:pt x="46400" y="96923"/>
                          <a:pt x="43200" y="93846"/>
                          <a:pt x="41600" y="92307"/>
                        </a:cubicBezTo>
                        <a:cubicBezTo>
                          <a:pt x="41600" y="92307"/>
                          <a:pt x="41600" y="90769"/>
                          <a:pt x="38400" y="89230"/>
                        </a:cubicBezTo>
                        <a:cubicBezTo>
                          <a:pt x="36800" y="89230"/>
                          <a:pt x="33600" y="87692"/>
                          <a:pt x="33600" y="87692"/>
                        </a:cubicBezTo>
                        <a:cubicBezTo>
                          <a:pt x="32000" y="87692"/>
                          <a:pt x="32000" y="87692"/>
                          <a:pt x="32000" y="87692"/>
                        </a:cubicBezTo>
                        <a:cubicBezTo>
                          <a:pt x="32000" y="87692"/>
                          <a:pt x="30400" y="87692"/>
                          <a:pt x="30400" y="87692"/>
                        </a:cubicBezTo>
                        <a:cubicBezTo>
                          <a:pt x="27200" y="84615"/>
                          <a:pt x="27200" y="84615"/>
                          <a:pt x="27200" y="84615"/>
                        </a:cubicBezTo>
                        <a:cubicBezTo>
                          <a:pt x="24000" y="84615"/>
                          <a:pt x="24000" y="84615"/>
                          <a:pt x="24000" y="84615"/>
                        </a:cubicBezTo>
                        <a:cubicBezTo>
                          <a:pt x="22400" y="80000"/>
                          <a:pt x="22400" y="80000"/>
                          <a:pt x="22400" y="80000"/>
                        </a:cubicBezTo>
                        <a:cubicBezTo>
                          <a:pt x="20800" y="75384"/>
                          <a:pt x="20800" y="75384"/>
                          <a:pt x="20800" y="75384"/>
                        </a:cubicBezTo>
                        <a:cubicBezTo>
                          <a:pt x="17600" y="72307"/>
                          <a:pt x="17600" y="72307"/>
                          <a:pt x="17600" y="72307"/>
                        </a:cubicBezTo>
                        <a:cubicBezTo>
                          <a:pt x="14400" y="70769"/>
                          <a:pt x="14400" y="70769"/>
                          <a:pt x="14400" y="70769"/>
                        </a:cubicBezTo>
                        <a:cubicBezTo>
                          <a:pt x="12800" y="69230"/>
                          <a:pt x="12800" y="69230"/>
                          <a:pt x="12800" y="69230"/>
                        </a:cubicBezTo>
                        <a:cubicBezTo>
                          <a:pt x="9600" y="67692"/>
                          <a:pt x="9600" y="67692"/>
                          <a:pt x="9600" y="67692"/>
                        </a:cubicBezTo>
                        <a:cubicBezTo>
                          <a:pt x="8000" y="64615"/>
                          <a:pt x="11200" y="61538"/>
                          <a:pt x="9600" y="58461"/>
                        </a:cubicBezTo>
                        <a:cubicBezTo>
                          <a:pt x="6400" y="55384"/>
                          <a:pt x="0" y="52307"/>
                          <a:pt x="1600" y="52307"/>
                        </a:cubicBezTo>
                        <a:cubicBezTo>
                          <a:pt x="3200" y="49230"/>
                          <a:pt x="9600" y="50769"/>
                          <a:pt x="12800" y="49230"/>
                        </a:cubicBezTo>
                        <a:cubicBezTo>
                          <a:pt x="14400" y="49230"/>
                          <a:pt x="14400" y="46153"/>
                          <a:pt x="16000" y="44615"/>
                        </a:cubicBezTo>
                        <a:cubicBezTo>
                          <a:pt x="17600" y="44615"/>
                          <a:pt x="20800" y="46153"/>
                          <a:pt x="20800" y="43076"/>
                        </a:cubicBezTo>
                        <a:cubicBezTo>
                          <a:pt x="20800" y="40000"/>
                          <a:pt x="24000" y="40000"/>
                          <a:pt x="25600" y="41538"/>
                        </a:cubicBezTo>
                        <a:cubicBezTo>
                          <a:pt x="25600" y="41538"/>
                          <a:pt x="27200" y="41538"/>
                          <a:pt x="30400" y="38461"/>
                        </a:cubicBezTo>
                        <a:cubicBezTo>
                          <a:pt x="35200" y="36923"/>
                          <a:pt x="32000" y="36923"/>
                          <a:pt x="32000" y="36923"/>
                        </a:cubicBezTo>
                        <a:cubicBezTo>
                          <a:pt x="30400" y="32307"/>
                          <a:pt x="30400" y="32307"/>
                          <a:pt x="30400" y="32307"/>
                        </a:cubicBezTo>
                        <a:cubicBezTo>
                          <a:pt x="40000" y="23076"/>
                          <a:pt x="40000" y="23076"/>
                          <a:pt x="40000" y="23076"/>
                        </a:cubicBezTo>
                        <a:cubicBezTo>
                          <a:pt x="41600" y="15384"/>
                          <a:pt x="41600" y="15384"/>
                          <a:pt x="41600" y="15384"/>
                        </a:cubicBezTo>
                        <a:cubicBezTo>
                          <a:pt x="41600" y="15384"/>
                          <a:pt x="40000" y="13846"/>
                          <a:pt x="38400" y="12307"/>
                        </a:cubicBezTo>
                        <a:cubicBezTo>
                          <a:pt x="35200" y="9230"/>
                          <a:pt x="36800" y="9230"/>
                          <a:pt x="36800" y="7692"/>
                        </a:cubicBezTo>
                        <a:cubicBezTo>
                          <a:pt x="38400" y="6153"/>
                          <a:pt x="40000" y="6153"/>
                          <a:pt x="40000" y="6153"/>
                        </a:cubicBezTo>
                        <a:cubicBezTo>
                          <a:pt x="41600" y="4615"/>
                          <a:pt x="44800" y="4615"/>
                          <a:pt x="48000" y="1538"/>
                        </a:cubicBezTo>
                        <a:cubicBezTo>
                          <a:pt x="51200" y="0"/>
                          <a:pt x="51200" y="3076"/>
                          <a:pt x="51200" y="3076"/>
                        </a:cubicBezTo>
                        <a:cubicBezTo>
                          <a:pt x="51200" y="3076"/>
                          <a:pt x="52800" y="7692"/>
                          <a:pt x="57600" y="9230"/>
                        </a:cubicBezTo>
                        <a:cubicBezTo>
                          <a:pt x="60800" y="10769"/>
                          <a:pt x="62400" y="10769"/>
                          <a:pt x="62400" y="10769"/>
                        </a:cubicBezTo>
                        <a:cubicBezTo>
                          <a:pt x="67200" y="10769"/>
                          <a:pt x="67200" y="10769"/>
                          <a:pt x="67200" y="10769"/>
                        </a:cubicBezTo>
                        <a:cubicBezTo>
                          <a:pt x="75200" y="16923"/>
                          <a:pt x="75200" y="16923"/>
                          <a:pt x="75200" y="16923"/>
                        </a:cubicBezTo>
                        <a:cubicBezTo>
                          <a:pt x="75200" y="16923"/>
                          <a:pt x="75200" y="16923"/>
                          <a:pt x="76800" y="18461"/>
                        </a:cubicBezTo>
                        <a:cubicBezTo>
                          <a:pt x="78400" y="20000"/>
                          <a:pt x="80000" y="26153"/>
                          <a:pt x="80000" y="26153"/>
                        </a:cubicBezTo>
                        <a:cubicBezTo>
                          <a:pt x="92800" y="29230"/>
                          <a:pt x="92800" y="29230"/>
                          <a:pt x="92800" y="29230"/>
                        </a:cubicBezTo>
                        <a:cubicBezTo>
                          <a:pt x="94400" y="35384"/>
                          <a:pt x="94400" y="35384"/>
                          <a:pt x="94400" y="35384"/>
                        </a:cubicBezTo>
                        <a:cubicBezTo>
                          <a:pt x="94400" y="35384"/>
                          <a:pt x="100800" y="35384"/>
                          <a:pt x="104000" y="36923"/>
                        </a:cubicBezTo>
                        <a:cubicBezTo>
                          <a:pt x="107200" y="36923"/>
                          <a:pt x="107200" y="40000"/>
                          <a:pt x="107200" y="40000"/>
                        </a:cubicBezTo>
                        <a:cubicBezTo>
                          <a:pt x="112000" y="38461"/>
                          <a:pt x="112000" y="38461"/>
                          <a:pt x="112000" y="38461"/>
                        </a:cubicBezTo>
                        <a:cubicBezTo>
                          <a:pt x="120000" y="40000"/>
                          <a:pt x="120000" y="40000"/>
                          <a:pt x="120000" y="40000"/>
                        </a:cubicBezTo>
                        <a:cubicBezTo>
                          <a:pt x="120000" y="40000"/>
                          <a:pt x="120000" y="41538"/>
                          <a:pt x="118400" y="43076"/>
                        </a:cubicBezTo>
                        <a:cubicBezTo>
                          <a:pt x="116800" y="43076"/>
                          <a:pt x="116800" y="46153"/>
                          <a:pt x="116800" y="47692"/>
                        </a:cubicBezTo>
                        <a:cubicBezTo>
                          <a:pt x="116800" y="50769"/>
                          <a:pt x="116800" y="52307"/>
                          <a:pt x="116800" y="53846"/>
                        </a:cubicBezTo>
                        <a:cubicBezTo>
                          <a:pt x="115200" y="56923"/>
                          <a:pt x="113600" y="55384"/>
                          <a:pt x="112000" y="56923"/>
                        </a:cubicBezTo>
                        <a:cubicBezTo>
                          <a:pt x="110400" y="56923"/>
                          <a:pt x="112000" y="60000"/>
                          <a:pt x="113600" y="63076"/>
                        </a:cubicBezTo>
                        <a:cubicBezTo>
                          <a:pt x="113600" y="64615"/>
                          <a:pt x="113600" y="64615"/>
                          <a:pt x="112000" y="66153"/>
                        </a:cubicBezTo>
                        <a:cubicBezTo>
                          <a:pt x="108800" y="69230"/>
                          <a:pt x="107200" y="69230"/>
                          <a:pt x="107200" y="69230"/>
                        </a:cubicBezTo>
                        <a:cubicBezTo>
                          <a:pt x="112000" y="73846"/>
                          <a:pt x="112000" y="73846"/>
                          <a:pt x="112000" y="73846"/>
                        </a:cubicBezTo>
                        <a:cubicBezTo>
                          <a:pt x="112000" y="73846"/>
                          <a:pt x="112000" y="73846"/>
                          <a:pt x="113600" y="73846"/>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5" name="Shape 2015"/>
                  <p:cNvSpPr/>
                  <p:nvPr/>
                </p:nvSpPr>
                <p:spPr>
                  <a:xfrm>
                    <a:off x="5900012" y="3680444"/>
                    <a:ext cx="193499" cy="353718"/>
                  </a:xfrm>
                  <a:custGeom>
                    <a:avLst/>
                    <a:gdLst/>
                    <a:ahLst/>
                    <a:cxnLst/>
                    <a:rect l="0" t="0" r="0" b="0"/>
                    <a:pathLst>
                      <a:path w="120000" h="120000" extrusionOk="0">
                        <a:moveTo>
                          <a:pt x="69176" y="118500"/>
                        </a:moveTo>
                        <a:cubicBezTo>
                          <a:pt x="73411" y="120000"/>
                          <a:pt x="73411" y="120000"/>
                          <a:pt x="73411" y="120000"/>
                        </a:cubicBezTo>
                        <a:cubicBezTo>
                          <a:pt x="77647" y="119250"/>
                          <a:pt x="77647" y="119250"/>
                          <a:pt x="77647" y="119250"/>
                        </a:cubicBezTo>
                        <a:cubicBezTo>
                          <a:pt x="80470" y="118500"/>
                          <a:pt x="80470" y="118500"/>
                          <a:pt x="80470" y="118500"/>
                        </a:cubicBezTo>
                        <a:cubicBezTo>
                          <a:pt x="80470" y="118500"/>
                          <a:pt x="83294" y="117000"/>
                          <a:pt x="83294" y="117000"/>
                        </a:cubicBezTo>
                        <a:cubicBezTo>
                          <a:pt x="83294" y="117000"/>
                          <a:pt x="83294" y="115500"/>
                          <a:pt x="83294" y="115500"/>
                        </a:cubicBezTo>
                        <a:cubicBezTo>
                          <a:pt x="81882" y="114750"/>
                          <a:pt x="81882" y="114750"/>
                          <a:pt x="81882" y="114750"/>
                        </a:cubicBezTo>
                        <a:cubicBezTo>
                          <a:pt x="81882" y="114750"/>
                          <a:pt x="80470" y="113250"/>
                          <a:pt x="81882" y="113250"/>
                        </a:cubicBezTo>
                        <a:cubicBezTo>
                          <a:pt x="83294" y="113250"/>
                          <a:pt x="84705" y="112500"/>
                          <a:pt x="84705" y="113250"/>
                        </a:cubicBezTo>
                        <a:cubicBezTo>
                          <a:pt x="86117" y="113250"/>
                          <a:pt x="84705" y="113250"/>
                          <a:pt x="86117" y="113250"/>
                        </a:cubicBezTo>
                        <a:cubicBezTo>
                          <a:pt x="87529" y="113250"/>
                          <a:pt x="88941" y="112500"/>
                          <a:pt x="88941" y="112500"/>
                        </a:cubicBezTo>
                        <a:cubicBezTo>
                          <a:pt x="88941" y="111750"/>
                          <a:pt x="88941" y="111750"/>
                          <a:pt x="88941" y="111750"/>
                        </a:cubicBezTo>
                        <a:cubicBezTo>
                          <a:pt x="88941" y="111750"/>
                          <a:pt x="88941" y="111750"/>
                          <a:pt x="88941" y="111750"/>
                        </a:cubicBezTo>
                        <a:cubicBezTo>
                          <a:pt x="87529" y="111000"/>
                          <a:pt x="83294" y="109500"/>
                          <a:pt x="81882" y="109500"/>
                        </a:cubicBezTo>
                        <a:cubicBezTo>
                          <a:pt x="81882" y="108750"/>
                          <a:pt x="80470" y="108000"/>
                          <a:pt x="80470" y="108000"/>
                        </a:cubicBezTo>
                        <a:cubicBezTo>
                          <a:pt x="80470" y="107250"/>
                          <a:pt x="81882" y="106500"/>
                          <a:pt x="81882" y="106500"/>
                        </a:cubicBezTo>
                        <a:cubicBezTo>
                          <a:pt x="80470" y="105750"/>
                          <a:pt x="80470" y="105750"/>
                          <a:pt x="80470" y="105750"/>
                        </a:cubicBezTo>
                        <a:cubicBezTo>
                          <a:pt x="80470" y="105750"/>
                          <a:pt x="81882" y="105000"/>
                          <a:pt x="83294" y="105000"/>
                        </a:cubicBezTo>
                        <a:cubicBezTo>
                          <a:pt x="83294" y="105000"/>
                          <a:pt x="84705" y="105000"/>
                          <a:pt x="84705" y="105000"/>
                        </a:cubicBezTo>
                        <a:cubicBezTo>
                          <a:pt x="86117" y="102750"/>
                          <a:pt x="86117" y="102750"/>
                          <a:pt x="86117" y="102750"/>
                        </a:cubicBezTo>
                        <a:cubicBezTo>
                          <a:pt x="86117" y="102750"/>
                          <a:pt x="86117" y="102000"/>
                          <a:pt x="87529" y="102000"/>
                        </a:cubicBezTo>
                        <a:cubicBezTo>
                          <a:pt x="87529" y="102000"/>
                          <a:pt x="88941" y="102000"/>
                          <a:pt x="88941" y="102000"/>
                        </a:cubicBezTo>
                        <a:cubicBezTo>
                          <a:pt x="98823" y="99000"/>
                          <a:pt x="98823" y="99000"/>
                          <a:pt x="98823" y="99000"/>
                        </a:cubicBezTo>
                        <a:cubicBezTo>
                          <a:pt x="105882" y="93000"/>
                          <a:pt x="105882" y="93000"/>
                          <a:pt x="105882" y="93000"/>
                        </a:cubicBezTo>
                        <a:cubicBezTo>
                          <a:pt x="108705" y="86250"/>
                          <a:pt x="108705" y="86250"/>
                          <a:pt x="108705" y="86250"/>
                        </a:cubicBezTo>
                        <a:cubicBezTo>
                          <a:pt x="112941" y="80250"/>
                          <a:pt x="112941" y="80250"/>
                          <a:pt x="112941" y="80250"/>
                        </a:cubicBezTo>
                        <a:cubicBezTo>
                          <a:pt x="112941" y="80250"/>
                          <a:pt x="118588" y="77250"/>
                          <a:pt x="118588" y="78000"/>
                        </a:cubicBezTo>
                        <a:cubicBezTo>
                          <a:pt x="120000" y="78750"/>
                          <a:pt x="118588" y="72000"/>
                          <a:pt x="118588" y="72000"/>
                        </a:cubicBezTo>
                        <a:cubicBezTo>
                          <a:pt x="114352" y="69750"/>
                          <a:pt x="114352" y="69750"/>
                          <a:pt x="114352" y="69750"/>
                        </a:cubicBezTo>
                        <a:cubicBezTo>
                          <a:pt x="114352" y="68250"/>
                          <a:pt x="114352" y="68250"/>
                          <a:pt x="114352" y="68250"/>
                        </a:cubicBezTo>
                        <a:cubicBezTo>
                          <a:pt x="114352" y="68250"/>
                          <a:pt x="112941" y="68250"/>
                          <a:pt x="112941" y="68250"/>
                        </a:cubicBezTo>
                        <a:cubicBezTo>
                          <a:pt x="112941" y="68250"/>
                          <a:pt x="112941" y="68250"/>
                          <a:pt x="111529" y="68250"/>
                        </a:cubicBezTo>
                        <a:cubicBezTo>
                          <a:pt x="111529" y="67500"/>
                          <a:pt x="111529" y="67500"/>
                          <a:pt x="111529" y="67500"/>
                        </a:cubicBezTo>
                        <a:cubicBezTo>
                          <a:pt x="108705" y="66000"/>
                          <a:pt x="108705" y="66000"/>
                          <a:pt x="108705" y="66000"/>
                        </a:cubicBezTo>
                        <a:cubicBezTo>
                          <a:pt x="108705" y="66000"/>
                          <a:pt x="107294" y="66750"/>
                          <a:pt x="105882" y="66750"/>
                        </a:cubicBezTo>
                        <a:cubicBezTo>
                          <a:pt x="104470" y="66750"/>
                          <a:pt x="104470" y="66000"/>
                          <a:pt x="103058" y="66000"/>
                        </a:cubicBezTo>
                        <a:cubicBezTo>
                          <a:pt x="103058" y="66000"/>
                          <a:pt x="103058" y="66000"/>
                          <a:pt x="103058" y="66000"/>
                        </a:cubicBezTo>
                        <a:cubicBezTo>
                          <a:pt x="103058" y="66000"/>
                          <a:pt x="101647" y="66000"/>
                          <a:pt x="100235" y="66000"/>
                        </a:cubicBezTo>
                        <a:cubicBezTo>
                          <a:pt x="98823" y="66000"/>
                          <a:pt x="97411"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7500"/>
                          <a:pt x="96000" y="67500"/>
                          <a:pt x="96000" y="67500"/>
                        </a:cubicBezTo>
                        <a:cubicBezTo>
                          <a:pt x="96000" y="66750"/>
                          <a:pt x="96000" y="66750"/>
                          <a:pt x="96000" y="66750"/>
                        </a:cubicBezTo>
                        <a:cubicBezTo>
                          <a:pt x="96000" y="66000"/>
                          <a:pt x="96000" y="66000"/>
                          <a:pt x="94588" y="65250"/>
                        </a:cubicBezTo>
                        <a:cubicBezTo>
                          <a:pt x="94588" y="64500"/>
                          <a:pt x="94588" y="63000"/>
                          <a:pt x="93176" y="62250"/>
                        </a:cubicBezTo>
                        <a:cubicBezTo>
                          <a:pt x="91764" y="61500"/>
                          <a:pt x="91764" y="60750"/>
                          <a:pt x="91764" y="60750"/>
                        </a:cubicBezTo>
                        <a:cubicBezTo>
                          <a:pt x="91764" y="60750"/>
                          <a:pt x="88941" y="60750"/>
                          <a:pt x="87529" y="60750"/>
                        </a:cubicBezTo>
                        <a:cubicBezTo>
                          <a:pt x="87529" y="60750"/>
                          <a:pt x="86117" y="60750"/>
                          <a:pt x="86117" y="60750"/>
                        </a:cubicBezTo>
                        <a:cubicBezTo>
                          <a:pt x="86117" y="60750"/>
                          <a:pt x="84705" y="59250"/>
                          <a:pt x="86117" y="59250"/>
                        </a:cubicBezTo>
                        <a:cubicBezTo>
                          <a:pt x="86117" y="58500"/>
                          <a:pt x="84705" y="57750"/>
                          <a:pt x="83294" y="57000"/>
                        </a:cubicBezTo>
                        <a:cubicBezTo>
                          <a:pt x="83294" y="57000"/>
                          <a:pt x="80470" y="54750"/>
                          <a:pt x="80470" y="54750"/>
                        </a:cubicBezTo>
                        <a:cubicBezTo>
                          <a:pt x="80470" y="54750"/>
                          <a:pt x="79058" y="54750"/>
                          <a:pt x="79058" y="54000"/>
                        </a:cubicBezTo>
                        <a:cubicBezTo>
                          <a:pt x="79058" y="53250"/>
                          <a:pt x="79058" y="52500"/>
                          <a:pt x="79058" y="52500"/>
                        </a:cubicBezTo>
                        <a:cubicBezTo>
                          <a:pt x="77647" y="51000"/>
                          <a:pt x="77647" y="51000"/>
                          <a:pt x="77647" y="51000"/>
                        </a:cubicBezTo>
                        <a:cubicBezTo>
                          <a:pt x="77647" y="51000"/>
                          <a:pt x="80470" y="50250"/>
                          <a:pt x="80470" y="49500"/>
                        </a:cubicBezTo>
                        <a:cubicBezTo>
                          <a:pt x="80470" y="49500"/>
                          <a:pt x="81882" y="48750"/>
                          <a:pt x="80470" y="48000"/>
                        </a:cubicBezTo>
                        <a:cubicBezTo>
                          <a:pt x="80470" y="47250"/>
                          <a:pt x="77647" y="46500"/>
                          <a:pt x="77647" y="46500"/>
                        </a:cubicBezTo>
                        <a:cubicBezTo>
                          <a:pt x="76235" y="45750"/>
                          <a:pt x="74823" y="45000"/>
                          <a:pt x="73411" y="44250"/>
                        </a:cubicBezTo>
                        <a:cubicBezTo>
                          <a:pt x="73411" y="43500"/>
                          <a:pt x="73411" y="42750"/>
                          <a:pt x="73411" y="42750"/>
                        </a:cubicBezTo>
                        <a:cubicBezTo>
                          <a:pt x="73411" y="42750"/>
                          <a:pt x="73411" y="42000"/>
                          <a:pt x="74823" y="42000"/>
                        </a:cubicBezTo>
                        <a:cubicBezTo>
                          <a:pt x="76235" y="41250"/>
                          <a:pt x="77647" y="41250"/>
                          <a:pt x="77647" y="40500"/>
                        </a:cubicBezTo>
                        <a:cubicBezTo>
                          <a:pt x="77647" y="40500"/>
                          <a:pt x="79058" y="40500"/>
                          <a:pt x="79058" y="39750"/>
                        </a:cubicBezTo>
                        <a:cubicBezTo>
                          <a:pt x="77647" y="39000"/>
                          <a:pt x="76235" y="38250"/>
                          <a:pt x="76235" y="38250"/>
                        </a:cubicBezTo>
                        <a:cubicBezTo>
                          <a:pt x="77647" y="36000"/>
                          <a:pt x="77647" y="36000"/>
                          <a:pt x="77647" y="36000"/>
                        </a:cubicBezTo>
                        <a:cubicBezTo>
                          <a:pt x="76235" y="35250"/>
                          <a:pt x="76235" y="35250"/>
                          <a:pt x="76235" y="35250"/>
                        </a:cubicBezTo>
                        <a:cubicBezTo>
                          <a:pt x="76235" y="32250"/>
                          <a:pt x="76235" y="32250"/>
                          <a:pt x="76235" y="32250"/>
                        </a:cubicBezTo>
                        <a:cubicBezTo>
                          <a:pt x="76235" y="31500"/>
                          <a:pt x="76235" y="31500"/>
                          <a:pt x="76235" y="31500"/>
                        </a:cubicBezTo>
                        <a:cubicBezTo>
                          <a:pt x="76235" y="31500"/>
                          <a:pt x="77647" y="30000"/>
                          <a:pt x="77647" y="30000"/>
                        </a:cubicBezTo>
                        <a:cubicBezTo>
                          <a:pt x="77647" y="29250"/>
                          <a:pt x="77647" y="27750"/>
                          <a:pt x="77647" y="27750"/>
                        </a:cubicBezTo>
                        <a:cubicBezTo>
                          <a:pt x="77647" y="27000"/>
                          <a:pt x="77647" y="27000"/>
                          <a:pt x="77647" y="27000"/>
                        </a:cubicBezTo>
                        <a:cubicBezTo>
                          <a:pt x="79058" y="24750"/>
                          <a:pt x="79058" y="24750"/>
                          <a:pt x="79058" y="24750"/>
                        </a:cubicBezTo>
                        <a:cubicBezTo>
                          <a:pt x="76235" y="22500"/>
                          <a:pt x="76235" y="22500"/>
                          <a:pt x="76235" y="22500"/>
                        </a:cubicBezTo>
                        <a:cubicBezTo>
                          <a:pt x="76235" y="22500"/>
                          <a:pt x="76235" y="22500"/>
                          <a:pt x="76235" y="21750"/>
                        </a:cubicBezTo>
                        <a:cubicBezTo>
                          <a:pt x="74823" y="21000"/>
                          <a:pt x="74823" y="19500"/>
                          <a:pt x="74823" y="19500"/>
                        </a:cubicBezTo>
                        <a:cubicBezTo>
                          <a:pt x="73411" y="17250"/>
                          <a:pt x="73411" y="17250"/>
                          <a:pt x="73411" y="17250"/>
                        </a:cubicBezTo>
                        <a:cubicBezTo>
                          <a:pt x="73411" y="17250"/>
                          <a:pt x="70588" y="15750"/>
                          <a:pt x="69176" y="15000"/>
                        </a:cubicBezTo>
                        <a:cubicBezTo>
                          <a:pt x="69176" y="15000"/>
                          <a:pt x="69176" y="14250"/>
                          <a:pt x="66352" y="13500"/>
                        </a:cubicBezTo>
                        <a:cubicBezTo>
                          <a:pt x="64941" y="13500"/>
                          <a:pt x="62117" y="12750"/>
                          <a:pt x="62117" y="12750"/>
                        </a:cubicBezTo>
                        <a:cubicBezTo>
                          <a:pt x="59294" y="12750"/>
                          <a:pt x="59294" y="12750"/>
                          <a:pt x="59294" y="12750"/>
                        </a:cubicBezTo>
                        <a:cubicBezTo>
                          <a:pt x="56470" y="11250"/>
                          <a:pt x="56470" y="11250"/>
                          <a:pt x="56470" y="11250"/>
                        </a:cubicBezTo>
                        <a:cubicBezTo>
                          <a:pt x="53647" y="11250"/>
                          <a:pt x="53647" y="11250"/>
                          <a:pt x="53647" y="11250"/>
                        </a:cubicBezTo>
                        <a:cubicBezTo>
                          <a:pt x="52235" y="9000"/>
                          <a:pt x="52235" y="9000"/>
                          <a:pt x="52235" y="9000"/>
                        </a:cubicBezTo>
                        <a:cubicBezTo>
                          <a:pt x="50823" y="6750"/>
                          <a:pt x="50823" y="6750"/>
                          <a:pt x="50823" y="6750"/>
                        </a:cubicBezTo>
                        <a:cubicBezTo>
                          <a:pt x="48000" y="5250"/>
                          <a:pt x="48000" y="5250"/>
                          <a:pt x="48000" y="5250"/>
                        </a:cubicBezTo>
                        <a:cubicBezTo>
                          <a:pt x="45176" y="4500"/>
                          <a:pt x="45176" y="4500"/>
                          <a:pt x="45176" y="4500"/>
                        </a:cubicBezTo>
                        <a:cubicBezTo>
                          <a:pt x="43764" y="3750"/>
                          <a:pt x="43764" y="3750"/>
                          <a:pt x="43764" y="3750"/>
                        </a:cubicBezTo>
                        <a:cubicBezTo>
                          <a:pt x="40941" y="3000"/>
                          <a:pt x="40941" y="3000"/>
                          <a:pt x="40941" y="3000"/>
                        </a:cubicBezTo>
                        <a:cubicBezTo>
                          <a:pt x="39529" y="3000"/>
                          <a:pt x="39529" y="3000"/>
                          <a:pt x="39529" y="3000"/>
                        </a:cubicBezTo>
                        <a:cubicBezTo>
                          <a:pt x="39529" y="3000"/>
                          <a:pt x="38117" y="4500"/>
                          <a:pt x="38117" y="4500"/>
                        </a:cubicBezTo>
                        <a:cubicBezTo>
                          <a:pt x="38117" y="4500"/>
                          <a:pt x="33882" y="5250"/>
                          <a:pt x="33882" y="5250"/>
                        </a:cubicBezTo>
                        <a:cubicBezTo>
                          <a:pt x="31058" y="6750"/>
                          <a:pt x="31058" y="6750"/>
                          <a:pt x="31058" y="6750"/>
                        </a:cubicBezTo>
                        <a:cubicBezTo>
                          <a:pt x="28235" y="7500"/>
                          <a:pt x="28235" y="7500"/>
                          <a:pt x="28235" y="7500"/>
                        </a:cubicBezTo>
                        <a:cubicBezTo>
                          <a:pt x="28235" y="7500"/>
                          <a:pt x="28235" y="7500"/>
                          <a:pt x="28235" y="6750"/>
                        </a:cubicBezTo>
                        <a:cubicBezTo>
                          <a:pt x="26823" y="6750"/>
                          <a:pt x="26823" y="6750"/>
                          <a:pt x="26823" y="6750"/>
                        </a:cubicBezTo>
                        <a:cubicBezTo>
                          <a:pt x="26823" y="6750"/>
                          <a:pt x="25411" y="6000"/>
                          <a:pt x="25411" y="5250"/>
                        </a:cubicBezTo>
                        <a:cubicBezTo>
                          <a:pt x="25411" y="5250"/>
                          <a:pt x="24000" y="4500"/>
                          <a:pt x="24000" y="4500"/>
                        </a:cubicBezTo>
                        <a:cubicBezTo>
                          <a:pt x="24000" y="4500"/>
                          <a:pt x="24000" y="3750"/>
                          <a:pt x="24000" y="3750"/>
                        </a:cubicBezTo>
                        <a:cubicBezTo>
                          <a:pt x="24000" y="3000"/>
                          <a:pt x="24000" y="2250"/>
                          <a:pt x="24000" y="2250"/>
                        </a:cubicBezTo>
                        <a:cubicBezTo>
                          <a:pt x="24000" y="1500"/>
                          <a:pt x="24000" y="1500"/>
                          <a:pt x="24000" y="1500"/>
                        </a:cubicBezTo>
                        <a:cubicBezTo>
                          <a:pt x="22588" y="750"/>
                          <a:pt x="22588" y="750"/>
                          <a:pt x="22588" y="750"/>
                        </a:cubicBezTo>
                        <a:cubicBezTo>
                          <a:pt x="22588" y="0"/>
                          <a:pt x="22588" y="0"/>
                          <a:pt x="22588" y="0"/>
                        </a:cubicBezTo>
                        <a:cubicBezTo>
                          <a:pt x="22588" y="0"/>
                          <a:pt x="19764" y="0"/>
                          <a:pt x="19764" y="0"/>
                        </a:cubicBezTo>
                        <a:cubicBezTo>
                          <a:pt x="19764" y="0"/>
                          <a:pt x="14117" y="3000"/>
                          <a:pt x="14117" y="3000"/>
                        </a:cubicBezTo>
                        <a:cubicBezTo>
                          <a:pt x="15529" y="3750"/>
                          <a:pt x="15529" y="3750"/>
                          <a:pt x="15529" y="3750"/>
                        </a:cubicBezTo>
                        <a:cubicBezTo>
                          <a:pt x="14117" y="5250"/>
                          <a:pt x="14117" y="5250"/>
                          <a:pt x="14117" y="5250"/>
                        </a:cubicBezTo>
                        <a:cubicBezTo>
                          <a:pt x="12705" y="6750"/>
                          <a:pt x="12705" y="6750"/>
                          <a:pt x="12705" y="6750"/>
                        </a:cubicBezTo>
                        <a:cubicBezTo>
                          <a:pt x="11294" y="8250"/>
                          <a:pt x="11294" y="8250"/>
                          <a:pt x="11294" y="8250"/>
                        </a:cubicBezTo>
                        <a:cubicBezTo>
                          <a:pt x="11294" y="8250"/>
                          <a:pt x="9882" y="9000"/>
                          <a:pt x="9882" y="9750"/>
                        </a:cubicBezTo>
                        <a:cubicBezTo>
                          <a:pt x="9882" y="9750"/>
                          <a:pt x="8470" y="10500"/>
                          <a:pt x="8470" y="10500"/>
                        </a:cubicBezTo>
                        <a:cubicBezTo>
                          <a:pt x="7058" y="11250"/>
                          <a:pt x="7058" y="11250"/>
                          <a:pt x="7058" y="11250"/>
                        </a:cubicBezTo>
                        <a:cubicBezTo>
                          <a:pt x="5647" y="12000"/>
                          <a:pt x="5647" y="12000"/>
                          <a:pt x="5647" y="12000"/>
                        </a:cubicBezTo>
                        <a:cubicBezTo>
                          <a:pt x="5647" y="13500"/>
                          <a:pt x="5647" y="13500"/>
                          <a:pt x="5647" y="13500"/>
                        </a:cubicBezTo>
                        <a:cubicBezTo>
                          <a:pt x="5647" y="13500"/>
                          <a:pt x="5647" y="14250"/>
                          <a:pt x="5647" y="15000"/>
                        </a:cubicBezTo>
                        <a:cubicBezTo>
                          <a:pt x="5647" y="15000"/>
                          <a:pt x="4235" y="15750"/>
                          <a:pt x="4235" y="15750"/>
                        </a:cubicBezTo>
                        <a:cubicBezTo>
                          <a:pt x="2823" y="17250"/>
                          <a:pt x="2823" y="17250"/>
                          <a:pt x="2823" y="17250"/>
                        </a:cubicBezTo>
                        <a:cubicBezTo>
                          <a:pt x="0" y="18750"/>
                          <a:pt x="0" y="18750"/>
                          <a:pt x="0" y="18750"/>
                        </a:cubicBezTo>
                        <a:cubicBezTo>
                          <a:pt x="0" y="20250"/>
                          <a:pt x="0" y="20250"/>
                          <a:pt x="0" y="20250"/>
                        </a:cubicBezTo>
                        <a:cubicBezTo>
                          <a:pt x="1411" y="21000"/>
                          <a:pt x="1411" y="21000"/>
                          <a:pt x="1411" y="21000"/>
                        </a:cubicBezTo>
                        <a:cubicBezTo>
                          <a:pt x="4235" y="21750"/>
                          <a:pt x="4235" y="21750"/>
                          <a:pt x="4235" y="21750"/>
                        </a:cubicBezTo>
                        <a:cubicBezTo>
                          <a:pt x="7058" y="22500"/>
                          <a:pt x="7058" y="22500"/>
                          <a:pt x="7058" y="22500"/>
                        </a:cubicBezTo>
                        <a:cubicBezTo>
                          <a:pt x="7058" y="22500"/>
                          <a:pt x="7058" y="23250"/>
                          <a:pt x="7058" y="24000"/>
                        </a:cubicBezTo>
                        <a:cubicBezTo>
                          <a:pt x="7058" y="24000"/>
                          <a:pt x="7058" y="24750"/>
                          <a:pt x="7058" y="24750"/>
                        </a:cubicBezTo>
                        <a:cubicBezTo>
                          <a:pt x="5647" y="26250"/>
                          <a:pt x="5647" y="26250"/>
                          <a:pt x="5647" y="26250"/>
                        </a:cubicBezTo>
                        <a:cubicBezTo>
                          <a:pt x="5647" y="26250"/>
                          <a:pt x="7058" y="27000"/>
                          <a:pt x="7058" y="27000"/>
                        </a:cubicBezTo>
                        <a:cubicBezTo>
                          <a:pt x="7058" y="27000"/>
                          <a:pt x="7058" y="27750"/>
                          <a:pt x="7058" y="27750"/>
                        </a:cubicBezTo>
                        <a:cubicBezTo>
                          <a:pt x="7058" y="27750"/>
                          <a:pt x="7058" y="29250"/>
                          <a:pt x="7058" y="29250"/>
                        </a:cubicBezTo>
                        <a:cubicBezTo>
                          <a:pt x="5647" y="30000"/>
                          <a:pt x="5647" y="30000"/>
                          <a:pt x="5647" y="30000"/>
                        </a:cubicBezTo>
                        <a:cubicBezTo>
                          <a:pt x="5647" y="30000"/>
                          <a:pt x="7058" y="30750"/>
                          <a:pt x="7058" y="31500"/>
                        </a:cubicBezTo>
                        <a:cubicBezTo>
                          <a:pt x="7058" y="31500"/>
                          <a:pt x="7058" y="32250"/>
                          <a:pt x="7058" y="32250"/>
                        </a:cubicBezTo>
                        <a:cubicBezTo>
                          <a:pt x="5647" y="32250"/>
                          <a:pt x="8470" y="33750"/>
                          <a:pt x="8470" y="33750"/>
                        </a:cubicBezTo>
                        <a:cubicBezTo>
                          <a:pt x="8470" y="33750"/>
                          <a:pt x="9882" y="33000"/>
                          <a:pt x="11294" y="33000"/>
                        </a:cubicBezTo>
                        <a:cubicBezTo>
                          <a:pt x="11294" y="33000"/>
                          <a:pt x="14117" y="33000"/>
                          <a:pt x="14117" y="33000"/>
                        </a:cubicBezTo>
                        <a:cubicBezTo>
                          <a:pt x="16941" y="33750"/>
                          <a:pt x="16941" y="33750"/>
                          <a:pt x="16941" y="33750"/>
                        </a:cubicBezTo>
                        <a:cubicBezTo>
                          <a:pt x="19764" y="33750"/>
                          <a:pt x="19764" y="33750"/>
                          <a:pt x="19764" y="33750"/>
                        </a:cubicBezTo>
                        <a:cubicBezTo>
                          <a:pt x="21176" y="35250"/>
                          <a:pt x="21176" y="35250"/>
                          <a:pt x="21176" y="35250"/>
                        </a:cubicBezTo>
                        <a:cubicBezTo>
                          <a:pt x="21176" y="36750"/>
                          <a:pt x="21176" y="36750"/>
                          <a:pt x="21176" y="36750"/>
                        </a:cubicBezTo>
                        <a:cubicBezTo>
                          <a:pt x="21176" y="39000"/>
                          <a:pt x="21176" y="39000"/>
                          <a:pt x="21176" y="39000"/>
                        </a:cubicBezTo>
                        <a:cubicBezTo>
                          <a:pt x="19764" y="40500"/>
                          <a:pt x="19764" y="40500"/>
                          <a:pt x="19764" y="40500"/>
                        </a:cubicBezTo>
                        <a:cubicBezTo>
                          <a:pt x="22588" y="41250"/>
                          <a:pt x="22588" y="41250"/>
                          <a:pt x="22588" y="41250"/>
                        </a:cubicBezTo>
                        <a:cubicBezTo>
                          <a:pt x="22588" y="41250"/>
                          <a:pt x="22588" y="41250"/>
                          <a:pt x="22588" y="41250"/>
                        </a:cubicBezTo>
                        <a:cubicBezTo>
                          <a:pt x="22588" y="41250"/>
                          <a:pt x="22588" y="42750"/>
                          <a:pt x="22588" y="43500"/>
                        </a:cubicBezTo>
                        <a:cubicBezTo>
                          <a:pt x="21176" y="43500"/>
                          <a:pt x="19764" y="43500"/>
                          <a:pt x="18352" y="44250"/>
                        </a:cubicBezTo>
                        <a:cubicBezTo>
                          <a:pt x="16941" y="44250"/>
                          <a:pt x="15529" y="44250"/>
                          <a:pt x="15529" y="44250"/>
                        </a:cubicBezTo>
                        <a:cubicBezTo>
                          <a:pt x="15529" y="45000"/>
                          <a:pt x="15529" y="45000"/>
                          <a:pt x="15529" y="45000"/>
                        </a:cubicBezTo>
                        <a:cubicBezTo>
                          <a:pt x="18352" y="45750"/>
                          <a:pt x="18352" y="45750"/>
                          <a:pt x="18352" y="45750"/>
                        </a:cubicBezTo>
                        <a:cubicBezTo>
                          <a:pt x="18352" y="45750"/>
                          <a:pt x="19764" y="45750"/>
                          <a:pt x="19764" y="45750"/>
                        </a:cubicBezTo>
                        <a:cubicBezTo>
                          <a:pt x="19764" y="46500"/>
                          <a:pt x="19764" y="48000"/>
                          <a:pt x="19764" y="48000"/>
                        </a:cubicBezTo>
                        <a:cubicBezTo>
                          <a:pt x="19764" y="48000"/>
                          <a:pt x="19764" y="48750"/>
                          <a:pt x="18352" y="48750"/>
                        </a:cubicBezTo>
                        <a:cubicBezTo>
                          <a:pt x="18352" y="48750"/>
                          <a:pt x="16941" y="49500"/>
                          <a:pt x="16941" y="49500"/>
                        </a:cubicBezTo>
                        <a:cubicBezTo>
                          <a:pt x="15529" y="50250"/>
                          <a:pt x="15529" y="50250"/>
                          <a:pt x="15529" y="50250"/>
                        </a:cubicBezTo>
                        <a:cubicBezTo>
                          <a:pt x="14117" y="51000"/>
                          <a:pt x="14117" y="51000"/>
                          <a:pt x="14117" y="51000"/>
                        </a:cubicBezTo>
                        <a:cubicBezTo>
                          <a:pt x="11294" y="51750"/>
                          <a:pt x="11294" y="51750"/>
                          <a:pt x="11294" y="51750"/>
                        </a:cubicBezTo>
                        <a:cubicBezTo>
                          <a:pt x="14117" y="53250"/>
                          <a:pt x="14117" y="53250"/>
                          <a:pt x="14117" y="53250"/>
                        </a:cubicBezTo>
                        <a:cubicBezTo>
                          <a:pt x="15529" y="53250"/>
                          <a:pt x="15529" y="53250"/>
                          <a:pt x="15529" y="53250"/>
                        </a:cubicBezTo>
                        <a:cubicBezTo>
                          <a:pt x="15529" y="53250"/>
                          <a:pt x="16941" y="54000"/>
                          <a:pt x="16941" y="54000"/>
                        </a:cubicBezTo>
                        <a:cubicBezTo>
                          <a:pt x="16941" y="54000"/>
                          <a:pt x="21176" y="55500"/>
                          <a:pt x="21176" y="55500"/>
                        </a:cubicBezTo>
                        <a:cubicBezTo>
                          <a:pt x="19764" y="56250"/>
                          <a:pt x="19764" y="56250"/>
                          <a:pt x="19764" y="56250"/>
                        </a:cubicBezTo>
                        <a:cubicBezTo>
                          <a:pt x="19764" y="56250"/>
                          <a:pt x="19764" y="57000"/>
                          <a:pt x="19764" y="57750"/>
                        </a:cubicBezTo>
                        <a:cubicBezTo>
                          <a:pt x="19764" y="58500"/>
                          <a:pt x="19764" y="60750"/>
                          <a:pt x="19764" y="60750"/>
                        </a:cubicBezTo>
                        <a:cubicBezTo>
                          <a:pt x="18352" y="61500"/>
                          <a:pt x="18352" y="61500"/>
                          <a:pt x="18352" y="61500"/>
                        </a:cubicBezTo>
                        <a:cubicBezTo>
                          <a:pt x="18352" y="62250"/>
                          <a:pt x="19764" y="64500"/>
                          <a:pt x="19764" y="64500"/>
                        </a:cubicBezTo>
                        <a:cubicBezTo>
                          <a:pt x="19764" y="65250"/>
                          <a:pt x="19764" y="65250"/>
                          <a:pt x="19764" y="65250"/>
                        </a:cubicBezTo>
                        <a:cubicBezTo>
                          <a:pt x="18352" y="66000"/>
                          <a:pt x="18352" y="66000"/>
                          <a:pt x="18352" y="66000"/>
                        </a:cubicBezTo>
                        <a:cubicBezTo>
                          <a:pt x="24000" y="67500"/>
                          <a:pt x="24000" y="67500"/>
                          <a:pt x="24000" y="67500"/>
                        </a:cubicBezTo>
                        <a:cubicBezTo>
                          <a:pt x="22588" y="69000"/>
                          <a:pt x="22588" y="69000"/>
                          <a:pt x="22588" y="69000"/>
                        </a:cubicBezTo>
                        <a:cubicBezTo>
                          <a:pt x="19764" y="69750"/>
                          <a:pt x="19764" y="69750"/>
                          <a:pt x="19764" y="69750"/>
                        </a:cubicBezTo>
                        <a:cubicBezTo>
                          <a:pt x="19764" y="69750"/>
                          <a:pt x="18352" y="69750"/>
                          <a:pt x="18352" y="69750"/>
                        </a:cubicBezTo>
                        <a:cubicBezTo>
                          <a:pt x="18352" y="70500"/>
                          <a:pt x="18352" y="71250"/>
                          <a:pt x="18352" y="71250"/>
                        </a:cubicBezTo>
                        <a:cubicBezTo>
                          <a:pt x="19764" y="72000"/>
                          <a:pt x="19764" y="72000"/>
                          <a:pt x="19764" y="72000"/>
                        </a:cubicBezTo>
                        <a:cubicBezTo>
                          <a:pt x="18352" y="72750"/>
                          <a:pt x="18352" y="72750"/>
                          <a:pt x="18352" y="72750"/>
                        </a:cubicBezTo>
                        <a:cubicBezTo>
                          <a:pt x="18352" y="72750"/>
                          <a:pt x="18352" y="72750"/>
                          <a:pt x="18352" y="72750"/>
                        </a:cubicBezTo>
                        <a:cubicBezTo>
                          <a:pt x="18352" y="72750"/>
                          <a:pt x="18352" y="74250"/>
                          <a:pt x="18352" y="74250"/>
                        </a:cubicBezTo>
                        <a:cubicBezTo>
                          <a:pt x="18352" y="74250"/>
                          <a:pt x="18352" y="75000"/>
                          <a:pt x="16941" y="75000"/>
                        </a:cubicBezTo>
                        <a:cubicBezTo>
                          <a:pt x="16941" y="75000"/>
                          <a:pt x="15529" y="75750"/>
                          <a:pt x="15529" y="75750"/>
                        </a:cubicBezTo>
                        <a:cubicBezTo>
                          <a:pt x="16941" y="77250"/>
                          <a:pt x="16941" y="77250"/>
                          <a:pt x="16941" y="77250"/>
                        </a:cubicBezTo>
                        <a:cubicBezTo>
                          <a:pt x="15529" y="80250"/>
                          <a:pt x="15529" y="80250"/>
                          <a:pt x="15529" y="80250"/>
                        </a:cubicBezTo>
                        <a:cubicBezTo>
                          <a:pt x="15529" y="81000"/>
                          <a:pt x="15529" y="81000"/>
                          <a:pt x="15529" y="81000"/>
                        </a:cubicBezTo>
                        <a:cubicBezTo>
                          <a:pt x="16941" y="83250"/>
                          <a:pt x="16941" y="83250"/>
                          <a:pt x="16941" y="83250"/>
                        </a:cubicBezTo>
                        <a:cubicBezTo>
                          <a:pt x="19764" y="85500"/>
                          <a:pt x="19764" y="85500"/>
                          <a:pt x="19764" y="85500"/>
                        </a:cubicBezTo>
                        <a:cubicBezTo>
                          <a:pt x="22588" y="87000"/>
                          <a:pt x="22588" y="87000"/>
                          <a:pt x="22588" y="87000"/>
                        </a:cubicBezTo>
                        <a:cubicBezTo>
                          <a:pt x="24000" y="88500"/>
                          <a:pt x="24000" y="88500"/>
                          <a:pt x="24000" y="88500"/>
                        </a:cubicBezTo>
                        <a:cubicBezTo>
                          <a:pt x="26823" y="89250"/>
                          <a:pt x="26823" y="89250"/>
                          <a:pt x="26823" y="89250"/>
                        </a:cubicBezTo>
                        <a:cubicBezTo>
                          <a:pt x="25411" y="91500"/>
                          <a:pt x="25411" y="91500"/>
                          <a:pt x="25411" y="91500"/>
                        </a:cubicBezTo>
                        <a:cubicBezTo>
                          <a:pt x="26823" y="92250"/>
                          <a:pt x="26823" y="92250"/>
                          <a:pt x="26823" y="92250"/>
                        </a:cubicBezTo>
                        <a:cubicBezTo>
                          <a:pt x="26823" y="93750"/>
                          <a:pt x="26823" y="93750"/>
                          <a:pt x="26823" y="93750"/>
                        </a:cubicBezTo>
                        <a:cubicBezTo>
                          <a:pt x="26823" y="93750"/>
                          <a:pt x="26823" y="93750"/>
                          <a:pt x="25411" y="94500"/>
                        </a:cubicBezTo>
                        <a:cubicBezTo>
                          <a:pt x="25411" y="94500"/>
                          <a:pt x="25411" y="94500"/>
                          <a:pt x="24000" y="93750"/>
                        </a:cubicBezTo>
                        <a:cubicBezTo>
                          <a:pt x="22588" y="93750"/>
                          <a:pt x="21176" y="92250"/>
                          <a:pt x="21176" y="92250"/>
                        </a:cubicBezTo>
                        <a:cubicBezTo>
                          <a:pt x="21176" y="92250"/>
                          <a:pt x="19764" y="90750"/>
                          <a:pt x="19764" y="90750"/>
                        </a:cubicBezTo>
                        <a:cubicBezTo>
                          <a:pt x="19764" y="90750"/>
                          <a:pt x="18352" y="90000"/>
                          <a:pt x="18352" y="90000"/>
                        </a:cubicBezTo>
                        <a:cubicBezTo>
                          <a:pt x="15529" y="90000"/>
                          <a:pt x="15529" y="90000"/>
                          <a:pt x="15529" y="90000"/>
                        </a:cubicBezTo>
                        <a:cubicBezTo>
                          <a:pt x="15529" y="90000"/>
                          <a:pt x="15529" y="90750"/>
                          <a:pt x="15529" y="90750"/>
                        </a:cubicBezTo>
                        <a:cubicBezTo>
                          <a:pt x="15529" y="91500"/>
                          <a:pt x="15529" y="91500"/>
                          <a:pt x="16941" y="92250"/>
                        </a:cubicBezTo>
                        <a:cubicBezTo>
                          <a:pt x="18352" y="93000"/>
                          <a:pt x="18352" y="93000"/>
                          <a:pt x="19764" y="93000"/>
                        </a:cubicBezTo>
                        <a:cubicBezTo>
                          <a:pt x="19764" y="93000"/>
                          <a:pt x="19764" y="93750"/>
                          <a:pt x="21176" y="93750"/>
                        </a:cubicBezTo>
                        <a:cubicBezTo>
                          <a:pt x="21176" y="94500"/>
                          <a:pt x="21176" y="96000"/>
                          <a:pt x="21176" y="96000"/>
                        </a:cubicBezTo>
                        <a:cubicBezTo>
                          <a:pt x="24000" y="97500"/>
                          <a:pt x="24000" y="97500"/>
                          <a:pt x="24000" y="97500"/>
                        </a:cubicBezTo>
                        <a:cubicBezTo>
                          <a:pt x="26823" y="98250"/>
                          <a:pt x="26823" y="98250"/>
                          <a:pt x="26823" y="98250"/>
                        </a:cubicBezTo>
                        <a:cubicBezTo>
                          <a:pt x="38117" y="101250"/>
                          <a:pt x="38117" y="101250"/>
                          <a:pt x="38117" y="101250"/>
                        </a:cubicBezTo>
                        <a:cubicBezTo>
                          <a:pt x="42352" y="102000"/>
                          <a:pt x="42352" y="102000"/>
                          <a:pt x="42352" y="102000"/>
                        </a:cubicBezTo>
                        <a:cubicBezTo>
                          <a:pt x="43764" y="102000"/>
                          <a:pt x="43764" y="102000"/>
                          <a:pt x="43764" y="102000"/>
                        </a:cubicBezTo>
                        <a:cubicBezTo>
                          <a:pt x="45176" y="103500"/>
                          <a:pt x="45176" y="103500"/>
                          <a:pt x="45176" y="103500"/>
                        </a:cubicBezTo>
                        <a:cubicBezTo>
                          <a:pt x="46588" y="104250"/>
                          <a:pt x="46588" y="104250"/>
                          <a:pt x="46588" y="104250"/>
                        </a:cubicBezTo>
                        <a:cubicBezTo>
                          <a:pt x="46588" y="104250"/>
                          <a:pt x="48000" y="104250"/>
                          <a:pt x="49411" y="104250"/>
                        </a:cubicBezTo>
                        <a:cubicBezTo>
                          <a:pt x="49411" y="104250"/>
                          <a:pt x="52235" y="104250"/>
                          <a:pt x="52235" y="104250"/>
                        </a:cubicBezTo>
                        <a:cubicBezTo>
                          <a:pt x="52235" y="104250"/>
                          <a:pt x="53647" y="103500"/>
                          <a:pt x="53647" y="104250"/>
                        </a:cubicBezTo>
                        <a:cubicBezTo>
                          <a:pt x="53647" y="105000"/>
                          <a:pt x="57882" y="108750"/>
                          <a:pt x="57882" y="108750"/>
                        </a:cubicBezTo>
                        <a:cubicBezTo>
                          <a:pt x="57882" y="108750"/>
                          <a:pt x="57882" y="109500"/>
                          <a:pt x="59294" y="110250"/>
                        </a:cubicBezTo>
                        <a:cubicBezTo>
                          <a:pt x="60705" y="111000"/>
                          <a:pt x="63529" y="111750"/>
                          <a:pt x="63529" y="111750"/>
                        </a:cubicBezTo>
                        <a:cubicBezTo>
                          <a:pt x="63529" y="111750"/>
                          <a:pt x="62117" y="112500"/>
                          <a:pt x="62117" y="113250"/>
                        </a:cubicBezTo>
                        <a:cubicBezTo>
                          <a:pt x="63529" y="114000"/>
                          <a:pt x="62117" y="114000"/>
                          <a:pt x="63529" y="114000"/>
                        </a:cubicBezTo>
                        <a:cubicBezTo>
                          <a:pt x="63529" y="114750"/>
                          <a:pt x="63529" y="114750"/>
                          <a:pt x="63529" y="114750"/>
                        </a:cubicBezTo>
                        <a:cubicBezTo>
                          <a:pt x="63529" y="114750"/>
                          <a:pt x="63529" y="114750"/>
                          <a:pt x="63529" y="115500"/>
                        </a:cubicBezTo>
                        <a:cubicBezTo>
                          <a:pt x="64941" y="115500"/>
                          <a:pt x="64941" y="116250"/>
                          <a:pt x="64941" y="116250"/>
                        </a:cubicBezTo>
                        <a:cubicBezTo>
                          <a:pt x="64941" y="118500"/>
                          <a:pt x="64941" y="118500"/>
                          <a:pt x="64941" y="118500"/>
                        </a:cubicBezTo>
                        <a:cubicBezTo>
                          <a:pt x="67764" y="118500"/>
                          <a:pt x="67764" y="118500"/>
                          <a:pt x="67764" y="118500"/>
                        </a:cubicBezTo>
                        <a:lnTo>
                          <a:pt x="69176" y="1185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6" name="Shape 2016"/>
                  <p:cNvSpPr/>
                  <p:nvPr/>
                </p:nvSpPr>
                <p:spPr>
                  <a:xfrm>
                    <a:off x="5900012" y="3680444"/>
                    <a:ext cx="193499" cy="353718"/>
                  </a:xfrm>
                  <a:custGeom>
                    <a:avLst/>
                    <a:gdLst/>
                    <a:ahLst/>
                    <a:cxnLst/>
                    <a:rect l="0" t="0" r="0" b="0"/>
                    <a:pathLst>
                      <a:path w="120000" h="120000" extrusionOk="0">
                        <a:moveTo>
                          <a:pt x="73411" y="120000"/>
                        </a:moveTo>
                        <a:cubicBezTo>
                          <a:pt x="73411" y="120000"/>
                          <a:pt x="73411" y="120000"/>
                          <a:pt x="73411" y="120000"/>
                        </a:cubicBezTo>
                        <a:cubicBezTo>
                          <a:pt x="69176" y="118500"/>
                          <a:pt x="69176" y="118500"/>
                          <a:pt x="69176" y="118500"/>
                        </a:cubicBezTo>
                        <a:cubicBezTo>
                          <a:pt x="67764" y="119250"/>
                          <a:pt x="67764" y="119250"/>
                          <a:pt x="67764" y="119250"/>
                        </a:cubicBezTo>
                        <a:cubicBezTo>
                          <a:pt x="64941" y="118500"/>
                          <a:pt x="64941" y="118500"/>
                          <a:pt x="64941" y="118500"/>
                        </a:cubicBezTo>
                        <a:cubicBezTo>
                          <a:pt x="64941" y="116250"/>
                          <a:pt x="64941" y="116250"/>
                          <a:pt x="64941" y="116250"/>
                        </a:cubicBezTo>
                        <a:cubicBezTo>
                          <a:pt x="64941" y="116250"/>
                          <a:pt x="63529" y="116250"/>
                          <a:pt x="63529" y="115500"/>
                        </a:cubicBezTo>
                        <a:cubicBezTo>
                          <a:pt x="63529" y="114000"/>
                          <a:pt x="63529" y="114000"/>
                          <a:pt x="63529" y="114000"/>
                        </a:cubicBezTo>
                        <a:cubicBezTo>
                          <a:pt x="62117" y="114750"/>
                          <a:pt x="62117" y="114750"/>
                          <a:pt x="62117" y="114750"/>
                        </a:cubicBezTo>
                        <a:cubicBezTo>
                          <a:pt x="62117" y="114000"/>
                          <a:pt x="62117" y="114000"/>
                          <a:pt x="62117" y="114000"/>
                        </a:cubicBezTo>
                        <a:cubicBezTo>
                          <a:pt x="62117" y="113250"/>
                          <a:pt x="62117" y="113250"/>
                          <a:pt x="62117" y="113250"/>
                        </a:cubicBezTo>
                        <a:cubicBezTo>
                          <a:pt x="62117" y="112500"/>
                          <a:pt x="62117" y="111750"/>
                          <a:pt x="63529" y="111750"/>
                        </a:cubicBezTo>
                        <a:cubicBezTo>
                          <a:pt x="62117" y="111750"/>
                          <a:pt x="59294" y="111000"/>
                          <a:pt x="59294" y="110250"/>
                        </a:cubicBezTo>
                        <a:cubicBezTo>
                          <a:pt x="57882" y="110250"/>
                          <a:pt x="57882" y="108750"/>
                          <a:pt x="57882" y="108750"/>
                        </a:cubicBezTo>
                        <a:cubicBezTo>
                          <a:pt x="56470" y="108750"/>
                          <a:pt x="53647" y="105750"/>
                          <a:pt x="53647" y="104250"/>
                        </a:cubicBezTo>
                        <a:cubicBezTo>
                          <a:pt x="50823" y="104250"/>
                          <a:pt x="49411" y="104250"/>
                          <a:pt x="49411" y="104250"/>
                        </a:cubicBezTo>
                        <a:cubicBezTo>
                          <a:pt x="48000" y="104250"/>
                          <a:pt x="46588" y="104250"/>
                          <a:pt x="46588" y="104250"/>
                        </a:cubicBezTo>
                        <a:cubicBezTo>
                          <a:pt x="45176" y="103500"/>
                          <a:pt x="45176" y="103500"/>
                          <a:pt x="45176" y="103500"/>
                        </a:cubicBezTo>
                        <a:cubicBezTo>
                          <a:pt x="43764" y="102750"/>
                          <a:pt x="43764" y="102750"/>
                          <a:pt x="43764" y="102750"/>
                        </a:cubicBezTo>
                        <a:cubicBezTo>
                          <a:pt x="38117" y="101250"/>
                          <a:pt x="38117" y="101250"/>
                          <a:pt x="38117" y="101250"/>
                        </a:cubicBezTo>
                        <a:cubicBezTo>
                          <a:pt x="21176" y="96000"/>
                          <a:pt x="21176" y="96000"/>
                          <a:pt x="21176" y="96000"/>
                        </a:cubicBezTo>
                        <a:cubicBezTo>
                          <a:pt x="21176" y="96000"/>
                          <a:pt x="19764" y="94500"/>
                          <a:pt x="19764" y="93750"/>
                        </a:cubicBezTo>
                        <a:cubicBezTo>
                          <a:pt x="19764" y="93750"/>
                          <a:pt x="19764" y="93750"/>
                          <a:pt x="19764" y="93000"/>
                        </a:cubicBezTo>
                        <a:cubicBezTo>
                          <a:pt x="18352" y="93000"/>
                          <a:pt x="16941" y="93000"/>
                          <a:pt x="16941" y="92250"/>
                        </a:cubicBezTo>
                        <a:cubicBezTo>
                          <a:pt x="15529" y="92250"/>
                          <a:pt x="15529" y="91500"/>
                          <a:pt x="14117" y="90750"/>
                        </a:cubicBezTo>
                        <a:cubicBezTo>
                          <a:pt x="14117" y="90750"/>
                          <a:pt x="14117" y="90000"/>
                          <a:pt x="14117" y="90000"/>
                        </a:cubicBezTo>
                        <a:cubicBezTo>
                          <a:pt x="18352" y="90000"/>
                          <a:pt x="18352" y="90000"/>
                          <a:pt x="18352" y="90000"/>
                        </a:cubicBezTo>
                        <a:cubicBezTo>
                          <a:pt x="18352" y="90000"/>
                          <a:pt x="19764" y="90750"/>
                          <a:pt x="19764" y="90750"/>
                        </a:cubicBezTo>
                        <a:cubicBezTo>
                          <a:pt x="21176" y="90750"/>
                          <a:pt x="21176" y="92250"/>
                          <a:pt x="21176" y="92250"/>
                        </a:cubicBezTo>
                        <a:cubicBezTo>
                          <a:pt x="21176" y="92250"/>
                          <a:pt x="22588" y="93750"/>
                          <a:pt x="24000" y="93750"/>
                        </a:cubicBezTo>
                        <a:cubicBezTo>
                          <a:pt x="24000" y="93750"/>
                          <a:pt x="25411" y="93750"/>
                          <a:pt x="25411" y="93750"/>
                        </a:cubicBezTo>
                        <a:cubicBezTo>
                          <a:pt x="25411" y="93750"/>
                          <a:pt x="25411" y="93750"/>
                          <a:pt x="25411" y="93750"/>
                        </a:cubicBezTo>
                        <a:cubicBezTo>
                          <a:pt x="26823" y="92250"/>
                          <a:pt x="26823" y="92250"/>
                          <a:pt x="26823" y="92250"/>
                        </a:cubicBezTo>
                        <a:cubicBezTo>
                          <a:pt x="25411" y="91500"/>
                          <a:pt x="25411" y="91500"/>
                          <a:pt x="25411" y="91500"/>
                        </a:cubicBezTo>
                        <a:cubicBezTo>
                          <a:pt x="25411" y="89250"/>
                          <a:pt x="25411" y="89250"/>
                          <a:pt x="25411" y="89250"/>
                        </a:cubicBezTo>
                        <a:cubicBezTo>
                          <a:pt x="24000" y="88500"/>
                          <a:pt x="24000" y="88500"/>
                          <a:pt x="24000" y="88500"/>
                        </a:cubicBezTo>
                        <a:cubicBezTo>
                          <a:pt x="22588" y="87000"/>
                          <a:pt x="22588" y="87000"/>
                          <a:pt x="22588" y="87000"/>
                        </a:cubicBezTo>
                        <a:cubicBezTo>
                          <a:pt x="16941" y="83250"/>
                          <a:pt x="16941" y="83250"/>
                          <a:pt x="16941" y="83250"/>
                        </a:cubicBezTo>
                        <a:cubicBezTo>
                          <a:pt x="14117" y="81000"/>
                          <a:pt x="14117" y="81000"/>
                          <a:pt x="14117" y="81000"/>
                        </a:cubicBezTo>
                        <a:cubicBezTo>
                          <a:pt x="16941" y="77250"/>
                          <a:pt x="16941" y="77250"/>
                          <a:pt x="16941" y="77250"/>
                        </a:cubicBezTo>
                        <a:cubicBezTo>
                          <a:pt x="15529" y="75750"/>
                          <a:pt x="15529" y="75750"/>
                          <a:pt x="15529" y="75750"/>
                        </a:cubicBezTo>
                        <a:cubicBezTo>
                          <a:pt x="15529" y="75750"/>
                          <a:pt x="16941" y="75000"/>
                          <a:pt x="16941" y="75000"/>
                        </a:cubicBezTo>
                        <a:cubicBezTo>
                          <a:pt x="16941" y="75000"/>
                          <a:pt x="18352" y="74250"/>
                          <a:pt x="18352" y="74250"/>
                        </a:cubicBezTo>
                        <a:cubicBezTo>
                          <a:pt x="18352" y="74250"/>
                          <a:pt x="18352" y="73500"/>
                          <a:pt x="18352" y="73500"/>
                        </a:cubicBezTo>
                        <a:cubicBezTo>
                          <a:pt x="18352" y="72750"/>
                          <a:pt x="18352" y="72750"/>
                          <a:pt x="18352" y="72750"/>
                        </a:cubicBezTo>
                        <a:cubicBezTo>
                          <a:pt x="19764" y="71250"/>
                          <a:pt x="19764" y="71250"/>
                          <a:pt x="19764" y="71250"/>
                        </a:cubicBezTo>
                        <a:cubicBezTo>
                          <a:pt x="16941" y="71250"/>
                          <a:pt x="16941" y="71250"/>
                          <a:pt x="16941" y="71250"/>
                        </a:cubicBezTo>
                        <a:cubicBezTo>
                          <a:pt x="16941" y="70500"/>
                          <a:pt x="18352" y="69750"/>
                          <a:pt x="18352" y="69750"/>
                        </a:cubicBezTo>
                        <a:cubicBezTo>
                          <a:pt x="18352" y="69750"/>
                          <a:pt x="18352" y="69750"/>
                          <a:pt x="19764" y="69750"/>
                        </a:cubicBezTo>
                        <a:cubicBezTo>
                          <a:pt x="22588" y="68250"/>
                          <a:pt x="22588" y="68250"/>
                          <a:pt x="22588" y="68250"/>
                        </a:cubicBezTo>
                        <a:cubicBezTo>
                          <a:pt x="22588" y="67500"/>
                          <a:pt x="22588" y="67500"/>
                          <a:pt x="22588" y="67500"/>
                        </a:cubicBezTo>
                        <a:cubicBezTo>
                          <a:pt x="18352" y="66750"/>
                          <a:pt x="18352" y="66750"/>
                          <a:pt x="18352" y="66750"/>
                        </a:cubicBezTo>
                        <a:cubicBezTo>
                          <a:pt x="19764" y="64500"/>
                          <a:pt x="19764" y="64500"/>
                          <a:pt x="19764" y="64500"/>
                        </a:cubicBezTo>
                        <a:cubicBezTo>
                          <a:pt x="18352" y="63750"/>
                          <a:pt x="16941" y="62250"/>
                          <a:pt x="16941" y="62250"/>
                        </a:cubicBezTo>
                        <a:cubicBezTo>
                          <a:pt x="18352" y="60750"/>
                          <a:pt x="18352" y="60750"/>
                          <a:pt x="18352" y="60750"/>
                        </a:cubicBezTo>
                        <a:cubicBezTo>
                          <a:pt x="18352" y="60750"/>
                          <a:pt x="19764" y="58500"/>
                          <a:pt x="19764" y="57750"/>
                        </a:cubicBezTo>
                        <a:cubicBezTo>
                          <a:pt x="19764" y="57000"/>
                          <a:pt x="19764" y="56250"/>
                          <a:pt x="19764" y="56250"/>
                        </a:cubicBezTo>
                        <a:cubicBezTo>
                          <a:pt x="19764" y="55500"/>
                          <a:pt x="19764" y="55500"/>
                          <a:pt x="19764" y="55500"/>
                        </a:cubicBezTo>
                        <a:cubicBezTo>
                          <a:pt x="18352" y="54750"/>
                          <a:pt x="16941" y="54000"/>
                          <a:pt x="16941" y="54000"/>
                        </a:cubicBezTo>
                        <a:cubicBezTo>
                          <a:pt x="16941" y="54000"/>
                          <a:pt x="15529" y="54000"/>
                          <a:pt x="15529" y="53250"/>
                        </a:cubicBezTo>
                        <a:cubicBezTo>
                          <a:pt x="14117" y="53250"/>
                          <a:pt x="14117" y="53250"/>
                          <a:pt x="14117" y="53250"/>
                        </a:cubicBezTo>
                        <a:cubicBezTo>
                          <a:pt x="11294" y="51750"/>
                          <a:pt x="11294" y="51750"/>
                          <a:pt x="11294" y="51750"/>
                        </a:cubicBezTo>
                        <a:cubicBezTo>
                          <a:pt x="15529" y="50250"/>
                          <a:pt x="15529" y="50250"/>
                          <a:pt x="15529" y="50250"/>
                        </a:cubicBezTo>
                        <a:cubicBezTo>
                          <a:pt x="15529" y="49500"/>
                          <a:pt x="15529" y="49500"/>
                          <a:pt x="15529" y="49500"/>
                        </a:cubicBezTo>
                        <a:cubicBezTo>
                          <a:pt x="16941" y="48750"/>
                          <a:pt x="18352" y="48750"/>
                          <a:pt x="18352" y="48750"/>
                        </a:cubicBezTo>
                        <a:cubicBezTo>
                          <a:pt x="18352" y="48750"/>
                          <a:pt x="19764" y="48000"/>
                          <a:pt x="19764" y="48000"/>
                        </a:cubicBezTo>
                        <a:cubicBezTo>
                          <a:pt x="19764" y="47250"/>
                          <a:pt x="19764" y="46500"/>
                          <a:pt x="19764" y="45750"/>
                        </a:cubicBezTo>
                        <a:cubicBezTo>
                          <a:pt x="15529" y="45000"/>
                          <a:pt x="15529" y="45000"/>
                          <a:pt x="15529" y="45000"/>
                        </a:cubicBezTo>
                        <a:cubicBezTo>
                          <a:pt x="15529" y="44250"/>
                          <a:pt x="15529" y="44250"/>
                          <a:pt x="15529" y="44250"/>
                        </a:cubicBezTo>
                        <a:cubicBezTo>
                          <a:pt x="15529" y="44250"/>
                          <a:pt x="16941" y="44250"/>
                          <a:pt x="18352" y="43500"/>
                        </a:cubicBezTo>
                        <a:cubicBezTo>
                          <a:pt x="19764" y="43500"/>
                          <a:pt x="21176" y="42750"/>
                          <a:pt x="21176" y="42750"/>
                        </a:cubicBezTo>
                        <a:cubicBezTo>
                          <a:pt x="22588" y="42750"/>
                          <a:pt x="22588" y="42000"/>
                          <a:pt x="22588" y="41250"/>
                        </a:cubicBezTo>
                        <a:cubicBezTo>
                          <a:pt x="19764" y="40500"/>
                          <a:pt x="19764" y="40500"/>
                          <a:pt x="19764" y="40500"/>
                        </a:cubicBezTo>
                        <a:cubicBezTo>
                          <a:pt x="21176" y="39000"/>
                          <a:pt x="21176" y="39000"/>
                          <a:pt x="21176" y="39000"/>
                        </a:cubicBezTo>
                        <a:cubicBezTo>
                          <a:pt x="19764" y="36750"/>
                          <a:pt x="19764" y="36750"/>
                          <a:pt x="19764" y="36750"/>
                        </a:cubicBezTo>
                        <a:cubicBezTo>
                          <a:pt x="21176" y="35250"/>
                          <a:pt x="21176" y="35250"/>
                          <a:pt x="21176" y="35250"/>
                        </a:cubicBezTo>
                        <a:cubicBezTo>
                          <a:pt x="19764" y="34500"/>
                          <a:pt x="19764" y="34500"/>
                          <a:pt x="19764" y="34500"/>
                        </a:cubicBezTo>
                        <a:cubicBezTo>
                          <a:pt x="14117" y="33000"/>
                          <a:pt x="14117" y="33000"/>
                          <a:pt x="14117" y="33000"/>
                        </a:cubicBezTo>
                        <a:cubicBezTo>
                          <a:pt x="12705" y="33000"/>
                          <a:pt x="12705" y="33000"/>
                          <a:pt x="12705" y="33000"/>
                        </a:cubicBezTo>
                        <a:cubicBezTo>
                          <a:pt x="11294" y="33000"/>
                          <a:pt x="9882" y="33750"/>
                          <a:pt x="9882" y="33750"/>
                        </a:cubicBezTo>
                        <a:cubicBezTo>
                          <a:pt x="5647" y="33000"/>
                          <a:pt x="5647" y="32250"/>
                          <a:pt x="5647" y="32250"/>
                        </a:cubicBezTo>
                        <a:cubicBezTo>
                          <a:pt x="7058" y="32250"/>
                          <a:pt x="7058" y="31500"/>
                          <a:pt x="7058" y="31500"/>
                        </a:cubicBezTo>
                        <a:cubicBezTo>
                          <a:pt x="5647" y="30750"/>
                          <a:pt x="5647" y="30750"/>
                          <a:pt x="5647" y="30750"/>
                        </a:cubicBezTo>
                        <a:cubicBezTo>
                          <a:pt x="5647" y="29250"/>
                          <a:pt x="5647" y="29250"/>
                          <a:pt x="5647" y="29250"/>
                        </a:cubicBezTo>
                        <a:cubicBezTo>
                          <a:pt x="5647" y="29250"/>
                          <a:pt x="7058" y="27750"/>
                          <a:pt x="7058" y="27750"/>
                        </a:cubicBezTo>
                        <a:cubicBezTo>
                          <a:pt x="5647" y="27000"/>
                          <a:pt x="5647" y="26250"/>
                          <a:pt x="5647" y="26250"/>
                        </a:cubicBezTo>
                        <a:cubicBezTo>
                          <a:pt x="7058" y="24750"/>
                          <a:pt x="7058" y="24750"/>
                          <a:pt x="7058" y="24750"/>
                        </a:cubicBezTo>
                        <a:cubicBezTo>
                          <a:pt x="7058" y="24000"/>
                          <a:pt x="7058" y="24000"/>
                          <a:pt x="7058" y="24000"/>
                        </a:cubicBezTo>
                        <a:cubicBezTo>
                          <a:pt x="7058" y="23250"/>
                          <a:pt x="7058" y="22500"/>
                          <a:pt x="7058" y="22500"/>
                        </a:cubicBezTo>
                        <a:cubicBezTo>
                          <a:pt x="1411" y="21000"/>
                          <a:pt x="1411" y="21000"/>
                          <a:pt x="1411" y="21000"/>
                        </a:cubicBezTo>
                        <a:cubicBezTo>
                          <a:pt x="0" y="20250"/>
                          <a:pt x="0" y="20250"/>
                          <a:pt x="0" y="20250"/>
                        </a:cubicBezTo>
                        <a:cubicBezTo>
                          <a:pt x="0" y="18750"/>
                          <a:pt x="0" y="18750"/>
                          <a:pt x="0" y="18750"/>
                        </a:cubicBezTo>
                        <a:cubicBezTo>
                          <a:pt x="2823" y="17250"/>
                          <a:pt x="2823" y="17250"/>
                          <a:pt x="2823" y="17250"/>
                        </a:cubicBezTo>
                        <a:cubicBezTo>
                          <a:pt x="4235" y="15750"/>
                          <a:pt x="4235" y="15750"/>
                          <a:pt x="4235" y="15750"/>
                        </a:cubicBezTo>
                        <a:cubicBezTo>
                          <a:pt x="4235" y="15000"/>
                          <a:pt x="4235" y="15000"/>
                          <a:pt x="4235" y="14250"/>
                        </a:cubicBezTo>
                        <a:cubicBezTo>
                          <a:pt x="4235" y="14250"/>
                          <a:pt x="5647" y="13500"/>
                          <a:pt x="5647" y="13500"/>
                        </a:cubicBezTo>
                        <a:cubicBezTo>
                          <a:pt x="5647" y="12000"/>
                          <a:pt x="5647" y="12000"/>
                          <a:pt x="5647" y="12000"/>
                        </a:cubicBezTo>
                        <a:cubicBezTo>
                          <a:pt x="5647" y="11250"/>
                          <a:pt x="5647" y="11250"/>
                          <a:pt x="5647" y="11250"/>
                        </a:cubicBezTo>
                        <a:cubicBezTo>
                          <a:pt x="7058" y="10500"/>
                          <a:pt x="7058" y="10500"/>
                          <a:pt x="7058" y="10500"/>
                        </a:cubicBezTo>
                        <a:cubicBezTo>
                          <a:pt x="7058" y="10500"/>
                          <a:pt x="8470" y="9750"/>
                          <a:pt x="9882" y="9750"/>
                        </a:cubicBezTo>
                        <a:cubicBezTo>
                          <a:pt x="9882" y="9000"/>
                          <a:pt x="9882" y="8250"/>
                          <a:pt x="9882" y="8250"/>
                        </a:cubicBezTo>
                        <a:cubicBezTo>
                          <a:pt x="15529" y="3750"/>
                          <a:pt x="15529" y="3750"/>
                          <a:pt x="15529" y="3750"/>
                        </a:cubicBezTo>
                        <a:cubicBezTo>
                          <a:pt x="14117" y="3000"/>
                          <a:pt x="14117" y="3000"/>
                          <a:pt x="14117" y="3000"/>
                        </a:cubicBezTo>
                        <a:cubicBezTo>
                          <a:pt x="18352" y="0"/>
                          <a:pt x="19764" y="0"/>
                          <a:pt x="19764" y="0"/>
                        </a:cubicBezTo>
                        <a:cubicBezTo>
                          <a:pt x="21176" y="0"/>
                          <a:pt x="22588" y="0"/>
                          <a:pt x="22588" y="0"/>
                        </a:cubicBezTo>
                        <a:cubicBezTo>
                          <a:pt x="24000" y="750"/>
                          <a:pt x="24000" y="750"/>
                          <a:pt x="24000" y="750"/>
                        </a:cubicBezTo>
                        <a:cubicBezTo>
                          <a:pt x="25411" y="1500"/>
                          <a:pt x="25411" y="1500"/>
                          <a:pt x="25411" y="1500"/>
                        </a:cubicBezTo>
                        <a:cubicBezTo>
                          <a:pt x="25411" y="2250"/>
                          <a:pt x="25411" y="2250"/>
                          <a:pt x="25411" y="2250"/>
                        </a:cubicBezTo>
                        <a:cubicBezTo>
                          <a:pt x="25411" y="3000"/>
                          <a:pt x="24000" y="3000"/>
                          <a:pt x="24000" y="3750"/>
                        </a:cubicBezTo>
                        <a:cubicBezTo>
                          <a:pt x="25411" y="3750"/>
                          <a:pt x="24000" y="4500"/>
                          <a:pt x="24000" y="4500"/>
                        </a:cubicBezTo>
                        <a:cubicBezTo>
                          <a:pt x="25411" y="4500"/>
                          <a:pt x="25411" y="5250"/>
                          <a:pt x="25411" y="5250"/>
                        </a:cubicBezTo>
                        <a:cubicBezTo>
                          <a:pt x="26823" y="6000"/>
                          <a:pt x="26823" y="6000"/>
                          <a:pt x="26823" y="6000"/>
                        </a:cubicBezTo>
                        <a:cubicBezTo>
                          <a:pt x="26823" y="6750"/>
                          <a:pt x="28235" y="6750"/>
                          <a:pt x="28235" y="6750"/>
                        </a:cubicBezTo>
                        <a:cubicBezTo>
                          <a:pt x="31058" y="6000"/>
                          <a:pt x="31058" y="6000"/>
                          <a:pt x="31058" y="6000"/>
                        </a:cubicBezTo>
                        <a:cubicBezTo>
                          <a:pt x="33882" y="5250"/>
                          <a:pt x="33882" y="5250"/>
                          <a:pt x="33882" y="5250"/>
                        </a:cubicBezTo>
                        <a:cubicBezTo>
                          <a:pt x="33882" y="5250"/>
                          <a:pt x="36705" y="4500"/>
                          <a:pt x="38117" y="4500"/>
                        </a:cubicBezTo>
                        <a:cubicBezTo>
                          <a:pt x="38117" y="4500"/>
                          <a:pt x="38117" y="3750"/>
                          <a:pt x="39529" y="3000"/>
                        </a:cubicBezTo>
                        <a:cubicBezTo>
                          <a:pt x="40941" y="3000"/>
                          <a:pt x="40941" y="3000"/>
                          <a:pt x="40941" y="3000"/>
                        </a:cubicBezTo>
                        <a:cubicBezTo>
                          <a:pt x="43764" y="3000"/>
                          <a:pt x="43764" y="3000"/>
                          <a:pt x="43764" y="3000"/>
                        </a:cubicBezTo>
                        <a:cubicBezTo>
                          <a:pt x="45176" y="4500"/>
                          <a:pt x="45176" y="4500"/>
                          <a:pt x="45176" y="4500"/>
                        </a:cubicBezTo>
                        <a:cubicBezTo>
                          <a:pt x="48000" y="5250"/>
                          <a:pt x="48000" y="5250"/>
                          <a:pt x="48000" y="5250"/>
                        </a:cubicBezTo>
                        <a:cubicBezTo>
                          <a:pt x="50823" y="6750"/>
                          <a:pt x="50823" y="6750"/>
                          <a:pt x="50823" y="6750"/>
                        </a:cubicBezTo>
                        <a:cubicBezTo>
                          <a:pt x="52235" y="9000"/>
                          <a:pt x="52235" y="9000"/>
                          <a:pt x="52235" y="9000"/>
                        </a:cubicBezTo>
                        <a:cubicBezTo>
                          <a:pt x="55058" y="11250"/>
                          <a:pt x="55058" y="11250"/>
                          <a:pt x="55058" y="11250"/>
                        </a:cubicBezTo>
                        <a:cubicBezTo>
                          <a:pt x="56470" y="10500"/>
                          <a:pt x="56470" y="10500"/>
                          <a:pt x="56470" y="10500"/>
                        </a:cubicBezTo>
                        <a:cubicBezTo>
                          <a:pt x="59294" y="12000"/>
                          <a:pt x="59294" y="12000"/>
                          <a:pt x="59294" y="12000"/>
                        </a:cubicBezTo>
                        <a:cubicBezTo>
                          <a:pt x="62117" y="12750"/>
                          <a:pt x="62117" y="12750"/>
                          <a:pt x="62117" y="12750"/>
                        </a:cubicBezTo>
                        <a:cubicBezTo>
                          <a:pt x="62117" y="12750"/>
                          <a:pt x="64941" y="12750"/>
                          <a:pt x="67764" y="13500"/>
                        </a:cubicBezTo>
                        <a:cubicBezTo>
                          <a:pt x="69176" y="13500"/>
                          <a:pt x="69176" y="14250"/>
                          <a:pt x="69176" y="14250"/>
                        </a:cubicBezTo>
                        <a:cubicBezTo>
                          <a:pt x="70588" y="15750"/>
                          <a:pt x="73411" y="17250"/>
                          <a:pt x="73411" y="17250"/>
                        </a:cubicBezTo>
                        <a:cubicBezTo>
                          <a:pt x="74823" y="19500"/>
                          <a:pt x="74823" y="19500"/>
                          <a:pt x="74823" y="19500"/>
                        </a:cubicBezTo>
                        <a:cubicBezTo>
                          <a:pt x="74823" y="19500"/>
                          <a:pt x="76235" y="21000"/>
                          <a:pt x="76235" y="21750"/>
                        </a:cubicBezTo>
                        <a:cubicBezTo>
                          <a:pt x="76235" y="21750"/>
                          <a:pt x="76235" y="22500"/>
                          <a:pt x="76235" y="22500"/>
                        </a:cubicBezTo>
                        <a:cubicBezTo>
                          <a:pt x="80470" y="24750"/>
                          <a:pt x="80470" y="24750"/>
                          <a:pt x="80470" y="24750"/>
                        </a:cubicBezTo>
                        <a:cubicBezTo>
                          <a:pt x="79058" y="27000"/>
                          <a:pt x="79058" y="27000"/>
                          <a:pt x="79058" y="27000"/>
                        </a:cubicBezTo>
                        <a:cubicBezTo>
                          <a:pt x="77647" y="28500"/>
                          <a:pt x="77647" y="28500"/>
                          <a:pt x="77647" y="28500"/>
                        </a:cubicBezTo>
                        <a:cubicBezTo>
                          <a:pt x="77647" y="28500"/>
                          <a:pt x="77647" y="30000"/>
                          <a:pt x="77647" y="30000"/>
                        </a:cubicBezTo>
                        <a:cubicBezTo>
                          <a:pt x="77647" y="30000"/>
                          <a:pt x="77647" y="31500"/>
                          <a:pt x="77647" y="31500"/>
                        </a:cubicBezTo>
                        <a:cubicBezTo>
                          <a:pt x="76235" y="32250"/>
                          <a:pt x="76235" y="32250"/>
                          <a:pt x="76235" y="32250"/>
                        </a:cubicBezTo>
                        <a:cubicBezTo>
                          <a:pt x="77647" y="36000"/>
                          <a:pt x="77647" y="36000"/>
                          <a:pt x="77647" y="36000"/>
                        </a:cubicBezTo>
                        <a:cubicBezTo>
                          <a:pt x="76235" y="38250"/>
                          <a:pt x="76235" y="38250"/>
                          <a:pt x="76235" y="38250"/>
                        </a:cubicBezTo>
                        <a:cubicBezTo>
                          <a:pt x="77647" y="38250"/>
                          <a:pt x="79058" y="39000"/>
                          <a:pt x="79058" y="39750"/>
                        </a:cubicBezTo>
                        <a:cubicBezTo>
                          <a:pt x="80470" y="39750"/>
                          <a:pt x="79058" y="40500"/>
                          <a:pt x="79058" y="40500"/>
                        </a:cubicBezTo>
                        <a:cubicBezTo>
                          <a:pt x="77647" y="41250"/>
                          <a:pt x="77647" y="41250"/>
                          <a:pt x="76235" y="42000"/>
                        </a:cubicBezTo>
                        <a:cubicBezTo>
                          <a:pt x="74823" y="42000"/>
                          <a:pt x="74823" y="42000"/>
                          <a:pt x="74823" y="42000"/>
                        </a:cubicBezTo>
                        <a:cubicBezTo>
                          <a:pt x="74823" y="42750"/>
                          <a:pt x="73411" y="42750"/>
                          <a:pt x="73411" y="42750"/>
                        </a:cubicBezTo>
                        <a:cubicBezTo>
                          <a:pt x="73411" y="42750"/>
                          <a:pt x="73411" y="43500"/>
                          <a:pt x="73411" y="44250"/>
                        </a:cubicBezTo>
                        <a:cubicBezTo>
                          <a:pt x="74823" y="45000"/>
                          <a:pt x="77647" y="45750"/>
                          <a:pt x="77647" y="45750"/>
                        </a:cubicBezTo>
                        <a:cubicBezTo>
                          <a:pt x="77647" y="45750"/>
                          <a:pt x="80470" y="47250"/>
                          <a:pt x="80470" y="48000"/>
                        </a:cubicBezTo>
                        <a:cubicBezTo>
                          <a:pt x="81882" y="48000"/>
                          <a:pt x="80470" y="48750"/>
                          <a:pt x="80470" y="49500"/>
                        </a:cubicBezTo>
                        <a:cubicBezTo>
                          <a:pt x="80470" y="49500"/>
                          <a:pt x="80470" y="50250"/>
                          <a:pt x="77647" y="51000"/>
                        </a:cubicBezTo>
                        <a:cubicBezTo>
                          <a:pt x="79058" y="51750"/>
                          <a:pt x="79058" y="51750"/>
                          <a:pt x="79058" y="51750"/>
                        </a:cubicBezTo>
                        <a:cubicBezTo>
                          <a:pt x="80470" y="54000"/>
                          <a:pt x="80470" y="54000"/>
                          <a:pt x="80470" y="54000"/>
                        </a:cubicBezTo>
                        <a:cubicBezTo>
                          <a:pt x="80470" y="54000"/>
                          <a:pt x="80470" y="54750"/>
                          <a:pt x="80470" y="54750"/>
                        </a:cubicBezTo>
                        <a:cubicBezTo>
                          <a:pt x="81882" y="55500"/>
                          <a:pt x="83294" y="57000"/>
                          <a:pt x="84705" y="57000"/>
                        </a:cubicBezTo>
                        <a:cubicBezTo>
                          <a:pt x="84705" y="57000"/>
                          <a:pt x="86117" y="58500"/>
                          <a:pt x="86117" y="59250"/>
                        </a:cubicBezTo>
                        <a:cubicBezTo>
                          <a:pt x="86117" y="59250"/>
                          <a:pt x="86117" y="60000"/>
                          <a:pt x="86117" y="60000"/>
                        </a:cubicBezTo>
                        <a:cubicBezTo>
                          <a:pt x="86117" y="60000"/>
                          <a:pt x="87529" y="60000"/>
                          <a:pt x="87529" y="60000"/>
                        </a:cubicBezTo>
                        <a:cubicBezTo>
                          <a:pt x="88941" y="60750"/>
                          <a:pt x="91764" y="60750"/>
                          <a:pt x="91764" y="60750"/>
                        </a:cubicBezTo>
                        <a:cubicBezTo>
                          <a:pt x="91764" y="60750"/>
                          <a:pt x="93176" y="61500"/>
                          <a:pt x="93176" y="62250"/>
                        </a:cubicBezTo>
                        <a:cubicBezTo>
                          <a:pt x="94588" y="63000"/>
                          <a:pt x="96000" y="64500"/>
                          <a:pt x="96000" y="65250"/>
                        </a:cubicBezTo>
                        <a:cubicBezTo>
                          <a:pt x="96000" y="65250"/>
                          <a:pt x="96000" y="66000"/>
                          <a:pt x="96000" y="66000"/>
                        </a:cubicBezTo>
                        <a:cubicBezTo>
                          <a:pt x="96000" y="66750"/>
                          <a:pt x="96000" y="66750"/>
                          <a:pt x="96000" y="66750"/>
                        </a:cubicBezTo>
                        <a:cubicBezTo>
                          <a:pt x="96000" y="67500"/>
                          <a:pt x="97411" y="66750"/>
                          <a:pt x="97411" y="66750"/>
                        </a:cubicBezTo>
                        <a:cubicBezTo>
                          <a:pt x="97411" y="66750"/>
                          <a:pt x="98823" y="66000"/>
                          <a:pt x="98823" y="66000"/>
                        </a:cubicBezTo>
                        <a:cubicBezTo>
                          <a:pt x="100235" y="66000"/>
                          <a:pt x="101647" y="66000"/>
                          <a:pt x="103058" y="66000"/>
                        </a:cubicBezTo>
                        <a:cubicBezTo>
                          <a:pt x="104470" y="66000"/>
                          <a:pt x="104470" y="66000"/>
                          <a:pt x="104470" y="66000"/>
                        </a:cubicBezTo>
                        <a:cubicBezTo>
                          <a:pt x="107294" y="66000"/>
                          <a:pt x="107294" y="66000"/>
                          <a:pt x="108705" y="66000"/>
                        </a:cubicBezTo>
                        <a:cubicBezTo>
                          <a:pt x="111529" y="66750"/>
                          <a:pt x="111529" y="66750"/>
                          <a:pt x="111529" y="66750"/>
                        </a:cubicBezTo>
                        <a:cubicBezTo>
                          <a:pt x="112941" y="68250"/>
                          <a:pt x="112941" y="68250"/>
                          <a:pt x="112941" y="68250"/>
                        </a:cubicBezTo>
                        <a:cubicBezTo>
                          <a:pt x="112941" y="68250"/>
                          <a:pt x="114352" y="68250"/>
                          <a:pt x="114352" y="68250"/>
                        </a:cubicBezTo>
                        <a:cubicBezTo>
                          <a:pt x="115764" y="69750"/>
                          <a:pt x="115764" y="69750"/>
                          <a:pt x="115764" y="69750"/>
                        </a:cubicBezTo>
                        <a:cubicBezTo>
                          <a:pt x="118588" y="72000"/>
                          <a:pt x="118588" y="72000"/>
                          <a:pt x="118588" y="72000"/>
                        </a:cubicBezTo>
                        <a:cubicBezTo>
                          <a:pt x="120000" y="78000"/>
                          <a:pt x="120000" y="78000"/>
                          <a:pt x="120000" y="78000"/>
                        </a:cubicBezTo>
                        <a:cubicBezTo>
                          <a:pt x="117176" y="78000"/>
                          <a:pt x="114352" y="79500"/>
                          <a:pt x="112941" y="80250"/>
                        </a:cubicBezTo>
                        <a:cubicBezTo>
                          <a:pt x="108705" y="86250"/>
                          <a:pt x="108705" y="86250"/>
                          <a:pt x="108705" y="86250"/>
                        </a:cubicBezTo>
                        <a:cubicBezTo>
                          <a:pt x="105882" y="93000"/>
                          <a:pt x="105882" y="93000"/>
                          <a:pt x="105882" y="93000"/>
                        </a:cubicBezTo>
                        <a:cubicBezTo>
                          <a:pt x="98823" y="99000"/>
                          <a:pt x="98823" y="99000"/>
                          <a:pt x="98823" y="99000"/>
                        </a:cubicBezTo>
                        <a:cubicBezTo>
                          <a:pt x="88941" y="102000"/>
                          <a:pt x="88941" y="102000"/>
                          <a:pt x="88941" y="102000"/>
                        </a:cubicBezTo>
                        <a:cubicBezTo>
                          <a:pt x="87529" y="102000"/>
                          <a:pt x="87529" y="102000"/>
                          <a:pt x="87529" y="102000"/>
                        </a:cubicBezTo>
                        <a:cubicBezTo>
                          <a:pt x="87529" y="102000"/>
                          <a:pt x="86117" y="102750"/>
                          <a:pt x="86117" y="102750"/>
                        </a:cubicBezTo>
                        <a:cubicBezTo>
                          <a:pt x="84705" y="105000"/>
                          <a:pt x="84705" y="105000"/>
                          <a:pt x="84705" y="105000"/>
                        </a:cubicBezTo>
                        <a:cubicBezTo>
                          <a:pt x="83294" y="105750"/>
                          <a:pt x="83294" y="105750"/>
                          <a:pt x="83294" y="105750"/>
                        </a:cubicBezTo>
                        <a:cubicBezTo>
                          <a:pt x="81882" y="105750"/>
                          <a:pt x="81882" y="105750"/>
                          <a:pt x="81882" y="105750"/>
                        </a:cubicBezTo>
                        <a:cubicBezTo>
                          <a:pt x="81882" y="106500"/>
                          <a:pt x="81882" y="106500"/>
                          <a:pt x="81882" y="106500"/>
                        </a:cubicBezTo>
                        <a:cubicBezTo>
                          <a:pt x="81882" y="107250"/>
                          <a:pt x="81882" y="107250"/>
                          <a:pt x="81882" y="108000"/>
                        </a:cubicBezTo>
                        <a:cubicBezTo>
                          <a:pt x="81882" y="108000"/>
                          <a:pt x="81882" y="108000"/>
                          <a:pt x="81882" y="108750"/>
                        </a:cubicBezTo>
                        <a:cubicBezTo>
                          <a:pt x="81882" y="108750"/>
                          <a:pt x="83294" y="108750"/>
                          <a:pt x="83294" y="109500"/>
                        </a:cubicBezTo>
                        <a:cubicBezTo>
                          <a:pt x="83294" y="109500"/>
                          <a:pt x="84705" y="110250"/>
                          <a:pt x="86117" y="110250"/>
                        </a:cubicBezTo>
                        <a:cubicBezTo>
                          <a:pt x="87529" y="111000"/>
                          <a:pt x="88941" y="111000"/>
                          <a:pt x="88941" y="111000"/>
                        </a:cubicBezTo>
                        <a:cubicBezTo>
                          <a:pt x="90352" y="112500"/>
                          <a:pt x="90352" y="112500"/>
                          <a:pt x="90352" y="112500"/>
                        </a:cubicBezTo>
                        <a:cubicBezTo>
                          <a:pt x="88941" y="113250"/>
                          <a:pt x="87529" y="113250"/>
                          <a:pt x="86117" y="113250"/>
                        </a:cubicBezTo>
                        <a:cubicBezTo>
                          <a:pt x="86117" y="113250"/>
                          <a:pt x="84705" y="113250"/>
                          <a:pt x="84705" y="113250"/>
                        </a:cubicBezTo>
                        <a:cubicBezTo>
                          <a:pt x="83294" y="113250"/>
                          <a:pt x="83294" y="113250"/>
                          <a:pt x="81882" y="113250"/>
                        </a:cubicBezTo>
                        <a:cubicBezTo>
                          <a:pt x="81882" y="113250"/>
                          <a:pt x="81882" y="114000"/>
                          <a:pt x="81882" y="114750"/>
                        </a:cubicBezTo>
                        <a:cubicBezTo>
                          <a:pt x="83294" y="115500"/>
                          <a:pt x="83294" y="115500"/>
                          <a:pt x="83294" y="115500"/>
                        </a:cubicBezTo>
                        <a:cubicBezTo>
                          <a:pt x="83294" y="115500"/>
                          <a:pt x="83294" y="117000"/>
                          <a:pt x="83294" y="117000"/>
                        </a:cubicBezTo>
                        <a:cubicBezTo>
                          <a:pt x="83294" y="117000"/>
                          <a:pt x="83294" y="117750"/>
                          <a:pt x="80470" y="118500"/>
                        </a:cubicBezTo>
                        <a:cubicBezTo>
                          <a:pt x="79058" y="120000"/>
                          <a:pt x="79058" y="120000"/>
                          <a:pt x="79058" y="120000"/>
                        </a:cubicBezTo>
                        <a:cubicBezTo>
                          <a:pt x="73411" y="120000"/>
                          <a:pt x="73411" y="120000"/>
                          <a:pt x="73411" y="120000"/>
                        </a:cubicBezTo>
                        <a:cubicBezTo>
                          <a:pt x="73411" y="120000"/>
                          <a:pt x="73411" y="120000"/>
                          <a:pt x="73411" y="120000"/>
                        </a:cubicBezTo>
                        <a:close/>
                        <a:moveTo>
                          <a:pt x="69176" y="118500"/>
                        </a:moveTo>
                        <a:cubicBezTo>
                          <a:pt x="69176" y="118500"/>
                          <a:pt x="69176" y="118500"/>
                          <a:pt x="69176" y="118500"/>
                        </a:cubicBezTo>
                        <a:cubicBezTo>
                          <a:pt x="73411" y="119250"/>
                          <a:pt x="73411" y="119250"/>
                          <a:pt x="73411" y="119250"/>
                        </a:cubicBezTo>
                        <a:cubicBezTo>
                          <a:pt x="77647" y="119250"/>
                          <a:pt x="77647" y="119250"/>
                          <a:pt x="77647" y="119250"/>
                        </a:cubicBezTo>
                        <a:cubicBezTo>
                          <a:pt x="80470" y="118500"/>
                          <a:pt x="80470" y="118500"/>
                          <a:pt x="80470" y="118500"/>
                        </a:cubicBezTo>
                        <a:cubicBezTo>
                          <a:pt x="81882" y="117750"/>
                          <a:pt x="83294" y="117000"/>
                          <a:pt x="83294" y="117000"/>
                        </a:cubicBezTo>
                        <a:cubicBezTo>
                          <a:pt x="83294" y="117000"/>
                          <a:pt x="81882" y="115500"/>
                          <a:pt x="81882" y="115500"/>
                        </a:cubicBezTo>
                        <a:cubicBezTo>
                          <a:pt x="81882" y="114750"/>
                          <a:pt x="81882" y="114750"/>
                          <a:pt x="81882" y="114750"/>
                        </a:cubicBezTo>
                        <a:cubicBezTo>
                          <a:pt x="81882" y="114750"/>
                          <a:pt x="80470" y="114000"/>
                          <a:pt x="80470" y="113250"/>
                        </a:cubicBezTo>
                        <a:cubicBezTo>
                          <a:pt x="80470" y="113250"/>
                          <a:pt x="81882" y="112500"/>
                          <a:pt x="81882" y="112500"/>
                        </a:cubicBezTo>
                        <a:cubicBezTo>
                          <a:pt x="83294" y="112500"/>
                          <a:pt x="83294" y="112500"/>
                          <a:pt x="83294" y="112500"/>
                        </a:cubicBezTo>
                        <a:cubicBezTo>
                          <a:pt x="83294" y="112500"/>
                          <a:pt x="84705" y="112500"/>
                          <a:pt x="84705" y="112500"/>
                        </a:cubicBezTo>
                        <a:cubicBezTo>
                          <a:pt x="86117" y="113250"/>
                          <a:pt x="86117" y="113250"/>
                          <a:pt x="86117" y="113250"/>
                        </a:cubicBezTo>
                        <a:cubicBezTo>
                          <a:pt x="86117" y="113250"/>
                          <a:pt x="86117" y="113250"/>
                          <a:pt x="86117" y="113250"/>
                        </a:cubicBezTo>
                        <a:cubicBezTo>
                          <a:pt x="87529" y="113250"/>
                          <a:pt x="88941" y="112500"/>
                          <a:pt x="88941" y="111750"/>
                        </a:cubicBezTo>
                        <a:cubicBezTo>
                          <a:pt x="88941" y="111750"/>
                          <a:pt x="88941" y="111750"/>
                          <a:pt x="88941" y="111750"/>
                        </a:cubicBezTo>
                        <a:cubicBezTo>
                          <a:pt x="87529" y="111750"/>
                          <a:pt x="87529" y="111000"/>
                          <a:pt x="86117" y="111000"/>
                        </a:cubicBezTo>
                        <a:cubicBezTo>
                          <a:pt x="83294" y="110250"/>
                          <a:pt x="81882" y="109500"/>
                          <a:pt x="81882" y="109500"/>
                        </a:cubicBezTo>
                        <a:cubicBezTo>
                          <a:pt x="81882" y="109500"/>
                          <a:pt x="81882" y="108750"/>
                          <a:pt x="81882" y="108750"/>
                        </a:cubicBezTo>
                        <a:cubicBezTo>
                          <a:pt x="80470" y="108750"/>
                          <a:pt x="80470" y="108000"/>
                          <a:pt x="80470" y="108000"/>
                        </a:cubicBezTo>
                        <a:cubicBezTo>
                          <a:pt x="80470" y="107250"/>
                          <a:pt x="80470" y="106500"/>
                          <a:pt x="80470" y="106500"/>
                        </a:cubicBezTo>
                        <a:cubicBezTo>
                          <a:pt x="80470" y="105750"/>
                          <a:pt x="80470" y="105750"/>
                          <a:pt x="80470" y="105750"/>
                        </a:cubicBezTo>
                        <a:cubicBezTo>
                          <a:pt x="80470" y="105750"/>
                          <a:pt x="81882" y="105000"/>
                          <a:pt x="83294" y="105000"/>
                        </a:cubicBezTo>
                        <a:cubicBezTo>
                          <a:pt x="84705" y="105000"/>
                          <a:pt x="84705" y="105000"/>
                          <a:pt x="84705" y="105000"/>
                        </a:cubicBezTo>
                        <a:cubicBezTo>
                          <a:pt x="86117" y="102750"/>
                          <a:pt x="86117" y="102750"/>
                          <a:pt x="86117" y="102750"/>
                        </a:cubicBezTo>
                        <a:cubicBezTo>
                          <a:pt x="86117" y="102750"/>
                          <a:pt x="86117" y="102000"/>
                          <a:pt x="87529" y="102000"/>
                        </a:cubicBezTo>
                        <a:cubicBezTo>
                          <a:pt x="88941" y="102000"/>
                          <a:pt x="88941" y="102000"/>
                          <a:pt x="88941" y="102000"/>
                        </a:cubicBezTo>
                        <a:cubicBezTo>
                          <a:pt x="88941" y="102000"/>
                          <a:pt x="88941" y="102000"/>
                          <a:pt x="88941" y="102000"/>
                        </a:cubicBezTo>
                        <a:cubicBezTo>
                          <a:pt x="98823" y="99000"/>
                          <a:pt x="98823" y="99000"/>
                          <a:pt x="98823" y="99000"/>
                        </a:cubicBezTo>
                        <a:cubicBezTo>
                          <a:pt x="105882" y="93000"/>
                          <a:pt x="105882" y="93000"/>
                          <a:pt x="105882" y="93000"/>
                        </a:cubicBezTo>
                        <a:cubicBezTo>
                          <a:pt x="107294" y="86250"/>
                          <a:pt x="107294" y="86250"/>
                          <a:pt x="107294" y="86250"/>
                        </a:cubicBezTo>
                        <a:cubicBezTo>
                          <a:pt x="111529" y="80250"/>
                          <a:pt x="111529" y="80250"/>
                          <a:pt x="111529" y="80250"/>
                        </a:cubicBezTo>
                        <a:cubicBezTo>
                          <a:pt x="112941" y="79500"/>
                          <a:pt x="117176" y="78000"/>
                          <a:pt x="118588" y="78000"/>
                        </a:cubicBezTo>
                        <a:cubicBezTo>
                          <a:pt x="118588" y="77250"/>
                          <a:pt x="118588" y="75000"/>
                          <a:pt x="117176" y="72000"/>
                        </a:cubicBezTo>
                        <a:cubicBezTo>
                          <a:pt x="114352" y="69750"/>
                          <a:pt x="114352" y="69750"/>
                          <a:pt x="114352" y="69750"/>
                        </a:cubicBezTo>
                        <a:cubicBezTo>
                          <a:pt x="114352" y="68250"/>
                          <a:pt x="114352" y="68250"/>
                          <a:pt x="114352" y="68250"/>
                        </a:cubicBezTo>
                        <a:cubicBezTo>
                          <a:pt x="114352" y="69000"/>
                          <a:pt x="112941" y="69000"/>
                          <a:pt x="112941" y="68250"/>
                        </a:cubicBezTo>
                        <a:cubicBezTo>
                          <a:pt x="112941" y="68250"/>
                          <a:pt x="111529" y="68250"/>
                          <a:pt x="111529" y="68250"/>
                        </a:cubicBezTo>
                        <a:cubicBezTo>
                          <a:pt x="111529" y="67500"/>
                          <a:pt x="111529" y="67500"/>
                          <a:pt x="111529" y="67500"/>
                        </a:cubicBezTo>
                        <a:cubicBezTo>
                          <a:pt x="107294" y="66750"/>
                          <a:pt x="107294" y="66750"/>
                          <a:pt x="107294" y="66750"/>
                        </a:cubicBezTo>
                        <a:cubicBezTo>
                          <a:pt x="107294" y="66750"/>
                          <a:pt x="107294" y="66750"/>
                          <a:pt x="105882" y="66750"/>
                        </a:cubicBezTo>
                        <a:cubicBezTo>
                          <a:pt x="105882" y="66750"/>
                          <a:pt x="104470" y="66750"/>
                          <a:pt x="104470" y="66750"/>
                        </a:cubicBezTo>
                        <a:cubicBezTo>
                          <a:pt x="101647" y="66000"/>
                          <a:pt x="100235" y="66000"/>
                          <a:pt x="100235" y="66750"/>
                        </a:cubicBezTo>
                        <a:cubicBezTo>
                          <a:pt x="98823" y="66750"/>
                          <a:pt x="98823" y="66750"/>
                          <a:pt x="97411" y="67500"/>
                        </a:cubicBezTo>
                        <a:cubicBezTo>
                          <a:pt x="97411" y="67500"/>
                          <a:pt x="97411" y="67500"/>
                          <a:pt x="97411" y="67500"/>
                        </a:cubicBezTo>
                        <a:cubicBezTo>
                          <a:pt x="96000" y="68250"/>
                          <a:pt x="96000" y="67500"/>
                          <a:pt x="96000" y="67500"/>
                        </a:cubicBezTo>
                        <a:cubicBezTo>
                          <a:pt x="96000" y="67500"/>
                          <a:pt x="96000" y="67500"/>
                          <a:pt x="94588" y="67500"/>
                        </a:cubicBezTo>
                        <a:cubicBezTo>
                          <a:pt x="94588" y="66000"/>
                          <a:pt x="94588" y="66000"/>
                          <a:pt x="94588" y="66000"/>
                        </a:cubicBezTo>
                        <a:cubicBezTo>
                          <a:pt x="94588" y="66000"/>
                          <a:pt x="94588" y="65250"/>
                          <a:pt x="94588" y="65250"/>
                        </a:cubicBezTo>
                        <a:cubicBezTo>
                          <a:pt x="94588" y="64500"/>
                          <a:pt x="93176" y="63000"/>
                          <a:pt x="93176" y="62250"/>
                        </a:cubicBezTo>
                        <a:cubicBezTo>
                          <a:pt x="91764" y="61500"/>
                          <a:pt x="91764" y="61500"/>
                          <a:pt x="91764" y="60750"/>
                        </a:cubicBezTo>
                        <a:cubicBezTo>
                          <a:pt x="91764" y="60750"/>
                          <a:pt x="88941" y="60750"/>
                          <a:pt x="88941" y="60750"/>
                        </a:cubicBezTo>
                        <a:cubicBezTo>
                          <a:pt x="87529" y="60750"/>
                          <a:pt x="86117" y="60750"/>
                          <a:pt x="86117" y="60750"/>
                        </a:cubicBezTo>
                        <a:cubicBezTo>
                          <a:pt x="84705" y="60000"/>
                          <a:pt x="84705" y="59250"/>
                          <a:pt x="86117" y="58500"/>
                        </a:cubicBezTo>
                        <a:cubicBezTo>
                          <a:pt x="86117" y="58500"/>
                          <a:pt x="84705" y="57750"/>
                          <a:pt x="83294" y="57000"/>
                        </a:cubicBezTo>
                        <a:cubicBezTo>
                          <a:pt x="83294" y="57000"/>
                          <a:pt x="80470" y="54750"/>
                          <a:pt x="80470" y="54750"/>
                        </a:cubicBezTo>
                        <a:cubicBezTo>
                          <a:pt x="80470" y="54750"/>
                          <a:pt x="79058" y="54750"/>
                          <a:pt x="79058" y="54000"/>
                        </a:cubicBezTo>
                        <a:cubicBezTo>
                          <a:pt x="77647" y="51000"/>
                          <a:pt x="77647" y="51000"/>
                          <a:pt x="77647" y="51000"/>
                        </a:cubicBezTo>
                        <a:cubicBezTo>
                          <a:pt x="79058" y="50250"/>
                          <a:pt x="79058" y="49500"/>
                          <a:pt x="79058" y="49500"/>
                        </a:cubicBezTo>
                        <a:cubicBezTo>
                          <a:pt x="80470" y="48750"/>
                          <a:pt x="80470" y="48000"/>
                          <a:pt x="80470" y="48000"/>
                        </a:cubicBezTo>
                        <a:cubicBezTo>
                          <a:pt x="80470" y="48000"/>
                          <a:pt x="77647" y="46500"/>
                          <a:pt x="76235" y="46500"/>
                        </a:cubicBezTo>
                        <a:cubicBezTo>
                          <a:pt x="76235" y="46500"/>
                          <a:pt x="73411" y="45000"/>
                          <a:pt x="73411" y="44250"/>
                        </a:cubicBezTo>
                        <a:cubicBezTo>
                          <a:pt x="72000" y="43500"/>
                          <a:pt x="72000" y="42750"/>
                          <a:pt x="72000" y="42750"/>
                        </a:cubicBezTo>
                        <a:cubicBezTo>
                          <a:pt x="73411" y="42000"/>
                          <a:pt x="73411" y="42000"/>
                          <a:pt x="74823" y="42000"/>
                        </a:cubicBezTo>
                        <a:cubicBezTo>
                          <a:pt x="76235" y="41250"/>
                          <a:pt x="76235" y="41250"/>
                          <a:pt x="76235" y="41250"/>
                        </a:cubicBezTo>
                        <a:cubicBezTo>
                          <a:pt x="76235" y="41250"/>
                          <a:pt x="77647" y="40500"/>
                          <a:pt x="77647" y="40500"/>
                        </a:cubicBezTo>
                        <a:cubicBezTo>
                          <a:pt x="77647" y="39750"/>
                          <a:pt x="77647" y="39750"/>
                          <a:pt x="77647" y="39750"/>
                        </a:cubicBezTo>
                        <a:cubicBezTo>
                          <a:pt x="77647" y="39750"/>
                          <a:pt x="76235" y="38250"/>
                          <a:pt x="76235" y="38250"/>
                        </a:cubicBezTo>
                        <a:cubicBezTo>
                          <a:pt x="77647" y="36000"/>
                          <a:pt x="77647" y="36000"/>
                          <a:pt x="77647" y="36000"/>
                        </a:cubicBezTo>
                        <a:cubicBezTo>
                          <a:pt x="76235" y="35250"/>
                          <a:pt x="76235" y="35250"/>
                          <a:pt x="76235" y="35250"/>
                        </a:cubicBezTo>
                        <a:cubicBezTo>
                          <a:pt x="76235" y="32250"/>
                          <a:pt x="76235" y="32250"/>
                          <a:pt x="76235" y="32250"/>
                        </a:cubicBezTo>
                        <a:cubicBezTo>
                          <a:pt x="76235" y="31500"/>
                          <a:pt x="76235" y="31500"/>
                          <a:pt x="76235" y="31500"/>
                        </a:cubicBezTo>
                        <a:cubicBezTo>
                          <a:pt x="76235" y="30750"/>
                          <a:pt x="76235" y="30000"/>
                          <a:pt x="76235" y="30000"/>
                        </a:cubicBezTo>
                        <a:cubicBezTo>
                          <a:pt x="76235" y="29250"/>
                          <a:pt x="77647" y="28500"/>
                          <a:pt x="77647" y="27750"/>
                        </a:cubicBezTo>
                        <a:cubicBezTo>
                          <a:pt x="77647" y="26250"/>
                          <a:pt x="77647" y="26250"/>
                          <a:pt x="77647" y="26250"/>
                        </a:cubicBezTo>
                        <a:cubicBezTo>
                          <a:pt x="79058" y="24750"/>
                          <a:pt x="79058" y="24750"/>
                          <a:pt x="79058" y="24750"/>
                        </a:cubicBezTo>
                        <a:cubicBezTo>
                          <a:pt x="76235" y="22500"/>
                          <a:pt x="76235" y="22500"/>
                          <a:pt x="76235" y="22500"/>
                        </a:cubicBezTo>
                        <a:cubicBezTo>
                          <a:pt x="76235" y="22500"/>
                          <a:pt x="76235" y="22500"/>
                          <a:pt x="74823" y="21750"/>
                        </a:cubicBezTo>
                        <a:cubicBezTo>
                          <a:pt x="74823" y="21000"/>
                          <a:pt x="73411" y="19500"/>
                          <a:pt x="73411" y="19500"/>
                        </a:cubicBezTo>
                        <a:cubicBezTo>
                          <a:pt x="72000" y="18000"/>
                          <a:pt x="72000" y="18000"/>
                          <a:pt x="72000" y="18000"/>
                        </a:cubicBezTo>
                        <a:cubicBezTo>
                          <a:pt x="72000" y="17250"/>
                          <a:pt x="69176" y="15750"/>
                          <a:pt x="69176" y="15750"/>
                        </a:cubicBezTo>
                        <a:cubicBezTo>
                          <a:pt x="69176" y="15000"/>
                          <a:pt x="67764" y="15000"/>
                          <a:pt x="67764" y="15000"/>
                        </a:cubicBezTo>
                        <a:cubicBezTo>
                          <a:pt x="67764" y="14250"/>
                          <a:pt x="67764" y="14250"/>
                          <a:pt x="66352" y="14250"/>
                        </a:cubicBezTo>
                        <a:cubicBezTo>
                          <a:pt x="64941" y="13500"/>
                          <a:pt x="62117" y="12750"/>
                          <a:pt x="62117" y="12750"/>
                        </a:cubicBezTo>
                        <a:cubicBezTo>
                          <a:pt x="59294" y="12750"/>
                          <a:pt x="59294" y="12750"/>
                          <a:pt x="59294" y="12750"/>
                        </a:cubicBezTo>
                        <a:cubicBezTo>
                          <a:pt x="56470" y="11250"/>
                          <a:pt x="56470" y="11250"/>
                          <a:pt x="56470" y="11250"/>
                        </a:cubicBezTo>
                        <a:cubicBezTo>
                          <a:pt x="55058" y="12000"/>
                          <a:pt x="55058" y="12000"/>
                          <a:pt x="55058" y="12000"/>
                        </a:cubicBezTo>
                        <a:cubicBezTo>
                          <a:pt x="50823" y="9000"/>
                          <a:pt x="50823" y="9000"/>
                          <a:pt x="50823" y="9000"/>
                        </a:cubicBezTo>
                        <a:cubicBezTo>
                          <a:pt x="50823" y="6750"/>
                          <a:pt x="50823" y="6750"/>
                          <a:pt x="50823" y="6750"/>
                        </a:cubicBezTo>
                        <a:cubicBezTo>
                          <a:pt x="40941" y="3000"/>
                          <a:pt x="40941" y="3000"/>
                          <a:pt x="40941" y="3000"/>
                        </a:cubicBezTo>
                        <a:cubicBezTo>
                          <a:pt x="39529" y="3750"/>
                          <a:pt x="39529" y="3750"/>
                          <a:pt x="39529" y="3750"/>
                        </a:cubicBezTo>
                        <a:cubicBezTo>
                          <a:pt x="39529" y="3750"/>
                          <a:pt x="38117" y="4500"/>
                          <a:pt x="38117" y="4500"/>
                        </a:cubicBezTo>
                        <a:cubicBezTo>
                          <a:pt x="38117" y="5250"/>
                          <a:pt x="33882" y="5250"/>
                          <a:pt x="33882" y="5250"/>
                        </a:cubicBezTo>
                        <a:cubicBezTo>
                          <a:pt x="32470" y="6750"/>
                          <a:pt x="32470" y="6750"/>
                          <a:pt x="32470" y="6750"/>
                        </a:cubicBezTo>
                        <a:cubicBezTo>
                          <a:pt x="28235" y="7500"/>
                          <a:pt x="28235" y="7500"/>
                          <a:pt x="28235" y="7500"/>
                        </a:cubicBezTo>
                        <a:cubicBezTo>
                          <a:pt x="28235" y="7500"/>
                          <a:pt x="26823" y="7500"/>
                          <a:pt x="26823" y="7500"/>
                        </a:cubicBezTo>
                        <a:cubicBezTo>
                          <a:pt x="26823" y="6750"/>
                          <a:pt x="25411" y="6750"/>
                          <a:pt x="25411" y="6750"/>
                        </a:cubicBezTo>
                        <a:cubicBezTo>
                          <a:pt x="25411" y="6000"/>
                          <a:pt x="25411" y="6000"/>
                          <a:pt x="25411" y="6000"/>
                        </a:cubicBezTo>
                        <a:cubicBezTo>
                          <a:pt x="24000" y="5250"/>
                          <a:pt x="24000" y="4500"/>
                          <a:pt x="24000" y="4500"/>
                        </a:cubicBezTo>
                        <a:cubicBezTo>
                          <a:pt x="24000" y="3750"/>
                          <a:pt x="24000" y="3750"/>
                          <a:pt x="24000" y="3750"/>
                        </a:cubicBezTo>
                        <a:cubicBezTo>
                          <a:pt x="24000" y="3000"/>
                          <a:pt x="24000" y="3000"/>
                          <a:pt x="24000" y="2250"/>
                        </a:cubicBezTo>
                        <a:cubicBezTo>
                          <a:pt x="24000" y="1500"/>
                          <a:pt x="24000" y="1500"/>
                          <a:pt x="24000" y="1500"/>
                        </a:cubicBezTo>
                        <a:cubicBezTo>
                          <a:pt x="21176" y="750"/>
                          <a:pt x="21176" y="750"/>
                          <a:pt x="21176" y="750"/>
                        </a:cubicBezTo>
                        <a:cubicBezTo>
                          <a:pt x="21176" y="750"/>
                          <a:pt x="19764" y="0"/>
                          <a:pt x="19764" y="0"/>
                        </a:cubicBezTo>
                        <a:cubicBezTo>
                          <a:pt x="19764" y="750"/>
                          <a:pt x="16941" y="1500"/>
                          <a:pt x="15529" y="3000"/>
                        </a:cubicBezTo>
                        <a:cubicBezTo>
                          <a:pt x="15529" y="3750"/>
                          <a:pt x="15529" y="3750"/>
                          <a:pt x="15529" y="3750"/>
                        </a:cubicBezTo>
                        <a:cubicBezTo>
                          <a:pt x="12705" y="6750"/>
                          <a:pt x="12705" y="6750"/>
                          <a:pt x="12705" y="6750"/>
                        </a:cubicBezTo>
                        <a:cubicBezTo>
                          <a:pt x="11294" y="9000"/>
                          <a:pt x="11294" y="9000"/>
                          <a:pt x="11294" y="9000"/>
                        </a:cubicBezTo>
                        <a:cubicBezTo>
                          <a:pt x="11294" y="9000"/>
                          <a:pt x="11294" y="9750"/>
                          <a:pt x="9882" y="9750"/>
                        </a:cubicBezTo>
                        <a:cubicBezTo>
                          <a:pt x="9882" y="10500"/>
                          <a:pt x="8470" y="11250"/>
                          <a:pt x="8470" y="11250"/>
                        </a:cubicBezTo>
                        <a:cubicBezTo>
                          <a:pt x="7058" y="11250"/>
                          <a:pt x="7058" y="11250"/>
                          <a:pt x="7058" y="11250"/>
                        </a:cubicBezTo>
                        <a:cubicBezTo>
                          <a:pt x="5647" y="12000"/>
                          <a:pt x="5647" y="12000"/>
                          <a:pt x="5647" y="12000"/>
                        </a:cubicBezTo>
                        <a:cubicBezTo>
                          <a:pt x="7058" y="13500"/>
                          <a:pt x="7058" y="13500"/>
                          <a:pt x="7058" y="13500"/>
                        </a:cubicBezTo>
                        <a:cubicBezTo>
                          <a:pt x="5647" y="13500"/>
                          <a:pt x="5647" y="14250"/>
                          <a:pt x="5647" y="15000"/>
                        </a:cubicBezTo>
                        <a:cubicBezTo>
                          <a:pt x="5647" y="15000"/>
                          <a:pt x="5647" y="15000"/>
                          <a:pt x="4235" y="15750"/>
                        </a:cubicBezTo>
                        <a:cubicBezTo>
                          <a:pt x="4235" y="17250"/>
                          <a:pt x="4235" y="17250"/>
                          <a:pt x="4235" y="17250"/>
                        </a:cubicBezTo>
                        <a:cubicBezTo>
                          <a:pt x="0" y="19500"/>
                          <a:pt x="0" y="19500"/>
                          <a:pt x="0" y="19500"/>
                        </a:cubicBezTo>
                        <a:cubicBezTo>
                          <a:pt x="0" y="20250"/>
                          <a:pt x="0" y="20250"/>
                          <a:pt x="0" y="20250"/>
                        </a:cubicBezTo>
                        <a:cubicBezTo>
                          <a:pt x="1411" y="21000"/>
                          <a:pt x="1411" y="21000"/>
                          <a:pt x="1411" y="21000"/>
                        </a:cubicBezTo>
                        <a:cubicBezTo>
                          <a:pt x="7058" y="22500"/>
                          <a:pt x="7058" y="22500"/>
                          <a:pt x="7058" y="22500"/>
                        </a:cubicBezTo>
                        <a:cubicBezTo>
                          <a:pt x="8470" y="22500"/>
                          <a:pt x="8470" y="23250"/>
                          <a:pt x="8470" y="24000"/>
                        </a:cubicBezTo>
                        <a:cubicBezTo>
                          <a:pt x="8470" y="24000"/>
                          <a:pt x="7058" y="24750"/>
                          <a:pt x="7058" y="24750"/>
                        </a:cubicBezTo>
                        <a:cubicBezTo>
                          <a:pt x="7058" y="26250"/>
                          <a:pt x="7058" y="26250"/>
                          <a:pt x="7058" y="26250"/>
                        </a:cubicBezTo>
                        <a:cubicBezTo>
                          <a:pt x="7058" y="26250"/>
                          <a:pt x="7058" y="27000"/>
                          <a:pt x="7058" y="27000"/>
                        </a:cubicBezTo>
                        <a:cubicBezTo>
                          <a:pt x="7058" y="27000"/>
                          <a:pt x="8470" y="27750"/>
                          <a:pt x="8470" y="27750"/>
                        </a:cubicBezTo>
                        <a:cubicBezTo>
                          <a:pt x="8470" y="28500"/>
                          <a:pt x="7058" y="29250"/>
                          <a:pt x="7058" y="29250"/>
                        </a:cubicBezTo>
                        <a:cubicBezTo>
                          <a:pt x="5647" y="30000"/>
                          <a:pt x="5647" y="30000"/>
                          <a:pt x="5647" y="30000"/>
                        </a:cubicBezTo>
                        <a:cubicBezTo>
                          <a:pt x="7058" y="30750"/>
                          <a:pt x="7058" y="30750"/>
                          <a:pt x="7058" y="30750"/>
                        </a:cubicBezTo>
                        <a:cubicBezTo>
                          <a:pt x="7058" y="30750"/>
                          <a:pt x="7058" y="32250"/>
                          <a:pt x="7058" y="32250"/>
                        </a:cubicBezTo>
                        <a:cubicBezTo>
                          <a:pt x="7058" y="32250"/>
                          <a:pt x="8470" y="33000"/>
                          <a:pt x="9882" y="33000"/>
                        </a:cubicBezTo>
                        <a:cubicBezTo>
                          <a:pt x="9882" y="33000"/>
                          <a:pt x="9882" y="33000"/>
                          <a:pt x="11294" y="33000"/>
                        </a:cubicBezTo>
                        <a:cubicBezTo>
                          <a:pt x="12705" y="33000"/>
                          <a:pt x="12705" y="33000"/>
                          <a:pt x="12705" y="33000"/>
                        </a:cubicBezTo>
                        <a:cubicBezTo>
                          <a:pt x="14117" y="33000"/>
                          <a:pt x="14117" y="33000"/>
                          <a:pt x="14117" y="33000"/>
                        </a:cubicBezTo>
                        <a:cubicBezTo>
                          <a:pt x="19764" y="33750"/>
                          <a:pt x="19764" y="33750"/>
                          <a:pt x="19764" y="33750"/>
                        </a:cubicBezTo>
                        <a:cubicBezTo>
                          <a:pt x="21176" y="34500"/>
                          <a:pt x="21176" y="34500"/>
                          <a:pt x="21176" y="34500"/>
                        </a:cubicBezTo>
                        <a:cubicBezTo>
                          <a:pt x="21176" y="36750"/>
                          <a:pt x="21176" y="36750"/>
                          <a:pt x="21176" y="36750"/>
                        </a:cubicBezTo>
                        <a:cubicBezTo>
                          <a:pt x="22588" y="39000"/>
                          <a:pt x="22588" y="39000"/>
                          <a:pt x="22588" y="39000"/>
                        </a:cubicBezTo>
                        <a:cubicBezTo>
                          <a:pt x="21176" y="40500"/>
                          <a:pt x="21176" y="40500"/>
                          <a:pt x="21176" y="40500"/>
                        </a:cubicBezTo>
                        <a:cubicBezTo>
                          <a:pt x="22588" y="40500"/>
                          <a:pt x="22588" y="40500"/>
                          <a:pt x="22588" y="40500"/>
                        </a:cubicBezTo>
                        <a:cubicBezTo>
                          <a:pt x="22588" y="40500"/>
                          <a:pt x="22588" y="41250"/>
                          <a:pt x="22588" y="41250"/>
                        </a:cubicBezTo>
                        <a:cubicBezTo>
                          <a:pt x="22588" y="42000"/>
                          <a:pt x="22588" y="43500"/>
                          <a:pt x="22588" y="43500"/>
                        </a:cubicBezTo>
                        <a:cubicBezTo>
                          <a:pt x="21176" y="43500"/>
                          <a:pt x="19764" y="44250"/>
                          <a:pt x="18352" y="44250"/>
                        </a:cubicBezTo>
                        <a:cubicBezTo>
                          <a:pt x="16941" y="44250"/>
                          <a:pt x="15529" y="44250"/>
                          <a:pt x="15529" y="44250"/>
                        </a:cubicBezTo>
                        <a:cubicBezTo>
                          <a:pt x="15529" y="45000"/>
                          <a:pt x="15529" y="45000"/>
                          <a:pt x="15529" y="45000"/>
                        </a:cubicBezTo>
                        <a:cubicBezTo>
                          <a:pt x="18352" y="45750"/>
                          <a:pt x="18352" y="45750"/>
                          <a:pt x="18352" y="45750"/>
                        </a:cubicBezTo>
                        <a:cubicBezTo>
                          <a:pt x="19764" y="45750"/>
                          <a:pt x="19764" y="45750"/>
                          <a:pt x="19764" y="45750"/>
                        </a:cubicBezTo>
                        <a:cubicBezTo>
                          <a:pt x="21176" y="46500"/>
                          <a:pt x="21176" y="48000"/>
                          <a:pt x="21176" y="48000"/>
                        </a:cubicBezTo>
                        <a:cubicBezTo>
                          <a:pt x="19764" y="48000"/>
                          <a:pt x="19764" y="48750"/>
                          <a:pt x="19764" y="48750"/>
                        </a:cubicBezTo>
                        <a:cubicBezTo>
                          <a:pt x="18352" y="48750"/>
                          <a:pt x="16941" y="49500"/>
                          <a:pt x="16941" y="49500"/>
                        </a:cubicBezTo>
                        <a:cubicBezTo>
                          <a:pt x="14117" y="51000"/>
                          <a:pt x="14117" y="51000"/>
                          <a:pt x="14117" y="51000"/>
                        </a:cubicBezTo>
                        <a:cubicBezTo>
                          <a:pt x="12705" y="51750"/>
                          <a:pt x="12705" y="51750"/>
                          <a:pt x="12705" y="51750"/>
                        </a:cubicBezTo>
                        <a:cubicBezTo>
                          <a:pt x="14117" y="53250"/>
                          <a:pt x="14117" y="53250"/>
                          <a:pt x="14117" y="53250"/>
                        </a:cubicBezTo>
                        <a:cubicBezTo>
                          <a:pt x="15529" y="53250"/>
                          <a:pt x="15529" y="53250"/>
                          <a:pt x="15529" y="53250"/>
                        </a:cubicBezTo>
                        <a:cubicBezTo>
                          <a:pt x="16941" y="53250"/>
                          <a:pt x="16941" y="53250"/>
                          <a:pt x="16941" y="54000"/>
                        </a:cubicBezTo>
                        <a:cubicBezTo>
                          <a:pt x="16941" y="54000"/>
                          <a:pt x="16941" y="54000"/>
                          <a:pt x="21176" y="54750"/>
                        </a:cubicBezTo>
                        <a:cubicBezTo>
                          <a:pt x="21176" y="56250"/>
                          <a:pt x="21176" y="56250"/>
                          <a:pt x="21176" y="56250"/>
                        </a:cubicBezTo>
                        <a:cubicBezTo>
                          <a:pt x="21176" y="56250"/>
                          <a:pt x="21176" y="57000"/>
                          <a:pt x="21176" y="57750"/>
                        </a:cubicBezTo>
                        <a:cubicBezTo>
                          <a:pt x="21176" y="58500"/>
                          <a:pt x="19764" y="60750"/>
                          <a:pt x="19764" y="60750"/>
                        </a:cubicBezTo>
                        <a:cubicBezTo>
                          <a:pt x="18352" y="62250"/>
                          <a:pt x="18352" y="62250"/>
                          <a:pt x="18352" y="62250"/>
                        </a:cubicBezTo>
                        <a:cubicBezTo>
                          <a:pt x="18352" y="62250"/>
                          <a:pt x="19764" y="63000"/>
                          <a:pt x="19764" y="64500"/>
                        </a:cubicBezTo>
                        <a:cubicBezTo>
                          <a:pt x="18352" y="66750"/>
                          <a:pt x="18352" y="66750"/>
                          <a:pt x="18352" y="66750"/>
                        </a:cubicBezTo>
                        <a:cubicBezTo>
                          <a:pt x="24000" y="67500"/>
                          <a:pt x="24000" y="67500"/>
                          <a:pt x="24000" y="67500"/>
                        </a:cubicBezTo>
                        <a:cubicBezTo>
                          <a:pt x="24000" y="69000"/>
                          <a:pt x="24000" y="69000"/>
                          <a:pt x="24000" y="69000"/>
                        </a:cubicBezTo>
                        <a:cubicBezTo>
                          <a:pt x="19764" y="69750"/>
                          <a:pt x="19764" y="69750"/>
                          <a:pt x="19764" y="69750"/>
                        </a:cubicBezTo>
                        <a:cubicBezTo>
                          <a:pt x="19764" y="69750"/>
                          <a:pt x="18352" y="69750"/>
                          <a:pt x="18352" y="70500"/>
                        </a:cubicBezTo>
                        <a:cubicBezTo>
                          <a:pt x="18352" y="70500"/>
                          <a:pt x="18352" y="71250"/>
                          <a:pt x="18352" y="71250"/>
                        </a:cubicBezTo>
                        <a:cubicBezTo>
                          <a:pt x="21176" y="71250"/>
                          <a:pt x="21176" y="71250"/>
                          <a:pt x="21176" y="71250"/>
                        </a:cubicBezTo>
                        <a:cubicBezTo>
                          <a:pt x="18352" y="72750"/>
                          <a:pt x="18352" y="72750"/>
                          <a:pt x="18352" y="72750"/>
                        </a:cubicBezTo>
                        <a:cubicBezTo>
                          <a:pt x="18352" y="72750"/>
                          <a:pt x="18352" y="74250"/>
                          <a:pt x="18352" y="74250"/>
                        </a:cubicBezTo>
                        <a:cubicBezTo>
                          <a:pt x="18352" y="74250"/>
                          <a:pt x="18352" y="75000"/>
                          <a:pt x="18352" y="75750"/>
                        </a:cubicBezTo>
                        <a:cubicBezTo>
                          <a:pt x="16941" y="75750"/>
                          <a:pt x="16941" y="75750"/>
                          <a:pt x="16941" y="75750"/>
                        </a:cubicBezTo>
                        <a:cubicBezTo>
                          <a:pt x="16941" y="77250"/>
                          <a:pt x="16941" y="77250"/>
                          <a:pt x="16941" y="77250"/>
                        </a:cubicBezTo>
                        <a:cubicBezTo>
                          <a:pt x="15529" y="81000"/>
                          <a:pt x="15529" y="81000"/>
                          <a:pt x="15529" y="81000"/>
                        </a:cubicBezTo>
                        <a:cubicBezTo>
                          <a:pt x="19764" y="85500"/>
                          <a:pt x="19764" y="85500"/>
                          <a:pt x="19764" y="85500"/>
                        </a:cubicBezTo>
                        <a:cubicBezTo>
                          <a:pt x="24000" y="87750"/>
                          <a:pt x="24000" y="87750"/>
                          <a:pt x="24000" y="87750"/>
                        </a:cubicBezTo>
                        <a:cubicBezTo>
                          <a:pt x="26823" y="89250"/>
                          <a:pt x="26823" y="89250"/>
                          <a:pt x="26823" y="89250"/>
                        </a:cubicBezTo>
                        <a:cubicBezTo>
                          <a:pt x="25411" y="91500"/>
                          <a:pt x="25411" y="91500"/>
                          <a:pt x="25411" y="91500"/>
                        </a:cubicBezTo>
                        <a:cubicBezTo>
                          <a:pt x="26823" y="92250"/>
                          <a:pt x="26823" y="92250"/>
                          <a:pt x="26823" y="92250"/>
                        </a:cubicBezTo>
                        <a:cubicBezTo>
                          <a:pt x="26823" y="93750"/>
                          <a:pt x="26823" y="93750"/>
                          <a:pt x="26823" y="93750"/>
                        </a:cubicBezTo>
                        <a:cubicBezTo>
                          <a:pt x="26823" y="93750"/>
                          <a:pt x="26823" y="94500"/>
                          <a:pt x="25411" y="94500"/>
                        </a:cubicBezTo>
                        <a:cubicBezTo>
                          <a:pt x="25411" y="94500"/>
                          <a:pt x="24000" y="94500"/>
                          <a:pt x="24000" y="94500"/>
                        </a:cubicBezTo>
                        <a:cubicBezTo>
                          <a:pt x="22588" y="93750"/>
                          <a:pt x="21176" y="92250"/>
                          <a:pt x="21176" y="92250"/>
                        </a:cubicBezTo>
                        <a:cubicBezTo>
                          <a:pt x="21176" y="92250"/>
                          <a:pt x="19764" y="91500"/>
                          <a:pt x="19764" y="90750"/>
                        </a:cubicBezTo>
                        <a:cubicBezTo>
                          <a:pt x="19764" y="90750"/>
                          <a:pt x="18352" y="90000"/>
                          <a:pt x="18352" y="90000"/>
                        </a:cubicBezTo>
                        <a:cubicBezTo>
                          <a:pt x="15529" y="90000"/>
                          <a:pt x="15529" y="90000"/>
                          <a:pt x="15529" y="90000"/>
                        </a:cubicBezTo>
                        <a:cubicBezTo>
                          <a:pt x="15529" y="90750"/>
                          <a:pt x="15529" y="90750"/>
                          <a:pt x="15529" y="90750"/>
                        </a:cubicBezTo>
                        <a:cubicBezTo>
                          <a:pt x="15529" y="90750"/>
                          <a:pt x="16941" y="91500"/>
                          <a:pt x="16941" y="92250"/>
                        </a:cubicBezTo>
                        <a:cubicBezTo>
                          <a:pt x="18352" y="92250"/>
                          <a:pt x="19764" y="93000"/>
                          <a:pt x="19764" y="93000"/>
                        </a:cubicBezTo>
                        <a:cubicBezTo>
                          <a:pt x="19764" y="93000"/>
                          <a:pt x="21176" y="93750"/>
                          <a:pt x="21176" y="93750"/>
                        </a:cubicBezTo>
                        <a:cubicBezTo>
                          <a:pt x="21176" y="93750"/>
                          <a:pt x="22588" y="96000"/>
                          <a:pt x="22588" y="96000"/>
                        </a:cubicBezTo>
                        <a:cubicBezTo>
                          <a:pt x="38117" y="101250"/>
                          <a:pt x="38117" y="101250"/>
                          <a:pt x="38117" y="101250"/>
                        </a:cubicBezTo>
                        <a:cubicBezTo>
                          <a:pt x="43764" y="102000"/>
                          <a:pt x="43764" y="102000"/>
                          <a:pt x="43764" y="102000"/>
                        </a:cubicBezTo>
                        <a:cubicBezTo>
                          <a:pt x="45176" y="103500"/>
                          <a:pt x="45176" y="103500"/>
                          <a:pt x="45176" y="103500"/>
                        </a:cubicBezTo>
                        <a:cubicBezTo>
                          <a:pt x="46588" y="103500"/>
                          <a:pt x="46588" y="103500"/>
                          <a:pt x="46588" y="103500"/>
                        </a:cubicBezTo>
                        <a:cubicBezTo>
                          <a:pt x="46588" y="103500"/>
                          <a:pt x="48000" y="103500"/>
                          <a:pt x="49411" y="103500"/>
                        </a:cubicBezTo>
                        <a:cubicBezTo>
                          <a:pt x="49411" y="103500"/>
                          <a:pt x="49411" y="103500"/>
                          <a:pt x="49411" y="103500"/>
                        </a:cubicBezTo>
                        <a:cubicBezTo>
                          <a:pt x="49411" y="103500"/>
                          <a:pt x="52235" y="104250"/>
                          <a:pt x="52235" y="104250"/>
                        </a:cubicBezTo>
                        <a:cubicBezTo>
                          <a:pt x="52235" y="104250"/>
                          <a:pt x="53647" y="104250"/>
                          <a:pt x="53647" y="104250"/>
                        </a:cubicBezTo>
                        <a:cubicBezTo>
                          <a:pt x="53647" y="105000"/>
                          <a:pt x="56470" y="107250"/>
                          <a:pt x="57882" y="108750"/>
                        </a:cubicBezTo>
                        <a:cubicBezTo>
                          <a:pt x="57882" y="108750"/>
                          <a:pt x="59294" y="109500"/>
                          <a:pt x="59294" y="110250"/>
                        </a:cubicBezTo>
                        <a:cubicBezTo>
                          <a:pt x="60705" y="110250"/>
                          <a:pt x="63529" y="111000"/>
                          <a:pt x="63529" y="111000"/>
                        </a:cubicBezTo>
                        <a:cubicBezTo>
                          <a:pt x="63529" y="111750"/>
                          <a:pt x="63529" y="112500"/>
                          <a:pt x="63529" y="113250"/>
                        </a:cubicBezTo>
                        <a:cubicBezTo>
                          <a:pt x="63529" y="113250"/>
                          <a:pt x="63529" y="113250"/>
                          <a:pt x="63529" y="114000"/>
                        </a:cubicBezTo>
                        <a:cubicBezTo>
                          <a:pt x="63529" y="114750"/>
                          <a:pt x="64941" y="114750"/>
                          <a:pt x="64941" y="114750"/>
                        </a:cubicBezTo>
                        <a:cubicBezTo>
                          <a:pt x="64941" y="115500"/>
                          <a:pt x="66352" y="116250"/>
                          <a:pt x="66352" y="116250"/>
                        </a:cubicBezTo>
                        <a:cubicBezTo>
                          <a:pt x="66352" y="118500"/>
                          <a:pt x="66352" y="118500"/>
                          <a:pt x="66352" y="118500"/>
                        </a:cubicBezTo>
                        <a:cubicBezTo>
                          <a:pt x="67764" y="118500"/>
                          <a:pt x="67764" y="118500"/>
                          <a:pt x="67764" y="118500"/>
                        </a:cubicBezTo>
                        <a:lnTo>
                          <a:pt x="69176" y="1185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7" name="Shape 2017"/>
                  <p:cNvSpPr/>
                  <p:nvPr/>
                </p:nvSpPr>
                <p:spPr>
                  <a:xfrm>
                    <a:off x="5810958" y="3583492"/>
                    <a:ext cx="177008" cy="196037"/>
                  </a:xfrm>
                  <a:custGeom>
                    <a:avLst/>
                    <a:gdLst/>
                    <a:ahLst/>
                    <a:cxnLst/>
                    <a:rect l="0" t="0" r="0" b="0"/>
                    <a:pathLst>
                      <a:path w="120000" h="120000" extrusionOk="0">
                        <a:moveTo>
                          <a:pt x="64615" y="117303"/>
                        </a:moveTo>
                        <a:cubicBezTo>
                          <a:pt x="64615" y="117303"/>
                          <a:pt x="72307" y="120000"/>
                          <a:pt x="70769" y="120000"/>
                        </a:cubicBezTo>
                        <a:cubicBezTo>
                          <a:pt x="70769" y="120000"/>
                          <a:pt x="70769" y="120000"/>
                          <a:pt x="70769" y="118651"/>
                        </a:cubicBezTo>
                        <a:cubicBezTo>
                          <a:pt x="70769" y="118651"/>
                          <a:pt x="69230" y="120000"/>
                          <a:pt x="69230" y="120000"/>
                        </a:cubicBezTo>
                        <a:cubicBezTo>
                          <a:pt x="69230" y="120000"/>
                          <a:pt x="66153" y="117303"/>
                          <a:pt x="67692" y="117303"/>
                        </a:cubicBezTo>
                        <a:cubicBezTo>
                          <a:pt x="67692" y="117303"/>
                          <a:pt x="67692" y="115955"/>
                          <a:pt x="67692" y="115955"/>
                        </a:cubicBezTo>
                        <a:cubicBezTo>
                          <a:pt x="67692" y="114606"/>
                          <a:pt x="66153" y="113258"/>
                          <a:pt x="66153" y="113258"/>
                        </a:cubicBezTo>
                        <a:cubicBezTo>
                          <a:pt x="67692" y="111910"/>
                          <a:pt x="67692" y="111910"/>
                          <a:pt x="67692" y="111910"/>
                        </a:cubicBezTo>
                        <a:cubicBezTo>
                          <a:pt x="67692" y="111910"/>
                          <a:pt x="67692" y="109213"/>
                          <a:pt x="67692" y="109213"/>
                        </a:cubicBezTo>
                        <a:cubicBezTo>
                          <a:pt x="67692" y="109213"/>
                          <a:pt x="67692" y="107865"/>
                          <a:pt x="67692" y="107865"/>
                        </a:cubicBezTo>
                        <a:cubicBezTo>
                          <a:pt x="67692" y="107865"/>
                          <a:pt x="66153" y="106516"/>
                          <a:pt x="66153" y="106516"/>
                        </a:cubicBezTo>
                        <a:cubicBezTo>
                          <a:pt x="67692" y="103820"/>
                          <a:pt x="67692" y="103820"/>
                          <a:pt x="67692" y="103820"/>
                        </a:cubicBezTo>
                        <a:cubicBezTo>
                          <a:pt x="67692" y="103820"/>
                          <a:pt x="67692" y="102471"/>
                          <a:pt x="67692" y="102471"/>
                        </a:cubicBezTo>
                        <a:cubicBezTo>
                          <a:pt x="67692" y="101123"/>
                          <a:pt x="67692" y="99775"/>
                          <a:pt x="67692" y="99775"/>
                        </a:cubicBezTo>
                        <a:cubicBezTo>
                          <a:pt x="64615" y="98426"/>
                          <a:pt x="64615" y="98426"/>
                          <a:pt x="64615" y="98426"/>
                        </a:cubicBezTo>
                        <a:cubicBezTo>
                          <a:pt x="61538" y="97078"/>
                          <a:pt x="61538" y="97078"/>
                          <a:pt x="61538" y="97078"/>
                        </a:cubicBezTo>
                        <a:cubicBezTo>
                          <a:pt x="60000" y="95730"/>
                          <a:pt x="60000" y="95730"/>
                          <a:pt x="60000" y="95730"/>
                        </a:cubicBezTo>
                        <a:cubicBezTo>
                          <a:pt x="60000" y="93033"/>
                          <a:pt x="60000" y="93033"/>
                          <a:pt x="60000" y="93033"/>
                        </a:cubicBezTo>
                        <a:cubicBezTo>
                          <a:pt x="63076" y="90337"/>
                          <a:pt x="63076" y="90337"/>
                          <a:pt x="63076" y="90337"/>
                        </a:cubicBezTo>
                        <a:cubicBezTo>
                          <a:pt x="64615" y="87640"/>
                          <a:pt x="64615" y="87640"/>
                          <a:pt x="64615" y="87640"/>
                        </a:cubicBezTo>
                        <a:cubicBezTo>
                          <a:pt x="64615" y="87640"/>
                          <a:pt x="66153" y="86292"/>
                          <a:pt x="66153" y="86292"/>
                        </a:cubicBezTo>
                        <a:cubicBezTo>
                          <a:pt x="66153" y="84943"/>
                          <a:pt x="66153" y="83595"/>
                          <a:pt x="66153" y="83595"/>
                        </a:cubicBezTo>
                        <a:cubicBezTo>
                          <a:pt x="66153" y="80898"/>
                          <a:pt x="66153" y="80898"/>
                          <a:pt x="66153" y="80898"/>
                        </a:cubicBezTo>
                        <a:cubicBezTo>
                          <a:pt x="67692" y="79550"/>
                          <a:pt x="67692" y="79550"/>
                          <a:pt x="67692" y="79550"/>
                        </a:cubicBezTo>
                        <a:cubicBezTo>
                          <a:pt x="69230" y="78202"/>
                          <a:pt x="69230" y="78202"/>
                          <a:pt x="69230" y="78202"/>
                        </a:cubicBezTo>
                        <a:cubicBezTo>
                          <a:pt x="69230" y="78202"/>
                          <a:pt x="70769" y="76853"/>
                          <a:pt x="70769" y="76853"/>
                        </a:cubicBezTo>
                        <a:cubicBezTo>
                          <a:pt x="70769" y="75505"/>
                          <a:pt x="72307" y="74157"/>
                          <a:pt x="72307" y="74157"/>
                        </a:cubicBezTo>
                        <a:cubicBezTo>
                          <a:pt x="73846" y="71460"/>
                          <a:pt x="73846" y="71460"/>
                          <a:pt x="73846" y="71460"/>
                        </a:cubicBezTo>
                        <a:cubicBezTo>
                          <a:pt x="75384" y="68764"/>
                          <a:pt x="75384" y="68764"/>
                          <a:pt x="75384" y="68764"/>
                        </a:cubicBezTo>
                        <a:cubicBezTo>
                          <a:pt x="76923" y="66067"/>
                          <a:pt x="76923" y="66067"/>
                          <a:pt x="76923" y="66067"/>
                        </a:cubicBezTo>
                        <a:cubicBezTo>
                          <a:pt x="75384" y="64719"/>
                          <a:pt x="75384" y="64719"/>
                          <a:pt x="75384" y="64719"/>
                        </a:cubicBezTo>
                        <a:cubicBezTo>
                          <a:pt x="75384" y="64719"/>
                          <a:pt x="81538" y="59325"/>
                          <a:pt x="81538" y="59325"/>
                        </a:cubicBezTo>
                        <a:cubicBezTo>
                          <a:pt x="81538" y="59325"/>
                          <a:pt x="84615" y="59325"/>
                          <a:pt x="84615" y="59325"/>
                        </a:cubicBezTo>
                        <a:cubicBezTo>
                          <a:pt x="84615" y="60674"/>
                          <a:pt x="84615" y="60674"/>
                          <a:pt x="84615" y="60674"/>
                        </a:cubicBezTo>
                        <a:cubicBezTo>
                          <a:pt x="86153" y="62022"/>
                          <a:pt x="86153" y="62022"/>
                          <a:pt x="86153" y="62022"/>
                        </a:cubicBezTo>
                        <a:cubicBezTo>
                          <a:pt x="86153" y="63370"/>
                          <a:pt x="86153" y="63370"/>
                          <a:pt x="86153" y="63370"/>
                        </a:cubicBezTo>
                        <a:cubicBezTo>
                          <a:pt x="86153" y="63370"/>
                          <a:pt x="86153" y="64719"/>
                          <a:pt x="86153" y="66067"/>
                        </a:cubicBezTo>
                        <a:cubicBezTo>
                          <a:pt x="86153" y="66067"/>
                          <a:pt x="86153" y="67415"/>
                          <a:pt x="86153" y="67415"/>
                        </a:cubicBezTo>
                        <a:cubicBezTo>
                          <a:pt x="86153" y="67415"/>
                          <a:pt x="87692" y="68764"/>
                          <a:pt x="87692" y="68764"/>
                        </a:cubicBezTo>
                        <a:cubicBezTo>
                          <a:pt x="87692" y="70112"/>
                          <a:pt x="89230" y="71460"/>
                          <a:pt x="89230" y="71460"/>
                        </a:cubicBezTo>
                        <a:cubicBezTo>
                          <a:pt x="89230" y="71460"/>
                          <a:pt x="89230" y="71460"/>
                          <a:pt x="90769" y="71460"/>
                        </a:cubicBezTo>
                        <a:cubicBezTo>
                          <a:pt x="90769" y="72808"/>
                          <a:pt x="90769" y="72808"/>
                          <a:pt x="90769" y="72808"/>
                        </a:cubicBezTo>
                        <a:cubicBezTo>
                          <a:pt x="93846" y="71460"/>
                          <a:pt x="93846" y="71460"/>
                          <a:pt x="93846" y="71460"/>
                        </a:cubicBezTo>
                        <a:cubicBezTo>
                          <a:pt x="96923" y="68764"/>
                          <a:pt x="96923" y="68764"/>
                          <a:pt x="96923" y="68764"/>
                        </a:cubicBezTo>
                        <a:cubicBezTo>
                          <a:pt x="96923" y="68764"/>
                          <a:pt x="101538" y="67415"/>
                          <a:pt x="101538" y="67415"/>
                        </a:cubicBezTo>
                        <a:cubicBezTo>
                          <a:pt x="101538" y="67415"/>
                          <a:pt x="103076" y="64719"/>
                          <a:pt x="103076" y="64719"/>
                        </a:cubicBezTo>
                        <a:cubicBezTo>
                          <a:pt x="104615" y="64719"/>
                          <a:pt x="104615" y="64719"/>
                          <a:pt x="104615" y="64719"/>
                        </a:cubicBezTo>
                        <a:cubicBezTo>
                          <a:pt x="104615" y="64719"/>
                          <a:pt x="104615" y="64719"/>
                          <a:pt x="104615" y="64719"/>
                        </a:cubicBezTo>
                        <a:cubicBezTo>
                          <a:pt x="103076" y="62022"/>
                          <a:pt x="106153" y="59325"/>
                          <a:pt x="104615" y="56629"/>
                        </a:cubicBezTo>
                        <a:cubicBezTo>
                          <a:pt x="104615" y="56629"/>
                          <a:pt x="103076" y="55280"/>
                          <a:pt x="103076" y="55280"/>
                        </a:cubicBezTo>
                        <a:cubicBezTo>
                          <a:pt x="103076" y="55280"/>
                          <a:pt x="103076" y="55280"/>
                          <a:pt x="103076" y="55280"/>
                        </a:cubicBezTo>
                        <a:cubicBezTo>
                          <a:pt x="103076" y="55280"/>
                          <a:pt x="103076" y="55280"/>
                          <a:pt x="103076" y="55280"/>
                        </a:cubicBezTo>
                        <a:cubicBezTo>
                          <a:pt x="100000" y="52584"/>
                          <a:pt x="95384" y="51235"/>
                          <a:pt x="96923" y="51235"/>
                        </a:cubicBezTo>
                        <a:cubicBezTo>
                          <a:pt x="98461" y="48539"/>
                          <a:pt x="104615" y="49887"/>
                          <a:pt x="107692" y="48539"/>
                        </a:cubicBezTo>
                        <a:cubicBezTo>
                          <a:pt x="109230" y="48539"/>
                          <a:pt x="109230" y="45842"/>
                          <a:pt x="110769" y="44494"/>
                        </a:cubicBezTo>
                        <a:cubicBezTo>
                          <a:pt x="112307" y="44494"/>
                          <a:pt x="115384" y="45842"/>
                          <a:pt x="115384" y="43146"/>
                        </a:cubicBezTo>
                        <a:cubicBezTo>
                          <a:pt x="115384" y="40449"/>
                          <a:pt x="118461" y="40449"/>
                          <a:pt x="120000" y="41797"/>
                        </a:cubicBezTo>
                        <a:cubicBezTo>
                          <a:pt x="120000" y="41797"/>
                          <a:pt x="120000" y="41797"/>
                          <a:pt x="120000" y="41797"/>
                        </a:cubicBezTo>
                        <a:cubicBezTo>
                          <a:pt x="118461" y="39101"/>
                          <a:pt x="113846" y="36404"/>
                          <a:pt x="112307" y="35056"/>
                        </a:cubicBezTo>
                        <a:cubicBezTo>
                          <a:pt x="112307" y="35056"/>
                          <a:pt x="112307" y="33707"/>
                          <a:pt x="109230" y="33707"/>
                        </a:cubicBezTo>
                        <a:cubicBezTo>
                          <a:pt x="107692" y="33707"/>
                          <a:pt x="104615" y="31011"/>
                          <a:pt x="104615" y="31011"/>
                        </a:cubicBezTo>
                        <a:cubicBezTo>
                          <a:pt x="100000" y="31011"/>
                          <a:pt x="100000" y="31011"/>
                          <a:pt x="100000" y="31011"/>
                        </a:cubicBezTo>
                        <a:cubicBezTo>
                          <a:pt x="100000" y="31011"/>
                          <a:pt x="95384" y="26966"/>
                          <a:pt x="95384" y="26966"/>
                        </a:cubicBezTo>
                        <a:cubicBezTo>
                          <a:pt x="93846" y="26966"/>
                          <a:pt x="89230" y="25617"/>
                          <a:pt x="89230" y="25617"/>
                        </a:cubicBezTo>
                        <a:cubicBezTo>
                          <a:pt x="89230" y="22921"/>
                          <a:pt x="89230" y="22921"/>
                          <a:pt x="89230" y="22921"/>
                        </a:cubicBezTo>
                        <a:cubicBezTo>
                          <a:pt x="89230" y="22921"/>
                          <a:pt x="87692" y="22921"/>
                          <a:pt x="87692" y="22921"/>
                        </a:cubicBezTo>
                        <a:cubicBezTo>
                          <a:pt x="86153" y="22921"/>
                          <a:pt x="84615" y="24269"/>
                          <a:pt x="84615" y="24269"/>
                        </a:cubicBezTo>
                        <a:cubicBezTo>
                          <a:pt x="80000" y="25617"/>
                          <a:pt x="80000" y="25617"/>
                          <a:pt x="80000" y="25617"/>
                        </a:cubicBezTo>
                        <a:cubicBezTo>
                          <a:pt x="80000" y="25617"/>
                          <a:pt x="76923" y="25617"/>
                          <a:pt x="76923" y="25617"/>
                        </a:cubicBezTo>
                        <a:cubicBezTo>
                          <a:pt x="75384" y="24269"/>
                          <a:pt x="73846" y="21573"/>
                          <a:pt x="73846" y="21573"/>
                        </a:cubicBezTo>
                        <a:cubicBezTo>
                          <a:pt x="73846" y="21573"/>
                          <a:pt x="73846" y="21573"/>
                          <a:pt x="72307" y="21573"/>
                        </a:cubicBezTo>
                        <a:cubicBezTo>
                          <a:pt x="70769" y="22921"/>
                          <a:pt x="73846" y="24269"/>
                          <a:pt x="70769" y="22921"/>
                        </a:cubicBezTo>
                        <a:cubicBezTo>
                          <a:pt x="66153" y="21573"/>
                          <a:pt x="66153" y="21573"/>
                          <a:pt x="66153" y="21573"/>
                        </a:cubicBezTo>
                        <a:cubicBezTo>
                          <a:pt x="63076" y="18876"/>
                          <a:pt x="63076" y="18876"/>
                          <a:pt x="63076" y="18876"/>
                        </a:cubicBezTo>
                        <a:cubicBezTo>
                          <a:pt x="61538" y="18876"/>
                          <a:pt x="61538" y="18876"/>
                          <a:pt x="61538" y="18876"/>
                        </a:cubicBezTo>
                        <a:cubicBezTo>
                          <a:pt x="60000" y="18876"/>
                          <a:pt x="60000" y="18876"/>
                          <a:pt x="60000" y="18876"/>
                        </a:cubicBezTo>
                        <a:cubicBezTo>
                          <a:pt x="60000" y="18876"/>
                          <a:pt x="58461" y="16179"/>
                          <a:pt x="58461" y="16179"/>
                        </a:cubicBezTo>
                        <a:cubicBezTo>
                          <a:pt x="58461" y="16179"/>
                          <a:pt x="58461" y="13483"/>
                          <a:pt x="58461" y="13483"/>
                        </a:cubicBezTo>
                        <a:cubicBezTo>
                          <a:pt x="56923" y="13483"/>
                          <a:pt x="52307" y="12134"/>
                          <a:pt x="52307" y="12134"/>
                        </a:cubicBezTo>
                        <a:cubicBezTo>
                          <a:pt x="50769" y="9438"/>
                          <a:pt x="50769" y="9438"/>
                          <a:pt x="50769" y="9438"/>
                        </a:cubicBezTo>
                        <a:cubicBezTo>
                          <a:pt x="50769" y="9438"/>
                          <a:pt x="50769" y="9438"/>
                          <a:pt x="50769" y="9438"/>
                        </a:cubicBezTo>
                        <a:cubicBezTo>
                          <a:pt x="49230" y="9438"/>
                          <a:pt x="46153" y="8089"/>
                          <a:pt x="46153" y="8089"/>
                        </a:cubicBezTo>
                        <a:cubicBezTo>
                          <a:pt x="44615" y="6741"/>
                          <a:pt x="44615" y="6741"/>
                          <a:pt x="44615" y="6741"/>
                        </a:cubicBezTo>
                        <a:cubicBezTo>
                          <a:pt x="40000" y="6741"/>
                          <a:pt x="40000" y="6741"/>
                          <a:pt x="40000" y="6741"/>
                        </a:cubicBezTo>
                        <a:cubicBezTo>
                          <a:pt x="38461" y="4044"/>
                          <a:pt x="38461" y="4044"/>
                          <a:pt x="38461" y="4044"/>
                        </a:cubicBezTo>
                        <a:cubicBezTo>
                          <a:pt x="38461" y="4044"/>
                          <a:pt x="36923" y="2696"/>
                          <a:pt x="36923" y="2696"/>
                        </a:cubicBezTo>
                        <a:cubicBezTo>
                          <a:pt x="38461" y="2696"/>
                          <a:pt x="38461" y="0"/>
                          <a:pt x="38461" y="0"/>
                        </a:cubicBezTo>
                        <a:cubicBezTo>
                          <a:pt x="35384" y="0"/>
                          <a:pt x="35384" y="0"/>
                          <a:pt x="35384" y="0"/>
                        </a:cubicBezTo>
                        <a:cubicBezTo>
                          <a:pt x="35384" y="0"/>
                          <a:pt x="32307" y="1348"/>
                          <a:pt x="32307" y="1348"/>
                        </a:cubicBezTo>
                        <a:cubicBezTo>
                          <a:pt x="32307" y="1348"/>
                          <a:pt x="30769" y="2696"/>
                          <a:pt x="30769" y="2696"/>
                        </a:cubicBezTo>
                        <a:cubicBezTo>
                          <a:pt x="29230" y="2696"/>
                          <a:pt x="29230" y="2696"/>
                          <a:pt x="29230" y="2696"/>
                        </a:cubicBezTo>
                        <a:cubicBezTo>
                          <a:pt x="27692" y="1348"/>
                          <a:pt x="27692" y="1348"/>
                          <a:pt x="27692" y="1348"/>
                        </a:cubicBezTo>
                        <a:cubicBezTo>
                          <a:pt x="26153" y="0"/>
                          <a:pt x="26153" y="0"/>
                          <a:pt x="26153" y="0"/>
                        </a:cubicBezTo>
                        <a:cubicBezTo>
                          <a:pt x="23076" y="2696"/>
                          <a:pt x="23076" y="2696"/>
                          <a:pt x="23076" y="2696"/>
                        </a:cubicBezTo>
                        <a:cubicBezTo>
                          <a:pt x="21538" y="4044"/>
                          <a:pt x="21538" y="4044"/>
                          <a:pt x="21538" y="4044"/>
                        </a:cubicBezTo>
                        <a:cubicBezTo>
                          <a:pt x="21538" y="4044"/>
                          <a:pt x="21538" y="5393"/>
                          <a:pt x="21538" y="5393"/>
                        </a:cubicBezTo>
                        <a:cubicBezTo>
                          <a:pt x="21538" y="5393"/>
                          <a:pt x="24615" y="5393"/>
                          <a:pt x="24615" y="5393"/>
                        </a:cubicBezTo>
                        <a:cubicBezTo>
                          <a:pt x="24615" y="8089"/>
                          <a:pt x="24615" y="8089"/>
                          <a:pt x="24615" y="8089"/>
                        </a:cubicBezTo>
                        <a:cubicBezTo>
                          <a:pt x="24615" y="8089"/>
                          <a:pt x="24615" y="8089"/>
                          <a:pt x="26153" y="8089"/>
                        </a:cubicBezTo>
                        <a:cubicBezTo>
                          <a:pt x="26153" y="8089"/>
                          <a:pt x="27692" y="9438"/>
                          <a:pt x="27692" y="9438"/>
                        </a:cubicBezTo>
                        <a:cubicBezTo>
                          <a:pt x="29230" y="10786"/>
                          <a:pt x="29230" y="10786"/>
                          <a:pt x="29230" y="10786"/>
                        </a:cubicBezTo>
                        <a:cubicBezTo>
                          <a:pt x="29230" y="13483"/>
                          <a:pt x="29230" y="13483"/>
                          <a:pt x="29230" y="13483"/>
                        </a:cubicBezTo>
                        <a:cubicBezTo>
                          <a:pt x="32307" y="14831"/>
                          <a:pt x="32307" y="14831"/>
                          <a:pt x="32307" y="14831"/>
                        </a:cubicBezTo>
                        <a:cubicBezTo>
                          <a:pt x="32307" y="17528"/>
                          <a:pt x="32307" y="17528"/>
                          <a:pt x="32307" y="17528"/>
                        </a:cubicBezTo>
                        <a:cubicBezTo>
                          <a:pt x="30769" y="18876"/>
                          <a:pt x="30769" y="18876"/>
                          <a:pt x="30769" y="18876"/>
                        </a:cubicBezTo>
                        <a:cubicBezTo>
                          <a:pt x="29230" y="20224"/>
                          <a:pt x="29230" y="20224"/>
                          <a:pt x="29230" y="20224"/>
                        </a:cubicBezTo>
                        <a:cubicBezTo>
                          <a:pt x="26153" y="20224"/>
                          <a:pt x="26153" y="20224"/>
                          <a:pt x="26153" y="20224"/>
                        </a:cubicBezTo>
                        <a:cubicBezTo>
                          <a:pt x="26153" y="18876"/>
                          <a:pt x="26153" y="18876"/>
                          <a:pt x="26153" y="18876"/>
                        </a:cubicBezTo>
                        <a:cubicBezTo>
                          <a:pt x="24615" y="16179"/>
                          <a:pt x="24615" y="16179"/>
                          <a:pt x="24615" y="16179"/>
                        </a:cubicBezTo>
                        <a:cubicBezTo>
                          <a:pt x="23076" y="14831"/>
                          <a:pt x="23076" y="14831"/>
                          <a:pt x="23076" y="14831"/>
                        </a:cubicBezTo>
                        <a:cubicBezTo>
                          <a:pt x="18461" y="16179"/>
                          <a:pt x="18461" y="16179"/>
                          <a:pt x="18461" y="16179"/>
                        </a:cubicBezTo>
                        <a:cubicBezTo>
                          <a:pt x="18461" y="18876"/>
                          <a:pt x="18461" y="18876"/>
                          <a:pt x="18461" y="18876"/>
                        </a:cubicBezTo>
                        <a:cubicBezTo>
                          <a:pt x="10769" y="24269"/>
                          <a:pt x="10769" y="24269"/>
                          <a:pt x="10769" y="24269"/>
                        </a:cubicBezTo>
                        <a:cubicBezTo>
                          <a:pt x="12307" y="26966"/>
                          <a:pt x="12307" y="26966"/>
                          <a:pt x="12307" y="26966"/>
                        </a:cubicBezTo>
                        <a:cubicBezTo>
                          <a:pt x="9230" y="29662"/>
                          <a:pt x="9230" y="29662"/>
                          <a:pt x="9230" y="29662"/>
                        </a:cubicBezTo>
                        <a:cubicBezTo>
                          <a:pt x="9230" y="33707"/>
                          <a:pt x="9230" y="33707"/>
                          <a:pt x="9230" y="33707"/>
                        </a:cubicBezTo>
                        <a:cubicBezTo>
                          <a:pt x="10769" y="37752"/>
                          <a:pt x="10769" y="37752"/>
                          <a:pt x="10769" y="37752"/>
                        </a:cubicBezTo>
                        <a:cubicBezTo>
                          <a:pt x="10769" y="40449"/>
                          <a:pt x="10769" y="40449"/>
                          <a:pt x="10769" y="40449"/>
                        </a:cubicBezTo>
                        <a:cubicBezTo>
                          <a:pt x="4615" y="41797"/>
                          <a:pt x="4615" y="41797"/>
                          <a:pt x="4615" y="41797"/>
                        </a:cubicBezTo>
                        <a:cubicBezTo>
                          <a:pt x="0" y="43146"/>
                          <a:pt x="0" y="43146"/>
                          <a:pt x="0" y="43146"/>
                        </a:cubicBezTo>
                        <a:cubicBezTo>
                          <a:pt x="0" y="47191"/>
                          <a:pt x="0" y="47191"/>
                          <a:pt x="0" y="47191"/>
                        </a:cubicBezTo>
                        <a:cubicBezTo>
                          <a:pt x="0" y="48539"/>
                          <a:pt x="0" y="48539"/>
                          <a:pt x="0" y="48539"/>
                        </a:cubicBezTo>
                        <a:cubicBezTo>
                          <a:pt x="4615" y="53932"/>
                          <a:pt x="4615" y="53932"/>
                          <a:pt x="4615" y="53932"/>
                        </a:cubicBezTo>
                        <a:cubicBezTo>
                          <a:pt x="3076" y="55280"/>
                          <a:pt x="3076" y="55280"/>
                          <a:pt x="3076" y="55280"/>
                        </a:cubicBezTo>
                        <a:cubicBezTo>
                          <a:pt x="1538" y="56629"/>
                          <a:pt x="1538" y="56629"/>
                          <a:pt x="1538" y="56629"/>
                        </a:cubicBezTo>
                        <a:cubicBezTo>
                          <a:pt x="6153" y="62022"/>
                          <a:pt x="6153" y="62022"/>
                          <a:pt x="6153" y="62022"/>
                        </a:cubicBezTo>
                        <a:cubicBezTo>
                          <a:pt x="7692" y="63370"/>
                          <a:pt x="7692" y="63370"/>
                          <a:pt x="7692" y="63370"/>
                        </a:cubicBezTo>
                        <a:cubicBezTo>
                          <a:pt x="10769" y="63370"/>
                          <a:pt x="10769" y="63370"/>
                          <a:pt x="10769" y="63370"/>
                        </a:cubicBezTo>
                        <a:cubicBezTo>
                          <a:pt x="10769" y="66067"/>
                          <a:pt x="10769" y="66067"/>
                          <a:pt x="10769" y="66067"/>
                        </a:cubicBezTo>
                        <a:cubicBezTo>
                          <a:pt x="10769" y="67415"/>
                          <a:pt x="10769" y="67415"/>
                          <a:pt x="10769" y="67415"/>
                        </a:cubicBezTo>
                        <a:cubicBezTo>
                          <a:pt x="10769" y="70112"/>
                          <a:pt x="10769" y="70112"/>
                          <a:pt x="10769" y="70112"/>
                        </a:cubicBezTo>
                        <a:cubicBezTo>
                          <a:pt x="7692" y="72808"/>
                          <a:pt x="7692" y="72808"/>
                          <a:pt x="7692" y="72808"/>
                        </a:cubicBezTo>
                        <a:cubicBezTo>
                          <a:pt x="9230" y="75505"/>
                          <a:pt x="9230" y="75505"/>
                          <a:pt x="9230" y="75505"/>
                        </a:cubicBezTo>
                        <a:cubicBezTo>
                          <a:pt x="6153" y="74157"/>
                          <a:pt x="6153" y="74157"/>
                          <a:pt x="6153" y="74157"/>
                        </a:cubicBezTo>
                        <a:cubicBezTo>
                          <a:pt x="4615" y="76853"/>
                          <a:pt x="4615" y="76853"/>
                          <a:pt x="4615" y="76853"/>
                        </a:cubicBezTo>
                        <a:cubicBezTo>
                          <a:pt x="6153" y="78202"/>
                          <a:pt x="6153" y="78202"/>
                          <a:pt x="6153" y="78202"/>
                        </a:cubicBezTo>
                        <a:cubicBezTo>
                          <a:pt x="4615" y="79550"/>
                          <a:pt x="4615" y="79550"/>
                          <a:pt x="4615" y="79550"/>
                        </a:cubicBezTo>
                        <a:cubicBezTo>
                          <a:pt x="7692" y="82247"/>
                          <a:pt x="7692" y="82247"/>
                          <a:pt x="7692" y="82247"/>
                        </a:cubicBezTo>
                        <a:cubicBezTo>
                          <a:pt x="13846" y="83595"/>
                          <a:pt x="13846" y="83595"/>
                          <a:pt x="13846" y="83595"/>
                        </a:cubicBezTo>
                        <a:cubicBezTo>
                          <a:pt x="16923" y="82247"/>
                          <a:pt x="16923" y="82247"/>
                          <a:pt x="16923" y="82247"/>
                        </a:cubicBezTo>
                        <a:cubicBezTo>
                          <a:pt x="18461" y="80898"/>
                          <a:pt x="18461" y="80898"/>
                          <a:pt x="18461" y="80898"/>
                        </a:cubicBezTo>
                        <a:cubicBezTo>
                          <a:pt x="16923" y="79550"/>
                          <a:pt x="16923" y="79550"/>
                          <a:pt x="16923" y="79550"/>
                        </a:cubicBezTo>
                        <a:cubicBezTo>
                          <a:pt x="16923" y="79550"/>
                          <a:pt x="16923" y="78202"/>
                          <a:pt x="18461" y="78202"/>
                        </a:cubicBezTo>
                        <a:cubicBezTo>
                          <a:pt x="18461" y="76853"/>
                          <a:pt x="20000" y="76853"/>
                          <a:pt x="20000" y="76853"/>
                        </a:cubicBezTo>
                        <a:cubicBezTo>
                          <a:pt x="20000" y="78202"/>
                          <a:pt x="20000" y="78202"/>
                          <a:pt x="20000" y="78202"/>
                        </a:cubicBezTo>
                        <a:cubicBezTo>
                          <a:pt x="24615" y="78202"/>
                          <a:pt x="24615" y="78202"/>
                          <a:pt x="24615" y="78202"/>
                        </a:cubicBezTo>
                        <a:cubicBezTo>
                          <a:pt x="24615" y="80898"/>
                          <a:pt x="24615" y="80898"/>
                          <a:pt x="24615" y="80898"/>
                        </a:cubicBezTo>
                        <a:cubicBezTo>
                          <a:pt x="23076" y="82247"/>
                          <a:pt x="23076" y="82247"/>
                          <a:pt x="23076" y="82247"/>
                        </a:cubicBezTo>
                        <a:cubicBezTo>
                          <a:pt x="21538" y="80898"/>
                          <a:pt x="21538" y="80898"/>
                          <a:pt x="21538" y="80898"/>
                        </a:cubicBezTo>
                        <a:cubicBezTo>
                          <a:pt x="21538" y="80898"/>
                          <a:pt x="21538" y="82247"/>
                          <a:pt x="21538" y="82247"/>
                        </a:cubicBezTo>
                        <a:cubicBezTo>
                          <a:pt x="21538" y="82247"/>
                          <a:pt x="21538" y="86292"/>
                          <a:pt x="21538" y="86292"/>
                        </a:cubicBezTo>
                        <a:cubicBezTo>
                          <a:pt x="21538" y="86292"/>
                          <a:pt x="21538" y="87640"/>
                          <a:pt x="20000" y="86292"/>
                        </a:cubicBezTo>
                        <a:cubicBezTo>
                          <a:pt x="20000" y="86292"/>
                          <a:pt x="18461" y="84943"/>
                          <a:pt x="18461" y="84943"/>
                        </a:cubicBezTo>
                        <a:cubicBezTo>
                          <a:pt x="13846" y="83595"/>
                          <a:pt x="13846" y="83595"/>
                          <a:pt x="13846" y="83595"/>
                        </a:cubicBezTo>
                        <a:cubicBezTo>
                          <a:pt x="12307" y="84943"/>
                          <a:pt x="12307" y="84943"/>
                          <a:pt x="12307" y="84943"/>
                        </a:cubicBezTo>
                        <a:cubicBezTo>
                          <a:pt x="12307" y="84943"/>
                          <a:pt x="12307" y="86292"/>
                          <a:pt x="12307" y="87640"/>
                        </a:cubicBezTo>
                        <a:cubicBezTo>
                          <a:pt x="13846" y="87640"/>
                          <a:pt x="15384" y="87640"/>
                          <a:pt x="15384" y="87640"/>
                        </a:cubicBezTo>
                        <a:cubicBezTo>
                          <a:pt x="15384" y="87640"/>
                          <a:pt x="18461" y="87640"/>
                          <a:pt x="18461" y="87640"/>
                        </a:cubicBezTo>
                        <a:cubicBezTo>
                          <a:pt x="18461" y="87640"/>
                          <a:pt x="18461" y="87640"/>
                          <a:pt x="20000" y="87640"/>
                        </a:cubicBezTo>
                        <a:cubicBezTo>
                          <a:pt x="20000" y="87640"/>
                          <a:pt x="23076" y="87640"/>
                          <a:pt x="23076" y="87640"/>
                        </a:cubicBezTo>
                        <a:cubicBezTo>
                          <a:pt x="23076" y="90337"/>
                          <a:pt x="23076" y="90337"/>
                          <a:pt x="23076" y="90337"/>
                        </a:cubicBezTo>
                        <a:cubicBezTo>
                          <a:pt x="26153" y="93033"/>
                          <a:pt x="26153" y="93033"/>
                          <a:pt x="26153" y="93033"/>
                        </a:cubicBezTo>
                        <a:cubicBezTo>
                          <a:pt x="32307" y="93033"/>
                          <a:pt x="32307" y="93033"/>
                          <a:pt x="32307" y="93033"/>
                        </a:cubicBezTo>
                        <a:cubicBezTo>
                          <a:pt x="33846" y="93033"/>
                          <a:pt x="33846" y="93033"/>
                          <a:pt x="33846" y="93033"/>
                        </a:cubicBezTo>
                        <a:cubicBezTo>
                          <a:pt x="38461" y="95730"/>
                          <a:pt x="38461" y="95730"/>
                          <a:pt x="38461" y="95730"/>
                        </a:cubicBezTo>
                        <a:cubicBezTo>
                          <a:pt x="38461" y="95730"/>
                          <a:pt x="40000" y="98426"/>
                          <a:pt x="41538" y="98426"/>
                        </a:cubicBezTo>
                        <a:cubicBezTo>
                          <a:pt x="41538" y="98426"/>
                          <a:pt x="43076" y="101123"/>
                          <a:pt x="43076" y="101123"/>
                        </a:cubicBezTo>
                        <a:cubicBezTo>
                          <a:pt x="46153" y="101123"/>
                          <a:pt x="46153" y="101123"/>
                          <a:pt x="46153" y="101123"/>
                        </a:cubicBezTo>
                        <a:cubicBezTo>
                          <a:pt x="47692" y="101123"/>
                          <a:pt x="47692" y="101123"/>
                          <a:pt x="47692" y="101123"/>
                        </a:cubicBezTo>
                        <a:cubicBezTo>
                          <a:pt x="47692" y="101123"/>
                          <a:pt x="49230" y="102471"/>
                          <a:pt x="49230" y="102471"/>
                        </a:cubicBezTo>
                        <a:cubicBezTo>
                          <a:pt x="47692" y="103820"/>
                          <a:pt x="47692" y="103820"/>
                          <a:pt x="47692" y="103820"/>
                        </a:cubicBezTo>
                        <a:cubicBezTo>
                          <a:pt x="49230" y="106516"/>
                          <a:pt x="49230" y="106516"/>
                          <a:pt x="49230" y="106516"/>
                        </a:cubicBezTo>
                        <a:cubicBezTo>
                          <a:pt x="52307" y="106516"/>
                          <a:pt x="52307" y="106516"/>
                          <a:pt x="52307" y="106516"/>
                        </a:cubicBezTo>
                        <a:cubicBezTo>
                          <a:pt x="52307" y="106516"/>
                          <a:pt x="52307" y="106516"/>
                          <a:pt x="52307" y="107865"/>
                        </a:cubicBezTo>
                        <a:cubicBezTo>
                          <a:pt x="52307" y="107865"/>
                          <a:pt x="53846" y="110561"/>
                          <a:pt x="53846" y="110561"/>
                        </a:cubicBezTo>
                        <a:cubicBezTo>
                          <a:pt x="53846" y="111910"/>
                          <a:pt x="53846" y="111910"/>
                          <a:pt x="53846" y="111910"/>
                        </a:cubicBezTo>
                        <a:cubicBezTo>
                          <a:pt x="53846" y="111910"/>
                          <a:pt x="55384" y="111910"/>
                          <a:pt x="55384" y="113258"/>
                        </a:cubicBezTo>
                        <a:cubicBezTo>
                          <a:pt x="55384" y="113258"/>
                          <a:pt x="55384" y="113258"/>
                          <a:pt x="55384" y="114606"/>
                        </a:cubicBezTo>
                        <a:cubicBezTo>
                          <a:pt x="56923" y="114606"/>
                          <a:pt x="60000" y="114606"/>
                          <a:pt x="60000" y="114606"/>
                        </a:cubicBezTo>
                        <a:cubicBezTo>
                          <a:pt x="61538" y="115955"/>
                          <a:pt x="61538" y="115955"/>
                          <a:pt x="61538" y="115955"/>
                        </a:cubicBezTo>
                        <a:cubicBezTo>
                          <a:pt x="63076" y="117303"/>
                          <a:pt x="63076" y="117303"/>
                          <a:pt x="63076" y="117303"/>
                        </a:cubicBezTo>
                        <a:lnTo>
                          <a:pt x="64615" y="117303"/>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8" name="Shape 2018"/>
                  <p:cNvSpPr/>
                  <p:nvPr/>
                </p:nvSpPr>
                <p:spPr>
                  <a:xfrm>
                    <a:off x="6017651" y="3676182"/>
                    <a:ext cx="241874" cy="205626"/>
                  </a:xfrm>
                  <a:custGeom>
                    <a:avLst/>
                    <a:gdLst/>
                    <a:ahLst/>
                    <a:cxnLst/>
                    <a:rect l="0" t="0" r="0" b="0"/>
                    <a:pathLst>
                      <a:path w="120000" h="120000" extrusionOk="0">
                        <a:moveTo>
                          <a:pt x="23773" y="116129"/>
                        </a:moveTo>
                        <a:cubicBezTo>
                          <a:pt x="23773" y="116129"/>
                          <a:pt x="22641" y="116129"/>
                          <a:pt x="21509" y="116129"/>
                        </a:cubicBezTo>
                        <a:cubicBezTo>
                          <a:pt x="20377" y="116129"/>
                          <a:pt x="19245" y="118709"/>
                          <a:pt x="18113" y="118709"/>
                        </a:cubicBezTo>
                        <a:cubicBezTo>
                          <a:pt x="18113" y="118709"/>
                          <a:pt x="18113" y="118709"/>
                          <a:pt x="18113" y="117419"/>
                        </a:cubicBezTo>
                        <a:cubicBezTo>
                          <a:pt x="18113" y="116129"/>
                          <a:pt x="18113" y="116129"/>
                          <a:pt x="16981" y="114838"/>
                        </a:cubicBezTo>
                        <a:cubicBezTo>
                          <a:pt x="16981" y="113548"/>
                          <a:pt x="16981" y="110967"/>
                          <a:pt x="15849" y="109677"/>
                        </a:cubicBezTo>
                        <a:cubicBezTo>
                          <a:pt x="14716" y="108387"/>
                          <a:pt x="14716" y="107096"/>
                          <a:pt x="14716" y="107096"/>
                        </a:cubicBezTo>
                        <a:cubicBezTo>
                          <a:pt x="14716" y="107096"/>
                          <a:pt x="12452" y="107096"/>
                          <a:pt x="11320" y="107096"/>
                        </a:cubicBezTo>
                        <a:cubicBezTo>
                          <a:pt x="11320" y="107096"/>
                          <a:pt x="10188" y="107096"/>
                          <a:pt x="10188" y="107096"/>
                        </a:cubicBezTo>
                        <a:cubicBezTo>
                          <a:pt x="10188" y="107096"/>
                          <a:pt x="9056" y="104516"/>
                          <a:pt x="10188" y="104516"/>
                        </a:cubicBezTo>
                        <a:cubicBezTo>
                          <a:pt x="10188" y="103225"/>
                          <a:pt x="9056" y="101935"/>
                          <a:pt x="7924" y="100645"/>
                        </a:cubicBezTo>
                        <a:cubicBezTo>
                          <a:pt x="7924" y="100645"/>
                          <a:pt x="5660" y="96774"/>
                          <a:pt x="5660" y="96774"/>
                        </a:cubicBezTo>
                        <a:cubicBezTo>
                          <a:pt x="5660" y="96774"/>
                          <a:pt x="4528" y="96774"/>
                          <a:pt x="4528" y="95483"/>
                        </a:cubicBezTo>
                        <a:cubicBezTo>
                          <a:pt x="4528" y="94193"/>
                          <a:pt x="4528" y="92903"/>
                          <a:pt x="4528" y="92903"/>
                        </a:cubicBezTo>
                        <a:cubicBezTo>
                          <a:pt x="3396" y="90322"/>
                          <a:pt x="3396" y="90322"/>
                          <a:pt x="3396" y="90322"/>
                        </a:cubicBezTo>
                        <a:cubicBezTo>
                          <a:pt x="3396" y="90322"/>
                          <a:pt x="5660" y="89032"/>
                          <a:pt x="5660" y="87741"/>
                        </a:cubicBezTo>
                        <a:cubicBezTo>
                          <a:pt x="5660" y="87741"/>
                          <a:pt x="6792" y="86451"/>
                          <a:pt x="5660" y="85161"/>
                        </a:cubicBezTo>
                        <a:cubicBezTo>
                          <a:pt x="5660" y="83870"/>
                          <a:pt x="3396" y="82580"/>
                          <a:pt x="3396" y="82580"/>
                        </a:cubicBezTo>
                        <a:cubicBezTo>
                          <a:pt x="2264" y="81290"/>
                          <a:pt x="1132" y="80000"/>
                          <a:pt x="0" y="78709"/>
                        </a:cubicBezTo>
                        <a:cubicBezTo>
                          <a:pt x="0" y="77419"/>
                          <a:pt x="0" y="76129"/>
                          <a:pt x="0" y="76129"/>
                        </a:cubicBezTo>
                        <a:cubicBezTo>
                          <a:pt x="0" y="76129"/>
                          <a:pt x="0" y="74838"/>
                          <a:pt x="1132" y="74838"/>
                        </a:cubicBezTo>
                        <a:cubicBezTo>
                          <a:pt x="2264" y="73548"/>
                          <a:pt x="3396" y="73548"/>
                          <a:pt x="3396" y="72258"/>
                        </a:cubicBezTo>
                        <a:cubicBezTo>
                          <a:pt x="3396" y="72258"/>
                          <a:pt x="4528" y="72258"/>
                          <a:pt x="4528" y="70967"/>
                        </a:cubicBezTo>
                        <a:cubicBezTo>
                          <a:pt x="3396" y="69677"/>
                          <a:pt x="2264" y="68387"/>
                          <a:pt x="2264" y="68387"/>
                        </a:cubicBezTo>
                        <a:cubicBezTo>
                          <a:pt x="3396" y="64516"/>
                          <a:pt x="3396" y="64516"/>
                          <a:pt x="3396" y="64516"/>
                        </a:cubicBezTo>
                        <a:cubicBezTo>
                          <a:pt x="2264" y="63225"/>
                          <a:pt x="2264" y="63225"/>
                          <a:pt x="2264" y="63225"/>
                        </a:cubicBezTo>
                        <a:cubicBezTo>
                          <a:pt x="2264" y="58064"/>
                          <a:pt x="2264" y="58064"/>
                          <a:pt x="2264" y="58064"/>
                        </a:cubicBezTo>
                        <a:cubicBezTo>
                          <a:pt x="2264" y="56774"/>
                          <a:pt x="2264" y="56774"/>
                          <a:pt x="2264" y="56774"/>
                        </a:cubicBezTo>
                        <a:cubicBezTo>
                          <a:pt x="2264" y="56774"/>
                          <a:pt x="3396" y="54193"/>
                          <a:pt x="3396" y="54193"/>
                        </a:cubicBezTo>
                        <a:cubicBezTo>
                          <a:pt x="3396" y="52903"/>
                          <a:pt x="3396" y="50322"/>
                          <a:pt x="3396" y="50322"/>
                        </a:cubicBezTo>
                        <a:cubicBezTo>
                          <a:pt x="3396" y="50322"/>
                          <a:pt x="3396" y="50322"/>
                          <a:pt x="3396" y="50322"/>
                        </a:cubicBezTo>
                        <a:cubicBezTo>
                          <a:pt x="5660" y="51612"/>
                          <a:pt x="9056" y="50322"/>
                          <a:pt x="10188" y="50322"/>
                        </a:cubicBezTo>
                        <a:cubicBezTo>
                          <a:pt x="12452" y="50322"/>
                          <a:pt x="12452" y="46451"/>
                          <a:pt x="11320" y="42580"/>
                        </a:cubicBezTo>
                        <a:cubicBezTo>
                          <a:pt x="11320" y="40000"/>
                          <a:pt x="12452" y="37419"/>
                          <a:pt x="12452" y="34838"/>
                        </a:cubicBezTo>
                        <a:cubicBezTo>
                          <a:pt x="13584" y="32258"/>
                          <a:pt x="16981" y="30967"/>
                          <a:pt x="20377" y="28387"/>
                        </a:cubicBezTo>
                        <a:cubicBezTo>
                          <a:pt x="22641" y="25806"/>
                          <a:pt x="22641" y="23225"/>
                          <a:pt x="26037" y="23225"/>
                        </a:cubicBezTo>
                        <a:cubicBezTo>
                          <a:pt x="26037" y="23225"/>
                          <a:pt x="27169" y="23225"/>
                          <a:pt x="28301" y="24516"/>
                        </a:cubicBezTo>
                        <a:cubicBezTo>
                          <a:pt x="28301" y="24516"/>
                          <a:pt x="28301" y="25806"/>
                          <a:pt x="29433" y="27096"/>
                        </a:cubicBezTo>
                        <a:cubicBezTo>
                          <a:pt x="29433" y="27096"/>
                          <a:pt x="29433" y="27096"/>
                          <a:pt x="30566" y="27096"/>
                        </a:cubicBezTo>
                        <a:cubicBezTo>
                          <a:pt x="32830" y="30967"/>
                          <a:pt x="35094" y="33548"/>
                          <a:pt x="35094" y="23225"/>
                        </a:cubicBezTo>
                        <a:cubicBezTo>
                          <a:pt x="36226" y="14193"/>
                          <a:pt x="41886" y="16774"/>
                          <a:pt x="46415" y="14193"/>
                        </a:cubicBezTo>
                        <a:cubicBezTo>
                          <a:pt x="46415" y="14193"/>
                          <a:pt x="46415" y="14193"/>
                          <a:pt x="47547" y="12903"/>
                        </a:cubicBezTo>
                        <a:cubicBezTo>
                          <a:pt x="48679" y="14193"/>
                          <a:pt x="49811" y="14193"/>
                          <a:pt x="50943" y="14193"/>
                        </a:cubicBezTo>
                        <a:cubicBezTo>
                          <a:pt x="52075" y="14193"/>
                          <a:pt x="52075" y="14193"/>
                          <a:pt x="52075" y="14193"/>
                        </a:cubicBezTo>
                        <a:cubicBezTo>
                          <a:pt x="52075" y="14193"/>
                          <a:pt x="55471" y="9032"/>
                          <a:pt x="55471" y="9032"/>
                        </a:cubicBezTo>
                        <a:cubicBezTo>
                          <a:pt x="56603" y="9032"/>
                          <a:pt x="58867" y="7741"/>
                          <a:pt x="58867" y="7741"/>
                        </a:cubicBezTo>
                        <a:cubicBezTo>
                          <a:pt x="61132" y="3870"/>
                          <a:pt x="61132" y="3870"/>
                          <a:pt x="61132" y="3870"/>
                        </a:cubicBezTo>
                        <a:cubicBezTo>
                          <a:pt x="61132" y="3870"/>
                          <a:pt x="63396" y="5161"/>
                          <a:pt x="64528" y="5161"/>
                        </a:cubicBezTo>
                        <a:cubicBezTo>
                          <a:pt x="65660" y="5161"/>
                          <a:pt x="66792" y="5161"/>
                          <a:pt x="69056" y="5161"/>
                        </a:cubicBezTo>
                        <a:cubicBezTo>
                          <a:pt x="70188" y="3870"/>
                          <a:pt x="70188" y="3870"/>
                          <a:pt x="70188" y="3870"/>
                        </a:cubicBezTo>
                        <a:cubicBezTo>
                          <a:pt x="70188" y="3870"/>
                          <a:pt x="72452" y="1290"/>
                          <a:pt x="74716" y="1290"/>
                        </a:cubicBezTo>
                        <a:cubicBezTo>
                          <a:pt x="76981" y="0"/>
                          <a:pt x="76981" y="1290"/>
                          <a:pt x="76981" y="1290"/>
                        </a:cubicBezTo>
                        <a:cubicBezTo>
                          <a:pt x="76981" y="1290"/>
                          <a:pt x="80377" y="1290"/>
                          <a:pt x="82641" y="1290"/>
                        </a:cubicBezTo>
                        <a:cubicBezTo>
                          <a:pt x="82641" y="1290"/>
                          <a:pt x="82641" y="0"/>
                          <a:pt x="82641" y="0"/>
                        </a:cubicBezTo>
                        <a:cubicBezTo>
                          <a:pt x="86037" y="2580"/>
                          <a:pt x="86037" y="6451"/>
                          <a:pt x="89433" y="10322"/>
                        </a:cubicBezTo>
                        <a:cubicBezTo>
                          <a:pt x="93962" y="15483"/>
                          <a:pt x="98490" y="14193"/>
                          <a:pt x="106415" y="19354"/>
                        </a:cubicBezTo>
                        <a:cubicBezTo>
                          <a:pt x="106415" y="20645"/>
                          <a:pt x="110943" y="24516"/>
                          <a:pt x="112075" y="28387"/>
                        </a:cubicBezTo>
                        <a:cubicBezTo>
                          <a:pt x="113207" y="33548"/>
                          <a:pt x="117735" y="33548"/>
                          <a:pt x="118867" y="38709"/>
                        </a:cubicBezTo>
                        <a:cubicBezTo>
                          <a:pt x="118867" y="42580"/>
                          <a:pt x="116603" y="43870"/>
                          <a:pt x="116603" y="47741"/>
                        </a:cubicBezTo>
                        <a:cubicBezTo>
                          <a:pt x="116603" y="51612"/>
                          <a:pt x="118867" y="60645"/>
                          <a:pt x="120000" y="61935"/>
                        </a:cubicBezTo>
                        <a:cubicBezTo>
                          <a:pt x="120000" y="61935"/>
                          <a:pt x="120000" y="63225"/>
                          <a:pt x="120000" y="63225"/>
                        </a:cubicBezTo>
                        <a:cubicBezTo>
                          <a:pt x="109811" y="65806"/>
                          <a:pt x="109811" y="65806"/>
                          <a:pt x="109811" y="65806"/>
                        </a:cubicBezTo>
                        <a:cubicBezTo>
                          <a:pt x="110943" y="77419"/>
                          <a:pt x="110943" y="77419"/>
                          <a:pt x="110943" y="77419"/>
                        </a:cubicBezTo>
                        <a:cubicBezTo>
                          <a:pt x="105283" y="82580"/>
                          <a:pt x="105283" y="82580"/>
                          <a:pt x="105283" y="82580"/>
                        </a:cubicBezTo>
                        <a:cubicBezTo>
                          <a:pt x="105283" y="82580"/>
                          <a:pt x="91698" y="85161"/>
                          <a:pt x="90566" y="85161"/>
                        </a:cubicBezTo>
                        <a:cubicBezTo>
                          <a:pt x="89433" y="85161"/>
                          <a:pt x="83773" y="86451"/>
                          <a:pt x="81509" y="87741"/>
                        </a:cubicBezTo>
                        <a:cubicBezTo>
                          <a:pt x="79245" y="87741"/>
                          <a:pt x="75849" y="90322"/>
                          <a:pt x="74716" y="90322"/>
                        </a:cubicBezTo>
                        <a:cubicBezTo>
                          <a:pt x="72452" y="91612"/>
                          <a:pt x="71320" y="98064"/>
                          <a:pt x="71320" y="98064"/>
                        </a:cubicBezTo>
                        <a:cubicBezTo>
                          <a:pt x="71320" y="98064"/>
                          <a:pt x="67924" y="103225"/>
                          <a:pt x="66792" y="104516"/>
                        </a:cubicBezTo>
                        <a:cubicBezTo>
                          <a:pt x="65660" y="105806"/>
                          <a:pt x="60000" y="109677"/>
                          <a:pt x="60000" y="109677"/>
                        </a:cubicBezTo>
                        <a:cubicBezTo>
                          <a:pt x="60000" y="109677"/>
                          <a:pt x="54339" y="109677"/>
                          <a:pt x="53207" y="109677"/>
                        </a:cubicBezTo>
                        <a:cubicBezTo>
                          <a:pt x="50943" y="109677"/>
                          <a:pt x="48679" y="112258"/>
                          <a:pt x="46415" y="112258"/>
                        </a:cubicBezTo>
                        <a:cubicBezTo>
                          <a:pt x="43018" y="113548"/>
                          <a:pt x="40754" y="114838"/>
                          <a:pt x="39622" y="114838"/>
                        </a:cubicBezTo>
                        <a:cubicBezTo>
                          <a:pt x="38490" y="114838"/>
                          <a:pt x="32830" y="116129"/>
                          <a:pt x="32830" y="116129"/>
                        </a:cubicBezTo>
                        <a:cubicBezTo>
                          <a:pt x="32830" y="120000"/>
                          <a:pt x="32830" y="120000"/>
                          <a:pt x="32830" y="120000"/>
                        </a:cubicBezTo>
                        <a:cubicBezTo>
                          <a:pt x="32830" y="120000"/>
                          <a:pt x="31698" y="120000"/>
                          <a:pt x="31698" y="120000"/>
                        </a:cubicBezTo>
                        <a:cubicBezTo>
                          <a:pt x="31698" y="120000"/>
                          <a:pt x="31698" y="120000"/>
                          <a:pt x="30566" y="120000"/>
                        </a:cubicBezTo>
                        <a:cubicBezTo>
                          <a:pt x="30566" y="118709"/>
                          <a:pt x="30566" y="118709"/>
                          <a:pt x="30566" y="118709"/>
                        </a:cubicBezTo>
                        <a:cubicBezTo>
                          <a:pt x="28301" y="116129"/>
                          <a:pt x="28301" y="116129"/>
                          <a:pt x="28301" y="116129"/>
                        </a:cubicBezTo>
                        <a:cubicBezTo>
                          <a:pt x="28301" y="116129"/>
                          <a:pt x="27169" y="117419"/>
                          <a:pt x="26037" y="117419"/>
                        </a:cubicBezTo>
                        <a:cubicBezTo>
                          <a:pt x="24905" y="117419"/>
                          <a:pt x="24905" y="116129"/>
                          <a:pt x="23773" y="11612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59" name="Shape 2019"/>
                  <p:cNvSpPr/>
                  <p:nvPr/>
                </p:nvSpPr>
                <p:spPr>
                  <a:xfrm>
                    <a:off x="5588873" y="2851550"/>
                    <a:ext cx="445269" cy="240785"/>
                  </a:xfrm>
                  <a:custGeom>
                    <a:avLst/>
                    <a:gdLst/>
                    <a:ahLst/>
                    <a:cxnLst/>
                    <a:rect l="0" t="0" r="0" b="0"/>
                    <a:pathLst>
                      <a:path w="120000" h="120000" extrusionOk="0">
                        <a:moveTo>
                          <a:pt x="16000" y="59449"/>
                        </a:moveTo>
                        <a:cubicBezTo>
                          <a:pt x="17846" y="57247"/>
                          <a:pt x="17846" y="57247"/>
                          <a:pt x="17846" y="57247"/>
                        </a:cubicBezTo>
                        <a:cubicBezTo>
                          <a:pt x="17846" y="57247"/>
                          <a:pt x="17846" y="53944"/>
                          <a:pt x="18461" y="55045"/>
                        </a:cubicBezTo>
                        <a:cubicBezTo>
                          <a:pt x="18461" y="55045"/>
                          <a:pt x="19692" y="53944"/>
                          <a:pt x="19692" y="53944"/>
                        </a:cubicBezTo>
                        <a:cubicBezTo>
                          <a:pt x="20307" y="51743"/>
                          <a:pt x="20307" y="51743"/>
                          <a:pt x="20307" y="51743"/>
                        </a:cubicBezTo>
                        <a:cubicBezTo>
                          <a:pt x="20923" y="48440"/>
                          <a:pt x="20923" y="48440"/>
                          <a:pt x="20923" y="48440"/>
                        </a:cubicBezTo>
                        <a:cubicBezTo>
                          <a:pt x="24000" y="46238"/>
                          <a:pt x="24000" y="46238"/>
                          <a:pt x="24000" y="46238"/>
                        </a:cubicBezTo>
                        <a:cubicBezTo>
                          <a:pt x="24615" y="40733"/>
                          <a:pt x="24615" y="40733"/>
                          <a:pt x="24615" y="40733"/>
                        </a:cubicBezTo>
                        <a:cubicBezTo>
                          <a:pt x="24000" y="37431"/>
                          <a:pt x="24000" y="37431"/>
                          <a:pt x="24000" y="37431"/>
                        </a:cubicBezTo>
                        <a:cubicBezTo>
                          <a:pt x="24000" y="37431"/>
                          <a:pt x="24000" y="33027"/>
                          <a:pt x="24615" y="33027"/>
                        </a:cubicBezTo>
                        <a:cubicBezTo>
                          <a:pt x="25230" y="33027"/>
                          <a:pt x="27076" y="30825"/>
                          <a:pt x="27076" y="30825"/>
                        </a:cubicBezTo>
                        <a:cubicBezTo>
                          <a:pt x="28923" y="27522"/>
                          <a:pt x="28923" y="27522"/>
                          <a:pt x="28923" y="27522"/>
                        </a:cubicBezTo>
                        <a:cubicBezTo>
                          <a:pt x="28923" y="25321"/>
                          <a:pt x="28923" y="25321"/>
                          <a:pt x="28923" y="25321"/>
                        </a:cubicBezTo>
                        <a:cubicBezTo>
                          <a:pt x="30153" y="20917"/>
                          <a:pt x="30153" y="20917"/>
                          <a:pt x="30153" y="20917"/>
                        </a:cubicBezTo>
                        <a:cubicBezTo>
                          <a:pt x="31384" y="18715"/>
                          <a:pt x="31384" y="18715"/>
                          <a:pt x="31384" y="18715"/>
                        </a:cubicBezTo>
                        <a:cubicBezTo>
                          <a:pt x="32615" y="16513"/>
                          <a:pt x="32615" y="16513"/>
                          <a:pt x="32615" y="16513"/>
                        </a:cubicBezTo>
                        <a:cubicBezTo>
                          <a:pt x="34461" y="15412"/>
                          <a:pt x="34461" y="15412"/>
                          <a:pt x="34461" y="15412"/>
                        </a:cubicBezTo>
                        <a:cubicBezTo>
                          <a:pt x="34461" y="15412"/>
                          <a:pt x="35076" y="15412"/>
                          <a:pt x="35692" y="15412"/>
                        </a:cubicBezTo>
                        <a:cubicBezTo>
                          <a:pt x="36307" y="15412"/>
                          <a:pt x="36923" y="14311"/>
                          <a:pt x="36923" y="14311"/>
                        </a:cubicBezTo>
                        <a:cubicBezTo>
                          <a:pt x="37538" y="14311"/>
                          <a:pt x="39384" y="14311"/>
                          <a:pt x="39384" y="14311"/>
                        </a:cubicBezTo>
                        <a:cubicBezTo>
                          <a:pt x="39384" y="14311"/>
                          <a:pt x="40615" y="12110"/>
                          <a:pt x="40615" y="13211"/>
                        </a:cubicBezTo>
                        <a:cubicBezTo>
                          <a:pt x="40615" y="15412"/>
                          <a:pt x="40615" y="16513"/>
                          <a:pt x="40615" y="16513"/>
                        </a:cubicBezTo>
                        <a:cubicBezTo>
                          <a:pt x="41230" y="17614"/>
                          <a:pt x="41846" y="19816"/>
                          <a:pt x="41846" y="19816"/>
                        </a:cubicBezTo>
                        <a:cubicBezTo>
                          <a:pt x="41846" y="19816"/>
                          <a:pt x="43076" y="19816"/>
                          <a:pt x="43692" y="18715"/>
                        </a:cubicBezTo>
                        <a:cubicBezTo>
                          <a:pt x="44307" y="17614"/>
                          <a:pt x="45538" y="16513"/>
                          <a:pt x="45538" y="16513"/>
                        </a:cubicBezTo>
                        <a:cubicBezTo>
                          <a:pt x="45538" y="16513"/>
                          <a:pt x="46769" y="18715"/>
                          <a:pt x="46769" y="17614"/>
                        </a:cubicBezTo>
                        <a:cubicBezTo>
                          <a:pt x="46769" y="16513"/>
                          <a:pt x="46769" y="12110"/>
                          <a:pt x="46769" y="12110"/>
                        </a:cubicBezTo>
                        <a:cubicBezTo>
                          <a:pt x="48000" y="8807"/>
                          <a:pt x="48000" y="8807"/>
                          <a:pt x="48000" y="8807"/>
                        </a:cubicBezTo>
                        <a:cubicBezTo>
                          <a:pt x="48000" y="8807"/>
                          <a:pt x="49230" y="8807"/>
                          <a:pt x="49230" y="7706"/>
                        </a:cubicBezTo>
                        <a:cubicBezTo>
                          <a:pt x="49230" y="6605"/>
                          <a:pt x="50461" y="4403"/>
                          <a:pt x="50461" y="4403"/>
                        </a:cubicBezTo>
                        <a:cubicBezTo>
                          <a:pt x="52307" y="4403"/>
                          <a:pt x="52307" y="4403"/>
                          <a:pt x="52307" y="4403"/>
                        </a:cubicBezTo>
                        <a:cubicBezTo>
                          <a:pt x="53538" y="11009"/>
                          <a:pt x="53538" y="11009"/>
                          <a:pt x="53538" y="11009"/>
                        </a:cubicBezTo>
                        <a:cubicBezTo>
                          <a:pt x="55384" y="13211"/>
                          <a:pt x="55384" y="13211"/>
                          <a:pt x="55384" y="13211"/>
                        </a:cubicBezTo>
                        <a:cubicBezTo>
                          <a:pt x="56000" y="14311"/>
                          <a:pt x="56000" y="14311"/>
                          <a:pt x="56000" y="14311"/>
                        </a:cubicBezTo>
                        <a:cubicBezTo>
                          <a:pt x="57230" y="15412"/>
                          <a:pt x="57230" y="15412"/>
                          <a:pt x="57230" y="15412"/>
                        </a:cubicBezTo>
                        <a:cubicBezTo>
                          <a:pt x="59076" y="15412"/>
                          <a:pt x="59076" y="15412"/>
                          <a:pt x="59076" y="15412"/>
                        </a:cubicBezTo>
                        <a:cubicBezTo>
                          <a:pt x="59076" y="16513"/>
                          <a:pt x="59076" y="16513"/>
                          <a:pt x="59076" y="16513"/>
                        </a:cubicBezTo>
                        <a:cubicBezTo>
                          <a:pt x="60307" y="18715"/>
                          <a:pt x="60307" y="18715"/>
                          <a:pt x="60307" y="18715"/>
                        </a:cubicBezTo>
                        <a:cubicBezTo>
                          <a:pt x="60923" y="22018"/>
                          <a:pt x="60923" y="22018"/>
                          <a:pt x="60923" y="22018"/>
                        </a:cubicBezTo>
                        <a:cubicBezTo>
                          <a:pt x="59692" y="24220"/>
                          <a:pt x="59692" y="24220"/>
                          <a:pt x="59692" y="24220"/>
                        </a:cubicBezTo>
                        <a:cubicBezTo>
                          <a:pt x="59692" y="25321"/>
                          <a:pt x="59692" y="25321"/>
                          <a:pt x="59692" y="25321"/>
                        </a:cubicBezTo>
                        <a:cubicBezTo>
                          <a:pt x="60307" y="26422"/>
                          <a:pt x="60307" y="26422"/>
                          <a:pt x="60307" y="26422"/>
                        </a:cubicBezTo>
                        <a:cubicBezTo>
                          <a:pt x="60307" y="26422"/>
                          <a:pt x="60923" y="26422"/>
                          <a:pt x="60923" y="26422"/>
                        </a:cubicBezTo>
                        <a:cubicBezTo>
                          <a:pt x="60923" y="26422"/>
                          <a:pt x="62153" y="25321"/>
                          <a:pt x="62769" y="25321"/>
                        </a:cubicBezTo>
                        <a:cubicBezTo>
                          <a:pt x="62769" y="25321"/>
                          <a:pt x="62769" y="24220"/>
                          <a:pt x="62769" y="24220"/>
                        </a:cubicBezTo>
                        <a:cubicBezTo>
                          <a:pt x="62769" y="24220"/>
                          <a:pt x="64000" y="23119"/>
                          <a:pt x="64000" y="23119"/>
                        </a:cubicBezTo>
                        <a:cubicBezTo>
                          <a:pt x="64000" y="23119"/>
                          <a:pt x="64615" y="23119"/>
                          <a:pt x="64615" y="23119"/>
                        </a:cubicBezTo>
                        <a:cubicBezTo>
                          <a:pt x="64615" y="24220"/>
                          <a:pt x="65230" y="25321"/>
                          <a:pt x="65230" y="25321"/>
                        </a:cubicBezTo>
                        <a:cubicBezTo>
                          <a:pt x="65230" y="25321"/>
                          <a:pt x="65846" y="24220"/>
                          <a:pt x="65846" y="25321"/>
                        </a:cubicBezTo>
                        <a:cubicBezTo>
                          <a:pt x="65846" y="25321"/>
                          <a:pt x="66461" y="25321"/>
                          <a:pt x="66461" y="25321"/>
                        </a:cubicBezTo>
                        <a:cubicBezTo>
                          <a:pt x="66461" y="25321"/>
                          <a:pt x="66461" y="25321"/>
                          <a:pt x="66461" y="24220"/>
                        </a:cubicBezTo>
                        <a:cubicBezTo>
                          <a:pt x="66461" y="22018"/>
                          <a:pt x="66461" y="22018"/>
                          <a:pt x="66461" y="22018"/>
                        </a:cubicBezTo>
                        <a:cubicBezTo>
                          <a:pt x="66461" y="20917"/>
                          <a:pt x="66461" y="19816"/>
                          <a:pt x="66461" y="19816"/>
                        </a:cubicBezTo>
                        <a:cubicBezTo>
                          <a:pt x="67076" y="18715"/>
                          <a:pt x="67076" y="18715"/>
                          <a:pt x="67076" y="17614"/>
                        </a:cubicBezTo>
                        <a:cubicBezTo>
                          <a:pt x="67076" y="17614"/>
                          <a:pt x="66461" y="16513"/>
                          <a:pt x="67076" y="16513"/>
                        </a:cubicBezTo>
                        <a:cubicBezTo>
                          <a:pt x="67692" y="16513"/>
                          <a:pt x="68307" y="16513"/>
                          <a:pt x="68307" y="16513"/>
                        </a:cubicBezTo>
                        <a:cubicBezTo>
                          <a:pt x="68307" y="16513"/>
                          <a:pt x="68307" y="15412"/>
                          <a:pt x="68307" y="15412"/>
                        </a:cubicBezTo>
                        <a:cubicBezTo>
                          <a:pt x="68307" y="15412"/>
                          <a:pt x="68923" y="14311"/>
                          <a:pt x="69538" y="14311"/>
                        </a:cubicBezTo>
                        <a:cubicBezTo>
                          <a:pt x="69538" y="14311"/>
                          <a:pt x="69538" y="15412"/>
                          <a:pt x="70153" y="14311"/>
                        </a:cubicBezTo>
                        <a:cubicBezTo>
                          <a:pt x="70769" y="13211"/>
                          <a:pt x="70153" y="13211"/>
                          <a:pt x="70153" y="13211"/>
                        </a:cubicBezTo>
                        <a:cubicBezTo>
                          <a:pt x="70153" y="12110"/>
                          <a:pt x="70153" y="12110"/>
                          <a:pt x="70153" y="12110"/>
                        </a:cubicBezTo>
                        <a:cubicBezTo>
                          <a:pt x="70769" y="11009"/>
                          <a:pt x="70153" y="12110"/>
                          <a:pt x="71384" y="12110"/>
                        </a:cubicBezTo>
                        <a:cubicBezTo>
                          <a:pt x="72000" y="11009"/>
                          <a:pt x="72615" y="11009"/>
                          <a:pt x="72615" y="11009"/>
                        </a:cubicBezTo>
                        <a:cubicBezTo>
                          <a:pt x="72615" y="11009"/>
                          <a:pt x="72615" y="9908"/>
                          <a:pt x="72615" y="9908"/>
                        </a:cubicBezTo>
                        <a:cubicBezTo>
                          <a:pt x="73846" y="8807"/>
                          <a:pt x="73846" y="8807"/>
                          <a:pt x="73846" y="8807"/>
                        </a:cubicBezTo>
                        <a:cubicBezTo>
                          <a:pt x="73846" y="8807"/>
                          <a:pt x="73846" y="9908"/>
                          <a:pt x="73846" y="9908"/>
                        </a:cubicBezTo>
                        <a:cubicBezTo>
                          <a:pt x="73846" y="9908"/>
                          <a:pt x="74461" y="9908"/>
                          <a:pt x="75076" y="9908"/>
                        </a:cubicBezTo>
                        <a:cubicBezTo>
                          <a:pt x="75076" y="9908"/>
                          <a:pt x="75692" y="11009"/>
                          <a:pt x="75692" y="9908"/>
                        </a:cubicBezTo>
                        <a:cubicBezTo>
                          <a:pt x="75692" y="9908"/>
                          <a:pt x="76307" y="9908"/>
                          <a:pt x="76307" y="8807"/>
                        </a:cubicBezTo>
                        <a:cubicBezTo>
                          <a:pt x="76307" y="8807"/>
                          <a:pt x="76307" y="8807"/>
                          <a:pt x="76307" y="8807"/>
                        </a:cubicBezTo>
                        <a:cubicBezTo>
                          <a:pt x="76307" y="8807"/>
                          <a:pt x="76307" y="7706"/>
                          <a:pt x="76923" y="7706"/>
                        </a:cubicBezTo>
                        <a:cubicBezTo>
                          <a:pt x="77538" y="8807"/>
                          <a:pt x="76923" y="8807"/>
                          <a:pt x="77538" y="8807"/>
                        </a:cubicBezTo>
                        <a:cubicBezTo>
                          <a:pt x="77538" y="7706"/>
                          <a:pt x="78769" y="6605"/>
                          <a:pt x="78769" y="6605"/>
                        </a:cubicBezTo>
                        <a:cubicBezTo>
                          <a:pt x="78769" y="6605"/>
                          <a:pt x="78769" y="6605"/>
                          <a:pt x="79384" y="8807"/>
                        </a:cubicBezTo>
                        <a:cubicBezTo>
                          <a:pt x="79384" y="9908"/>
                          <a:pt x="80000" y="9908"/>
                          <a:pt x="80615" y="9908"/>
                        </a:cubicBezTo>
                        <a:cubicBezTo>
                          <a:pt x="80615" y="9908"/>
                          <a:pt x="80615" y="9908"/>
                          <a:pt x="80615" y="9908"/>
                        </a:cubicBezTo>
                        <a:cubicBezTo>
                          <a:pt x="80615" y="11009"/>
                          <a:pt x="81230" y="12110"/>
                          <a:pt x="81230" y="12110"/>
                        </a:cubicBezTo>
                        <a:cubicBezTo>
                          <a:pt x="81846" y="12110"/>
                          <a:pt x="81846" y="12110"/>
                          <a:pt x="81846" y="12110"/>
                        </a:cubicBezTo>
                        <a:cubicBezTo>
                          <a:pt x="82461" y="11009"/>
                          <a:pt x="82461" y="11009"/>
                          <a:pt x="82461" y="11009"/>
                        </a:cubicBezTo>
                        <a:cubicBezTo>
                          <a:pt x="82461" y="11009"/>
                          <a:pt x="82461" y="12110"/>
                          <a:pt x="83076" y="12110"/>
                        </a:cubicBezTo>
                        <a:cubicBezTo>
                          <a:pt x="83692" y="12110"/>
                          <a:pt x="84307" y="13211"/>
                          <a:pt x="84307" y="13211"/>
                        </a:cubicBezTo>
                        <a:cubicBezTo>
                          <a:pt x="84307" y="12110"/>
                          <a:pt x="84923" y="11009"/>
                          <a:pt x="84923" y="11009"/>
                        </a:cubicBezTo>
                        <a:cubicBezTo>
                          <a:pt x="84923" y="9908"/>
                          <a:pt x="84923" y="9908"/>
                          <a:pt x="85538" y="8807"/>
                        </a:cubicBezTo>
                        <a:cubicBezTo>
                          <a:pt x="85538" y="8807"/>
                          <a:pt x="87384" y="7706"/>
                          <a:pt x="87384" y="7706"/>
                        </a:cubicBezTo>
                        <a:cubicBezTo>
                          <a:pt x="87384" y="7706"/>
                          <a:pt x="86769" y="5504"/>
                          <a:pt x="86153" y="5504"/>
                        </a:cubicBezTo>
                        <a:cubicBezTo>
                          <a:pt x="86153" y="5504"/>
                          <a:pt x="85538" y="4403"/>
                          <a:pt x="86769" y="3302"/>
                        </a:cubicBezTo>
                        <a:cubicBezTo>
                          <a:pt x="87384" y="3302"/>
                          <a:pt x="88000" y="3302"/>
                          <a:pt x="88000" y="3302"/>
                        </a:cubicBezTo>
                        <a:cubicBezTo>
                          <a:pt x="89230" y="4403"/>
                          <a:pt x="89230" y="4403"/>
                          <a:pt x="89230" y="4403"/>
                        </a:cubicBezTo>
                        <a:cubicBezTo>
                          <a:pt x="89230" y="3302"/>
                          <a:pt x="89230" y="3302"/>
                          <a:pt x="89230" y="3302"/>
                        </a:cubicBezTo>
                        <a:cubicBezTo>
                          <a:pt x="89846" y="2201"/>
                          <a:pt x="89846" y="2201"/>
                          <a:pt x="89846" y="2201"/>
                        </a:cubicBezTo>
                        <a:cubicBezTo>
                          <a:pt x="89846" y="2201"/>
                          <a:pt x="90461" y="1100"/>
                          <a:pt x="90461" y="1100"/>
                        </a:cubicBezTo>
                        <a:cubicBezTo>
                          <a:pt x="90461" y="1100"/>
                          <a:pt x="91076" y="1100"/>
                          <a:pt x="91076" y="1100"/>
                        </a:cubicBezTo>
                        <a:cubicBezTo>
                          <a:pt x="91692" y="1100"/>
                          <a:pt x="92307" y="1100"/>
                          <a:pt x="92307" y="1100"/>
                        </a:cubicBezTo>
                        <a:cubicBezTo>
                          <a:pt x="92307" y="1100"/>
                          <a:pt x="92923" y="2201"/>
                          <a:pt x="92923" y="2201"/>
                        </a:cubicBezTo>
                        <a:cubicBezTo>
                          <a:pt x="93538" y="2201"/>
                          <a:pt x="94153" y="2201"/>
                          <a:pt x="94153" y="2201"/>
                        </a:cubicBezTo>
                        <a:cubicBezTo>
                          <a:pt x="94153" y="2201"/>
                          <a:pt x="94769" y="3302"/>
                          <a:pt x="94769" y="2201"/>
                        </a:cubicBezTo>
                        <a:cubicBezTo>
                          <a:pt x="95384" y="2201"/>
                          <a:pt x="95384" y="1100"/>
                          <a:pt x="95384" y="1100"/>
                        </a:cubicBezTo>
                        <a:cubicBezTo>
                          <a:pt x="95384" y="1100"/>
                          <a:pt x="97846" y="0"/>
                          <a:pt x="97846" y="0"/>
                        </a:cubicBezTo>
                        <a:cubicBezTo>
                          <a:pt x="97846" y="0"/>
                          <a:pt x="98461" y="0"/>
                          <a:pt x="98461" y="0"/>
                        </a:cubicBezTo>
                        <a:cubicBezTo>
                          <a:pt x="99076" y="1100"/>
                          <a:pt x="99692" y="1100"/>
                          <a:pt x="99692" y="1100"/>
                        </a:cubicBezTo>
                        <a:cubicBezTo>
                          <a:pt x="100307" y="1100"/>
                          <a:pt x="100923" y="2201"/>
                          <a:pt x="100923" y="2201"/>
                        </a:cubicBezTo>
                        <a:cubicBezTo>
                          <a:pt x="101538" y="3302"/>
                          <a:pt x="102153" y="3302"/>
                          <a:pt x="102153" y="3302"/>
                        </a:cubicBezTo>
                        <a:cubicBezTo>
                          <a:pt x="102153" y="3302"/>
                          <a:pt x="102153" y="1100"/>
                          <a:pt x="102153" y="1100"/>
                        </a:cubicBezTo>
                        <a:cubicBezTo>
                          <a:pt x="102769" y="1100"/>
                          <a:pt x="103384" y="1100"/>
                          <a:pt x="103384" y="1100"/>
                        </a:cubicBezTo>
                        <a:cubicBezTo>
                          <a:pt x="104000" y="2201"/>
                          <a:pt x="104000" y="2201"/>
                          <a:pt x="104000" y="2201"/>
                        </a:cubicBezTo>
                        <a:cubicBezTo>
                          <a:pt x="104000" y="2201"/>
                          <a:pt x="104615" y="3302"/>
                          <a:pt x="105230" y="3302"/>
                        </a:cubicBezTo>
                        <a:cubicBezTo>
                          <a:pt x="105230" y="3302"/>
                          <a:pt x="105846" y="2201"/>
                          <a:pt x="105846" y="2201"/>
                        </a:cubicBezTo>
                        <a:cubicBezTo>
                          <a:pt x="105846" y="3302"/>
                          <a:pt x="106461" y="3302"/>
                          <a:pt x="106461" y="4403"/>
                        </a:cubicBezTo>
                        <a:cubicBezTo>
                          <a:pt x="106461" y="4403"/>
                          <a:pt x="107076" y="5504"/>
                          <a:pt x="107076" y="5504"/>
                        </a:cubicBezTo>
                        <a:cubicBezTo>
                          <a:pt x="107076" y="6605"/>
                          <a:pt x="107692" y="6605"/>
                          <a:pt x="107692" y="6605"/>
                        </a:cubicBezTo>
                        <a:cubicBezTo>
                          <a:pt x="107692" y="7706"/>
                          <a:pt x="107692" y="8807"/>
                          <a:pt x="107692" y="8807"/>
                        </a:cubicBezTo>
                        <a:cubicBezTo>
                          <a:pt x="107692" y="8807"/>
                          <a:pt x="107692" y="8807"/>
                          <a:pt x="107692" y="9908"/>
                        </a:cubicBezTo>
                        <a:cubicBezTo>
                          <a:pt x="108307" y="9908"/>
                          <a:pt x="110153" y="9908"/>
                          <a:pt x="110153" y="9908"/>
                        </a:cubicBezTo>
                        <a:cubicBezTo>
                          <a:pt x="110153" y="9908"/>
                          <a:pt x="110769" y="9908"/>
                          <a:pt x="110769" y="11009"/>
                        </a:cubicBezTo>
                        <a:cubicBezTo>
                          <a:pt x="110769" y="11009"/>
                          <a:pt x="112000" y="11009"/>
                          <a:pt x="112000" y="11009"/>
                        </a:cubicBezTo>
                        <a:cubicBezTo>
                          <a:pt x="112000" y="11009"/>
                          <a:pt x="112615" y="9908"/>
                          <a:pt x="112615" y="11009"/>
                        </a:cubicBezTo>
                        <a:cubicBezTo>
                          <a:pt x="112615" y="11009"/>
                          <a:pt x="112615" y="12110"/>
                          <a:pt x="112615" y="12110"/>
                        </a:cubicBezTo>
                        <a:cubicBezTo>
                          <a:pt x="113846" y="12110"/>
                          <a:pt x="113846" y="12110"/>
                          <a:pt x="113846" y="12110"/>
                        </a:cubicBezTo>
                        <a:cubicBezTo>
                          <a:pt x="114461" y="12110"/>
                          <a:pt x="114461" y="12110"/>
                          <a:pt x="114461" y="12110"/>
                        </a:cubicBezTo>
                        <a:cubicBezTo>
                          <a:pt x="114461" y="12110"/>
                          <a:pt x="115076" y="11009"/>
                          <a:pt x="115076" y="12110"/>
                        </a:cubicBezTo>
                        <a:cubicBezTo>
                          <a:pt x="115076" y="12110"/>
                          <a:pt x="115692" y="12110"/>
                          <a:pt x="115692" y="12110"/>
                        </a:cubicBezTo>
                        <a:cubicBezTo>
                          <a:pt x="115692" y="12110"/>
                          <a:pt x="116923" y="13211"/>
                          <a:pt x="116923" y="13211"/>
                        </a:cubicBezTo>
                        <a:cubicBezTo>
                          <a:pt x="116923" y="13211"/>
                          <a:pt x="117538" y="13211"/>
                          <a:pt x="118153" y="13211"/>
                        </a:cubicBezTo>
                        <a:cubicBezTo>
                          <a:pt x="118153" y="13211"/>
                          <a:pt x="120000" y="13211"/>
                          <a:pt x="120000" y="13211"/>
                        </a:cubicBezTo>
                        <a:cubicBezTo>
                          <a:pt x="120000" y="13211"/>
                          <a:pt x="120000" y="14311"/>
                          <a:pt x="120000" y="15412"/>
                        </a:cubicBezTo>
                        <a:cubicBezTo>
                          <a:pt x="120000" y="15412"/>
                          <a:pt x="120000" y="17614"/>
                          <a:pt x="120000" y="17614"/>
                        </a:cubicBezTo>
                        <a:cubicBezTo>
                          <a:pt x="120000" y="17614"/>
                          <a:pt x="119384" y="18715"/>
                          <a:pt x="119384" y="19816"/>
                        </a:cubicBezTo>
                        <a:cubicBezTo>
                          <a:pt x="118769" y="19816"/>
                          <a:pt x="118769" y="22018"/>
                          <a:pt x="118769" y="22018"/>
                        </a:cubicBezTo>
                        <a:cubicBezTo>
                          <a:pt x="118769" y="22018"/>
                          <a:pt x="118769" y="23119"/>
                          <a:pt x="118769" y="23119"/>
                        </a:cubicBezTo>
                        <a:cubicBezTo>
                          <a:pt x="118769" y="23119"/>
                          <a:pt x="118769" y="25321"/>
                          <a:pt x="118769" y="25321"/>
                        </a:cubicBezTo>
                        <a:cubicBezTo>
                          <a:pt x="118153" y="27522"/>
                          <a:pt x="118153" y="27522"/>
                          <a:pt x="118153" y="27522"/>
                        </a:cubicBezTo>
                        <a:cubicBezTo>
                          <a:pt x="118153" y="27522"/>
                          <a:pt x="117538" y="28623"/>
                          <a:pt x="118153" y="29724"/>
                        </a:cubicBezTo>
                        <a:cubicBezTo>
                          <a:pt x="118153" y="29724"/>
                          <a:pt x="118153" y="30825"/>
                          <a:pt x="118153" y="30825"/>
                        </a:cubicBezTo>
                        <a:cubicBezTo>
                          <a:pt x="118769" y="31926"/>
                          <a:pt x="118769" y="31926"/>
                          <a:pt x="118769" y="31926"/>
                        </a:cubicBezTo>
                        <a:cubicBezTo>
                          <a:pt x="117538" y="34128"/>
                          <a:pt x="117538" y="34128"/>
                          <a:pt x="117538" y="34128"/>
                        </a:cubicBezTo>
                        <a:cubicBezTo>
                          <a:pt x="117538" y="36330"/>
                          <a:pt x="117538" y="36330"/>
                          <a:pt x="117538" y="36330"/>
                        </a:cubicBezTo>
                        <a:cubicBezTo>
                          <a:pt x="117538" y="36330"/>
                          <a:pt x="118153" y="37431"/>
                          <a:pt x="117538" y="38532"/>
                        </a:cubicBezTo>
                        <a:cubicBezTo>
                          <a:pt x="117538" y="38532"/>
                          <a:pt x="116923" y="39633"/>
                          <a:pt x="116923" y="39633"/>
                        </a:cubicBezTo>
                        <a:cubicBezTo>
                          <a:pt x="116923" y="39633"/>
                          <a:pt x="115692" y="41834"/>
                          <a:pt x="115692" y="41834"/>
                        </a:cubicBezTo>
                        <a:cubicBezTo>
                          <a:pt x="115692" y="41834"/>
                          <a:pt x="115692" y="42935"/>
                          <a:pt x="115692" y="42935"/>
                        </a:cubicBezTo>
                        <a:cubicBezTo>
                          <a:pt x="115692" y="42935"/>
                          <a:pt x="115076" y="45137"/>
                          <a:pt x="115076" y="45137"/>
                        </a:cubicBezTo>
                        <a:cubicBezTo>
                          <a:pt x="115076" y="45137"/>
                          <a:pt x="115076" y="48440"/>
                          <a:pt x="115076" y="48440"/>
                        </a:cubicBezTo>
                        <a:cubicBezTo>
                          <a:pt x="115076" y="48440"/>
                          <a:pt x="115692" y="49541"/>
                          <a:pt x="115692" y="49541"/>
                        </a:cubicBezTo>
                        <a:cubicBezTo>
                          <a:pt x="115692" y="49541"/>
                          <a:pt x="115692" y="50642"/>
                          <a:pt x="115692" y="51743"/>
                        </a:cubicBezTo>
                        <a:cubicBezTo>
                          <a:pt x="115076" y="51743"/>
                          <a:pt x="115692" y="52844"/>
                          <a:pt x="115692" y="53944"/>
                        </a:cubicBezTo>
                        <a:cubicBezTo>
                          <a:pt x="115692" y="53944"/>
                          <a:pt x="115692" y="55045"/>
                          <a:pt x="115692" y="55045"/>
                        </a:cubicBezTo>
                        <a:cubicBezTo>
                          <a:pt x="115076" y="57247"/>
                          <a:pt x="115076" y="57247"/>
                          <a:pt x="115076" y="57247"/>
                        </a:cubicBezTo>
                        <a:cubicBezTo>
                          <a:pt x="114461" y="57247"/>
                          <a:pt x="114461" y="57247"/>
                          <a:pt x="114461" y="57247"/>
                        </a:cubicBezTo>
                        <a:cubicBezTo>
                          <a:pt x="115076" y="60550"/>
                          <a:pt x="115076" y="60550"/>
                          <a:pt x="115076" y="60550"/>
                        </a:cubicBezTo>
                        <a:cubicBezTo>
                          <a:pt x="113846" y="62752"/>
                          <a:pt x="113846" y="62752"/>
                          <a:pt x="113846" y="62752"/>
                        </a:cubicBezTo>
                        <a:cubicBezTo>
                          <a:pt x="108923" y="62752"/>
                          <a:pt x="108923" y="62752"/>
                          <a:pt x="108923" y="62752"/>
                        </a:cubicBezTo>
                        <a:cubicBezTo>
                          <a:pt x="104000" y="53944"/>
                          <a:pt x="104000" y="53944"/>
                          <a:pt x="104000" y="53944"/>
                        </a:cubicBezTo>
                        <a:cubicBezTo>
                          <a:pt x="100307" y="52844"/>
                          <a:pt x="100307" y="52844"/>
                          <a:pt x="100307" y="52844"/>
                        </a:cubicBezTo>
                        <a:cubicBezTo>
                          <a:pt x="97230" y="57247"/>
                          <a:pt x="97230" y="57247"/>
                          <a:pt x="97230" y="57247"/>
                        </a:cubicBezTo>
                        <a:cubicBezTo>
                          <a:pt x="92923" y="58348"/>
                          <a:pt x="92923" y="58348"/>
                          <a:pt x="92923" y="58348"/>
                        </a:cubicBezTo>
                        <a:cubicBezTo>
                          <a:pt x="89846" y="55045"/>
                          <a:pt x="89846" y="55045"/>
                          <a:pt x="89846" y="55045"/>
                        </a:cubicBezTo>
                        <a:cubicBezTo>
                          <a:pt x="81230" y="59449"/>
                          <a:pt x="81230" y="59449"/>
                          <a:pt x="81230" y="59449"/>
                        </a:cubicBezTo>
                        <a:cubicBezTo>
                          <a:pt x="80615" y="62752"/>
                          <a:pt x="80615" y="62752"/>
                          <a:pt x="80615" y="62752"/>
                        </a:cubicBezTo>
                        <a:cubicBezTo>
                          <a:pt x="79384" y="70458"/>
                          <a:pt x="79384" y="70458"/>
                          <a:pt x="79384" y="70458"/>
                        </a:cubicBezTo>
                        <a:cubicBezTo>
                          <a:pt x="77538" y="77064"/>
                          <a:pt x="77538" y="77064"/>
                          <a:pt x="77538" y="77064"/>
                        </a:cubicBezTo>
                        <a:cubicBezTo>
                          <a:pt x="75076" y="79266"/>
                          <a:pt x="75076" y="79266"/>
                          <a:pt x="75076" y="79266"/>
                        </a:cubicBezTo>
                        <a:cubicBezTo>
                          <a:pt x="73230" y="81467"/>
                          <a:pt x="73230" y="81467"/>
                          <a:pt x="73230" y="81467"/>
                        </a:cubicBezTo>
                        <a:cubicBezTo>
                          <a:pt x="71384" y="85871"/>
                          <a:pt x="71384" y="85871"/>
                          <a:pt x="71384" y="85871"/>
                        </a:cubicBezTo>
                        <a:cubicBezTo>
                          <a:pt x="67692" y="85871"/>
                          <a:pt x="67692" y="85871"/>
                          <a:pt x="67692" y="85871"/>
                        </a:cubicBezTo>
                        <a:cubicBezTo>
                          <a:pt x="65230" y="84770"/>
                          <a:pt x="65230" y="84770"/>
                          <a:pt x="65230" y="84770"/>
                        </a:cubicBezTo>
                        <a:cubicBezTo>
                          <a:pt x="61538" y="85871"/>
                          <a:pt x="61538" y="85871"/>
                          <a:pt x="61538" y="85871"/>
                        </a:cubicBezTo>
                        <a:cubicBezTo>
                          <a:pt x="60307" y="92477"/>
                          <a:pt x="60307" y="92477"/>
                          <a:pt x="60307" y="92477"/>
                        </a:cubicBezTo>
                        <a:cubicBezTo>
                          <a:pt x="57846" y="93577"/>
                          <a:pt x="57846" y="93577"/>
                          <a:pt x="57846" y="93577"/>
                        </a:cubicBezTo>
                        <a:cubicBezTo>
                          <a:pt x="53538" y="94678"/>
                          <a:pt x="53538" y="94678"/>
                          <a:pt x="53538" y="94678"/>
                        </a:cubicBezTo>
                        <a:cubicBezTo>
                          <a:pt x="48000" y="97981"/>
                          <a:pt x="48000" y="97981"/>
                          <a:pt x="48000" y="97981"/>
                        </a:cubicBezTo>
                        <a:cubicBezTo>
                          <a:pt x="44923" y="103486"/>
                          <a:pt x="44923" y="103486"/>
                          <a:pt x="44923" y="103486"/>
                        </a:cubicBezTo>
                        <a:cubicBezTo>
                          <a:pt x="44923" y="105688"/>
                          <a:pt x="44923" y="105688"/>
                          <a:pt x="44923" y="105688"/>
                        </a:cubicBezTo>
                        <a:cubicBezTo>
                          <a:pt x="44923" y="105688"/>
                          <a:pt x="47384" y="108990"/>
                          <a:pt x="48615" y="110091"/>
                        </a:cubicBezTo>
                        <a:cubicBezTo>
                          <a:pt x="49846" y="112293"/>
                          <a:pt x="46153" y="113394"/>
                          <a:pt x="45538" y="114495"/>
                        </a:cubicBezTo>
                        <a:cubicBezTo>
                          <a:pt x="44923" y="115596"/>
                          <a:pt x="39384" y="116697"/>
                          <a:pt x="39384" y="116697"/>
                        </a:cubicBezTo>
                        <a:cubicBezTo>
                          <a:pt x="28923" y="117798"/>
                          <a:pt x="28923" y="117798"/>
                          <a:pt x="28923" y="117798"/>
                        </a:cubicBezTo>
                        <a:cubicBezTo>
                          <a:pt x="23384" y="120000"/>
                          <a:pt x="23384" y="120000"/>
                          <a:pt x="23384" y="120000"/>
                        </a:cubicBezTo>
                        <a:cubicBezTo>
                          <a:pt x="20923" y="117798"/>
                          <a:pt x="20923" y="117798"/>
                          <a:pt x="20923" y="117798"/>
                        </a:cubicBezTo>
                        <a:cubicBezTo>
                          <a:pt x="16615" y="113394"/>
                          <a:pt x="16615" y="113394"/>
                          <a:pt x="16615" y="113394"/>
                        </a:cubicBezTo>
                        <a:cubicBezTo>
                          <a:pt x="13538" y="107889"/>
                          <a:pt x="13538" y="107889"/>
                          <a:pt x="13538" y="107889"/>
                        </a:cubicBezTo>
                        <a:cubicBezTo>
                          <a:pt x="13538" y="107889"/>
                          <a:pt x="13538" y="107889"/>
                          <a:pt x="13538" y="107889"/>
                        </a:cubicBezTo>
                        <a:cubicBezTo>
                          <a:pt x="8615" y="106788"/>
                          <a:pt x="8615" y="106788"/>
                          <a:pt x="8615" y="106788"/>
                        </a:cubicBezTo>
                        <a:cubicBezTo>
                          <a:pt x="8615" y="107889"/>
                          <a:pt x="8615" y="107889"/>
                          <a:pt x="8615" y="107889"/>
                        </a:cubicBezTo>
                        <a:cubicBezTo>
                          <a:pt x="8615" y="112293"/>
                          <a:pt x="8615" y="112293"/>
                          <a:pt x="8615" y="112293"/>
                        </a:cubicBezTo>
                        <a:cubicBezTo>
                          <a:pt x="6769" y="116697"/>
                          <a:pt x="6769" y="116697"/>
                          <a:pt x="6769" y="116697"/>
                        </a:cubicBezTo>
                        <a:cubicBezTo>
                          <a:pt x="5538" y="113394"/>
                          <a:pt x="4923" y="107889"/>
                          <a:pt x="3692" y="102385"/>
                        </a:cubicBezTo>
                        <a:cubicBezTo>
                          <a:pt x="3692" y="102385"/>
                          <a:pt x="3692" y="101284"/>
                          <a:pt x="3076" y="100183"/>
                        </a:cubicBezTo>
                        <a:cubicBezTo>
                          <a:pt x="3076" y="99082"/>
                          <a:pt x="2461" y="96880"/>
                          <a:pt x="2461" y="96880"/>
                        </a:cubicBezTo>
                        <a:cubicBezTo>
                          <a:pt x="2461" y="96880"/>
                          <a:pt x="2461" y="96880"/>
                          <a:pt x="2461" y="96880"/>
                        </a:cubicBezTo>
                        <a:cubicBezTo>
                          <a:pt x="1846" y="95779"/>
                          <a:pt x="1230" y="94678"/>
                          <a:pt x="1230" y="94678"/>
                        </a:cubicBezTo>
                        <a:cubicBezTo>
                          <a:pt x="1230" y="94678"/>
                          <a:pt x="1230" y="93577"/>
                          <a:pt x="1230" y="93577"/>
                        </a:cubicBezTo>
                        <a:cubicBezTo>
                          <a:pt x="615" y="93577"/>
                          <a:pt x="0" y="92477"/>
                          <a:pt x="0" y="92477"/>
                        </a:cubicBezTo>
                        <a:cubicBezTo>
                          <a:pt x="0" y="92477"/>
                          <a:pt x="0" y="89174"/>
                          <a:pt x="0" y="89174"/>
                        </a:cubicBezTo>
                        <a:cubicBezTo>
                          <a:pt x="0" y="86972"/>
                          <a:pt x="0" y="86972"/>
                          <a:pt x="0" y="86972"/>
                        </a:cubicBezTo>
                        <a:cubicBezTo>
                          <a:pt x="1230" y="84770"/>
                          <a:pt x="1230" y="84770"/>
                          <a:pt x="1230" y="84770"/>
                        </a:cubicBezTo>
                        <a:cubicBezTo>
                          <a:pt x="1230" y="84770"/>
                          <a:pt x="1230" y="82568"/>
                          <a:pt x="1230" y="82568"/>
                        </a:cubicBezTo>
                        <a:cubicBezTo>
                          <a:pt x="1230" y="82568"/>
                          <a:pt x="1846" y="80366"/>
                          <a:pt x="1846" y="80366"/>
                        </a:cubicBezTo>
                        <a:cubicBezTo>
                          <a:pt x="1230" y="79266"/>
                          <a:pt x="1230" y="79266"/>
                          <a:pt x="1230" y="79266"/>
                        </a:cubicBezTo>
                        <a:cubicBezTo>
                          <a:pt x="1230" y="75963"/>
                          <a:pt x="1230" y="75963"/>
                          <a:pt x="1230" y="75963"/>
                        </a:cubicBezTo>
                        <a:cubicBezTo>
                          <a:pt x="1846" y="74862"/>
                          <a:pt x="1846" y="74862"/>
                          <a:pt x="1846" y="74862"/>
                        </a:cubicBezTo>
                        <a:cubicBezTo>
                          <a:pt x="1846" y="72660"/>
                          <a:pt x="1846" y="72660"/>
                          <a:pt x="1846" y="72660"/>
                        </a:cubicBezTo>
                        <a:cubicBezTo>
                          <a:pt x="1846" y="72660"/>
                          <a:pt x="1846" y="71559"/>
                          <a:pt x="1846" y="71559"/>
                        </a:cubicBezTo>
                        <a:cubicBezTo>
                          <a:pt x="2461" y="71559"/>
                          <a:pt x="2461" y="68256"/>
                          <a:pt x="2461" y="68256"/>
                        </a:cubicBezTo>
                        <a:cubicBezTo>
                          <a:pt x="2461" y="68256"/>
                          <a:pt x="3076" y="66055"/>
                          <a:pt x="3076" y="66055"/>
                        </a:cubicBezTo>
                        <a:cubicBezTo>
                          <a:pt x="3692" y="66055"/>
                          <a:pt x="3692" y="64954"/>
                          <a:pt x="3692" y="64954"/>
                        </a:cubicBezTo>
                        <a:cubicBezTo>
                          <a:pt x="3692" y="63853"/>
                          <a:pt x="3692" y="62752"/>
                          <a:pt x="3692" y="62752"/>
                        </a:cubicBezTo>
                        <a:cubicBezTo>
                          <a:pt x="4923" y="61651"/>
                          <a:pt x="4923" y="61651"/>
                          <a:pt x="4923" y="61651"/>
                        </a:cubicBezTo>
                        <a:cubicBezTo>
                          <a:pt x="4923" y="61651"/>
                          <a:pt x="5538" y="60550"/>
                          <a:pt x="5538" y="60550"/>
                        </a:cubicBezTo>
                        <a:cubicBezTo>
                          <a:pt x="5538" y="60550"/>
                          <a:pt x="6153" y="60550"/>
                          <a:pt x="6769" y="60550"/>
                        </a:cubicBezTo>
                        <a:cubicBezTo>
                          <a:pt x="6769" y="60550"/>
                          <a:pt x="7384" y="60550"/>
                          <a:pt x="8000" y="60550"/>
                        </a:cubicBezTo>
                        <a:cubicBezTo>
                          <a:pt x="8000" y="60550"/>
                          <a:pt x="8000" y="61651"/>
                          <a:pt x="8615" y="61651"/>
                        </a:cubicBezTo>
                        <a:cubicBezTo>
                          <a:pt x="9230" y="61651"/>
                          <a:pt x="9846" y="62752"/>
                          <a:pt x="9846" y="62752"/>
                        </a:cubicBezTo>
                        <a:cubicBezTo>
                          <a:pt x="10461" y="61651"/>
                          <a:pt x="10461" y="61651"/>
                          <a:pt x="10461" y="61651"/>
                        </a:cubicBezTo>
                        <a:cubicBezTo>
                          <a:pt x="11076" y="61651"/>
                          <a:pt x="11076" y="60550"/>
                          <a:pt x="11076" y="60550"/>
                        </a:cubicBezTo>
                        <a:cubicBezTo>
                          <a:pt x="11692" y="60550"/>
                          <a:pt x="12923" y="61651"/>
                          <a:pt x="12923" y="61651"/>
                        </a:cubicBezTo>
                        <a:cubicBezTo>
                          <a:pt x="12923" y="61651"/>
                          <a:pt x="13538" y="62752"/>
                          <a:pt x="13538" y="61651"/>
                        </a:cubicBezTo>
                        <a:cubicBezTo>
                          <a:pt x="14153" y="61651"/>
                          <a:pt x="14769" y="60550"/>
                          <a:pt x="14769" y="60550"/>
                        </a:cubicBezTo>
                        <a:cubicBezTo>
                          <a:pt x="16000" y="59449"/>
                          <a:pt x="16000" y="59449"/>
                          <a:pt x="16000" y="5944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0" name="Shape 2020"/>
                  <p:cNvSpPr/>
                  <p:nvPr/>
                </p:nvSpPr>
                <p:spPr>
                  <a:xfrm>
                    <a:off x="5320612" y="3211660"/>
                    <a:ext cx="266061" cy="194972"/>
                  </a:xfrm>
                  <a:custGeom>
                    <a:avLst/>
                    <a:gdLst/>
                    <a:ahLst/>
                    <a:cxnLst/>
                    <a:rect l="0" t="0" r="0" b="0"/>
                    <a:pathLst>
                      <a:path w="120000" h="120000" extrusionOk="0">
                        <a:moveTo>
                          <a:pt x="9230" y="65454"/>
                        </a:moveTo>
                        <a:cubicBezTo>
                          <a:pt x="7179" y="64090"/>
                          <a:pt x="7179" y="64090"/>
                          <a:pt x="7179" y="64090"/>
                        </a:cubicBezTo>
                        <a:cubicBezTo>
                          <a:pt x="5128" y="62727"/>
                          <a:pt x="5128" y="62727"/>
                          <a:pt x="5128" y="62727"/>
                        </a:cubicBezTo>
                        <a:cubicBezTo>
                          <a:pt x="2051" y="62727"/>
                          <a:pt x="2051" y="62727"/>
                          <a:pt x="2051" y="62727"/>
                        </a:cubicBezTo>
                        <a:cubicBezTo>
                          <a:pt x="0" y="60000"/>
                          <a:pt x="0" y="60000"/>
                          <a:pt x="0" y="60000"/>
                        </a:cubicBezTo>
                        <a:cubicBezTo>
                          <a:pt x="1025" y="57272"/>
                          <a:pt x="1025" y="57272"/>
                          <a:pt x="1025" y="57272"/>
                        </a:cubicBezTo>
                        <a:cubicBezTo>
                          <a:pt x="1025" y="54545"/>
                          <a:pt x="1025" y="54545"/>
                          <a:pt x="1025" y="54545"/>
                        </a:cubicBezTo>
                        <a:cubicBezTo>
                          <a:pt x="1025" y="54545"/>
                          <a:pt x="3076" y="51818"/>
                          <a:pt x="3076" y="51818"/>
                        </a:cubicBezTo>
                        <a:cubicBezTo>
                          <a:pt x="4102" y="50454"/>
                          <a:pt x="6153" y="49090"/>
                          <a:pt x="6153" y="49090"/>
                        </a:cubicBezTo>
                        <a:cubicBezTo>
                          <a:pt x="7179" y="46363"/>
                          <a:pt x="7179" y="46363"/>
                          <a:pt x="7179" y="46363"/>
                        </a:cubicBezTo>
                        <a:cubicBezTo>
                          <a:pt x="7179" y="46363"/>
                          <a:pt x="8205" y="45000"/>
                          <a:pt x="9230" y="45000"/>
                        </a:cubicBezTo>
                        <a:cubicBezTo>
                          <a:pt x="10256" y="45000"/>
                          <a:pt x="10256" y="46363"/>
                          <a:pt x="10256" y="45000"/>
                        </a:cubicBezTo>
                        <a:cubicBezTo>
                          <a:pt x="11282" y="45000"/>
                          <a:pt x="11282" y="39545"/>
                          <a:pt x="11282" y="39545"/>
                        </a:cubicBezTo>
                        <a:cubicBezTo>
                          <a:pt x="11282" y="36818"/>
                          <a:pt x="11282" y="36818"/>
                          <a:pt x="11282" y="36818"/>
                        </a:cubicBezTo>
                        <a:cubicBezTo>
                          <a:pt x="13333" y="36818"/>
                          <a:pt x="13333" y="36818"/>
                          <a:pt x="13333" y="36818"/>
                        </a:cubicBezTo>
                        <a:cubicBezTo>
                          <a:pt x="22564" y="40909"/>
                          <a:pt x="22564" y="40909"/>
                          <a:pt x="22564" y="40909"/>
                        </a:cubicBezTo>
                        <a:cubicBezTo>
                          <a:pt x="32820" y="42272"/>
                          <a:pt x="32820" y="42272"/>
                          <a:pt x="32820" y="42272"/>
                        </a:cubicBezTo>
                        <a:cubicBezTo>
                          <a:pt x="42051" y="42272"/>
                          <a:pt x="42051" y="42272"/>
                          <a:pt x="42051" y="42272"/>
                        </a:cubicBezTo>
                        <a:cubicBezTo>
                          <a:pt x="44102" y="42272"/>
                          <a:pt x="44102" y="42272"/>
                          <a:pt x="44102" y="42272"/>
                        </a:cubicBezTo>
                        <a:cubicBezTo>
                          <a:pt x="47179" y="39545"/>
                          <a:pt x="47179" y="39545"/>
                          <a:pt x="47179" y="39545"/>
                        </a:cubicBezTo>
                        <a:cubicBezTo>
                          <a:pt x="49230" y="35454"/>
                          <a:pt x="49230" y="35454"/>
                          <a:pt x="49230" y="35454"/>
                        </a:cubicBezTo>
                        <a:cubicBezTo>
                          <a:pt x="53333" y="34090"/>
                          <a:pt x="53333" y="34090"/>
                          <a:pt x="53333" y="34090"/>
                        </a:cubicBezTo>
                        <a:cubicBezTo>
                          <a:pt x="54358" y="31363"/>
                          <a:pt x="54358" y="31363"/>
                          <a:pt x="54358" y="31363"/>
                        </a:cubicBezTo>
                        <a:cubicBezTo>
                          <a:pt x="56410" y="25909"/>
                          <a:pt x="56410" y="25909"/>
                          <a:pt x="56410" y="25909"/>
                        </a:cubicBezTo>
                        <a:cubicBezTo>
                          <a:pt x="59487" y="23181"/>
                          <a:pt x="59487" y="23181"/>
                          <a:pt x="59487" y="23181"/>
                        </a:cubicBezTo>
                        <a:cubicBezTo>
                          <a:pt x="65641" y="23181"/>
                          <a:pt x="65641" y="23181"/>
                          <a:pt x="65641" y="23181"/>
                        </a:cubicBezTo>
                        <a:cubicBezTo>
                          <a:pt x="72820" y="20454"/>
                          <a:pt x="72820" y="20454"/>
                          <a:pt x="72820" y="20454"/>
                        </a:cubicBezTo>
                        <a:cubicBezTo>
                          <a:pt x="77948" y="23181"/>
                          <a:pt x="77948" y="23181"/>
                          <a:pt x="77948" y="23181"/>
                        </a:cubicBezTo>
                        <a:cubicBezTo>
                          <a:pt x="84102" y="17727"/>
                          <a:pt x="84102" y="17727"/>
                          <a:pt x="84102" y="17727"/>
                        </a:cubicBezTo>
                        <a:cubicBezTo>
                          <a:pt x="87179" y="16363"/>
                          <a:pt x="87179" y="16363"/>
                          <a:pt x="87179" y="16363"/>
                        </a:cubicBezTo>
                        <a:cubicBezTo>
                          <a:pt x="92307" y="13636"/>
                          <a:pt x="92307" y="13636"/>
                          <a:pt x="92307" y="13636"/>
                        </a:cubicBezTo>
                        <a:cubicBezTo>
                          <a:pt x="98461" y="19090"/>
                          <a:pt x="98461" y="19090"/>
                          <a:pt x="98461" y="19090"/>
                        </a:cubicBezTo>
                        <a:cubicBezTo>
                          <a:pt x="97435" y="10909"/>
                          <a:pt x="97435" y="10909"/>
                          <a:pt x="97435" y="10909"/>
                        </a:cubicBezTo>
                        <a:cubicBezTo>
                          <a:pt x="98461" y="5454"/>
                          <a:pt x="98461" y="5454"/>
                          <a:pt x="98461" y="5454"/>
                        </a:cubicBezTo>
                        <a:cubicBezTo>
                          <a:pt x="102564" y="2727"/>
                          <a:pt x="102564" y="2727"/>
                          <a:pt x="102564" y="2727"/>
                        </a:cubicBezTo>
                        <a:cubicBezTo>
                          <a:pt x="103589" y="2727"/>
                          <a:pt x="103589" y="2727"/>
                          <a:pt x="103589" y="2727"/>
                        </a:cubicBezTo>
                        <a:cubicBezTo>
                          <a:pt x="103589" y="2727"/>
                          <a:pt x="103589" y="2727"/>
                          <a:pt x="103589" y="2727"/>
                        </a:cubicBezTo>
                        <a:cubicBezTo>
                          <a:pt x="107692" y="0"/>
                          <a:pt x="107692" y="0"/>
                          <a:pt x="107692" y="0"/>
                        </a:cubicBezTo>
                        <a:cubicBezTo>
                          <a:pt x="109743" y="2727"/>
                          <a:pt x="109743" y="2727"/>
                          <a:pt x="109743" y="2727"/>
                        </a:cubicBezTo>
                        <a:cubicBezTo>
                          <a:pt x="110769" y="5454"/>
                          <a:pt x="110769" y="5454"/>
                          <a:pt x="110769" y="5454"/>
                        </a:cubicBezTo>
                        <a:cubicBezTo>
                          <a:pt x="110769" y="5454"/>
                          <a:pt x="110769" y="5454"/>
                          <a:pt x="110769" y="5454"/>
                        </a:cubicBezTo>
                        <a:cubicBezTo>
                          <a:pt x="110769" y="5454"/>
                          <a:pt x="110769" y="5454"/>
                          <a:pt x="110769" y="6818"/>
                        </a:cubicBezTo>
                        <a:cubicBezTo>
                          <a:pt x="110769" y="6818"/>
                          <a:pt x="110769" y="6818"/>
                          <a:pt x="110769" y="6818"/>
                        </a:cubicBezTo>
                        <a:cubicBezTo>
                          <a:pt x="110769" y="8181"/>
                          <a:pt x="110769" y="8181"/>
                          <a:pt x="110769" y="8181"/>
                        </a:cubicBezTo>
                        <a:cubicBezTo>
                          <a:pt x="111794" y="9545"/>
                          <a:pt x="111794" y="9545"/>
                          <a:pt x="111794" y="9545"/>
                        </a:cubicBezTo>
                        <a:cubicBezTo>
                          <a:pt x="112820" y="10909"/>
                          <a:pt x="112820" y="10909"/>
                          <a:pt x="112820" y="10909"/>
                        </a:cubicBezTo>
                        <a:cubicBezTo>
                          <a:pt x="112820" y="10909"/>
                          <a:pt x="112820" y="10909"/>
                          <a:pt x="112820" y="10909"/>
                        </a:cubicBezTo>
                        <a:cubicBezTo>
                          <a:pt x="113846" y="13636"/>
                          <a:pt x="113846" y="13636"/>
                          <a:pt x="113846" y="13636"/>
                        </a:cubicBezTo>
                        <a:cubicBezTo>
                          <a:pt x="113846" y="16363"/>
                          <a:pt x="113846" y="16363"/>
                          <a:pt x="113846" y="16363"/>
                        </a:cubicBezTo>
                        <a:cubicBezTo>
                          <a:pt x="120000" y="25909"/>
                          <a:pt x="120000" y="25909"/>
                          <a:pt x="120000" y="25909"/>
                        </a:cubicBezTo>
                        <a:cubicBezTo>
                          <a:pt x="120000" y="25909"/>
                          <a:pt x="117948" y="25909"/>
                          <a:pt x="117948" y="25909"/>
                        </a:cubicBezTo>
                        <a:cubicBezTo>
                          <a:pt x="116923" y="25909"/>
                          <a:pt x="114871" y="25909"/>
                          <a:pt x="114871" y="25909"/>
                        </a:cubicBezTo>
                        <a:cubicBezTo>
                          <a:pt x="114871" y="25909"/>
                          <a:pt x="113846" y="27272"/>
                          <a:pt x="112820" y="27272"/>
                        </a:cubicBezTo>
                        <a:cubicBezTo>
                          <a:pt x="112820" y="27272"/>
                          <a:pt x="111794" y="30000"/>
                          <a:pt x="111794" y="30000"/>
                        </a:cubicBezTo>
                        <a:cubicBezTo>
                          <a:pt x="110769" y="31363"/>
                          <a:pt x="110769" y="31363"/>
                          <a:pt x="110769" y="31363"/>
                        </a:cubicBezTo>
                        <a:cubicBezTo>
                          <a:pt x="111794" y="32727"/>
                          <a:pt x="111794" y="32727"/>
                          <a:pt x="111794" y="32727"/>
                        </a:cubicBezTo>
                        <a:cubicBezTo>
                          <a:pt x="113846" y="38181"/>
                          <a:pt x="114871" y="38181"/>
                          <a:pt x="109743" y="36818"/>
                        </a:cubicBezTo>
                        <a:cubicBezTo>
                          <a:pt x="107692" y="35454"/>
                          <a:pt x="107692" y="35454"/>
                          <a:pt x="107692" y="35454"/>
                        </a:cubicBezTo>
                        <a:cubicBezTo>
                          <a:pt x="106666" y="36818"/>
                          <a:pt x="106666" y="36818"/>
                          <a:pt x="106666" y="36818"/>
                        </a:cubicBezTo>
                        <a:cubicBezTo>
                          <a:pt x="104615" y="38181"/>
                          <a:pt x="104615" y="38181"/>
                          <a:pt x="104615" y="38181"/>
                        </a:cubicBezTo>
                        <a:cubicBezTo>
                          <a:pt x="104615" y="38181"/>
                          <a:pt x="104615" y="38181"/>
                          <a:pt x="104615" y="38181"/>
                        </a:cubicBezTo>
                        <a:cubicBezTo>
                          <a:pt x="104615" y="38181"/>
                          <a:pt x="104615" y="40909"/>
                          <a:pt x="104615" y="40909"/>
                        </a:cubicBezTo>
                        <a:cubicBezTo>
                          <a:pt x="103589" y="43636"/>
                          <a:pt x="103589" y="43636"/>
                          <a:pt x="103589" y="43636"/>
                        </a:cubicBezTo>
                        <a:cubicBezTo>
                          <a:pt x="101538" y="45000"/>
                          <a:pt x="101538" y="45000"/>
                          <a:pt x="101538" y="45000"/>
                        </a:cubicBezTo>
                        <a:cubicBezTo>
                          <a:pt x="99487" y="46363"/>
                          <a:pt x="99487" y="46363"/>
                          <a:pt x="99487" y="46363"/>
                        </a:cubicBezTo>
                        <a:cubicBezTo>
                          <a:pt x="98461" y="47727"/>
                          <a:pt x="98461" y="47727"/>
                          <a:pt x="98461" y="47727"/>
                        </a:cubicBezTo>
                        <a:cubicBezTo>
                          <a:pt x="96410" y="47727"/>
                          <a:pt x="96410" y="47727"/>
                          <a:pt x="96410" y="47727"/>
                        </a:cubicBezTo>
                        <a:cubicBezTo>
                          <a:pt x="94358" y="49090"/>
                          <a:pt x="94358" y="49090"/>
                          <a:pt x="94358" y="49090"/>
                        </a:cubicBezTo>
                        <a:cubicBezTo>
                          <a:pt x="93333" y="51818"/>
                          <a:pt x="93333" y="51818"/>
                          <a:pt x="93333" y="51818"/>
                        </a:cubicBezTo>
                        <a:cubicBezTo>
                          <a:pt x="93333" y="51818"/>
                          <a:pt x="91282" y="51818"/>
                          <a:pt x="91282" y="51818"/>
                        </a:cubicBezTo>
                        <a:cubicBezTo>
                          <a:pt x="91282" y="51818"/>
                          <a:pt x="88205" y="53181"/>
                          <a:pt x="88205" y="53181"/>
                        </a:cubicBezTo>
                        <a:cubicBezTo>
                          <a:pt x="88205" y="55909"/>
                          <a:pt x="88205" y="55909"/>
                          <a:pt x="88205" y="55909"/>
                        </a:cubicBezTo>
                        <a:cubicBezTo>
                          <a:pt x="88205" y="55909"/>
                          <a:pt x="87179" y="57272"/>
                          <a:pt x="87179" y="57272"/>
                        </a:cubicBezTo>
                        <a:cubicBezTo>
                          <a:pt x="87179" y="57272"/>
                          <a:pt x="87179" y="61363"/>
                          <a:pt x="87179" y="61363"/>
                        </a:cubicBezTo>
                        <a:cubicBezTo>
                          <a:pt x="87179" y="61363"/>
                          <a:pt x="89230" y="62727"/>
                          <a:pt x="89230" y="62727"/>
                        </a:cubicBezTo>
                        <a:cubicBezTo>
                          <a:pt x="90256" y="64090"/>
                          <a:pt x="90256" y="64090"/>
                          <a:pt x="90256" y="64090"/>
                        </a:cubicBezTo>
                        <a:cubicBezTo>
                          <a:pt x="91282" y="65454"/>
                          <a:pt x="91282" y="65454"/>
                          <a:pt x="91282" y="65454"/>
                        </a:cubicBezTo>
                        <a:cubicBezTo>
                          <a:pt x="91282" y="65454"/>
                          <a:pt x="92307" y="66818"/>
                          <a:pt x="92307" y="66818"/>
                        </a:cubicBezTo>
                        <a:cubicBezTo>
                          <a:pt x="91282" y="66818"/>
                          <a:pt x="91282" y="70909"/>
                          <a:pt x="91282" y="70909"/>
                        </a:cubicBezTo>
                        <a:cubicBezTo>
                          <a:pt x="92307" y="75000"/>
                          <a:pt x="92307" y="75000"/>
                          <a:pt x="92307" y="75000"/>
                        </a:cubicBezTo>
                        <a:cubicBezTo>
                          <a:pt x="91282" y="76363"/>
                          <a:pt x="91282" y="76363"/>
                          <a:pt x="91282" y="76363"/>
                        </a:cubicBezTo>
                        <a:cubicBezTo>
                          <a:pt x="92307" y="79090"/>
                          <a:pt x="92307" y="79090"/>
                          <a:pt x="92307" y="79090"/>
                        </a:cubicBezTo>
                        <a:cubicBezTo>
                          <a:pt x="92307" y="79090"/>
                          <a:pt x="93333" y="79090"/>
                          <a:pt x="92307" y="80454"/>
                        </a:cubicBezTo>
                        <a:cubicBezTo>
                          <a:pt x="91282" y="80454"/>
                          <a:pt x="90256" y="81818"/>
                          <a:pt x="90256" y="81818"/>
                        </a:cubicBezTo>
                        <a:cubicBezTo>
                          <a:pt x="90256" y="81818"/>
                          <a:pt x="88205" y="81818"/>
                          <a:pt x="88205" y="81818"/>
                        </a:cubicBezTo>
                        <a:cubicBezTo>
                          <a:pt x="88205" y="81818"/>
                          <a:pt x="86153" y="81818"/>
                          <a:pt x="86153" y="81818"/>
                        </a:cubicBezTo>
                        <a:cubicBezTo>
                          <a:pt x="85128" y="84545"/>
                          <a:pt x="85128" y="84545"/>
                          <a:pt x="85128" y="84545"/>
                        </a:cubicBezTo>
                        <a:cubicBezTo>
                          <a:pt x="83076" y="83181"/>
                          <a:pt x="83076" y="83181"/>
                          <a:pt x="83076" y="83181"/>
                        </a:cubicBezTo>
                        <a:cubicBezTo>
                          <a:pt x="83076" y="85909"/>
                          <a:pt x="83076" y="85909"/>
                          <a:pt x="83076" y="85909"/>
                        </a:cubicBezTo>
                        <a:cubicBezTo>
                          <a:pt x="80000" y="87272"/>
                          <a:pt x="80000" y="87272"/>
                          <a:pt x="80000" y="87272"/>
                        </a:cubicBezTo>
                        <a:cubicBezTo>
                          <a:pt x="77948" y="88636"/>
                          <a:pt x="77948" y="88636"/>
                          <a:pt x="77948" y="88636"/>
                        </a:cubicBezTo>
                        <a:cubicBezTo>
                          <a:pt x="76923" y="91363"/>
                          <a:pt x="76923" y="91363"/>
                          <a:pt x="76923" y="91363"/>
                        </a:cubicBezTo>
                        <a:cubicBezTo>
                          <a:pt x="77948" y="92727"/>
                          <a:pt x="77948" y="92727"/>
                          <a:pt x="77948" y="92727"/>
                        </a:cubicBezTo>
                        <a:cubicBezTo>
                          <a:pt x="77948" y="92727"/>
                          <a:pt x="78974" y="94090"/>
                          <a:pt x="78974" y="92727"/>
                        </a:cubicBezTo>
                        <a:cubicBezTo>
                          <a:pt x="78974" y="92727"/>
                          <a:pt x="78974" y="91363"/>
                          <a:pt x="78974" y="91363"/>
                        </a:cubicBezTo>
                        <a:cubicBezTo>
                          <a:pt x="80000" y="92727"/>
                          <a:pt x="81025" y="94090"/>
                          <a:pt x="81025" y="94090"/>
                        </a:cubicBezTo>
                        <a:cubicBezTo>
                          <a:pt x="82051" y="96818"/>
                          <a:pt x="82051" y="96818"/>
                          <a:pt x="82051" y="96818"/>
                        </a:cubicBezTo>
                        <a:cubicBezTo>
                          <a:pt x="82051" y="96818"/>
                          <a:pt x="80000" y="96818"/>
                          <a:pt x="80000" y="96818"/>
                        </a:cubicBezTo>
                        <a:cubicBezTo>
                          <a:pt x="80000" y="96818"/>
                          <a:pt x="78974" y="98181"/>
                          <a:pt x="78974" y="98181"/>
                        </a:cubicBezTo>
                        <a:cubicBezTo>
                          <a:pt x="77948" y="99545"/>
                          <a:pt x="77948" y="99545"/>
                          <a:pt x="77948" y="99545"/>
                        </a:cubicBezTo>
                        <a:cubicBezTo>
                          <a:pt x="77948" y="100909"/>
                          <a:pt x="77948" y="100909"/>
                          <a:pt x="77948" y="102272"/>
                        </a:cubicBezTo>
                        <a:cubicBezTo>
                          <a:pt x="77948" y="102272"/>
                          <a:pt x="77948" y="103636"/>
                          <a:pt x="77948" y="103636"/>
                        </a:cubicBezTo>
                        <a:cubicBezTo>
                          <a:pt x="78974" y="103636"/>
                          <a:pt x="80000" y="106363"/>
                          <a:pt x="80000" y="106363"/>
                        </a:cubicBezTo>
                        <a:cubicBezTo>
                          <a:pt x="80000" y="106363"/>
                          <a:pt x="81025" y="107727"/>
                          <a:pt x="81025" y="107727"/>
                        </a:cubicBezTo>
                        <a:cubicBezTo>
                          <a:pt x="81025" y="107727"/>
                          <a:pt x="81025" y="109090"/>
                          <a:pt x="81025" y="109090"/>
                        </a:cubicBezTo>
                        <a:cubicBezTo>
                          <a:pt x="81025" y="109090"/>
                          <a:pt x="80000" y="110454"/>
                          <a:pt x="78974" y="110454"/>
                        </a:cubicBezTo>
                        <a:cubicBezTo>
                          <a:pt x="78974" y="110454"/>
                          <a:pt x="76923" y="110454"/>
                          <a:pt x="76923" y="110454"/>
                        </a:cubicBezTo>
                        <a:cubicBezTo>
                          <a:pt x="76923" y="110454"/>
                          <a:pt x="75897" y="113181"/>
                          <a:pt x="75897" y="113181"/>
                        </a:cubicBezTo>
                        <a:cubicBezTo>
                          <a:pt x="75897" y="113181"/>
                          <a:pt x="74871" y="113181"/>
                          <a:pt x="73846" y="113181"/>
                        </a:cubicBezTo>
                        <a:cubicBezTo>
                          <a:pt x="73846" y="113181"/>
                          <a:pt x="75897" y="114545"/>
                          <a:pt x="73846" y="113181"/>
                        </a:cubicBezTo>
                        <a:cubicBezTo>
                          <a:pt x="70769" y="111818"/>
                          <a:pt x="70769" y="110454"/>
                          <a:pt x="70769" y="110454"/>
                        </a:cubicBezTo>
                        <a:cubicBezTo>
                          <a:pt x="70769" y="110454"/>
                          <a:pt x="69743" y="109090"/>
                          <a:pt x="69743" y="109090"/>
                        </a:cubicBezTo>
                        <a:cubicBezTo>
                          <a:pt x="68717" y="109090"/>
                          <a:pt x="67692" y="109090"/>
                          <a:pt x="67692" y="109090"/>
                        </a:cubicBezTo>
                        <a:cubicBezTo>
                          <a:pt x="65641" y="109090"/>
                          <a:pt x="65641" y="109090"/>
                          <a:pt x="65641" y="109090"/>
                        </a:cubicBezTo>
                        <a:cubicBezTo>
                          <a:pt x="64615" y="107727"/>
                          <a:pt x="64615" y="107727"/>
                          <a:pt x="64615" y="107727"/>
                        </a:cubicBezTo>
                        <a:cubicBezTo>
                          <a:pt x="63589" y="110454"/>
                          <a:pt x="63589" y="110454"/>
                          <a:pt x="63589" y="110454"/>
                        </a:cubicBezTo>
                        <a:cubicBezTo>
                          <a:pt x="63589" y="110454"/>
                          <a:pt x="63589" y="111818"/>
                          <a:pt x="62564" y="111818"/>
                        </a:cubicBezTo>
                        <a:cubicBezTo>
                          <a:pt x="61538" y="113181"/>
                          <a:pt x="62564" y="113181"/>
                          <a:pt x="61538" y="113181"/>
                        </a:cubicBezTo>
                        <a:cubicBezTo>
                          <a:pt x="59487" y="113181"/>
                          <a:pt x="58461" y="110454"/>
                          <a:pt x="58461" y="110454"/>
                        </a:cubicBezTo>
                        <a:cubicBezTo>
                          <a:pt x="58461" y="110454"/>
                          <a:pt x="56410" y="109090"/>
                          <a:pt x="56410" y="109090"/>
                        </a:cubicBezTo>
                        <a:cubicBezTo>
                          <a:pt x="55384" y="107727"/>
                          <a:pt x="55384" y="107727"/>
                          <a:pt x="55384" y="107727"/>
                        </a:cubicBezTo>
                        <a:cubicBezTo>
                          <a:pt x="54358" y="107727"/>
                          <a:pt x="54358" y="109090"/>
                          <a:pt x="54358" y="106363"/>
                        </a:cubicBezTo>
                        <a:cubicBezTo>
                          <a:pt x="54358" y="105000"/>
                          <a:pt x="54358" y="105000"/>
                          <a:pt x="54358" y="105000"/>
                        </a:cubicBezTo>
                        <a:cubicBezTo>
                          <a:pt x="53333" y="103636"/>
                          <a:pt x="53333" y="105000"/>
                          <a:pt x="52307" y="103636"/>
                        </a:cubicBezTo>
                        <a:cubicBezTo>
                          <a:pt x="52307" y="102272"/>
                          <a:pt x="51282" y="100909"/>
                          <a:pt x="51282" y="100909"/>
                        </a:cubicBezTo>
                        <a:cubicBezTo>
                          <a:pt x="50256" y="98181"/>
                          <a:pt x="50256" y="98181"/>
                          <a:pt x="50256" y="98181"/>
                        </a:cubicBezTo>
                        <a:cubicBezTo>
                          <a:pt x="50256" y="98181"/>
                          <a:pt x="50256" y="98181"/>
                          <a:pt x="50256" y="99545"/>
                        </a:cubicBezTo>
                        <a:cubicBezTo>
                          <a:pt x="49230" y="100909"/>
                          <a:pt x="48205" y="100909"/>
                          <a:pt x="48205" y="100909"/>
                        </a:cubicBezTo>
                        <a:cubicBezTo>
                          <a:pt x="48205" y="102272"/>
                          <a:pt x="47179" y="103636"/>
                          <a:pt x="47179" y="103636"/>
                        </a:cubicBezTo>
                        <a:cubicBezTo>
                          <a:pt x="47179" y="103636"/>
                          <a:pt x="46153" y="105000"/>
                          <a:pt x="46153" y="106363"/>
                        </a:cubicBezTo>
                        <a:cubicBezTo>
                          <a:pt x="47179" y="106363"/>
                          <a:pt x="47179" y="106363"/>
                          <a:pt x="47179" y="107727"/>
                        </a:cubicBezTo>
                        <a:cubicBezTo>
                          <a:pt x="47179" y="107727"/>
                          <a:pt x="46153" y="109090"/>
                          <a:pt x="46153" y="109090"/>
                        </a:cubicBezTo>
                        <a:cubicBezTo>
                          <a:pt x="45128" y="110454"/>
                          <a:pt x="45128" y="110454"/>
                          <a:pt x="44102" y="110454"/>
                        </a:cubicBezTo>
                        <a:cubicBezTo>
                          <a:pt x="44102" y="111818"/>
                          <a:pt x="42051" y="113181"/>
                          <a:pt x="42051" y="113181"/>
                        </a:cubicBezTo>
                        <a:cubicBezTo>
                          <a:pt x="40000" y="113181"/>
                          <a:pt x="40000" y="113181"/>
                          <a:pt x="40000" y="113181"/>
                        </a:cubicBezTo>
                        <a:cubicBezTo>
                          <a:pt x="36923" y="111818"/>
                          <a:pt x="36923" y="111818"/>
                          <a:pt x="36923" y="111818"/>
                        </a:cubicBezTo>
                        <a:cubicBezTo>
                          <a:pt x="34871" y="114545"/>
                          <a:pt x="34871" y="114545"/>
                          <a:pt x="34871" y="114545"/>
                        </a:cubicBezTo>
                        <a:cubicBezTo>
                          <a:pt x="34871" y="114545"/>
                          <a:pt x="33846" y="114545"/>
                          <a:pt x="33846" y="114545"/>
                        </a:cubicBezTo>
                        <a:cubicBezTo>
                          <a:pt x="32820" y="114545"/>
                          <a:pt x="31794" y="114545"/>
                          <a:pt x="31794" y="114545"/>
                        </a:cubicBezTo>
                        <a:cubicBezTo>
                          <a:pt x="31794" y="114545"/>
                          <a:pt x="30769" y="113181"/>
                          <a:pt x="29743" y="113181"/>
                        </a:cubicBezTo>
                        <a:cubicBezTo>
                          <a:pt x="29743" y="113181"/>
                          <a:pt x="28717" y="113181"/>
                          <a:pt x="28717" y="113181"/>
                        </a:cubicBezTo>
                        <a:cubicBezTo>
                          <a:pt x="27692" y="113181"/>
                          <a:pt x="26666" y="113181"/>
                          <a:pt x="26666" y="113181"/>
                        </a:cubicBezTo>
                        <a:cubicBezTo>
                          <a:pt x="26666" y="114545"/>
                          <a:pt x="26666" y="114545"/>
                          <a:pt x="26666" y="114545"/>
                        </a:cubicBezTo>
                        <a:cubicBezTo>
                          <a:pt x="26666" y="114545"/>
                          <a:pt x="27692" y="114545"/>
                          <a:pt x="27692" y="114545"/>
                        </a:cubicBezTo>
                        <a:cubicBezTo>
                          <a:pt x="27692" y="115909"/>
                          <a:pt x="27692" y="117272"/>
                          <a:pt x="27692" y="117272"/>
                        </a:cubicBezTo>
                        <a:cubicBezTo>
                          <a:pt x="27692" y="117272"/>
                          <a:pt x="26666" y="117272"/>
                          <a:pt x="26666" y="117272"/>
                        </a:cubicBezTo>
                        <a:cubicBezTo>
                          <a:pt x="26666" y="118636"/>
                          <a:pt x="24615" y="118636"/>
                          <a:pt x="24615" y="118636"/>
                        </a:cubicBezTo>
                        <a:cubicBezTo>
                          <a:pt x="24615" y="118636"/>
                          <a:pt x="24615" y="120000"/>
                          <a:pt x="24615" y="120000"/>
                        </a:cubicBezTo>
                        <a:cubicBezTo>
                          <a:pt x="24615" y="120000"/>
                          <a:pt x="24615" y="120000"/>
                          <a:pt x="23589" y="120000"/>
                        </a:cubicBezTo>
                        <a:cubicBezTo>
                          <a:pt x="22564" y="120000"/>
                          <a:pt x="22564" y="120000"/>
                          <a:pt x="21538" y="120000"/>
                        </a:cubicBezTo>
                        <a:cubicBezTo>
                          <a:pt x="21538" y="118636"/>
                          <a:pt x="20512" y="118636"/>
                          <a:pt x="19487" y="118636"/>
                        </a:cubicBezTo>
                        <a:cubicBezTo>
                          <a:pt x="19487" y="118636"/>
                          <a:pt x="16410" y="117272"/>
                          <a:pt x="16410" y="117272"/>
                        </a:cubicBezTo>
                        <a:cubicBezTo>
                          <a:pt x="16410" y="117272"/>
                          <a:pt x="15384" y="118636"/>
                          <a:pt x="15384" y="118636"/>
                        </a:cubicBezTo>
                        <a:cubicBezTo>
                          <a:pt x="14358" y="118636"/>
                          <a:pt x="13333" y="118636"/>
                          <a:pt x="12307" y="117272"/>
                        </a:cubicBezTo>
                        <a:cubicBezTo>
                          <a:pt x="12307" y="117272"/>
                          <a:pt x="11282" y="117272"/>
                          <a:pt x="11282" y="117272"/>
                        </a:cubicBezTo>
                        <a:cubicBezTo>
                          <a:pt x="11282" y="115909"/>
                          <a:pt x="11282" y="114545"/>
                          <a:pt x="11282" y="114545"/>
                        </a:cubicBezTo>
                        <a:cubicBezTo>
                          <a:pt x="11282" y="114545"/>
                          <a:pt x="10256" y="113181"/>
                          <a:pt x="11282" y="113181"/>
                        </a:cubicBezTo>
                        <a:cubicBezTo>
                          <a:pt x="11282" y="113181"/>
                          <a:pt x="12307" y="113181"/>
                          <a:pt x="13333" y="113181"/>
                        </a:cubicBezTo>
                        <a:cubicBezTo>
                          <a:pt x="14358" y="113181"/>
                          <a:pt x="15384" y="113181"/>
                          <a:pt x="15384" y="111818"/>
                        </a:cubicBezTo>
                        <a:cubicBezTo>
                          <a:pt x="15384" y="111818"/>
                          <a:pt x="15384" y="111818"/>
                          <a:pt x="16410" y="111818"/>
                        </a:cubicBezTo>
                        <a:cubicBezTo>
                          <a:pt x="16410" y="111818"/>
                          <a:pt x="17435" y="113181"/>
                          <a:pt x="17435" y="111818"/>
                        </a:cubicBezTo>
                        <a:cubicBezTo>
                          <a:pt x="17435" y="110454"/>
                          <a:pt x="17435" y="110454"/>
                          <a:pt x="17435" y="110454"/>
                        </a:cubicBezTo>
                        <a:cubicBezTo>
                          <a:pt x="16410" y="109090"/>
                          <a:pt x="16410" y="109090"/>
                          <a:pt x="16410" y="109090"/>
                        </a:cubicBezTo>
                        <a:cubicBezTo>
                          <a:pt x="16410" y="109090"/>
                          <a:pt x="17435" y="107727"/>
                          <a:pt x="17435" y="107727"/>
                        </a:cubicBezTo>
                        <a:cubicBezTo>
                          <a:pt x="18461" y="107727"/>
                          <a:pt x="19487" y="107727"/>
                          <a:pt x="19487" y="107727"/>
                        </a:cubicBezTo>
                        <a:cubicBezTo>
                          <a:pt x="20512" y="107727"/>
                          <a:pt x="21538" y="107727"/>
                          <a:pt x="21538" y="107727"/>
                        </a:cubicBezTo>
                        <a:cubicBezTo>
                          <a:pt x="21538" y="107727"/>
                          <a:pt x="21538" y="107727"/>
                          <a:pt x="22564" y="106363"/>
                        </a:cubicBezTo>
                        <a:cubicBezTo>
                          <a:pt x="22564" y="106363"/>
                          <a:pt x="18461" y="106363"/>
                          <a:pt x="17435" y="105000"/>
                        </a:cubicBezTo>
                        <a:cubicBezTo>
                          <a:pt x="15384" y="102272"/>
                          <a:pt x="13333" y="100909"/>
                          <a:pt x="13333" y="95454"/>
                        </a:cubicBezTo>
                        <a:cubicBezTo>
                          <a:pt x="12307" y="95454"/>
                          <a:pt x="12307" y="92727"/>
                          <a:pt x="11282" y="92727"/>
                        </a:cubicBezTo>
                        <a:cubicBezTo>
                          <a:pt x="11282" y="92727"/>
                          <a:pt x="9230" y="91363"/>
                          <a:pt x="9230" y="91363"/>
                        </a:cubicBezTo>
                        <a:cubicBezTo>
                          <a:pt x="9230" y="90000"/>
                          <a:pt x="9230" y="90000"/>
                          <a:pt x="10256" y="88636"/>
                        </a:cubicBezTo>
                        <a:cubicBezTo>
                          <a:pt x="10256" y="87272"/>
                          <a:pt x="10256" y="87272"/>
                          <a:pt x="11282" y="85909"/>
                        </a:cubicBezTo>
                        <a:cubicBezTo>
                          <a:pt x="11282" y="85909"/>
                          <a:pt x="11282" y="83181"/>
                          <a:pt x="11282" y="83181"/>
                        </a:cubicBezTo>
                        <a:cubicBezTo>
                          <a:pt x="11282" y="83181"/>
                          <a:pt x="12307" y="81818"/>
                          <a:pt x="11282" y="81818"/>
                        </a:cubicBezTo>
                        <a:cubicBezTo>
                          <a:pt x="11282" y="80454"/>
                          <a:pt x="10256" y="79090"/>
                          <a:pt x="10256" y="79090"/>
                        </a:cubicBezTo>
                        <a:cubicBezTo>
                          <a:pt x="10256" y="79090"/>
                          <a:pt x="10256" y="79090"/>
                          <a:pt x="9230" y="79090"/>
                        </a:cubicBezTo>
                        <a:cubicBezTo>
                          <a:pt x="9230" y="80454"/>
                          <a:pt x="9230" y="80454"/>
                          <a:pt x="9230" y="80454"/>
                        </a:cubicBezTo>
                        <a:cubicBezTo>
                          <a:pt x="7179" y="81818"/>
                          <a:pt x="7179" y="81818"/>
                          <a:pt x="7179" y="81818"/>
                        </a:cubicBezTo>
                        <a:cubicBezTo>
                          <a:pt x="7179" y="81818"/>
                          <a:pt x="6153" y="79090"/>
                          <a:pt x="6153" y="79090"/>
                        </a:cubicBezTo>
                        <a:cubicBezTo>
                          <a:pt x="5128" y="79090"/>
                          <a:pt x="5128" y="79090"/>
                          <a:pt x="5128" y="77727"/>
                        </a:cubicBezTo>
                        <a:cubicBezTo>
                          <a:pt x="5128" y="77727"/>
                          <a:pt x="6153" y="76363"/>
                          <a:pt x="6153" y="76363"/>
                        </a:cubicBezTo>
                        <a:cubicBezTo>
                          <a:pt x="6153" y="76363"/>
                          <a:pt x="5128" y="75000"/>
                          <a:pt x="5128" y="75000"/>
                        </a:cubicBezTo>
                        <a:cubicBezTo>
                          <a:pt x="5128" y="75000"/>
                          <a:pt x="6153" y="72272"/>
                          <a:pt x="7179" y="72272"/>
                        </a:cubicBezTo>
                        <a:cubicBezTo>
                          <a:pt x="8205" y="70909"/>
                          <a:pt x="10256" y="68181"/>
                          <a:pt x="10256" y="68181"/>
                        </a:cubicBezTo>
                        <a:cubicBezTo>
                          <a:pt x="11282" y="65454"/>
                          <a:pt x="11282" y="65454"/>
                          <a:pt x="11282" y="65454"/>
                        </a:cubicBezTo>
                        <a:cubicBezTo>
                          <a:pt x="10256" y="64090"/>
                          <a:pt x="10256" y="64090"/>
                          <a:pt x="10256" y="64090"/>
                        </a:cubicBezTo>
                        <a:cubicBezTo>
                          <a:pt x="10256" y="64090"/>
                          <a:pt x="9230" y="65454"/>
                          <a:pt x="9230" y="6545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1" name="Shape 2021"/>
                  <p:cNvSpPr/>
                  <p:nvPr/>
                </p:nvSpPr>
                <p:spPr>
                  <a:xfrm>
                    <a:off x="5338203" y="3253211"/>
                    <a:ext cx="517832" cy="466653"/>
                  </a:xfrm>
                  <a:custGeom>
                    <a:avLst/>
                    <a:gdLst/>
                    <a:ahLst/>
                    <a:cxnLst/>
                    <a:rect l="0" t="0" r="0" b="0"/>
                    <a:pathLst>
                      <a:path w="120000" h="120000" extrusionOk="0">
                        <a:moveTo>
                          <a:pt x="113656" y="46635"/>
                        </a:moveTo>
                        <a:cubicBezTo>
                          <a:pt x="113656" y="45497"/>
                          <a:pt x="113127" y="44928"/>
                          <a:pt x="114185" y="44360"/>
                        </a:cubicBezTo>
                        <a:cubicBezTo>
                          <a:pt x="114713" y="44360"/>
                          <a:pt x="115242" y="45497"/>
                          <a:pt x="115242" y="44360"/>
                        </a:cubicBezTo>
                        <a:cubicBezTo>
                          <a:pt x="115242" y="43222"/>
                          <a:pt x="115770" y="43791"/>
                          <a:pt x="115242" y="42654"/>
                        </a:cubicBezTo>
                        <a:cubicBezTo>
                          <a:pt x="115242" y="42654"/>
                          <a:pt x="115242" y="42654"/>
                          <a:pt x="115242" y="42654"/>
                        </a:cubicBezTo>
                        <a:cubicBezTo>
                          <a:pt x="115242" y="42654"/>
                          <a:pt x="115242" y="42654"/>
                          <a:pt x="115242" y="42654"/>
                        </a:cubicBezTo>
                        <a:cubicBezTo>
                          <a:pt x="115242" y="42654"/>
                          <a:pt x="115242" y="43791"/>
                          <a:pt x="114713" y="43791"/>
                        </a:cubicBezTo>
                        <a:cubicBezTo>
                          <a:pt x="114713" y="43791"/>
                          <a:pt x="114185" y="44360"/>
                          <a:pt x="113656" y="44360"/>
                        </a:cubicBezTo>
                        <a:cubicBezTo>
                          <a:pt x="113127" y="43791"/>
                          <a:pt x="113127" y="43791"/>
                          <a:pt x="113127" y="43791"/>
                        </a:cubicBezTo>
                        <a:cubicBezTo>
                          <a:pt x="114185" y="42654"/>
                          <a:pt x="114185" y="42654"/>
                          <a:pt x="114185" y="42654"/>
                        </a:cubicBezTo>
                        <a:cubicBezTo>
                          <a:pt x="114185" y="40379"/>
                          <a:pt x="114185" y="40379"/>
                          <a:pt x="114185" y="40379"/>
                        </a:cubicBezTo>
                        <a:cubicBezTo>
                          <a:pt x="114185" y="40379"/>
                          <a:pt x="113656" y="39241"/>
                          <a:pt x="113127" y="38104"/>
                        </a:cubicBezTo>
                        <a:cubicBezTo>
                          <a:pt x="112599" y="37535"/>
                          <a:pt x="112070" y="36966"/>
                          <a:pt x="112070" y="36966"/>
                        </a:cubicBezTo>
                        <a:cubicBezTo>
                          <a:pt x="113656" y="35829"/>
                          <a:pt x="113656" y="35829"/>
                          <a:pt x="113656" y="35829"/>
                        </a:cubicBezTo>
                        <a:cubicBezTo>
                          <a:pt x="114185" y="35260"/>
                          <a:pt x="114185" y="35260"/>
                          <a:pt x="114185" y="35260"/>
                        </a:cubicBezTo>
                        <a:cubicBezTo>
                          <a:pt x="114185" y="34691"/>
                          <a:pt x="114185" y="34691"/>
                          <a:pt x="114185" y="34691"/>
                        </a:cubicBezTo>
                        <a:cubicBezTo>
                          <a:pt x="114185" y="34691"/>
                          <a:pt x="115242" y="35829"/>
                          <a:pt x="116299" y="35829"/>
                        </a:cubicBezTo>
                        <a:cubicBezTo>
                          <a:pt x="116828" y="35829"/>
                          <a:pt x="116299" y="35829"/>
                          <a:pt x="117356" y="35260"/>
                        </a:cubicBezTo>
                        <a:cubicBezTo>
                          <a:pt x="118414" y="35260"/>
                          <a:pt x="120000" y="33554"/>
                          <a:pt x="120000" y="33554"/>
                        </a:cubicBezTo>
                        <a:cubicBezTo>
                          <a:pt x="120000" y="33554"/>
                          <a:pt x="118942" y="32417"/>
                          <a:pt x="118414" y="32417"/>
                        </a:cubicBezTo>
                        <a:cubicBezTo>
                          <a:pt x="117885" y="32985"/>
                          <a:pt x="118414" y="32985"/>
                          <a:pt x="116828" y="32985"/>
                        </a:cubicBezTo>
                        <a:cubicBezTo>
                          <a:pt x="115242" y="32417"/>
                          <a:pt x="114713" y="31848"/>
                          <a:pt x="114713" y="31848"/>
                        </a:cubicBezTo>
                        <a:cubicBezTo>
                          <a:pt x="114713" y="31848"/>
                          <a:pt x="114185" y="31848"/>
                          <a:pt x="113656" y="31848"/>
                        </a:cubicBezTo>
                        <a:cubicBezTo>
                          <a:pt x="113127" y="31848"/>
                          <a:pt x="113127" y="31848"/>
                          <a:pt x="112599" y="31279"/>
                        </a:cubicBezTo>
                        <a:cubicBezTo>
                          <a:pt x="111541" y="30142"/>
                          <a:pt x="110484" y="29004"/>
                          <a:pt x="110484" y="29004"/>
                        </a:cubicBezTo>
                        <a:cubicBezTo>
                          <a:pt x="110484" y="29004"/>
                          <a:pt x="109427" y="29573"/>
                          <a:pt x="109427" y="29004"/>
                        </a:cubicBezTo>
                        <a:cubicBezTo>
                          <a:pt x="109427" y="29004"/>
                          <a:pt x="109955" y="27867"/>
                          <a:pt x="109955" y="27867"/>
                        </a:cubicBezTo>
                        <a:cubicBezTo>
                          <a:pt x="109955" y="27298"/>
                          <a:pt x="109955" y="27298"/>
                          <a:pt x="109955" y="27298"/>
                        </a:cubicBezTo>
                        <a:cubicBezTo>
                          <a:pt x="109427" y="26729"/>
                          <a:pt x="109427" y="26729"/>
                          <a:pt x="109427" y="26729"/>
                        </a:cubicBezTo>
                        <a:cubicBezTo>
                          <a:pt x="109427" y="26729"/>
                          <a:pt x="110484" y="26729"/>
                          <a:pt x="110484" y="26729"/>
                        </a:cubicBezTo>
                        <a:cubicBezTo>
                          <a:pt x="111013" y="26161"/>
                          <a:pt x="111013" y="26161"/>
                          <a:pt x="111013" y="26161"/>
                        </a:cubicBezTo>
                        <a:cubicBezTo>
                          <a:pt x="112070" y="25023"/>
                          <a:pt x="111013" y="23886"/>
                          <a:pt x="109427" y="24454"/>
                        </a:cubicBezTo>
                        <a:cubicBezTo>
                          <a:pt x="108898" y="24454"/>
                          <a:pt x="108370" y="25023"/>
                          <a:pt x="108370" y="25023"/>
                        </a:cubicBezTo>
                        <a:cubicBezTo>
                          <a:pt x="107841" y="25023"/>
                          <a:pt x="106784" y="24454"/>
                          <a:pt x="106784" y="23886"/>
                        </a:cubicBezTo>
                        <a:cubicBezTo>
                          <a:pt x="106784" y="23317"/>
                          <a:pt x="106255" y="23317"/>
                          <a:pt x="107312" y="22748"/>
                        </a:cubicBezTo>
                        <a:cubicBezTo>
                          <a:pt x="107841" y="22748"/>
                          <a:pt x="108370" y="21611"/>
                          <a:pt x="108370" y="21611"/>
                        </a:cubicBezTo>
                        <a:cubicBezTo>
                          <a:pt x="107312" y="19905"/>
                          <a:pt x="107312" y="19905"/>
                          <a:pt x="107312" y="19905"/>
                        </a:cubicBezTo>
                        <a:cubicBezTo>
                          <a:pt x="107841" y="16492"/>
                          <a:pt x="107841" y="16492"/>
                          <a:pt x="107841" y="16492"/>
                        </a:cubicBezTo>
                        <a:cubicBezTo>
                          <a:pt x="105726" y="15924"/>
                          <a:pt x="105726" y="15924"/>
                          <a:pt x="105726" y="15924"/>
                        </a:cubicBezTo>
                        <a:cubicBezTo>
                          <a:pt x="105726" y="14786"/>
                          <a:pt x="105726" y="14786"/>
                          <a:pt x="105726" y="14786"/>
                        </a:cubicBezTo>
                        <a:cubicBezTo>
                          <a:pt x="104669" y="14218"/>
                          <a:pt x="104669" y="14218"/>
                          <a:pt x="104669" y="14218"/>
                        </a:cubicBezTo>
                        <a:cubicBezTo>
                          <a:pt x="103612" y="17061"/>
                          <a:pt x="103612" y="17061"/>
                          <a:pt x="103612" y="17061"/>
                        </a:cubicBezTo>
                        <a:cubicBezTo>
                          <a:pt x="103612" y="17061"/>
                          <a:pt x="102026" y="17630"/>
                          <a:pt x="102026" y="18199"/>
                        </a:cubicBezTo>
                        <a:cubicBezTo>
                          <a:pt x="101497" y="18767"/>
                          <a:pt x="98854" y="18767"/>
                          <a:pt x="98854" y="18767"/>
                        </a:cubicBezTo>
                        <a:cubicBezTo>
                          <a:pt x="96740" y="18767"/>
                          <a:pt x="96740" y="18767"/>
                          <a:pt x="96740" y="18767"/>
                        </a:cubicBezTo>
                        <a:cubicBezTo>
                          <a:pt x="93039" y="19905"/>
                          <a:pt x="93039" y="19905"/>
                          <a:pt x="93039" y="19905"/>
                        </a:cubicBezTo>
                        <a:cubicBezTo>
                          <a:pt x="93039" y="19905"/>
                          <a:pt x="91982" y="20473"/>
                          <a:pt x="91453" y="20473"/>
                        </a:cubicBezTo>
                        <a:cubicBezTo>
                          <a:pt x="90925" y="20473"/>
                          <a:pt x="88281" y="19905"/>
                          <a:pt x="88281" y="19905"/>
                        </a:cubicBezTo>
                        <a:cubicBezTo>
                          <a:pt x="86696" y="20473"/>
                          <a:pt x="86696" y="20473"/>
                          <a:pt x="86696" y="20473"/>
                        </a:cubicBezTo>
                        <a:cubicBezTo>
                          <a:pt x="82995" y="19336"/>
                          <a:pt x="82995" y="19336"/>
                          <a:pt x="82995" y="19336"/>
                        </a:cubicBezTo>
                        <a:cubicBezTo>
                          <a:pt x="81938" y="18199"/>
                          <a:pt x="81938" y="18199"/>
                          <a:pt x="81938" y="18199"/>
                        </a:cubicBezTo>
                        <a:cubicBezTo>
                          <a:pt x="81409" y="17630"/>
                          <a:pt x="81409" y="17630"/>
                          <a:pt x="81409" y="17630"/>
                        </a:cubicBezTo>
                        <a:cubicBezTo>
                          <a:pt x="78766" y="17061"/>
                          <a:pt x="78766" y="17061"/>
                          <a:pt x="78766" y="17061"/>
                        </a:cubicBezTo>
                        <a:cubicBezTo>
                          <a:pt x="78237" y="15924"/>
                          <a:pt x="78237" y="15924"/>
                          <a:pt x="78237" y="15924"/>
                        </a:cubicBezTo>
                        <a:cubicBezTo>
                          <a:pt x="76123" y="15924"/>
                          <a:pt x="76123" y="15924"/>
                          <a:pt x="76123" y="15924"/>
                        </a:cubicBezTo>
                        <a:cubicBezTo>
                          <a:pt x="76123" y="15924"/>
                          <a:pt x="76123" y="15924"/>
                          <a:pt x="76123" y="15924"/>
                        </a:cubicBezTo>
                        <a:cubicBezTo>
                          <a:pt x="76123" y="15924"/>
                          <a:pt x="76123" y="15924"/>
                          <a:pt x="76123" y="15924"/>
                        </a:cubicBezTo>
                        <a:cubicBezTo>
                          <a:pt x="75066" y="15355"/>
                          <a:pt x="75066" y="15355"/>
                          <a:pt x="75066" y="15355"/>
                        </a:cubicBezTo>
                        <a:cubicBezTo>
                          <a:pt x="75066" y="14786"/>
                          <a:pt x="75066" y="14786"/>
                          <a:pt x="75066" y="14786"/>
                        </a:cubicBezTo>
                        <a:cubicBezTo>
                          <a:pt x="74537" y="14786"/>
                          <a:pt x="74537" y="14786"/>
                          <a:pt x="74537" y="14218"/>
                        </a:cubicBezTo>
                        <a:cubicBezTo>
                          <a:pt x="74008" y="13649"/>
                          <a:pt x="74008" y="13649"/>
                          <a:pt x="74008" y="13649"/>
                        </a:cubicBezTo>
                        <a:cubicBezTo>
                          <a:pt x="71365" y="10236"/>
                          <a:pt x="71365" y="10236"/>
                          <a:pt x="71365" y="10236"/>
                        </a:cubicBezTo>
                        <a:cubicBezTo>
                          <a:pt x="70837" y="10236"/>
                          <a:pt x="70837" y="10236"/>
                          <a:pt x="70837" y="10236"/>
                        </a:cubicBezTo>
                        <a:cubicBezTo>
                          <a:pt x="70837" y="10236"/>
                          <a:pt x="70837" y="10236"/>
                          <a:pt x="70837" y="10236"/>
                        </a:cubicBezTo>
                        <a:cubicBezTo>
                          <a:pt x="66079" y="8530"/>
                          <a:pt x="66079" y="8530"/>
                          <a:pt x="66079" y="8530"/>
                        </a:cubicBezTo>
                        <a:cubicBezTo>
                          <a:pt x="64493" y="6255"/>
                          <a:pt x="64493" y="6255"/>
                          <a:pt x="64493" y="6255"/>
                        </a:cubicBezTo>
                        <a:cubicBezTo>
                          <a:pt x="62907" y="5118"/>
                          <a:pt x="62907" y="5118"/>
                          <a:pt x="62907" y="5118"/>
                        </a:cubicBezTo>
                        <a:cubicBezTo>
                          <a:pt x="60792" y="3412"/>
                          <a:pt x="60792" y="3412"/>
                          <a:pt x="60792" y="3412"/>
                        </a:cubicBezTo>
                        <a:cubicBezTo>
                          <a:pt x="58678" y="1706"/>
                          <a:pt x="58678" y="1706"/>
                          <a:pt x="58678" y="1706"/>
                        </a:cubicBezTo>
                        <a:cubicBezTo>
                          <a:pt x="57621" y="568"/>
                          <a:pt x="57621" y="568"/>
                          <a:pt x="57621" y="568"/>
                        </a:cubicBezTo>
                        <a:cubicBezTo>
                          <a:pt x="57621" y="568"/>
                          <a:pt x="57621" y="568"/>
                          <a:pt x="57621" y="568"/>
                        </a:cubicBezTo>
                        <a:cubicBezTo>
                          <a:pt x="57621" y="568"/>
                          <a:pt x="57092" y="0"/>
                          <a:pt x="57092" y="0"/>
                        </a:cubicBezTo>
                        <a:cubicBezTo>
                          <a:pt x="57092" y="0"/>
                          <a:pt x="56563" y="0"/>
                          <a:pt x="56563" y="0"/>
                        </a:cubicBezTo>
                        <a:cubicBezTo>
                          <a:pt x="56035" y="0"/>
                          <a:pt x="54977" y="0"/>
                          <a:pt x="54977" y="0"/>
                        </a:cubicBezTo>
                        <a:cubicBezTo>
                          <a:pt x="54977" y="0"/>
                          <a:pt x="54449" y="568"/>
                          <a:pt x="53920" y="568"/>
                        </a:cubicBezTo>
                        <a:cubicBezTo>
                          <a:pt x="53920" y="568"/>
                          <a:pt x="53392" y="1706"/>
                          <a:pt x="53392" y="1706"/>
                        </a:cubicBezTo>
                        <a:cubicBezTo>
                          <a:pt x="52863" y="2274"/>
                          <a:pt x="52863" y="2274"/>
                          <a:pt x="52863" y="2274"/>
                        </a:cubicBezTo>
                        <a:cubicBezTo>
                          <a:pt x="53392" y="2843"/>
                          <a:pt x="53392" y="2843"/>
                          <a:pt x="53392" y="2843"/>
                        </a:cubicBezTo>
                        <a:cubicBezTo>
                          <a:pt x="54449" y="5118"/>
                          <a:pt x="54977" y="5118"/>
                          <a:pt x="52334" y="4549"/>
                        </a:cubicBezTo>
                        <a:cubicBezTo>
                          <a:pt x="51277" y="3981"/>
                          <a:pt x="51277" y="3981"/>
                          <a:pt x="51277" y="3981"/>
                        </a:cubicBezTo>
                        <a:cubicBezTo>
                          <a:pt x="50748" y="4549"/>
                          <a:pt x="50748" y="4549"/>
                          <a:pt x="50748" y="4549"/>
                        </a:cubicBezTo>
                        <a:cubicBezTo>
                          <a:pt x="49691" y="5118"/>
                          <a:pt x="49691" y="5118"/>
                          <a:pt x="49691" y="5118"/>
                        </a:cubicBezTo>
                        <a:cubicBezTo>
                          <a:pt x="49691" y="5118"/>
                          <a:pt x="49691" y="5118"/>
                          <a:pt x="49691" y="5118"/>
                        </a:cubicBezTo>
                        <a:cubicBezTo>
                          <a:pt x="49691" y="5118"/>
                          <a:pt x="49691" y="6255"/>
                          <a:pt x="49691" y="6255"/>
                        </a:cubicBezTo>
                        <a:cubicBezTo>
                          <a:pt x="49162" y="7393"/>
                          <a:pt x="49162" y="7393"/>
                          <a:pt x="49162" y="7393"/>
                        </a:cubicBezTo>
                        <a:cubicBezTo>
                          <a:pt x="48105" y="7962"/>
                          <a:pt x="48105" y="7962"/>
                          <a:pt x="48105" y="7962"/>
                        </a:cubicBezTo>
                        <a:cubicBezTo>
                          <a:pt x="47048" y="8530"/>
                          <a:pt x="47048" y="8530"/>
                          <a:pt x="47048" y="8530"/>
                        </a:cubicBezTo>
                        <a:cubicBezTo>
                          <a:pt x="46519" y="9099"/>
                          <a:pt x="46519" y="9099"/>
                          <a:pt x="46519" y="9099"/>
                        </a:cubicBezTo>
                        <a:cubicBezTo>
                          <a:pt x="45462" y="9099"/>
                          <a:pt x="45462" y="9099"/>
                          <a:pt x="45462" y="9099"/>
                        </a:cubicBezTo>
                        <a:cubicBezTo>
                          <a:pt x="44405" y="9668"/>
                          <a:pt x="44405" y="9668"/>
                          <a:pt x="44405" y="9668"/>
                        </a:cubicBezTo>
                        <a:cubicBezTo>
                          <a:pt x="43876" y="10805"/>
                          <a:pt x="43876" y="10805"/>
                          <a:pt x="43876" y="10805"/>
                        </a:cubicBezTo>
                        <a:cubicBezTo>
                          <a:pt x="43876" y="10805"/>
                          <a:pt x="42819" y="10805"/>
                          <a:pt x="42819" y="10805"/>
                        </a:cubicBezTo>
                        <a:cubicBezTo>
                          <a:pt x="42819" y="10805"/>
                          <a:pt x="41233" y="11374"/>
                          <a:pt x="41233" y="11374"/>
                        </a:cubicBezTo>
                        <a:cubicBezTo>
                          <a:pt x="41233" y="12511"/>
                          <a:pt x="41233" y="12511"/>
                          <a:pt x="41233" y="12511"/>
                        </a:cubicBezTo>
                        <a:cubicBezTo>
                          <a:pt x="41233" y="12511"/>
                          <a:pt x="40704" y="13080"/>
                          <a:pt x="40704" y="13080"/>
                        </a:cubicBezTo>
                        <a:cubicBezTo>
                          <a:pt x="40704" y="13080"/>
                          <a:pt x="40704" y="14786"/>
                          <a:pt x="40704" y="14786"/>
                        </a:cubicBezTo>
                        <a:cubicBezTo>
                          <a:pt x="40704" y="14786"/>
                          <a:pt x="41762" y="15355"/>
                          <a:pt x="41762" y="15355"/>
                        </a:cubicBezTo>
                        <a:cubicBezTo>
                          <a:pt x="42290" y="15924"/>
                          <a:pt x="42290" y="15924"/>
                          <a:pt x="42290" y="15924"/>
                        </a:cubicBezTo>
                        <a:cubicBezTo>
                          <a:pt x="42819" y="16492"/>
                          <a:pt x="42819" y="16492"/>
                          <a:pt x="42819" y="16492"/>
                        </a:cubicBezTo>
                        <a:cubicBezTo>
                          <a:pt x="42819" y="16492"/>
                          <a:pt x="43348" y="17061"/>
                          <a:pt x="43348" y="17061"/>
                        </a:cubicBezTo>
                        <a:cubicBezTo>
                          <a:pt x="42819" y="17061"/>
                          <a:pt x="42819" y="18767"/>
                          <a:pt x="42819" y="18767"/>
                        </a:cubicBezTo>
                        <a:cubicBezTo>
                          <a:pt x="43348" y="20473"/>
                          <a:pt x="43348" y="20473"/>
                          <a:pt x="43348" y="20473"/>
                        </a:cubicBezTo>
                        <a:cubicBezTo>
                          <a:pt x="42819" y="21042"/>
                          <a:pt x="42819" y="21042"/>
                          <a:pt x="42819" y="21042"/>
                        </a:cubicBezTo>
                        <a:cubicBezTo>
                          <a:pt x="43348" y="22180"/>
                          <a:pt x="43348" y="22180"/>
                          <a:pt x="43348" y="22180"/>
                        </a:cubicBezTo>
                        <a:cubicBezTo>
                          <a:pt x="43348" y="22180"/>
                          <a:pt x="43876" y="22180"/>
                          <a:pt x="43348" y="22748"/>
                        </a:cubicBezTo>
                        <a:cubicBezTo>
                          <a:pt x="42819" y="22748"/>
                          <a:pt x="42290" y="23317"/>
                          <a:pt x="42290" y="23317"/>
                        </a:cubicBezTo>
                        <a:cubicBezTo>
                          <a:pt x="42290" y="23317"/>
                          <a:pt x="41233" y="23317"/>
                          <a:pt x="41233" y="23317"/>
                        </a:cubicBezTo>
                        <a:cubicBezTo>
                          <a:pt x="41233" y="23317"/>
                          <a:pt x="40176" y="23317"/>
                          <a:pt x="40176" y="23317"/>
                        </a:cubicBezTo>
                        <a:cubicBezTo>
                          <a:pt x="39647" y="24454"/>
                          <a:pt x="39647" y="24454"/>
                          <a:pt x="39647" y="24454"/>
                        </a:cubicBezTo>
                        <a:cubicBezTo>
                          <a:pt x="38590" y="23886"/>
                          <a:pt x="38590" y="23886"/>
                          <a:pt x="38590" y="23886"/>
                        </a:cubicBezTo>
                        <a:cubicBezTo>
                          <a:pt x="38590" y="25023"/>
                          <a:pt x="38590" y="25023"/>
                          <a:pt x="38590" y="25023"/>
                        </a:cubicBezTo>
                        <a:cubicBezTo>
                          <a:pt x="37004" y="25592"/>
                          <a:pt x="37004" y="25592"/>
                          <a:pt x="37004" y="25592"/>
                        </a:cubicBezTo>
                        <a:cubicBezTo>
                          <a:pt x="35947" y="26161"/>
                          <a:pt x="35947" y="26161"/>
                          <a:pt x="35947" y="26161"/>
                        </a:cubicBezTo>
                        <a:cubicBezTo>
                          <a:pt x="35418" y="27298"/>
                          <a:pt x="35418" y="27298"/>
                          <a:pt x="35418" y="27298"/>
                        </a:cubicBezTo>
                        <a:cubicBezTo>
                          <a:pt x="35947" y="27867"/>
                          <a:pt x="35947" y="27867"/>
                          <a:pt x="35947" y="27867"/>
                        </a:cubicBezTo>
                        <a:cubicBezTo>
                          <a:pt x="35947" y="27867"/>
                          <a:pt x="36475" y="28436"/>
                          <a:pt x="36475" y="27867"/>
                        </a:cubicBezTo>
                        <a:cubicBezTo>
                          <a:pt x="36475" y="27867"/>
                          <a:pt x="36475" y="27298"/>
                          <a:pt x="36475" y="27298"/>
                        </a:cubicBezTo>
                        <a:cubicBezTo>
                          <a:pt x="37004" y="27867"/>
                          <a:pt x="37533" y="28436"/>
                          <a:pt x="37533" y="28436"/>
                        </a:cubicBezTo>
                        <a:cubicBezTo>
                          <a:pt x="38061" y="29573"/>
                          <a:pt x="38061" y="29573"/>
                          <a:pt x="38061" y="29573"/>
                        </a:cubicBezTo>
                        <a:cubicBezTo>
                          <a:pt x="38061" y="29573"/>
                          <a:pt x="37004" y="29573"/>
                          <a:pt x="37004" y="29573"/>
                        </a:cubicBezTo>
                        <a:cubicBezTo>
                          <a:pt x="37004" y="29573"/>
                          <a:pt x="36475" y="30142"/>
                          <a:pt x="36475" y="30142"/>
                        </a:cubicBezTo>
                        <a:cubicBezTo>
                          <a:pt x="35947" y="30710"/>
                          <a:pt x="35947" y="30710"/>
                          <a:pt x="35947" y="30710"/>
                        </a:cubicBezTo>
                        <a:cubicBezTo>
                          <a:pt x="35947" y="31279"/>
                          <a:pt x="35947" y="31279"/>
                          <a:pt x="35947" y="31848"/>
                        </a:cubicBezTo>
                        <a:cubicBezTo>
                          <a:pt x="35947" y="31848"/>
                          <a:pt x="35947" y="32417"/>
                          <a:pt x="35947" y="32417"/>
                        </a:cubicBezTo>
                        <a:cubicBezTo>
                          <a:pt x="36475" y="32417"/>
                          <a:pt x="37004" y="33554"/>
                          <a:pt x="37004" y="33554"/>
                        </a:cubicBezTo>
                        <a:cubicBezTo>
                          <a:pt x="37004" y="33554"/>
                          <a:pt x="37533" y="34123"/>
                          <a:pt x="37533" y="34123"/>
                        </a:cubicBezTo>
                        <a:cubicBezTo>
                          <a:pt x="37533" y="34123"/>
                          <a:pt x="37533" y="34691"/>
                          <a:pt x="37533" y="34691"/>
                        </a:cubicBezTo>
                        <a:cubicBezTo>
                          <a:pt x="37533" y="34691"/>
                          <a:pt x="37004" y="35260"/>
                          <a:pt x="36475" y="35260"/>
                        </a:cubicBezTo>
                        <a:cubicBezTo>
                          <a:pt x="36475" y="35260"/>
                          <a:pt x="35418" y="35260"/>
                          <a:pt x="35418" y="35260"/>
                        </a:cubicBezTo>
                        <a:cubicBezTo>
                          <a:pt x="35418" y="35260"/>
                          <a:pt x="34889" y="36398"/>
                          <a:pt x="34889" y="36398"/>
                        </a:cubicBezTo>
                        <a:cubicBezTo>
                          <a:pt x="34889" y="36398"/>
                          <a:pt x="34361" y="36398"/>
                          <a:pt x="33832" y="36398"/>
                        </a:cubicBezTo>
                        <a:cubicBezTo>
                          <a:pt x="33832" y="36398"/>
                          <a:pt x="34889" y="36966"/>
                          <a:pt x="33832" y="36398"/>
                        </a:cubicBezTo>
                        <a:cubicBezTo>
                          <a:pt x="32246" y="35829"/>
                          <a:pt x="32246" y="35260"/>
                          <a:pt x="32246" y="35260"/>
                        </a:cubicBezTo>
                        <a:cubicBezTo>
                          <a:pt x="32246" y="35260"/>
                          <a:pt x="31718" y="34691"/>
                          <a:pt x="31718" y="34691"/>
                        </a:cubicBezTo>
                        <a:cubicBezTo>
                          <a:pt x="31189" y="34691"/>
                          <a:pt x="30660" y="34691"/>
                          <a:pt x="30660" y="34691"/>
                        </a:cubicBezTo>
                        <a:cubicBezTo>
                          <a:pt x="29603" y="34691"/>
                          <a:pt x="29603" y="34691"/>
                          <a:pt x="29603" y="34691"/>
                        </a:cubicBezTo>
                        <a:cubicBezTo>
                          <a:pt x="29074" y="34123"/>
                          <a:pt x="29074" y="34123"/>
                          <a:pt x="29074" y="34123"/>
                        </a:cubicBezTo>
                        <a:cubicBezTo>
                          <a:pt x="28546" y="35260"/>
                          <a:pt x="28546" y="35260"/>
                          <a:pt x="28546" y="35260"/>
                        </a:cubicBezTo>
                        <a:cubicBezTo>
                          <a:pt x="28546" y="35260"/>
                          <a:pt x="28546" y="35829"/>
                          <a:pt x="28017" y="35829"/>
                        </a:cubicBezTo>
                        <a:cubicBezTo>
                          <a:pt x="27488" y="36398"/>
                          <a:pt x="28017" y="36398"/>
                          <a:pt x="27488" y="36398"/>
                        </a:cubicBezTo>
                        <a:cubicBezTo>
                          <a:pt x="26431" y="36398"/>
                          <a:pt x="25903" y="35260"/>
                          <a:pt x="25903" y="35260"/>
                        </a:cubicBezTo>
                        <a:cubicBezTo>
                          <a:pt x="25903" y="35260"/>
                          <a:pt x="24845" y="34691"/>
                          <a:pt x="24845" y="34691"/>
                        </a:cubicBezTo>
                        <a:cubicBezTo>
                          <a:pt x="24317" y="34123"/>
                          <a:pt x="24317" y="34123"/>
                          <a:pt x="24317" y="34123"/>
                        </a:cubicBezTo>
                        <a:cubicBezTo>
                          <a:pt x="23788" y="34123"/>
                          <a:pt x="23788" y="34691"/>
                          <a:pt x="23788" y="33554"/>
                        </a:cubicBezTo>
                        <a:cubicBezTo>
                          <a:pt x="23788" y="32985"/>
                          <a:pt x="23788" y="32985"/>
                          <a:pt x="23788" y="32985"/>
                        </a:cubicBezTo>
                        <a:cubicBezTo>
                          <a:pt x="23259" y="32417"/>
                          <a:pt x="23259" y="32985"/>
                          <a:pt x="22731" y="32417"/>
                        </a:cubicBezTo>
                        <a:cubicBezTo>
                          <a:pt x="22731" y="31848"/>
                          <a:pt x="22202" y="31279"/>
                          <a:pt x="22202" y="31279"/>
                        </a:cubicBezTo>
                        <a:cubicBezTo>
                          <a:pt x="21674" y="30142"/>
                          <a:pt x="21674" y="30142"/>
                          <a:pt x="21674" y="30142"/>
                        </a:cubicBezTo>
                        <a:cubicBezTo>
                          <a:pt x="21674" y="30142"/>
                          <a:pt x="21674" y="30142"/>
                          <a:pt x="21674" y="30710"/>
                        </a:cubicBezTo>
                        <a:cubicBezTo>
                          <a:pt x="21145" y="31279"/>
                          <a:pt x="20616" y="31279"/>
                          <a:pt x="20616" y="31279"/>
                        </a:cubicBezTo>
                        <a:cubicBezTo>
                          <a:pt x="20616" y="31848"/>
                          <a:pt x="20088" y="32417"/>
                          <a:pt x="20088" y="32417"/>
                        </a:cubicBezTo>
                        <a:cubicBezTo>
                          <a:pt x="20088" y="32417"/>
                          <a:pt x="19559" y="32985"/>
                          <a:pt x="19559" y="33554"/>
                        </a:cubicBezTo>
                        <a:cubicBezTo>
                          <a:pt x="20088" y="33554"/>
                          <a:pt x="20088" y="33554"/>
                          <a:pt x="20088" y="34123"/>
                        </a:cubicBezTo>
                        <a:cubicBezTo>
                          <a:pt x="20088" y="34123"/>
                          <a:pt x="19559" y="34691"/>
                          <a:pt x="19559" y="34691"/>
                        </a:cubicBezTo>
                        <a:cubicBezTo>
                          <a:pt x="19030" y="35260"/>
                          <a:pt x="19030" y="35260"/>
                          <a:pt x="18502" y="35260"/>
                        </a:cubicBezTo>
                        <a:cubicBezTo>
                          <a:pt x="18502" y="35829"/>
                          <a:pt x="17444" y="36398"/>
                          <a:pt x="17444" y="36398"/>
                        </a:cubicBezTo>
                        <a:cubicBezTo>
                          <a:pt x="16387" y="36398"/>
                          <a:pt x="16387" y="36398"/>
                          <a:pt x="16387" y="36398"/>
                        </a:cubicBezTo>
                        <a:cubicBezTo>
                          <a:pt x="14801" y="35829"/>
                          <a:pt x="14801" y="35829"/>
                          <a:pt x="14801" y="35829"/>
                        </a:cubicBezTo>
                        <a:cubicBezTo>
                          <a:pt x="13744" y="36966"/>
                          <a:pt x="13744" y="36966"/>
                          <a:pt x="13744" y="36966"/>
                        </a:cubicBezTo>
                        <a:cubicBezTo>
                          <a:pt x="13744" y="36966"/>
                          <a:pt x="13215" y="36966"/>
                          <a:pt x="13215" y="36966"/>
                        </a:cubicBezTo>
                        <a:cubicBezTo>
                          <a:pt x="12687" y="36966"/>
                          <a:pt x="12158" y="36966"/>
                          <a:pt x="12158" y="36966"/>
                        </a:cubicBezTo>
                        <a:cubicBezTo>
                          <a:pt x="12158" y="36966"/>
                          <a:pt x="11629" y="36398"/>
                          <a:pt x="11101" y="36398"/>
                        </a:cubicBezTo>
                        <a:cubicBezTo>
                          <a:pt x="11101" y="36398"/>
                          <a:pt x="10572" y="36398"/>
                          <a:pt x="10572" y="36398"/>
                        </a:cubicBezTo>
                        <a:cubicBezTo>
                          <a:pt x="10044" y="36398"/>
                          <a:pt x="9515" y="36398"/>
                          <a:pt x="9515" y="36398"/>
                        </a:cubicBezTo>
                        <a:cubicBezTo>
                          <a:pt x="9515" y="36966"/>
                          <a:pt x="9515" y="36966"/>
                          <a:pt x="9515" y="36966"/>
                        </a:cubicBezTo>
                        <a:cubicBezTo>
                          <a:pt x="9515" y="36966"/>
                          <a:pt x="10044" y="36966"/>
                          <a:pt x="10044" y="36966"/>
                        </a:cubicBezTo>
                        <a:cubicBezTo>
                          <a:pt x="10044" y="37535"/>
                          <a:pt x="10044" y="38104"/>
                          <a:pt x="10044" y="38104"/>
                        </a:cubicBezTo>
                        <a:cubicBezTo>
                          <a:pt x="10044" y="38104"/>
                          <a:pt x="9515" y="38104"/>
                          <a:pt x="9515" y="38104"/>
                        </a:cubicBezTo>
                        <a:cubicBezTo>
                          <a:pt x="9515" y="38672"/>
                          <a:pt x="8458" y="38672"/>
                          <a:pt x="8458" y="38672"/>
                        </a:cubicBezTo>
                        <a:cubicBezTo>
                          <a:pt x="8458" y="38672"/>
                          <a:pt x="8458" y="39241"/>
                          <a:pt x="8458" y="39241"/>
                        </a:cubicBezTo>
                        <a:cubicBezTo>
                          <a:pt x="8458" y="39241"/>
                          <a:pt x="8458" y="39241"/>
                          <a:pt x="7929" y="39241"/>
                        </a:cubicBezTo>
                        <a:cubicBezTo>
                          <a:pt x="7400" y="39241"/>
                          <a:pt x="7400" y="39241"/>
                          <a:pt x="6872" y="39241"/>
                        </a:cubicBezTo>
                        <a:cubicBezTo>
                          <a:pt x="6872" y="38672"/>
                          <a:pt x="6343" y="38672"/>
                          <a:pt x="5814" y="38672"/>
                        </a:cubicBezTo>
                        <a:cubicBezTo>
                          <a:pt x="5814" y="38672"/>
                          <a:pt x="4229" y="38104"/>
                          <a:pt x="4229" y="38104"/>
                        </a:cubicBezTo>
                        <a:cubicBezTo>
                          <a:pt x="4229" y="38104"/>
                          <a:pt x="3700" y="38672"/>
                          <a:pt x="3700" y="38672"/>
                        </a:cubicBezTo>
                        <a:cubicBezTo>
                          <a:pt x="3171" y="38672"/>
                          <a:pt x="2643" y="38672"/>
                          <a:pt x="2114" y="38104"/>
                        </a:cubicBezTo>
                        <a:cubicBezTo>
                          <a:pt x="2114"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8104"/>
                          <a:pt x="1585" y="38104"/>
                          <a:pt x="1585" y="38104"/>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7535"/>
                          <a:pt x="1585" y="37535"/>
                          <a:pt x="1585" y="37535"/>
                        </a:cubicBezTo>
                        <a:cubicBezTo>
                          <a:pt x="1585" y="36966"/>
                          <a:pt x="1585" y="36966"/>
                          <a:pt x="1585" y="36966"/>
                        </a:cubicBezTo>
                        <a:cubicBezTo>
                          <a:pt x="0" y="38104"/>
                          <a:pt x="0" y="38104"/>
                          <a:pt x="0" y="38104"/>
                        </a:cubicBezTo>
                        <a:cubicBezTo>
                          <a:pt x="1057" y="40379"/>
                          <a:pt x="1057" y="40379"/>
                          <a:pt x="1057" y="40379"/>
                        </a:cubicBezTo>
                        <a:cubicBezTo>
                          <a:pt x="528" y="40947"/>
                          <a:pt x="528" y="40947"/>
                          <a:pt x="528" y="40947"/>
                        </a:cubicBezTo>
                        <a:cubicBezTo>
                          <a:pt x="528" y="40947"/>
                          <a:pt x="1057" y="41516"/>
                          <a:pt x="1057" y="41516"/>
                        </a:cubicBezTo>
                        <a:cubicBezTo>
                          <a:pt x="1057" y="42085"/>
                          <a:pt x="1585" y="42085"/>
                          <a:pt x="1585" y="42654"/>
                        </a:cubicBezTo>
                        <a:cubicBezTo>
                          <a:pt x="1585" y="43222"/>
                          <a:pt x="1585" y="43791"/>
                          <a:pt x="1585" y="43791"/>
                        </a:cubicBezTo>
                        <a:cubicBezTo>
                          <a:pt x="2114" y="43791"/>
                          <a:pt x="2114" y="43791"/>
                          <a:pt x="2114" y="43791"/>
                        </a:cubicBezTo>
                        <a:cubicBezTo>
                          <a:pt x="2643" y="44928"/>
                          <a:pt x="2643" y="44928"/>
                          <a:pt x="2643" y="44928"/>
                        </a:cubicBezTo>
                        <a:cubicBezTo>
                          <a:pt x="2643" y="45497"/>
                          <a:pt x="2643" y="45497"/>
                          <a:pt x="2643" y="45497"/>
                        </a:cubicBezTo>
                        <a:cubicBezTo>
                          <a:pt x="2643" y="46635"/>
                          <a:pt x="2643" y="46635"/>
                          <a:pt x="2643" y="46635"/>
                        </a:cubicBezTo>
                        <a:cubicBezTo>
                          <a:pt x="2643" y="46635"/>
                          <a:pt x="3171" y="47203"/>
                          <a:pt x="3171" y="47772"/>
                        </a:cubicBezTo>
                        <a:cubicBezTo>
                          <a:pt x="3171" y="47772"/>
                          <a:pt x="3171" y="48341"/>
                          <a:pt x="3171" y="48909"/>
                        </a:cubicBezTo>
                        <a:cubicBezTo>
                          <a:pt x="3171" y="48909"/>
                          <a:pt x="4229" y="50047"/>
                          <a:pt x="4229" y="50047"/>
                        </a:cubicBezTo>
                        <a:cubicBezTo>
                          <a:pt x="4229" y="51184"/>
                          <a:pt x="4229" y="51184"/>
                          <a:pt x="4229" y="51184"/>
                        </a:cubicBezTo>
                        <a:cubicBezTo>
                          <a:pt x="4229" y="51184"/>
                          <a:pt x="4757" y="51753"/>
                          <a:pt x="5286" y="52322"/>
                        </a:cubicBezTo>
                        <a:cubicBezTo>
                          <a:pt x="5286" y="52322"/>
                          <a:pt x="5814" y="52890"/>
                          <a:pt x="5814" y="52890"/>
                        </a:cubicBezTo>
                        <a:cubicBezTo>
                          <a:pt x="6343" y="54028"/>
                          <a:pt x="6343" y="54028"/>
                          <a:pt x="6343" y="54028"/>
                        </a:cubicBezTo>
                        <a:cubicBezTo>
                          <a:pt x="6872" y="55165"/>
                          <a:pt x="6872" y="55165"/>
                          <a:pt x="6872" y="55165"/>
                        </a:cubicBezTo>
                        <a:cubicBezTo>
                          <a:pt x="7400" y="55734"/>
                          <a:pt x="7400" y="55734"/>
                          <a:pt x="7400" y="55734"/>
                        </a:cubicBezTo>
                        <a:cubicBezTo>
                          <a:pt x="7929" y="56872"/>
                          <a:pt x="7929" y="56872"/>
                          <a:pt x="7929" y="56872"/>
                        </a:cubicBezTo>
                        <a:cubicBezTo>
                          <a:pt x="8458" y="57440"/>
                          <a:pt x="8458" y="57440"/>
                          <a:pt x="8458" y="57440"/>
                        </a:cubicBezTo>
                        <a:cubicBezTo>
                          <a:pt x="8986" y="58009"/>
                          <a:pt x="8986" y="58009"/>
                          <a:pt x="8986" y="58009"/>
                        </a:cubicBezTo>
                        <a:cubicBezTo>
                          <a:pt x="8986" y="58009"/>
                          <a:pt x="8986" y="58578"/>
                          <a:pt x="9515" y="58578"/>
                        </a:cubicBezTo>
                        <a:cubicBezTo>
                          <a:pt x="10044" y="58578"/>
                          <a:pt x="10572" y="58578"/>
                          <a:pt x="10572" y="58578"/>
                        </a:cubicBezTo>
                        <a:cubicBezTo>
                          <a:pt x="11101" y="58578"/>
                          <a:pt x="11101" y="59146"/>
                          <a:pt x="11629" y="57440"/>
                        </a:cubicBezTo>
                        <a:cubicBezTo>
                          <a:pt x="11629" y="56303"/>
                          <a:pt x="11629" y="55734"/>
                          <a:pt x="11629" y="55734"/>
                        </a:cubicBezTo>
                        <a:cubicBezTo>
                          <a:pt x="11629" y="55734"/>
                          <a:pt x="12158" y="55734"/>
                          <a:pt x="12158" y="55165"/>
                        </a:cubicBezTo>
                        <a:cubicBezTo>
                          <a:pt x="12687" y="55165"/>
                          <a:pt x="13215" y="55165"/>
                          <a:pt x="13215" y="54597"/>
                        </a:cubicBezTo>
                        <a:cubicBezTo>
                          <a:pt x="13215" y="53459"/>
                          <a:pt x="12158" y="52890"/>
                          <a:pt x="12158" y="52890"/>
                        </a:cubicBezTo>
                        <a:cubicBezTo>
                          <a:pt x="12158" y="52890"/>
                          <a:pt x="13215" y="52322"/>
                          <a:pt x="13744" y="52890"/>
                        </a:cubicBezTo>
                        <a:cubicBezTo>
                          <a:pt x="13744" y="53459"/>
                          <a:pt x="13744" y="54028"/>
                          <a:pt x="14273" y="53459"/>
                        </a:cubicBezTo>
                        <a:cubicBezTo>
                          <a:pt x="14801" y="52322"/>
                          <a:pt x="14801" y="52322"/>
                          <a:pt x="14801" y="52322"/>
                        </a:cubicBezTo>
                        <a:cubicBezTo>
                          <a:pt x="14273" y="51753"/>
                          <a:pt x="14273" y="51184"/>
                          <a:pt x="14273" y="50616"/>
                        </a:cubicBezTo>
                        <a:cubicBezTo>
                          <a:pt x="14273" y="50616"/>
                          <a:pt x="14801" y="50047"/>
                          <a:pt x="14801" y="49478"/>
                        </a:cubicBezTo>
                        <a:cubicBezTo>
                          <a:pt x="15330" y="48909"/>
                          <a:pt x="15330" y="48341"/>
                          <a:pt x="15330" y="47772"/>
                        </a:cubicBezTo>
                        <a:cubicBezTo>
                          <a:pt x="15330" y="46635"/>
                          <a:pt x="15330" y="47203"/>
                          <a:pt x="15859" y="46066"/>
                        </a:cubicBezTo>
                        <a:cubicBezTo>
                          <a:pt x="15859" y="45497"/>
                          <a:pt x="15859" y="46066"/>
                          <a:pt x="15859" y="43791"/>
                        </a:cubicBezTo>
                        <a:cubicBezTo>
                          <a:pt x="16387" y="42085"/>
                          <a:pt x="16387" y="41516"/>
                          <a:pt x="16916" y="41516"/>
                        </a:cubicBezTo>
                        <a:cubicBezTo>
                          <a:pt x="16916" y="41516"/>
                          <a:pt x="21145" y="43222"/>
                          <a:pt x="21145" y="43222"/>
                        </a:cubicBezTo>
                        <a:cubicBezTo>
                          <a:pt x="21145" y="43222"/>
                          <a:pt x="21674" y="44360"/>
                          <a:pt x="21674" y="44360"/>
                        </a:cubicBezTo>
                        <a:cubicBezTo>
                          <a:pt x="21674" y="44928"/>
                          <a:pt x="21674" y="45497"/>
                          <a:pt x="21674" y="45497"/>
                        </a:cubicBezTo>
                        <a:cubicBezTo>
                          <a:pt x="21674" y="46066"/>
                          <a:pt x="21145" y="47203"/>
                          <a:pt x="21145" y="47203"/>
                        </a:cubicBezTo>
                        <a:cubicBezTo>
                          <a:pt x="21145" y="47772"/>
                          <a:pt x="21145" y="47772"/>
                          <a:pt x="21145" y="47772"/>
                        </a:cubicBezTo>
                        <a:cubicBezTo>
                          <a:pt x="21145" y="47772"/>
                          <a:pt x="20088" y="47772"/>
                          <a:pt x="20088" y="48909"/>
                        </a:cubicBezTo>
                        <a:cubicBezTo>
                          <a:pt x="19559" y="49478"/>
                          <a:pt x="19559" y="49478"/>
                          <a:pt x="20088" y="50047"/>
                        </a:cubicBezTo>
                        <a:cubicBezTo>
                          <a:pt x="20616" y="50616"/>
                          <a:pt x="21145" y="51184"/>
                          <a:pt x="21145" y="51184"/>
                        </a:cubicBezTo>
                        <a:cubicBezTo>
                          <a:pt x="21674" y="51184"/>
                          <a:pt x="22202" y="50616"/>
                          <a:pt x="22731" y="50616"/>
                        </a:cubicBezTo>
                        <a:cubicBezTo>
                          <a:pt x="22731" y="50616"/>
                          <a:pt x="23259" y="50616"/>
                          <a:pt x="23259" y="50616"/>
                        </a:cubicBezTo>
                        <a:cubicBezTo>
                          <a:pt x="23259" y="51184"/>
                          <a:pt x="23259" y="51753"/>
                          <a:pt x="23788" y="52322"/>
                        </a:cubicBezTo>
                        <a:cubicBezTo>
                          <a:pt x="24317" y="52322"/>
                          <a:pt x="24845" y="52890"/>
                          <a:pt x="24845" y="52890"/>
                        </a:cubicBezTo>
                        <a:cubicBezTo>
                          <a:pt x="25374" y="52890"/>
                          <a:pt x="25903" y="52890"/>
                          <a:pt x="25903" y="52890"/>
                        </a:cubicBezTo>
                        <a:cubicBezTo>
                          <a:pt x="25903" y="52890"/>
                          <a:pt x="26431" y="52322"/>
                          <a:pt x="26960" y="52322"/>
                        </a:cubicBezTo>
                        <a:cubicBezTo>
                          <a:pt x="26960" y="52322"/>
                          <a:pt x="28546" y="54028"/>
                          <a:pt x="27488" y="51753"/>
                        </a:cubicBezTo>
                        <a:cubicBezTo>
                          <a:pt x="25903" y="50047"/>
                          <a:pt x="25903" y="50047"/>
                          <a:pt x="25903" y="49478"/>
                        </a:cubicBezTo>
                        <a:cubicBezTo>
                          <a:pt x="25374" y="49478"/>
                          <a:pt x="24845" y="48909"/>
                          <a:pt x="24845" y="48909"/>
                        </a:cubicBezTo>
                        <a:cubicBezTo>
                          <a:pt x="24317" y="48909"/>
                          <a:pt x="24317" y="48909"/>
                          <a:pt x="24317" y="48909"/>
                        </a:cubicBezTo>
                        <a:cubicBezTo>
                          <a:pt x="24317" y="48909"/>
                          <a:pt x="24317" y="48341"/>
                          <a:pt x="24317" y="47772"/>
                        </a:cubicBezTo>
                        <a:cubicBezTo>
                          <a:pt x="24845" y="47203"/>
                          <a:pt x="24845" y="47203"/>
                          <a:pt x="25374" y="47203"/>
                        </a:cubicBezTo>
                        <a:cubicBezTo>
                          <a:pt x="25903" y="47203"/>
                          <a:pt x="25903" y="46635"/>
                          <a:pt x="26960" y="47772"/>
                        </a:cubicBezTo>
                        <a:cubicBezTo>
                          <a:pt x="27488" y="48341"/>
                          <a:pt x="27488" y="48341"/>
                          <a:pt x="27488" y="48909"/>
                        </a:cubicBezTo>
                        <a:cubicBezTo>
                          <a:pt x="28017" y="50047"/>
                          <a:pt x="28546" y="50616"/>
                          <a:pt x="29074" y="51184"/>
                        </a:cubicBezTo>
                        <a:cubicBezTo>
                          <a:pt x="29074" y="51184"/>
                          <a:pt x="29603" y="51184"/>
                          <a:pt x="29603" y="52322"/>
                        </a:cubicBezTo>
                        <a:cubicBezTo>
                          <a:pt x="29603" y="53459"/>
                          <a:pt x="29603" y="54597"/>
                          <a:pt x="29603" y="55165"/>
                        </a:cubicBezTo>
                        <a:cubicBezTo>
                          <a:pt x="29603" y="55165"/>
                          <a:pt x="29603" y="57440"/>
                          <a:pt x="29603" y="57440"/>
                        </a:cubicBezTo>
                        <a:cubicBezTo>
                          <a:pt x="29603" y="57440"/>
                          <a:pt x="29603" y="58578"/>
                          <a:pt x="29603" y="59146"/>
                        </a:cubicBezTo>
                        <a:cubicBezTo>
                          <a:pt x="29603" y="59715"/>
                          <a:pt x="32246" y="63696"/>
                          <a:pt x="32246" y="63696"/>
                        </a:cubicBezTo>
                        <a:cubicBezTo>
                          <a:pt x="32246" y="63696"/>
                          <a:pt x="33303" y="65402"/>
                          <a:pt x="33832" y="65402"/>
                        </a:cubicBezTo>
                        <a:cubicBezTo>
                          <a:pt x="33832" y="65402"/>
                          <a:pt x="34361" y="67109"/>
                          <a:pt x="34889" y="67677"/>
                        </a:cubicBezTo>
                        <a:cubicBezTo>
                          <a:pt x="35947" y="67677"/>
                          <a:pt x="38061" y="68815"/>
                          <a:pt x="38061" y="68815"/>
                        </a:cubicBezTo>
                        <a:cubicBezTo>
                          <a:pt x="41762" y="71090"/>
                          <a:pt x="41762" y="71090"/>
                          <a:pt x="41762" y="71090"/>
                        </a:cubicBezTo>
                        <a:cubicBezTo>
                          <a:pt x="41762" y="71090"/>
                          <a:pt x="42819" y="72796"/>
                          <a:pt x="43348" y="72796"/>
                        </a:cubicBezTo>
                        <a:cubicBezTo>
                          <a:pt x="43348" y="72796"/>
                          <a:pt x="45991" y="72796"/>
                          <a:pt x="43876" y="72796"/>
                        </a:cubicBezTo>
                        <a:cubicBezTo>
                          <a:pt x="42290" y="72796"/>
                          <a:pt x="40176" y="71658"/>
                          <a:pt x="40176" y="71658"/>
                        </a:cubicBezTo>
                        <a:cubicBezTo>
                          <a:pt x="40176" y="71658"/>
                          <a:pt x="39647" y="70521"/>
                          <a:pt x="39647" y="70521"/>
                        </a:cubicBezTo>
                        <a:cubicBezTo>
                          <a:pt x="39118" y="70521"/>
                          <a:pt x="37004" y="69952"/>
                          <a:pt x="36475" y="69383"/>
                        </a:cubicBezTo>
                        <a:cubicBezTo>
                          <a:pt x="36475" y="69383"/>
                          <a:pt x="35947" y="68815"/>
                          <a:pt x="35418" y="68246"/>
                        </a:cubicBezTo>
                        <a:cubicBezTo>
                          <a:pt x="34889" y="67109"/>
                          <a:pt x="33832" y="66540"/>
                          <a:pt x="33832" y="66540"/>
                        </a:cubicBezTo>
                        <a:cubicBezTo>
                          <a:pt x="33832" y="66540"/>
                          <a:pt x="33303" y="65971"/>
                          <a:pt x="32775" y="64834"/>
                        </a:cubicBezTo>
                        <a:cubicBezTo>
                          <a:pt x="32246" y="64265"/>
                          <a:pt x="32246" y="64265"/>
                          <a:pt x="32246" y="63696"/>
                        </a:cubicBezTo>
                        <a:cubicBezTo>
                          <a:pt x="31718" y="63696"/>
                          <a:pt x="32246" y="63696"/>
                          <a:pt x="31189" y="63127"/>
                        </a:cubicBezTo>
                        <a:cubicBezTo>
                          <a:pt x="30132" y="62559"/>
                          <a:pt x="29603" y="61990"/>
                          <a:pt x="29603" y="61990"/>
                        </a:cubicBezTo>
                        <a:cubicBezTo>
                          <a:pt x="29074" y="61990"/>
                          <a:pt x="28017" y="61421"/>
                          <a:pt x="28017" y="61421"/>
                        </a:cubicBezTo>
                        <a:cubicBezTo>
                          <a:pt x="28017" y="61421"/>
                          <a:pt x="26960" y="60284"/>
                          <a:pt x="26960" y="60284"/>
                        </a:cubicBezTo>
                        <a:cubicBezTo>
                          <a:pt x="26960" y="60284"/>
                          <a:pt x="26431" y="61421"/>
                          <a:pt x="27488" y="61990"/>
                        </a:cubicBezTo>
                        <a:cubicBezTo>
                          <a:pt x="28017" y="61990"/>
                          <a:pt x="29074" y="63127"/>
                          <a:pt x="29074" y="63127"/>
                        </a:cubicBezTo>
                        <a:cubicBezTo>
                          <a:pt x="29074" y="63127"/>
                          <a:pt x="30132" y="63696"/>
                          <a:pt x="30132" y="63696"/>
                        </a:cubicBezTo>
                        <a:cubicBezTo>
                          <a:pt x="30132" y="63696"/>
                          <a:pt x="30132" y="64834"/>
                          <a:pt x="30132" y="64834"/>
                        </a:cubicBezTo>
                        <a:cubicBezTo>
                          <a:pt x="30132" y="64834"/>
                          <a:pt x="28546" y="64265"/>
                          <a:pt x="30132" y="64834"/>
                        </a:cubicBezTo>
                        <a:cubicBezTo>
                          <a:pt x="31189" y="65402"/>
                          <a:pt x="32246" y="65402"/>
                          <a:pt x="32246" y="65402"/>
                        </a:cubicBezTo>
                        <a:cubicBezTo>
                          <a:pt x="32246" y="65402"/>
                          <a:pt x="31189" y="65971"/>
                          <a:pt x="30660" y="65971"/>
                        </a:cubicBezTo>
                        <a:cubicBezTo>
                          <a:pt x="30660" y="66540"/>
                          <a:pt x="31718" y="68246"/>
                          <a:pt x="31718" y="67677"/>
                        </a:cubicBezTo>
                        <a:cubicBezTo>
                          <a:pt x="32246" y="67677"/>
                          <a:pt x="32775" y="68246"/>
                          <a:pt x="33303" y="68246"/>
                        </a:cubicBezTo>
                        <a:cubicBezTo>
                          <a:pt x="33303" y="68246"/>
                          <a:pt x="34361" y="68246"/>
                          <a:pt x="34361" y="68815"/>
                        </a:cubicBezTo>
                        <a:cubicBezTo>
                          <a:pt x="34889" y="68815"/>
                          <a:pt x="34889" y="68815"/>
                          <a:pt x="34889" y="69383"/>
                        </a:cubicBezTo>
                        <a:cubicBezTo>
                          <a:pt x="34361" y="69383"/>
                          <a:pt x="34889" y="70521"/>
                          <a:pt x="34889" y="70521"/>
                        </a:cubicBezTo>
                        <a:cubicBezTo>
                          <a:pt x="35947" y="71090"/>
                          <a:pt x="35947" y="71090"/>
                          <a:pt x="35947" y="71090"/>
                        </a:cubicBezTo>
                        <a:cubicBezTo>
                          <a:pt x="35947" y="71090"/>
                          <a:pt x="34361" y="71090"/>
                          <a:pt x="34361" y="70521"/>
                        </a:cubicBezTo>
                        <a:cubicBezTo>
                          <a:pt x="33832" y="70521"/>
                          <a:pt x="33832" y="69952"/>
                          <a:pt x="33303" y="70521"/>
                        </a:cubicBezTo>
                        <a:cubicBezTo>
                          <a:pt x="32775" y="71090"/>
                          <a:pt x="32775" y="71090"/>
                          <a:pt x="32775" y="71658"/>
                        </a:cubicBezTo>
                        <a:cubicBezTo>
                          <a:pt x="33303" y="72227"/>
                          <a:pt x="33832" y="72796"/>
                          <a:pt x="34361" y="72227"/>
                        </a:cubicBezTo>
                        <a:cubicBezTo>
                          <a:pt x="34361" y="72227"/>
                          <a:pt x="34361" y="72227"/>
                          <a:pt x="34889" y="71658"/>
                        </a:cubicBezTo>
                        <a:cubicBezTo>
                          <a:pt x="34889" y="71658"/>
                          <a:pt x="34889" y="71658"/>
                          <a:pt x="35418" y="71658"/>
                        </a:cubicBezTo>
                        <a:cubicBezTo>
                          <a:pt x="35418" y="71658"/>
                          <a:pt x="35947" y="71658"/>
                          <a:pt x="35947" y="71658"/>
                        </a:cubicBezTo>
                        <a:cubicBezTo>
                          <a:pt x="36475" y="71090"/>
                          <a:pt x="36475" y="71090"/>
                          <a:pt x="36475" y="71090"/>
                        </a:cubicBezTo>
                        <a:cubicBezTo>
                          <a:pt x="36475" y="71090"/>
                          <a:pt x="36475" y="71090"/>
                          <a:pt x="36475" y="71658"/>
                        </a:cubicBezTo>
                        <a:cubicBezTo>
                          <a:pt x="36475" y="71658"/>
                          <a:pt x="37004" y="71658"/>
                          <a:pt x="36475" y="72227"/>
                        </a:cubicBezTo>
                        <a:cubicBezTo>
                          <a:pt x="36475" y="72796"/>
                          <a:pt x="35947" y="72796"/>
                          <a:pt x="35947" y="72796"/>
                        </a:cubicBezTo>
                        <a:cubicBezTo>
                          <a:pt x="35947" y="73364"/>
                          <a:pt x="35418" y="72796"/>
                          <a:pt x="35947" y="73933"/>
                        </a:cubicBezTo>
                        <a:cubicBezTo>
                          <a:pt x="35947" y="74502"/>
                          <a:pt x="35947" y="75071"/>
                          <a:pt x="35947" y="75071"/>
                        </a:cubicBezTo>
                        <a:cubicBezTo>
                          <a:pt x="35947" y="75071"/>
                          <a:pt x="36475" y="75071"/>
                          <a:pt x="36475" y="75071"/>
                        </a:cubicBezTo>
                        <a:cubicBezTo>
                          <a:pt x="37004" y="75639"/>
                          <a:pt x="37004" y="76208"/>
                          <a:pt x="37004" y="76777"/>
                        </a:cubicBezTo>
                        <a:cubicBezTo>
                          <a:pt x="37533" y="76777"/>
                          <a:pt x="38590" y="78483"/>
                          <a:pt x="38590" y="78483"/>
                        </a:cubicBezTo>
                        <a:cubicBezTo>
                          <a:pt x="38590" y="78483"/>
                          <a:pt x="40176" y="79620"/>
                          <a:pt x="40176" y="79620"/>
                        </a:cubicBezTo>
                        <a:cubicBezTo>
                          <a:pt x="40176" y="79620"/>
                          <a:pt x="40704" y="80189"/>
                          <a:pt x="40704" y="80189"/>
                        </a:cubicBezTo>
                        <a:cubicBezTo>
                          <a:pt x="40704" y="80189"/>
                          <a:pt x="40704" y="80758"/>
                          <a:pt x="40176" y="80189"/>
                        </a:cubicBezTo>
                        <a:cubicBezTo>
                          <a:pt x="39647" y="79620"/>
                          <a:pt x="38590" y="79052"/>
                          <a:pt x="38590" y="79052"/>
                        </a:cubicBezTo>
                        <a:cubicBezTo>
                          <a:pt x="38590" y="80189"/>
                          <a:pt x="38590" y="80189"/>
                          <a:pt x="38590" y="80189"/>
                        </a:cubicBezTo>
                        <a:cubicBezTo>
                          <a:pt x="38590" y="80189"/>
                          <a:pt x="39118" y="80758"/>
                          <a:pt x="39647" y="80758"/>
                        </a:cubicBezTo>
                        <a:cubicBezTo>
                          <a:pt x="39647" y="81327"/>
                          <a:pt x="39647" y="81327"/>
                          <a:pt x="40176" y="81895"/>
                        </a:cubicBezTo>
                        <a:cubicBezTo>
                          <a:pt x="40704" y="81895"/>
                          <a:pt x="41233" y="81895"/>
                          <a:pt x="41762" y="81895"/>
                        </a:cubicBezTo>
                        <a:cubicBezTo>
                          <a:pt x="41762" y="82464"/>
                          <a:pt x="41762" y="81327"/>
                          <a:pt x="41762" y="81327"/>
                        </a:cubicBezTo>
                        <a:cubicBezTo>
                          <a:pt x="41762" y="81327"/>
                          <a:pt x="42290" y="81327"/>
                          <a:pt x="42290" y="81327"/>
                        </a:cubicBezTo>
                        <a:cubicBezTo>
                          <a:pt x="42290" y="81895"/>
                          <a:pt x="42819" y="82464"/>
                          <a:pt x="42290" y="83033"/>
                        </a:cubicBezTo>
                        <a:cubicBezTo>
                          <a:pt x="42290" y="83033"/>
                          <a:pt x="42290" y="83601"/>
                          <a:pt x="41762" y="83033"/>
                        </a:cubicBezTo>
                        <a:cubicBezTo>
                          <a:pt x="41233" y="83033"/>
                          <a:pt x="40704" y="82464"/>
                          <a:pt x="40176" y="82464"/>
                        </a:cubicBezTo>
                        <a:cubicBezTo>
                          <a:pt x="40176" y="82464"/>
                          <a:pt x="39647" y="81895"/>
                          <a:pt x="39118" y="82464"/>
                        </a:cubicBezTo>
                        <a:cubicBezTo>
                          <a:pt x="39118" y="82464"/>
                          <a:pt x="38061" y="81895"/>
                          <a:pt x="38061" y="82464"/>
                        </a:cubicBezTo>
                        <a:cubicBezTo>
                          <a:pt x="38061" y="83033"/>
                          <a:pt x="38061" y="83601"/>
                          <a:pt x="38061" y="83601"/>
                        </a:cubicBezTo>
                        <a:cubicBezTo>
                          <a:pt x="38061" y="83601"/>
                          <a:pt x="37533" y="81327"/>
                          <a:pt x="37004" y="81327"/>
                        </a:cubicBezTo>
                        <a:cubicBezTo>
                          <a:pt x="36475" y="81327"/>
                          <a:pt x="35418" y="80758"/>
                          <a:pt x="35418" y="80758"/>
                        </a:cubicBezTo>
                        <a:cubicBezTo>
                          <a:pt x="34889" y="79620"/>
                          <a:pt x="34889" y="79620"/>
                          <a:pt x="34889" y="79620"/>
                        </a:cubicBezTo>
                        <a:cubicBezTo>
                          <a:pt x="34889" y="79620"/>
                          <a:pt x="35418" y="79620"/>
                          <a:pt x="35418" y="79620"/>
                        </a:cubicBezTo>
                        <a:cubicBezTo>
                          <a:pt x="35947" y="80189"/>
                          <a:pt x="35418" y="80189"/>
                          <a:pt x="35947" y="80189"/>
                        </a:cubicBezTo>
                        <a:cubicBezTo>
                          <a:pt x="36475" y="80189"/>
                          <a:pt x="35418" y="79052"/>
                          <a:pt x="36475" y="79052"/>
                        </a:cubicBezTo>
                        <a:cubicBezTo>
                          <a:pt x="37533" y="79052"/>
                          <a:pt x="37533" y="79052"/>
                          <a:pt x="37533" y="79052"/>
                        </a:cubicBezTo>
                        <a:cubicBezTo>
                          <a:pt x="37533" y="78483"/>
                          <a:pt x="38590" y="78483"/>
                          <a:pt x="37533" y="77914"/>
                        </a:cubicBezTo>
                        <a:cubicBezTo>
                          <a:pt x="36475" y="77345"/>
                          <a:pt x="36475" y="77345"/>
                          <a:pt x="36475" y="77345"/>
                        </a:cubicBezTo>
                        <a:cubicBezTo>
                          <a:pt x="35947" y="77345"/>
                          <a:pt x="35947" y="77345"/>
                          <a:pt x="35947" y="76777"/>
                        </a:cubicBezTo>
                        <a:cubicBezTo>
                          <a:pt x="35418" y="76208"/>
                          <a:pt x="35418" y="75639"/>
                          <a:pt x="34889" y="75639"/>
                        </a:cubicBezTo>
                        <a:cubicBezTo>
                          <a:pt x="34889" y="75639"/>
                          <a:pt x="33303" y="75639"/>
                          <a:pt x="33303" y="75639"/>
                        </a:cubicBezTo>
                        <a:cubicBezTo>
                          <a:pt x="33303" y="75639"/>
                          <a:pt x="32775" y="75071"/>
                          <a:pt x="32246" y="75071"/>
                        </a:cubicBezTo>
                        <a:cubicBezTo>
                          <a:pt x="31718" y="75071"/>
                          <a:pt x="30660" y="73933"/>
                          <a:pt x="30660" y="73933"/>
                        </a:cubicBezTo>
                        <a:cubicBezTo>
                          <a:pt x="30132" y="73364"/>
                          <a:pt x="28546" y="72796"/>
                          <a:pt x="28546" y="72796"/>
                        </a:cubicBezTo>
                        <a:cubicBezTo>
                          <a:pt x="28546" y="72796"/>
                          <a:pt x="28017" y="72227"/>
                          <a:pt x="27488" y="72227"/>
                        </a:cubicBezTo>
                        <a:cubicBezTo>
                          <a:pt x="26960" y="72227"/>
                          <a:pt x="26960" y="72227"/>
                          <a:pt x="26431" y="72227"/>
                        </a:cubicBezTo>
                        <a:cubicBezTo>
                          <a:pt x="25903" y="71658"/>
                          <a:pt x="25374" y="71090"/>
                          <a:pt x="25374" y="71090"/>
                        </a:cubicBezTo>
                        <a:cubicBezTo>
                          <a:pt x="24845" y="70521"/>
                          <a:pt x="24317" y="70521"/>
                          <a:pt x="24317" y="70521"/>
                        </a:cubicBezTo>
                        <a:cubicBezTo>
                          <a:pt x="24845" y="71090"/>
                          <a:pt x="24317" y="71090"/>
                          <a:pt x="25374" y="71658"/>
                        </a:cubicBezTo>
                        <a:cubicBezTo>
                          <a:pt x="25903" y="72227"/>
                          <a:pt x="26431" y="72227"/>
                          <a:pt x="26431" y="72227"/>
                        </a:cubicBezTo>
                        <a:cubicBezTo>
                          <a:pt x="26431" y="72227"/>
                          <a:pt x="26960" y="72796"/>
                          <a:pt x="26960" y="72796"/>
                        </a:cubicBezTo>
                        <a:cubicBezTo>
                          <a:pt x="26960" y="73364"/>
                          <a:pt x="27488" y="72796"/>
                          <a:pt x="28017" y="72796"/>
                        </a:cubicBezTo>
                        <a:cubicBezTo>
                          <a:pt x="28017" y="73364"/>
                          <a:pt x="28546" y="73364"/>
                          <a:pt x="28546" y="73933"/>
                        </a:cubicBezTo>
                        <a:cubicBezTo>
                          <a:pt x="28546" y="73933"/>
                          <a:pt x="30132" y="73933"/>
                          <a:pt x="30132" y="74502"/>
                        </a:cubicBezTo>
                        <a:cubicBezTo>
                          <a:pt x="30132" y="75071"/>
                          <a:pt x="30660" y="75639"/>
                          <a:pt x="30132" y="75639"/>
                        </a:cubicBezTo>
                        <a:cubicBezTo>
                          <a:pt x="30132" y="75639"/>
                          <a:pt x="29603" y="76208"/>
                          <a:pt x="29603" y="76208"/>
                        </a:cubicBezTo>
                        <a:cubicBezTo>
                          <a:pt x="30132" y="76208"/>
                          <a:pt x="30660" y="76777"/>
                          <a:pt x="31189" y="76777"/>
                        </a:cubicBezTo>
                        <a:cubicBezTo>
                          <a:pt x="31718" y="76777"/>
                          <a:pt x="31189" y="76777"/>
                          <a:pt x="32246" y="77345"/>
                        </a:cubicBezTo>
                        <a:cubicBezTo>
                          <a:pt x="33303" y="77345"/>
                          <a:pt x="33303" y="78483"/>
                          <a:pt x="33303" y="78483"/>
                        </a:cubicBezTo>
                        <a:cubicBezTo>
                          <a:pt x="33303" y="79052"/>
                          <a:pt x="34361" y="79620"/>
                          <a:pt x="34361" y="79620"/>
                        </a:cubicBezTo>
                        <a:cubicBezTo>
                          <a:pt x="34361" y="79620"/>
                          <a:pt x="33832" y="79620"/>
                          <a:pt x="34361" y="80189"/>
                        </a:cubicBezTo>
                        <a:cubicBezTo>
                          <a:pt x="34361" y="80189"/>
                          <a:pt x="33832" y="80189"/>
                          <a:pt x="34361" y="80758"/>
                        </a:cubicBezTo>
                        <a:cubicBezTo>
                          <a:pt x="34889" y="80758"/>
                          <a:pt x="35418" y="80758"/>
                          <a:pt x="35418" y="80758"/>
                        </a:cubicBezTo>
                        <a:cubicBezTo>
                          <a:pt x="35418" y="81327"/>
                          <a:pt x="35418" y="81327"/>
                          <a:pt x="35418" y="81895"/>
                        </a:cubicBezTo>
                        <a:cubicBezTo>
                          <a:pt x="35418" y="81895"/>
                          <a:pt x="34361" y="83033"/>
                          <a:pt x="35947" y="83033"/>
                        </a:cubicBezTo>
                        <a:cubicBezTo>
                          <a:pt x="37004" y="83033"/>
                          <a:pt x="37004" y="83033"/>
                          <a:pt x="37004" y="83033"/>
                        </a:cubicBezTo>
                        <a:cubicBezTo>
                          <a:pt x="37533" y="83601"/>
                          <a:pt x="37533" y="83601"/>
                          <a:pt x="37533" y="83601"/>
                        </a:cubicBezTo>
                        <a:cubicBezTo>
                          <a:pt x="37533" y="83601"/>
                          <a:pt x="37004" y="84170"/>
                          <a:pt x="37533" y="84739"/>
                        </a:cubicBezTo>
                        <a:cubicBezTo>
                          <a:pt x="37533" y="85308"/>
                          <a:pt x="39647" y="85308"/>
                          <a:pt x="39647" y="85308"/>
                        </a:cubicBezTo>
                        <a:cubicBezTo>
                          <a:pt x="39647" y="84739"/>
                          <a:pt x="39647" y="84739"/>
                          <a:pt x="39647" y="84739"/>
                        </a:cubicBezTo>
                        <a:cubicBezTo>
                          <a:pt x="39647" y="84739"/>
                          <a:pt x="40704" y="85308"/>
                          <a:pt x="40176" y="85308"/>
                        </a:cubicBezTo>
                        <a:cubicBezTo>
                          <a:pt x="40176" y="85876"/>
                          <a:pt x="39647" y="85876"/>
                          <a:pt x="39647" y="85876"/>
                        </a:cubicBezTo>
                        <a:cubicBezTo>
                          <a:pt x="39647" y="85876"/>
                          <a:pt x="39647" y="87014"/>
                          <a:pt x="40176" y="87014"/>
                        </a:cubicBezTo>
                        <a:cubicBezTo>
                          <a:pt x="40704" y="87014"/>
                          <a:pt x="41233" y="87582"/>
                          <a:pt x="41233" y="87582"/>
                        </a:cubicBezTo>
                        <a:cubicBezTo>
                          <a:pt x="41233" y="87582"/>
                          <a:pt x="41762" y="87582"/>
                          <a:pt x="41762" y="88151"/>
                        </a:cubicBezTo>
                        <a:cubicBezTo>
                          <a:pt x="42290" y="88151"/>
                          <a:pt x="42290" y="88720"/>
                          <a:pt x="42290" y="88720"/>
                        </a:cubicBezTo>
                        <a:cubicBezTo>
                          <a:pt x="42819" y="88720"/>
                          <a:pt x="43348" y="88720"/>
                          <a:pt x="43348" y="89289"/>
                        </a:cubicBezTo>
                        <a:cubicBezTo>
                          <a:pt x="43876" y="89289"/>
                          <a:pt x="44405" y="89857"/>
                          <a:pt x="44405" y="89289"/>
                        </a:cubicBezTo>
                        <a:cubicBezTo>
                          <a:pt x="44405" y="88720"/>
                          <a:pt x="44933" y="88720"/>
                          <a:pt x="44405" y="88151"/>
                        </a:cubicBezTo>
                        <a:cubicBezTo>
                          <a:pt x="43876" y="87582"/>
                          <a:pt x="43348" y="87582"/>
                          <a:pt x="42819" y="87582"/>
                        </a:cubicBezTo>
                        <a:cubicBezTo>
                          <a:pt x="42819" y="87582"/>
                          <a:pt x="42290" y="87582"/>
                          <a:pt x="42290" y="87014"/>
                        </a:cubicBezTo>
                        <a:cubicBezTo>
                          <a:pt x="41762" y="87014"/>
                          <a:pt x="41762" y="87014"/>
                          <a:pt x="41762" y="86445"/>
                        </a:cubicBezTo>
                        <a:cubicBezTo>
                          <a:pt x="41762" y="85876"/>
                          <a:pt x="41233" y="85308"/>
                          <a:pt x="41233" y="85308"/>
                        </a:cubicBezTo>
                        <a:cubicBezTo>
                          <a:pt x="41233" y="85308"/>
                          <a:pt x="41233" y="84170"/>
                          <a:pt x="41233" y="84170"/>
                        </a:cubicBezTo>
                        <a:cubicBezTo>
                          <a:pt x="40704" y="84170"/>
                          <a:pt x="40704" y="84170"/>
                          <a:pt x="40176" y="84170"/>
                        </a:cubicBezTo>
                        <a:cubicBezTo>
                          <a:pt x="40176" y="84170"/>
                          <a:pt x="39647" y="83601"/>
                          <a:pt x="39647" y="83601"/>
                        </a:cubicBezTo>
                        <a:cubicBezTo>
                          <a:pt x="39118" y="83601"/>
                          <a:pt x="38590" y="83601"/>
                          <a:pt x="38590" y="83601"/>
                        </a:cubicBezTo>
                        <a:cubicBezTo>
                          <a:pt x="38590" y="83033"/>
                          <a:pt x="39118" y="83033"/>
                          <a:pt x="39118" y="83033"/>
                        </a:cubicBezTo>
                        <a:cubicBezTo>
                          <a:pt x="39118" y="83033"/>
                          <a:pt x="39647" y="83033"/>
                          <a:pt x="40176" y="83033"/>
                        </a:cubicBezTo>
                        <a:cubicBezTo>
                          <a:pt x="40704" y="83601"/>
                          <a:pt x="40704" y="83033"/>
                          <a:pt x="41233" y="83601"/>
                        </a:cubicBezTo>
                        <a:cubicBezTo>
                          <a:pt x="41762" y="83601"/>
                          <a:pt x="41233" y="84170"/>
                          <a:pt x="41762" y="84170"/>
                        </a:cubicBezTo>
                        <a:cubicBezTo>
                          <a:pt x="42819" y="84170"/>
                          <a:pt x="42819" y="83601"/>
                          <a:pt x="42819" y="83601"/>
                        </a:cubicBezTo>
                        <a:cubicBezTo>
                          <a:pt x="43876" y="83033"/>
                          <a:pt x="43876" y="83033"/>
                          <a:pt x="43876" y="83033"/>
                        </a:cubicBezTo>
                        <a:cubicBezTo>
                          <a:pt x="43876" y="83033"/>
                          <a:pt x="43876" y="83033"/>
                          <a:pt x="44405" y="83601"/>
                        </a:cubicBezTo>
                        <a:cubicBezTo>
                          <a:pt x="44933" y="83601"/>
                          <a:pt x="43876" y="84170"/>
                          <a:pt x="44933" y="84170"/>
                        </a:cubicBezTo>
                        <a:cubicBezTo>
                          <a:pt x="45991" y="84170"/>
                          <a:pt x="46519" y="84170"/>
                          <a:pt x="46519" y="84170"/>
                        </a:cubicBezTo>
                        <a:cubicBezTo>
                          <a:pt x="46519" y="84739"/>
                          <a:pt x="46519" y="85308"/>
                          <a:pt x="46519" y="85308"/>
                        </a:cubicBezTo>
                        <a:cubicBezTo>
                          <a:pt x="46519" y="85308"/>
                          <a:pt x="46519" y="85876"/>
                          <a:pt x="46519" y="85876"/>
                        </a:cubicBezTo>
                        <a:cubicBezTo>
                          <a:pt x="47048" y="85876"/>
                          <a:pt x="48105" y="85876"/>
                          <a:pt x="48105" y="85876"/>
                        </a:cubicBezTo>
                        <a:cubicBezTo>
                          <a:pt x="48105" y="85876"/>
                          <a:pt x="48634" y="85876"/>
                          <a:pt x="48634" y="86445"/>
                        </a:cubicBezTo>
                        <a:cubicBezTo>
                          <a:pt x="49162" y="87014"/>
                          <a:pt x="47577" y="87582"/>
                          <a:pt x="47577" y="87582"/>
                        </a:cubicBezTo>
                        <a:cubicBezTo>
                          <a:pt x="47577" y="87582"/>
                          <a:pt x="47048" y="87014"/>
                          <a:pt x="47048" y="87582"/>
                        </a:cubicBezTo>
                        <a:cubicBezTo>
                          <a:pt x="47048" y="88151"/>
                          <a:pt x="46519" y="88151"/>
                          <a:pt x="47048" y="88720"/>
                        </a:cubicBezTo>
                        <a:cubicBezTo>
                          <a:pt x="47577" y="88720"/>
                          <a:pt x="47048" y="88720"/>
                          <a:pt x="47048" y="88720"/>
                        </a:cubicBezTo>
                        <a:cubicBezTo>
                          <a:pt x="46519" y="88720"/>
                          <a:pt x="45991" y="88151"/>
                          <a:pt x="46519" y="89289"/>
                        </a:cubicBezTo>
                        <a:cubicBezTo>
                          <a:pt x="46519" y="89857"/>
                          <a:pt x="47048" y="90426"/>
                          <a:pt x="47048" y="90426"/>
                        </a:cubicBezTo>
                        <a:cubicBezTo>
                          <a:pt x="47577" y="90426"/>
                          <a:pt x="48634" y="90426"/>
                          <a:pt x="48634" y="90426"/>
                        </a:cubicBezTo>
                        <a:cubicBezTo>
                          <a:pt x="49162" y="90426"/>
                          <a:pt x="49691" y="90426"/>
                          <a:pt x="49162" y="90426"/>
                        </a:cubicBezTo>
                        <a:cubicBezTo>
                          <a:pt x="48634" y="89857"/>
                          <a:pt x="48105" y="89857"/>
                          <a:pt x="48105" y="89857"/>
                        </a:cubicBezTo>
                        <a:cubicBezTo>
                          <a:pt x="48105" y="89857"/>
                          <a:pt x="48105" y="89857"/>
                          <a:pt x="48105" y="89289"/>
                        </a:cubicBezTo>
                        <a:cubicBezTo>
                          <a:pt x="48105" y="89289"/>
                          <a:pt x="48634" y="89289"/>
                          <a:pt x="48634" y="89289"/>
                        </a:cubicBezTo>
                        <a:cubicBezTo>
                          <a:pt x="48634" y="88720"/>
                          <a:pt x="49162" y="88151"/>
                          <a:pt x="49162" y="88151"/>
                        </a:cubicBezTo>
                        <a:cubicBezTo>
                          <a:pt x="49162" y="88151"/>
                          <a:pt x="49691" y="87014"/>
                          <a:pt x="50220" y="87582"/>
                        </a:cubicBezTo>
                        <a:cubicBezTo>
                          <a:pt x="50220" y="88151"/>
                          <a:pt x="50220" y="88151"/>
                          <a:pt x="50748" y="88151"/>
                        </a:cubicBezTo>
                        <a:cubicBezTo>
                          <a:pt x="50748" y="88151"/>
                          <a:pt x="52334" y="86445"/>
                          <a:pt x="52334" y="86445"/>
                        </a:cubicBezTo>
                        <a:cubicBezTo>
                          <a:pt x="52334" y="86445"/>
                          <a:pt x="52863" y="86445"/>
                          <a:pt x="52334" y="87014"/>
                        </a:cubicBezTo>
                        <a:cubicBezTo>
                          <a:pt x="52334" y="87582"/>
                          <a:pt x="51806" y="88151"/>
                          <a:pt x="52334" y="88720"/>
                        </a:cubicBezTo>
                        <a:cubicBezTo>
                          <a:pt x="52334" y="89289"/>
                          <a:pt x="52334" y="89289"/>
                          <a:pt x="52334" y="89289"/>
                        </a:cubicBezTo>
                        <a:cubicBezTo>
                          <a:pt x="52863" y="89857"/>
                          <a:pt x="52334" y="89857"/>
                          <a:pt x="52863" y="90426"/>
                        </a:cubicBezTo>
                        <a:cubicBezTo>
                          <a:pt x="52863" y="90995"/>
                          <a:pt x="52863" y="90426"/>
                          <a:pt x="52863" y="90995"/>
                        </a:cubicBezTo>
                        <a:cubicBezTo>
                          <a:pt x="53392" y="91563"/>
                          <a:pt x="53920" y="92701"/>
                          <a:pt x="53920" y="92701"/>
                        </a:cubicBezTo>
                        <a:cubicBezTo>
                          <a:pt x="53920" y="92701"/>
                          <a:pt x="53392" y="93270"/>
                          <a:pt x="53920" y="93270"/>
                        </a:cubicBezTo>
                        <a:cubicBezTo>
                          <a:pt x="54449" y="93838"/>
                          <a:pt x="55506" y="93838"/>
                          <a:pt x="55506" y="93838"/>
                        </a:cubicBezTo>
                        <a:cubicBezTo>
                          <a:pt x="55506" y="93838"/>
                          <a:pt x="55506" y="93838"/>
                          <a:pt x="55506" y="93838"/>
                        </a:cubicBezTo>
                        <a:cubicBezTo>
                          <a:pt x="55506" y="93838"/>
                          <a:pt x="56035" y="94407"/>
                          <a:pt x="56563" y="93838"/>
                        </a:cubicBezTo>
                        <a:cubicBezTo>
                          <a:pt x="56563" y="93270"/>
                          <a:pt x="57092" y="93270"/>
                          <a:pt x="57092" y="93270"/>
                        </a:cubicBezTo>
                        <a:cubicBezTo>
                          <a:pt x="57621" y="93270"/>
                          <a:pt x="57092" y="93270"/>
                          <a:pt x="58149" y="93270"/>
                        </a:cubicBezTo>
                        <a:cubicBezTo>
                          <a:pt x="59207" y="93270"/>
                          <a:pt x="59207" y="93838"/>
                          <a:pt x="59735" y="93270"/>
                        </a:cubicBezTo>
                        <a:cubicBezTo>
                          <a:pt x="60264" y="92701"/>
                          <a:pt x="59735" y="92701"/>
                          <a:pt x="60792" y="92701"/>
                        </a:cubicBezTo>
                        <a:cubicBezTo>
                          <a:pt x="61850" y="92701"/>
                          <a:pt x="62907" y="92132"/>
                          <a:pt x="62907" y="92132"/>
                        </a:cubicBezTo>
                        <a:cubicBezTo>
                          <a:pt x="62907" y="92132"/>
                          <a:pt x="64493" y="92132"/>
                          <a:pt x="64493" y="92132"/>
                        </a:cubicBezTo>
                        <a:cubicBezTo>
                          <a:pt x="65550" y="92701"/>
                          <a:pt x="65550" y="92701"/>
                          <a:pt x="65550" y="92701"/>
                        </a:cubicBezTo>
                        <a:cubicBezTo>
                          <a:pt x="65550" y="92701"/>
                          <a:pt x="66079" y="93270"/>
                          <a:pt x="66607" y="93270"/>
                        </a:cubicBezTo>
                        <a:cubicBezTo>
                          <a:pt x="66607" y="93270"/>
                          <a:pt x="67136" y="93270"/>
                          <a:pt x="67665" y="93270"/>
                        </a:cubicBezTo>
                        <a:cubicBezTo>
                          <a:pt x="67665" y="93270"/>
                          <a:pt x="69779" y="93838"/>
                          <a:pt x="69779" y="93838"/>
                        </a:cubicBezTo>
                        <a:cubicBezTo>
                          <a:pt x="71894" y="94407"/>
                          <a:pt x="71894" y="94407"/>
                          <a:pt x="71894" y="94407"/>
                        </a:cubicBezTo>
                        <a:cubicBezTo>
                          <a:pt x="72951" y="94976"/>
                          <a:pt x="72951" y="94976"/>
                          <a:pt x="72951" y="94976"/>
                        </a:cubicBezTo>
                        <a:cubicBezTo>
                          <a:pt x="75066" y="96682"/>
                          <a:pt x="75066" y="96682"/>
                          <a:pt x="75066" y="96682"/>
                        </a:cubicBezTo>
                        <a:cubicBezTo>
                          <a:pt x="77180" y="98957"/>
                          <a:pt x="77180" y="98957"/>
                          <a:pt x="77180" y="98957"/>
                        </a:cubicBezTo>
                        <a:cubicBezTo>
                          <a:pt x="79823" y="100094"/>
                          <a:pt x="79823" y="100094"/>
                          <a:pt x="79823" y="100094"/>
                        </a:cubicBezTo>
                        <a:cubicBezTo>
                          <a:pt x="81409" y="101232"/>
                          <a:pt x="81409" y="101232"/>
                          <a:pt x="81409" y="101232"/>
                        </a:cubicBezTo>
                        <a:cubicBezTo>
                          <a:pt x="82466" y="102369"/>
                          <a:pt x="82466" y="102369"/>
                          <a:pt x="82466" y="102369"/>
                        </a:cubicBezTo>
                        <a:cubicBezTo>
                          <a:pt x="82466" y="102369"/>
                          <a:pt x="84052" y="103507"/>
                          <a:pt x="84052" y="103507"/>
                        </a:cubicBezTo>
                        <a:cubicBezTo>
                          <a:pt x="84581" y="103507"/>
                          <a:pt x="86167" y="104644"/>
                          <a:pt x="86167" y="104644"/>
                        </a:cubicBezTo>
                        <a:cubicBezTo>
                          <a:pt x="87753" y="105781"/>
                          <a:pt x="87753" y="105781"/>
                          <a:pt x="87753" y="105781"/>
                        </a:cubicBezTo>
                        <a:cubicBezTo>
                          <a:pt x="87753" y="105781"/>
                          <a:pt x="88281" y="106919"/>
                          <a:pt x="88281" y="106919"/>
                        </a:cubicBezTo>
                        <a:cubicBezTo>
                          <a:pt x="88281" y="107488"/>
                          <a:pt x="87753" y="106919"/>
                          <a:pt x="87224" y="106919"/>
                        </a:cubicBezTo>
                        <a:cubicBezTo>
                          <a:pt x="86696" y="107488"/>
                          <a:pt x="84581" y="106350"/>
                          <a:pt x="84581" y="106350"/>
                        </a:cubicBezTo>
                        <a:cubicBezTo>
                          <a:pt x="83524" y="105213"/>
                          <a:pt x="83524" y="105213"/>
                          <a:pt x="83524" y="105213"/>
                        </a:cubicBezTo>
                        <a:cubicBezTo>
                          <a:pt x="81938" y="105213"/>
                          <a:pt x="81938" y="105213"/>
                          <a:pt x="81938" y="105213"/>
                        </a:cubicBezTo>
                        <a:cubicBezTo>
                          <a:pt x="80881" y="104644"/>
                          <a:pt x="80881" y="104644"/>
                          <a:pt x="80881" y="104644"/>
                        </a:cubicBezTo>
                        <a:cubicBezTo>
                          <a:pt x="78766" y="105213"/>
                          <a:pt x="78766" y="105213"/>
                          <a:pt x="78766" y="105213"/>
                        </a:cubicBezTo>
                        <a:cubicBezTo>
                          <a:pt x="77180" y="104644"/>
                          <a:pt x="77180" y="104644"/>
                          <a:pt x="77180" y="104644"/>
                        </a:cubicBezTo>
                        <a:cubicBezTo>
                          <a:pt x="77180" y="104644"/>
                          <a:pt x="76651" y="104644"/>
                          <a:pt x="77180" y="105213"/>
                        </a:cubicBezTo>
                        <a:cubicBezTo>
                          <a:pt x="77180" y="105213"/>
                          <a:pt x="77180" y="105781"/>
                          <a:pt x="77180" y="105781"/>
                        </a:cubicBezTo>
                        <a:cubicBezTo>
                          <a:pt x="75594" y="106919"/>
                          <a:pt x="75594" y="106919"/>
                          <a:pt x="75594" y="106919"/>
                        </a:cubicBezTo>
                        <a:cubicBezTo>
                          <a:pt x="73480" y="107488"/>
                          <a:pt x="73480" y="107488"/>
                          <a:pt x="73480" y="107488"/>
                        </a:cubicBezTo>
                        <a:cubicBezTo>
                          <a:pt x="71365" y="107488"/>
                          <a:pt x="71365" y="107488"/>
                          <a:pt x="71365" y="107488"/>
                        </a:cubicBezTo>
                        <a:cubicBezTo>
                          <a:pt x="69779" y="107488"/>
                          <a:pt x="69779" y="107488"/>
                          <a:pt x="69779" y="107488"/>
                        </a:cubicBezTo>
                        <a:cubicBezTo>
                          <a:pt x="69779" y="108625"/>
                          <a:pt x="69779" y="108625"/>
                          <a:pt x="69779" y="108625"/>
                        </a:cubicBezTo>
                        <a:cubicBezTo>
                          <a:pt x="69779" y="108625"/>
                          <a:pt x="67665" y="108625"/>
                          <a:pt x="69779" y="109194"/>
                        </a:cubicBezTo>
                        <a:cubicBezTo>
                          <a:pt x="71894" y="109194"/>
                          <a:pt x="72951" y="109194"/>
                          <a:pt x="72951" y="108625"/>
                        </a:cubicBezTo>
                        <a:cubicBezTo>
                          <a:pt x="73480" y="108625"/>
                          <a:pt x="73480" y="108056"/>
                          <a:pt x="74008" y="108056"/>
                        </a:cubicBezTo>
                        <a:cubicBezTo>
                          <a:pt x="74537" y="108056"/>
                          <a:pt x="75594" y="108056"/>
                          <a:pt x="76123" y="108056"/>
                        </a:cubicBezTo>
                        <a:cubicBezTo>
                          <a:pt x="76123" y="108056"/>
                          <a:pt x="76651" y="108056"/>
                          <a:pt x="77709" y="107488"/>
                        </a:cubicBezTo>
                        <a:cubicBezTo>
                          <a:pt x="78237" y="107488"/>
                          <a:pt x="78237" y="106919"/>
                          <a:pt x="79295" y="107488"/>
                        </a:cubicBezTo>
                        <a:cubicBezTo>
                          <a:pt x="80352" y="108056"/>
                          <a:pt x="79823" y="106350"/>
                          <a:pt x="79823" y="106350"/>
                        </a:cubicBezTo>
                        <a:cubicBezTo>
                          <a:pt x="79823" y="106350"/>
                          <a:pt x="79823" y="105781"/>
                          <a:pt x="80352" y="105781"/>
                        </a:cubicBezTo>
                        <a:cubicBezTo>
                          <a:pt x="81409" y="106350"/>
                          <a:pt x="81409" y="106350"/>
                          <a:pt x="81409" y="106350"/>
                        </a:cubicBezTo>
                        <a:cubicBezTo>
                          <a:pt x="81938" y="106350"/>
                          <a:pt x="82995" y="106919"/>
                          <a:pt x="82995" y="106919"/>
                        </a:cubicBezTo>
                        <a:cubicBezTo>
                          <a:pt x="83524" y="106919"/>
                          <a:pt x="85638" y="107488"/>
                          <a:pt x="85638" y="107488"/>
                        </a:cubicBezTo>
                        <a:cubicBezTo>
                          <a:pt x="85638" y="107488"/>
                          <a:pt x="86167" y="109194"/>
                          <a:pt x="86167" y="109194"/>
                        </a:cubicBezTo>
                        <a:cubicBezTo>
                          <a:pt x="86696" y="109194"/>
                          <a:pt x="88281" y="109194"/>
                          <a:pt x="88810" y="109194"/>
                        </a:cubicBezTo>
                        <a:cubicBezTo>
                          <a:pt x="89339" y="109194"/>
                          <a:pt x="90396" y="109194"/>
                          <a:pt x="90925" y="109763"/>
                        </a:cubicBezTo>
                        <a:cubicBezTo>
                          <a:pt x="91453" y="110331"/>
                          <a:pt x="91982" y="110331"/>
                          <a:pt x="91982" y="110331"/>
                        </a:cubicBezTo>
                        <a:cubicBezTo>
                          <a:pt x="91982" y="110331"/>
                          <a:pt x="92511" y="110900"/>
                          <a:pt x="93039" y="111469"/>
                        </a:cubicBezTo>
                        <a:cubicBezTo>
                          <a:pt x="93039" y="111469"/>
                          <a:pt x="94625" y="112606"/>
                          <a:pt x="94625" y="112606"/>
                        </a:cubicBezTo>
                        <a:cubicBezTo>
                          <a:pt x="94625" y="112606"/>
                          <a:pt x="97268" y="113744"/>
                          <a:pt x="97268" y="113744"/>
                        </a:cubicBezTo>
                        <a:cubicBezTo>
                          <a:pt x="97797" y="113175"/>
                          <a:pt x="97797" y="113175"/>
                          <a:pt x="97797" y="113175"/>
                        </a:cubicBezTo>
                        <a:cubicBezTo>
                          <a:pt x="97797" y="112606"/>
                          <a:pt x="97797" y="112037"/>
                          <a:pt x="97797" y="112037"/>
                        </a:cubicBezTo>
                        <a:cubicBezTo>
                          <a:pt x="97268" y="111469"/>
                          <a:pt x="95154" y="110900"/>
                          <a:pt x="95154" y="110900"/>
                        </a:cubicBezTo>
                        <a:cubicBezTo>
                          <a:pt x="95154" y="110900"/>
                          <a:pt x="94096" y="110331"/>
                          <a:pt x="94096" y="110331"/>
                        </a:cubicBezTo>
                        <a:cubicBezTo>
                          <a:pt x="93568" y="107488"/>
                          <a:pt x="94096" y="109763"/>
                          <a:pt x="92511" y="109194"/>
                        </a:cubicBezTo>
                        <a:cubicBezTo>
                          <a:pt x="92511" y="109194"/>
                          <a:pt x="92511" y="109194"/>
                          <a:pt x="92511" y="109194"/>
                        </a:cubicBezTo>
                        <a:cubicBezTo>
                          <a:pt x="92511" y="109194"/>
                          <a:pt x="92511" y="109194"/>
                          <a:pt x="92511" y="109194"/>
                        </a:cubicBezTo>
                        <a:cubicBezTo>
                          <a:pt x="91453" y="109763"/>
                          <a:pt x="91453" y="109194"/>
                          <a:pt x="91453" y="109194"/>
                        </a:cubicBezTo>
                        <a:cubicBezTo>
                          <a:pt x="91453" y="108625"/>
                          <a:pt x="91453" y="108625"/>
                          <a:pt x="91453" y="108625"/>
                        </a:cubicBezTo>
                        <a:cubicBezTo>
                          <a:pt x="90925" y="108056"/>
                          <a:pt x="90925" y="108056"/>
                          <a:pt x="90925" y="108056"/>
                        </a:cubicBezTo>
                        <a:cubicBezTo>
                          <a:pt x="90925" y="108056"/>
                          <a:pt x="90396" y="106919"/>
                          <a:pt x="90925" y="106350"/>
                        </a:cubicBezTo>
                        <a:cubicBezTo>
                          <a:pt x="91453" y="106350"/>
                          <a:pt x="90396" y="109194"/>
                          <a:pt x="92511" y="105781"/>
                        </a:cubicBezTo>
                        <a:cubicBezTo>
                          <a:pt x="92511" y="105781"/>
                          <a:pt x="92511" y="105213"/>
                          <a:pt x="92511" y="105213"/>
                        </a:cubicBezTo>
                        <a:cubicBezTo>
                          <a:pt x="91982" y="105213"/>
                          <a:pt x="91982" y="105213"/>
                          <a:pt x="91982" y="105213"/>
                        </a:cubicBezTo>
                        <a:cubicBezTo>
                          <a:pt x="90396" y="105213"/>
                          <a:pt x="90396" y="105213"/>
                          <a:pt x="90396" y="105213"/>
                        </a:cubicBezTo>
                        <a:cubicBezTo>
                          <a:pt x="90396" y="105213"/>
                          <a:pt x="90396" y="105781"/>
                          <a:pt x="89867" y="106350"/>
                        </a:cubicBezTo>
                        <a:cubicBezTo>
                          <a:pt x="89339" y="106919"/>
                          <a:pt x="89339" y="106350"/>
                          <a:pt x="89339" y="106350"/>
                        </a:cubicBezTo>
                        <a:cubicBezTo>
                          <a:pt x="89339" y="105781"/>
                          <a:pt x="89339" y="105781"/>
                          <a:pt x="89339" y="105781"/>
                        </a:cubicBezTo>
                        <a:cubicBezTo>
                          <a:pt x="89867" y="105213"/>
                          <a:pt x="89867" y="105213"/>
                          <a:pt x="89867" y="105213"/>
                        </a:cubicBezTo>
                        <a:cubicBezTo>
                          <a:pt x="89867" y="105213"/>
                          <a:pt x="89867" y="103507"/>
                          <a:pt x="89867" y="102938"/>
                        </a:cubicBezTo>
                        <a:cubicBezTo>
                          <a:pt x="89867" y="102938"/>
                          <a:pt x="89867" y="102938"/>
                          <a:pt x="89867" y="102938"/>
                        </a:cubicBezTo>
                        <a:cubicBezTo>
                          <a:pt x="88281" y="101800"/>
                          <a:pt x="88281" y="101800"/>
                          <a:pt x="88281" y="101800"/>
                        </a:cubicBezTo>
                        <a:cubicBezTo>
                          <a:pt x="87224" y="100663"/>
                          <a:pt x="87224" y="100663"/>
                          <a:pt x="87224" y="100663"/>
                        </a:cubicBezTo>
                        <a:cubicBezTo>
                          <a:pt x="85638" y="99526"/>
                          <a:pt x="85638" y="99526"/>
                          <a:pt x="85638" y="99526"/>
                        </a:cubicBezTo>
                        <a:cubicBezTo>
                          <a:pt x="83524" y="97251"/>
                          <a:pt x="83524" y="97251"/>
                          <a:pt x="83524" y="97251"/>
                        </a:cubicBezTo>
                        <a:cubicBezTo>
                          <a:pt x="82466" y="96682"/>
                          <a:pt x="82466" y="96682"/>
                          <a:pt x="82466" y="96682"/>
                        </a:cubicBezTo>
                        <a:cubicBezTo>
                          <a:pt x="81409" y="95545"/>
                          <a:pt x="81409" y="95545"/>
                          <a:pt x="81409" y="95545"/>
                        </a:cubicBezTo>
                        <a:cubicBezTo>
                          <a:pt x="81409" y="94407"/>
                          <a:pt x="81409" y="94407"/>
                          <a:pt x="81409" y="94407"/>
                        </a:cubicBezTo>
                        <a:cubicBezTo>
                          <a:pt x="80881" y="92132"/>
                          <a:pt x="80881" y="92132"/>
                          <a:pt x="80881" y="92132"/>
                        </a:cubicBezTo>
                        <a:cubicBezTo>
                          <a:pt x="80881" y="92132"/>
                          <a:pt x="80881" y="92132"/>
                          <a:pt x="80881" y="92132"/>
                        </a:cubicBezTo>
                        <a:cubicBezTo>
                          <a:pt x="80881" y="92132"/>
                          <a:pt x="78766" y="91563"/>
                          <a:pt x="77709" y="90995"/>
                        </a:cubicBezTo>
                        <a:cubicBezTo>
                          <a:pt x="76651" y="90426"/>
                          <a:pt x="76651" y="90426"/>
                          <a:pt x="76651" y="90426"/>
                        </a:cubicBezTo>
                        <a:cubicBezTo>
                          <a:pt x="75594" y="88720"/>
                          <a:pt x="75594" y="88720"/>
                          <a:pt x="75594" y="88720"/>
                        </a:cubicBezTo>
                        <a:cubicBezTo>
                          <a:pt x="75066" y="88151"/>
                          <a:pt x="75066" y="88151"/>
                          <a:pt x="75066" y="88151"/>
                        </a:cubicBezTo>
                        <a:cubicBezTo>
                          <a:pt x="73480" y="86445"/>
                          <a:pt x="73480" y="86445"/>
                          <a:pt x="73480" y="86445"/>
                        </a:cubicBezTo>
                        <a:cubicBezTo>
                          <a:pt x="72951" y="86445"/>
                          <a:pt x="72951" y="86445"/>
                          <a:pt x="72951" y="86445"/>
                        </a:cubicBezTo>
                        <a:cubicBezTo>
                          <a:pt x="70308" y="85308"/>
                          <a:pt x="70308" y="85308"/>
                          <a:pt x="70308" y="85308"/>
                        </a:cubicBezTo>
                        <a:cubicBezTo>
                          <a:pt x="69779" y="84170"/>
                          <a:pt x="69779" y="84170"/>
                          <a:pt x="69779" y="84170"/>
                        </a:cubicBezTo>
                        <a:cubicBezTo>
                          <a:pt x="68722" y="83601"/>
                          <a:pt x="68722" y="83601"/>
                          <a:pt x="68722" y="83601"/>
                        </a:cubicBezTo>
                        <a:cubicBezTo>
                          <a:pt x="68193" y="82464"/>
                          <a:pt x="68193" y="82464"/>
                          <a:pt x="68193" y="82464"/>
                        </a:cubicBezTo>
                        <a:cubicBezTo>
                          <a:pt x="66607" y="81895"/>
                          <a:pt x="66607" y="81895"/>
                          <a:pt x="66607" y="81895"/>
                        </a:cubicBezTo>
                        <a:cubicBezTo>
                          <a:pt x="66079" y="80758"/>
                          <a:pt x="66079" y="80758"/>
                          <a:pt x="66079" y="80758"/>
                        </a:cubicBezTo>
                        <a:cubicBezTo>
                          <a:pt x="65550" y="80189"/>
                          <a:pt x="65550" y="80189"/>
                          <a:pt x="65550" y="80189"/>
                        </a:cubicBezTo>
                        <a:cubicBezTo>
                          <a:pt x="63964" y="77914"/>
                          <a:pt x="63964" y="77914"/>
                          <a:pt x="63964" y="77914"/>
                        </a:cubicBezTo>
                        <a:cubicBezTo>
                          <a:pt x="62378" y="76777"/>
                          <a:pt x="62378" y="76777"/>
                          <a:pt x="62378" y="76777"/>
                        </a:cubicBezTo>
                        <a:cubicBezTo>
                          <a:pt x="61850" y="76208"/>
                          <a:pt x="61850" y="76208"/>
                          <a:pt x="61850" y="76208"/>
                        </a:cubicBezTo>
                        <a:cubicBezTo>
                          <a:pt x="61321" y="75639"/>
                          <a:pt x="61321" y="75639"/>
                          <a:pt x="61321" y="75639"/>
                        </a:cubicBezTo>
                        <a:cubicBezTo>
                          <a:pt x="60264" y="73933"/>
                          <a:pt x="60264" y="73933"/>
                          <a:pt x="60264" y="73933"/>
                        </a:cubicBezTo>
                        <a:cubicBezTo>
                          <a:pt x="58678" y="72227"/>
                          <a:pt x="58678" y="72227"/>
                          <a:pt x="58678" y="72227"/>
                        </a:cubicBezTo>
                        <a:cubicBezTo>
                          <a:pt x="57621" y="71090"/>
                          <a:pt x="57621" y="71090"/>
                          <a:pt x="57621" y="71090"/>
                        </a:cubicBezTo>
                        <a:cubicBezTo>
                          <a:pt x="56563" y="69383"/>
                          <a:pt x="56563" y="69383"/>
                          <a:pt x="56563" y="69383"/>
                        </a:cubicBezTo>
                        <a:cubicBezTo>
                          <a:pt x="57621" y="68246"/>
                          <a:pt x="57621" y="68246"/>
                          <a:pt x="57621" y="68246"/>
                        </a:cubicBezTo>
                        <a:cubicBezTo>
                          <a:pt x="57092" y="67677"/>
                          <a:pt x="56563" y="67677"/>
                          <a:pt x="56563" y="67109"/>
                        </a:cubicBezTo>
                        <a:cubicBezTo>
                          <a:pt x="56035" y="67109"/>
                          <a:pt x="54977" y="66540"/>
                          <a:pt x="55506" y="65971"/>
                        </a:cubicBezTo>
                        <a:cubicBezTo>
                          <a:pt x="55506" y="65402"/>
                          <a:pt x="54977" y="64834"/>
                          <a:pt x="54977" y="63696"/>
                        </a:cubicBezTo>
                        <a:cubicBezTo>
                          <a:pt x="54977" y="63127"/>
                          <a:pt x="54977" y="62559"/>
                          <a:pt x="54449" y="62559"/>
                        </a:cubicBezTo>
                        <a:cubicBezTo>
                          <a:pt x="53920" y="61990"/>
                          <a:pt x="53920" y="61990"/>
                          <a:pt x="53920" y="61990"/>
                        </a:cubicBezTo>
                        <a:cubicBezTo>
                          <a:pt x="53392" y="61990"/>
                          <a:pt x="52863" y="61990"/>
                          <a:pt x="52863" y="61990"/>
                        </a:cubicBezTo>
                        <a:cubicBezTo>
                          <a:pt x="52334" y="61990"/>
                          <a:pt x="52334" y="61990"/>
                          <a:pt x="52334" y="61990"/>
                        </a:cubicBezTo>
                        <a:cubicBezTo>
                          <a:pt x="52334" y="61990"/>
                          <a:pt x="52863" y="60853"/>
                          <a:pt x="52863" y="59715"/>
                        </a:cubicBezTo>
                        <a:cubicBezTo>
                          <a:pt x="50748" y="59146"/>
                          <a:pt x="50748" y="59146"/>
                          <a:pt x="50748" y="59146"/>
                        </a:cubicBezTo>
                        <a:cubicBezTo>
                          <a:pt x="50748" y="59146"/>
                          <a:pt x="50748" y="57440"/>
                          <a:pt x="49691" y="56872"/>
                        </a:cubicBezTo>
                        <a:cubicBezTo>
                          <a:pt x="48634" y="56872"/>
                          <a:pt x="48634" y="56872"/>
                          <a:pt x="48634" y="56872"/>
                        </a:cubicBezTo>
                        <a:cubicBezTo>
                          <a:pt x="48105" y="57440"/>
                          <a:pt x="48105" y="58009"/>
                          <a:pt x="48105" y="58009"/>
                        </a:cubicBezTo>
                        <a:cubicBezTo>
                          <a:pt x="45991" y="55734"/>
                          <a:pt x="45991" y="55734"/>
                          <a:pt x="45991" y="55734"/>
                        </a:cubicBezTo>
                        <a:cubicBezTo>
                          <a:pt x="45991" y="55734"/>
                          <a:pt x="45991" y="55165"/>
                          <a:pt x="46519" y="54028"/>
                        </a:cubicBezTo>
                        <a:cubicBezTo>
                          <a:pt x="47577" y="52890"/>
                          <a:pt x="46519" y="52322"/>
                          <a:pt x="46519" y="52322"/>
                        </a:cubicBezTo>
                        <a:cubicBezTo>
                          <a:pt x="45991" y="50616"/>
                          <a:pt x="45991" y="50616"/>
                          <a:pt x="45991" y="50616"/>
                        </a:cubicBezTo>
                        <a:cubicBezTo>
                          <a:pt x="46519" y="49478"/>
                          <a:pt x="46519" y="49478"/>
                          <a:pt x="46519" y="49478"/>
                        </a:cubicBezTo>
                        <a:cubicBezTo>
                          <a:pt x="45991" y="48909"/>
                          <a:pt x="45991" y="48909"/>
                          <a:pt x="45991" y="48909"/>
                        </a:cubicBezTo>
                        <a:cubicBezTo>
                          <a:pt x="45462" y="48341"/>
                          <a:pt x="45462" y="48341"/>
                          <a:pt x="45462" y="48341"/>
                        </a:cubicBezTo>
                        <a:cubicBezTo>
                          <a:pt x="45462" y="48341"/>
                          <a:pt x="45462" y="48341"/>
                          <a:pt x="45462" y="48341"/>
                        </a:cubicBezTo>
                        <a:cubicBezTo>
                          <a:pt x="45462" y="48341"/>
                          <a:pt x="45462" y="48341"/>
                          <a:pt x="45462" y="48341"/>
                        </a:cubicBezTo>
                        <a:cubicBezTo>
                          <a:pt x="46519" y="46066"/>
                          <a:pt x="46519" y="46066"/>
                          <a:pt x="46519" y="46066"/>
                        </a:cubicBezTo>
                        <a:cubicBezTo>
                          <a:pt x="46519" y="46066"/>
                          <a:pt x="45991" y="43791"/>
                          <a:pt x="46519" y="43222"/>
                        </a:cubicBezTo>
                        <a:cubicBezTo>
                          <a:pt x="46519" y="43222"/>
                          <a:pt x="46519" y="43222"/>
                          <a:pt x="46519" y="43222"/>
                        </a:cubicBezTo>
                        <a:cubicBezTo>
                          <a:pt x="46519" y="42654"/>
                          <a:pt x="46519" y="42654"/>
                          <a:pt x="47048" y="42654"/>
                        </a:cubicBezTo>
                        <a:cubicBezTo>
                          <a:pt x="47048" y="42085"/>
                          <a:pt x="49691" y="41516"/>
                          <a:pt x="49691" y="41516"/>
                        </a:cubicBezTo>
                        <a:cubicBezTo>
                          <a:pt x="50748" y="40947"/>
                          <a:pt x="50748" y="40947"/>
                          <a:pt x="50748" y="40947"/>
                        </a:cubicBezTo>
                        <a:cubicBezTo>
                          <a:pt x="52863" y="43791"/>
                          <a:pt x="52863" y="43791"/>
                          <a:pt x="52863" y="43791"/>
                        </a:cubicBezTo>
                        <a:cubicBezTo>
                          <a:pt x="54977" y="46066"/>
                          <a:pt x="54977" y="46066"/>
                          <a:pt x="54977" y="46066"/>
                        </a:cubicBezTo>
                        <a:cubicBezTo>
                          <a:pt x="56563" y="47203"/>
                          <a:pt x="56563" y="47203"/>
                          <a:pt x="56563" y="47203"/>
                        </a:cubicBezTo>
                        <a:cubicBezTo>
                          <a:pt x="56563" y="47203"/>
                          <a:pt x="57092" y="46635"/>
                          <a:pt x="57621" y="46635"/>
                        </a:cubicBezTo>
                        <a:cubicBezTo>
                          <a:pt x="57621" y="46066"/>
                          <a:pt x="57621" y="44928"/>
                          <a:pt x="57621" y="44928"/>
                        </a:cubicBezTo>
                        <a:cubicBezTo>
                          <a:pt x="58678" y="43791"/>
                          <a:pt x="58678" y="43791"/>
                          <a:pt x="58678" y="43791"/>
                        </a:cubicBezTo>
                        <a:cubicBezTo>
                          <a:pt x="59207" y="42654"/>
                          <a:pt x="59207" y="42654"/>
                          <a:pt x="59207" y="42654"/>
                        </a:cubicBezTo>
                        <a:cubicBezTo>
                          <a:pt x="59207" y="41516"/>
                          <a:pt x="59207" y="41516"/>
                          <a:pt x="59207" y="41516"/>
                        </a:cubicBezTo>
                        <a:cubicBezTo>
                          <a:pt x="60264" y="40947"/>
                          <a:pt x="60264" y="40947"/>
                          <a:pt x="60264" y="40947"/>
                        </a:cubicBezTo>
                        <a:cubicBezTo>
                          <a:pt x="61850" y="40379"/>
                          <a:pt x="61850" y="40379"/>
                          <a:pt x="61850" y="40379"/>
                        </a:cubicBezTo>
                        <a:cubicBezTo>
                          <a:pt x="63964" y="39810"/>
                          <a:pt x="63964" y="39810"/>
                          <a:pt x="63964" y="39810"/>
                        </a:cubicBezTo>
                        <a:cubicBezTo>
                          <a:pt x="63964" y="39810"/>
                          <a:pt x="65550" y="40379"/>
                          <a:pt x="66079" y="40379"/>
                        </a:cubicBezTo>
                        <a:cubicBezTo>
                          <a:pt x="66079" y="40379"/>
                          <a:pt x="66607" y="40379"/>
                          <a:pt x="66607" y="40379"/>
                        </a:cubicBezTo>
                        <a:cubicBezTo>
                          <a:pt x="67665" y="38672"/>
                          <a:pt x="67665" y="38672"/>
                          <a:pt x="67665" y="38672"/>
                        </a:cubicBezTo>
                        <a:cubicBezTo>
                          <a:pt x="67665" y="38672"/>
                          <a:pt x="67665" y="38672"/>
                          <a:pt x="67665" y="38672"/>
                        </a:cubicBezTo>
                        <a:cubicBezTo>
                          <a:pt x="68193" y="37535"/>
                          <a:pt x="68193" y="37535"/>
                          <a:pt x="68193" y="37535"/>
                        </a:cubicBezTo>
                        <a:cubicBezTo>
                          <a:pt x="70837" y="38672"/>
                          <a:pt x="70837" y="38672"/>
                          <a:pt x="70837" y="38672"/>
                        </a:cubicBezTo>
                        <a:cubicBezTo>
                          <a:pt x="71894" y="39810"/>
                          <a:pt x="71894" y="39810"/>
                          <a:pt x="71894" y="39810"/>
                        </a:cubicBezTo>
                        <a:cubicBezTo>
                          <a:pt x="74537" y="40379"/>
                          <a:pt x="74537" y="40379"/>
                          <a:pt x="74537" y="40379"/>
                        </a:cubicBezTo>
                        <a:cubicBezTo>
                          <a:pt x="74537" y="40379"/>
                          <a:pt x="74537" y="40379"/>
                          <a:pt x="74537" y="40379"/>
                        </a:cubicBezTo>
                        <a:cubicBezTo>
                          <a:pt x="75594" y="40379"/>
                          <a:pt x="75594" y="40379"/>
                          <a:pt x="75594" y="40379"/>
                        </a:cubicBezTo>
                        <a:cubicBezTo>
                          <a:pt x="75594" y="39810"/>
                          <a:pt x="75594" y="39810"/>
                          <a:pt x="75594" y="39810"/>
                        </a:cubicBezTo>
                        <a:cubicBezTo>
                          <a:pt x="77709" y="39810"/>
                          <a:pt x="77709" y="39810"/>
                          <a:pt x="77709" y="39810"/>
                        </a:cubicBezTo>
                        <a:cubicBezTo>
                          <a:pt x="80352" y="40379"/>
                          <a:pt x="80352" y="40379"/>
                          <a:pt x="80352" y="40379"/>
                        </a:cubicBezTo>
                        <a:cubicBezTo>
                          <a:pt x="81938" y="40379"/>
                          <a:pt x="81938" y="40379"/>
                          <a:pt x="81938" y="40379"/>
                        </a:cubicBezTo>
                        <a:cubicBezTo>
                          <a:pt x="84581" y="40379"/>
                          <a:pt x="84581" y="40379"/>
                          <a:pt x="84581" y="40379"/>
                        </a:cubicBezTo>
                        <a:cubicBezTo>
                          <a:pt x="86167" y="40947"/>
                          <a:pt x="86167" y="40947"/>
                          <a:pt x="86167" y="40947"/>
                        </a:cubicBezTo>
                        <a:cubicBezTo>
                          <a:pt x="87224" y="41516"/>
                          <a:pt x="87224" y="41516"/>
                          <a:pt x="87224" y="41516"/>
                        </a:cubicBezTo>
                        <a:cubicBezTo>
                          <a:pt x="87224" y="41516"/>
                          <a:pt x="87224" y="41516"/>
                          <a:pt x="87753" y="40947"/>
                        </a:cubicBezTo>
                        <a:cubicBezTo>
                          <a:pt x="87753" y="40947"/>
                          <a:pt x="89339" y="40947"/>
                          <a:pt x="89339" y="40947"/>
                        </a:cubicBezTo>
                        <a:cubicBezTo>
                          <a:pt x="89867" y="39241"/>
                          <a:pt x="89867" y="39241"/>
                          <a:pt x="89867" y="39241"/>
                        </a:cubicBezTo>
                        <a:cubicBezTo>
                          <a:pt x="90396" y="40379"/>
                          <a:pt x="90396" y="40379"/>
                          <a:pt x="90396" y="40379"/>
                        </a:cubicBezTo>
                        <a:cubicBezTo>
                          <a:pt x="90925" y="40379"/>
                          <a:pt x="91982" y="40379"/>
                          <a:pt x="91982" y="40379"/>
                        </a:cubicBezTo>
                        <a:cubicBezTo>
                          <a:pt x="92511" y="38672"/>
                          <a:pt x="92511" y="38672"/>
                          <a:pt x="92511" y="38672"/>
                        </a:cubicBezTo>
                        <a:cubicBezTo>
                          <a:pt x="93039" y="39241"/>
                          <a:pt x="93039" y="39241"/>
                          <a:pt x="93039" y="39241"/>
                        </a:cubicBezTo>
                        <a:cubicBezTo>
                          <a:pt x="93568" y="39241"/>
                          <a:pt x="93568" y="39241"/>
                          <a:pt x="94096" y="39241"/>
                        </a:cubicBezTo>
                        <a:cubicBezTo>
                          <a:pt x="94625" y="39241"/>
                          <a:pt x="95154" y="38672"/>
                          <a:pt x="95154" y="38672"/>
                        </a:cubicBezTo>
                        <a:cubicBezTo>
                          <a:pt x="95154" y="38672"/>
                          <a:pt x="95682" y="39241"/>
                          <a:pt x="95682" y="39241"/>
                        </a:cubicBezTo>
                        <a:cubicBezTo>
                          <a:pt x="95682" y="39241"/>
                          <a:pt x="96211" y="38672"/>
                          <a:pt x="96740" y="38672"/>
                        </a:cubicBezTo>
                        <a:cubicBezTo>
                          <a:pt x="97797" y="38672"/>
                          <a:pt x="98325" y="38104"/>
                          <a:pt x="98325" y="38104"/>
                        </a:cubicBezTo>
                        <a:cubicBezTo>
                          <a:pt x="98325" y="38104"/>
                          <a:pt x="98854" y="39241"/>
                          <a:pt x="99911" y="39810"/>
                        </a:cubicBezTo>
                        <a:cubicBezTo>
                          <a:pt x="99911" y="39810"/>
                          <a:pt x="99911" y="39810"/>
                          <a:pt x="99911" y="39810"/>
                        </a:cubicBezTo>
                        <a:cubicBezTo>
                          <a:pt x="100969" y="39810"/>
                          <a:pt x="100969" y="39810"/>
                          <a:pt x="100969" y="39810"/>
                        </a:cubicBezTo>
                        <a:cubicBezTo>
                          <a:pt x="100969" y="39810"/>
                          <a:pt x="100969" y="39810"/>
                          <a:pt x="100969" y="39810"/>
                        </a:cubicBezTo>
                        <a:cubicBezTo>
                          <a:pt x="100969" y="39810"/>
                          <a:pt x="101497" y="39241"/>
                          <a:pt x="102026" y="39241"/>
                        </a:cubicBezTo>
                        <a:cubicBezTo>
                          <a:pt x="103083" y="39241"/>
                          <a:pt x="103612" y="39241"/>
                          <a:pt x="104140" y="39241"/>
                        </a:cubicBezTo>
                        <a:cubicBezTo>
                          <a:pt x="105198" y="39241"/>
                          <a:pt x="105726" y="40379"/>
                          <a:pt x="105726" y="40379"/>
                        </a:cubicBezTo>
                        <a:cubicBezTo>
                          <a:pt x="107312" y="42085"/>
                          <a:pt x="107312" y="42085"/>
                          <a:pt x="107312" y="42085"/>
                        </a:cubicBezTo>
                        <a:cubicBezTo>
                          <a:pt x="107312" y="42085"/>
                          <a:pt x="107841" y="43222"/>
                          <a:pt x="107841" y="43791"/>
                        </a:cubicBezTo>
                        <a:cubicBezTo>
                          <a:pt x="108370" y="44360"/>
                          <a:pt x="108370" y="44928"/>
                          <a:pt x="108370" y="44928"/>
                        </a:cubicBezTo>
                        <a:cubicBezTo>
                          <a:pt x="108370" y="44928"/>
                          <a:pt x="112599" y="46635"/>
                          <a:pt x="113127" y="46635"/>
                        </a:cubicBezTo>
                        <a:cubicBezTo>
                          <a:pt x="113127" y="46635"/>
                          <a:pt x="113656" y="46635"/>
                          <a:pt x="113656" y="46635"/>
                        </a:cubicBezTo>
                        <a:close/>
                        <a:moveTo>
                          <a:pt x="92511" y="108625"/>
                        </a:moveTo>
                        <a:cubicBezTo>
                          <a:pt x="92511" y="108625"/>
                          <a:pt x="92511" y="108625"/>
                          <a:pt x="92511" y="108625"/>
                        </a:cubicBezTo>
                        <a:cubicBezTo>
                          <a:pt x="93039" y="108625"/>
                          <a:pt x="93039" y="108056"/>
                          <a:pt x="93039" y="108056"/>
                        </a:cubicBezTo>
                        <a:cubicBezTo>
                          <a:pt x="94625" y="108056"/>
                          <a:pt x="94625" y="108056"/>
                          <a:pt x="94625" y="108056"/>
                        </a:cubicBezTo>
                        <a:cubicBezTo>
                          <a:pt x="94625" y="108056"/>
                          <a:pt x="94625" y="108056"/>
                          <a:pt x="94625" y="108056"/>
                        </a:cubicBezTo>
                        <a:cubicBezTo>
                          <a:pt x="96211" y="108625"/>
                          <a:pt x="96211" y="108625"/>
                          <a:pt x="96211" y="108625"/>
                        </a:cubicBezTo>
                        <a:cubicBezTo>
                          <a:pt x="97268" y="109763"/>
                          <a:pt x="97268" y="109763"/>
                          <a:pt x="97268" y="109763"/>
                        </a:cubicBezTo>
                        <a:cubicBezTo>
                          <a:pt x="97797" y="110900"/>
                          <a:pt x="97797" y="110900"/>
                          <a:pt x="97797" y="110900"/>
                        </a:cubicBezTo>
                        <a:cubicBezTo>
                          <a:pt x="98854" y="112037"/>
                          <a:pt x="98854" y="112037"/>
                          <a:pt x="98854" y="112037"/>
                        </a:cubicBezTo>
                        <a:cubicBezTo>
                          <a:pt x="101497" y="113744"/>
                          <a:pt x="101497" y="113744"/>
                          <a:pt x="101497" y="113744"/>
                        </a:cubicBezTo>
                        <a:cubicBezTo>
                          <a:pt x="104669" y="115450"/>
                          <a:pt x="104669" y="115450"/>
                          <a:pt x="104669" y="115450"/>
                        </a:cubicBezTo>
                        <a:cubicBezTo>
                          <a:pt x="104669" y="115450"/>
                          <a:pt x="106784" y="116587"/>
                          <a:pt x="107312" y="116587"/>
                        </a:cubicBezTo>
                        <a:cubicBezTo>
                          <a:pt x="107312" y="116587"/>
                          <a:pt x="107312" y="117156"/>
                          <a:pt x="107841" y="117156"/>
                        </a:cubicBezTo>
                        <a:cubicBezTo>
                          <a:pt x="107841" y="117725"/>
                          <a:pt x="108898" y="119431"/>
                          <a:pt x="108898" y="119431"/>
                        </a:cubicBezTo>
                        <a:cubicBezTo>
                          <a:pt x="109427" y="120000"/>
                          <a:pt x="107841" y="118862"/>
                          <a:pt x="107841" y="118862"/>
                        </a:cubicBezTo>
                        <a:cubicBezTo>
                          <a:pt x="107841" y="118862"/>
                          <a:pt x="107312" y="117725"/>
                          <a:pt x="106784" y="117156"/>
                        </a:cubicBezTo>
                        <a:cubicBezTo>
                          <a:pt x="105726" y="117156"/>
                          <a:pt x="104669" y="117156"/>
                          <a:pt x="104140" y="116587"/>
                        </a:cubicBezTo>
                        <a:cubicBezTo>
                          <a:pt x="103612" y="116018"/>
                          <a:pt x="103612" y="115450"/>
                          <a:pt x="103612" y="115450"/>
                        </a:cubicBezTo>
                        <a:cubicBezTo>
                          <a:pt x="103083" y="115450"/>
                          <a:pt x="103083" y="114312"/>
                          <a:pt x="101497" y="114312"/>
                        </a:cubicBezTo>
                        <a:cubicBezTo>
                          <a:pt x="99911" y="113744"/>
                          <a:pt x="99911" y="114312"/>
                          <a:pt x="99383" y="113175"/>
                        </a:cubicBezTo>
                        <a:cubicBezTo>
                          <a:pt x="98854" y="111469"/>
                          <a:pt x="98854" y="112606"/>
                          <a:pt x="98325" y="111469"/>
                        </a:cubicBezTo>
                        <a:cubicBezTo>
                          <a:pt x="97268" y="110900"/>
                          <a:pt x="97797" y="111469"/>
                          <a:pt x="95682" y="110900"/>
                        </a:cubicBezTo>
                        <a:cubicBezTo>
                          <a:pt x="94096" y="109763"/>
                          <a:pt x="95154" y="110331"/>
                          <a:pt x="95154" y="109763"/>
                        </a:cubicBezTo>
                        <a:cubicBezTo>
                          <a:pt x="94625" y="108625"/>
                          <a:pt x="95154" y="109194"/>
                          <a:pt x="94096" y="109194"/>
                        </a:cubicBezTo>
                        <a:cubicBezTo>
                          <a:pt x="93568" y="108625"/>
                          <a:pt x="94096" y="108625"/>
                          <a:pt x="93568" y="108625"/>
                        </a:cubicBezTo>
                        <a:cubicBezTo>
                          <a:pt x="93568" y="108625"/>
                          <a:pt x="93039" y="109194"/>
                          <a:pt x="92511" y="109194"/>
                        </a:cubicBezTo>
                        <a:cubicBezTo>
                          <a:pt x="92511" y="108625"/>
                          <a:pt x="92511" y="108625"/>
                          <a:pt x="92511" y="108625"/>
                        </a:cubicBezTo>
                        <a:close/>
                        <a:moveTo>
                          <a:pt x="89339" y="112606"/>
                        </a:moveTo>
                        <a:cubicBezTo>
                          <a:pt x="89339" y="112606"/>
                          <a:pt x="89339" y="112606"/>
                          <a:pt x="89339" y="112606"/>
                        </a:cubicBezTo>
                        <a:cubicBezTo>
                          <a:pt x="89339" y="112606"/>
                          <a:pt x="88281" y="112606"/>
                          <a:pt x="87753" y="112606"/>
                        </a:cubicBezTo>
                        <a:cubicBezTo>
                          <a:pt x="87753" y="112606"/>
                          <a:pt x="87224" y="112037"/>
                          <a:pt x="86696" y="112037"/>
                        </a:cubicBezTo>
                        <a:cubicBezTo>
                          <a:pt x="86167" y="112037"/>
                          <a:pt x="85110" y="112037"/>
                          <a:pt x="85110" y="112037"/>
                        </a:cubicBezTo>
                        <a:cubicBezTo>
                          <a:pt x="84581" y="112037"/>
                          <a:pt x="84052" y="111469"/>
                          <a:pt x="84052" y="111469"/>
                        </a:cubicBezTo>
                        <a:cubicBezTo>
                          <a:pt x="84052" y="111469"/>
                          <a:pt x="84052" y="110900"/>
                          <a:pt x="84052" y="110900"/>
                        </a:cubicBezTo>
                        <a:cubicBezTo>
                          <a:pt x="84052" y="110900"/>
                          <a:pt x="85110" y="110331"/>
                          <a:pt x="85110" y="110331"/>
                        </a:cubicBezTo>
                        <a:cubicBezTo>
                          <a:pt x="85110" y="110900"/>
                          <a:pt x="88281" y="111469"/>
                          <a:pt x="88281" y="111469"/>
                        </a:cubicBezTo>
                        <a:cubicBezTo>
                          <a:pt x="90396" y="111469"/>
                          <a:pt x="90396" y="111469"/>
                          <a:pt x="90396" y="111469"/>
                        </a:cubicBezTo>
                        <a:cubicBezTo>
                          <a:pt x="90396" y="111469"/>
                          <a:pt x="90925" y="111469"/>
                          <a:pt x="90925" y="111469"/>
                        </a:cubicBezTo>
                        <a:cubicBezTo>
                          <a:pt x="90925" y="111469"/>
                          <a:pt x="91453" y="111469"/>
                          <a:pt x="91982" y="112037"/>
                        </a:cubicBezTo>
                        <a:cubicBezTo>
                          <a:pt x="92511" y="112037"/>
                          <a:pt x="92511" y="112037"/>
                          <a:pt x="92511" y="112606"/>
                        </a:cubicBezTo>
                        <a:cubicBezTo>
                          <a:pt x="92511" y="112606"/>
                          <a:pt x="93039" y="113175"/>
                          <a:pt x="92511" y="113175"/>
                        </a:cubicBezTo>
                        <a:cubicBezTo>
                          <a:pt x="92511" y="113175"/>
                          <a:pt x="91982" y="113175"/>
                          <a:pt x="91982" y="113175"/>
                        </a:cubicBezTo>
                        <a:cubicBezTo>
                          <a:pt x="91982" y="113175"/>
                          <a:pt x="90925" y="112606"/>
                          <a:pt x="90925" y="112606"/>
                        </a:cubicBezTo>
                        <a:cubicBezTo>
                          <a:pt x="89867" y="112606"/>
                          <a:pt x="89867" y="112606"/>
                          <a:pt x="89867" y="112606"/>
                        </a:cubicBezTo>
                        <a:cubicBezTo>
                          <a:pt x="89339" y="112606"/>
                          <a:pt x="89339" y="112606"/>
                          <a:pt x="89339" y="112606"/>
                        </a:cubicBezTo>
                        <a:close/>
                        <a:moveTo>
                          <a:pt x="72951" y="113175"/>
                        </a:moveTo>
                        <a:cubicBezTo>
                          <a:pt x="72951" y="113175"/>
                          <a:pt x="72951" y="113175"/>
                          <a:pt x="72951" y="113175"/>
                        </a:cubicBezTo>
                        <a:cubicBezTo>
                          <a:pt x="72951" y="113175"/>
                          <a:pt x="75066" y="112606"/>
                          <a:pt x="75066" y="112606"/>
                        </a:cubicBezTo>
                        <a:cubicBezTo>
                          <a:pt x="76123" y="113175"/>
                          <a:pt x="76123" y="113175"/>
                          <a:pt x="76123" y="113175"/>
                        </a:cubicBezTo>
                        <a:cubicBezTo>
                          <a:pt x="76123" y="113175"/>
                          <a:pt x="76123" y="113744"/>
                          <a:pt x="75594" y="113744"/>
                        </a:cubicBezTo>
                        <a:cubicBezTo>
                          <a:pt x="75594" y="113744"/>
                          <a:pt x="74537" y="114881"/>
                          <a:pt x="74537" y="114881"/>
                        </a:cubicBezTo>
                        <a:cubicBezTo>
                          <a:pt x="72951" y="113744"/>
                          <a:pt x="72951" y="113744"/>
                          <a:pt x="72951" y="113744"/>
                        </a:cubicBezTo>
                        <a:cubicBezTo>
                          <a:pt x="72951" y="113175"/>
                          <a:pt x="72951" y="113175"/>
                          <a:pt x="72951" y="113175"/>
                        </a:cubicBezTo>
                        <a:close/>
                        <a:moveTo>
                          <a:pt x="56563" y="110331"/>
                        </a:moveTo>
                        <a:cubicBezTo>
                          <a:pt x="56563" y="110331"/>
                          <a:pt x="56563" y="110331"/>
                          <a:pt x="56563" y="110331"/>
                        </a:cubicBezTo>
                        <a:cubicBezTo>
                          <a:pt x="57092" y="110331"/>
                          <a:pt x="57621" y="109763"/>
                          <a:pt x="57621" y="110331"/>
                        </a:cubicBezTo>
                        <a:cubicBezTo>
                          <a:pt x="57621" y="110900"/>
                          <a:pt x="57092" y="111469"/>
                          <a:pt x="57092" y="111469"/>
                        </a:cubicBezTo>
                        <a:cubicBezTo>
                          <a:pt x="57092" y="111469"/>
                          <a:pt x="56563" y="111469"/>
                          <a:pt x="56563" y="111469"/>
                        </a:cubicBezTo>
                        <a:cubicBezTo>
                          <a:pt x="56563" y="110900"/>
                          <a:pt x="56563" y="110331"/>
                          <a:pt x="56563" y="110331"/>
                        </a:cubicBezTo>
                        <a:close/>
                        <a:moveTo>
                          <a:pt x="59735" y="107488"/>
                        </a:moveTo>
                        <a:cubicBezTo>
                          <a:pt x="59735" y="107488"/>
                          <a:pt x="59735" y="107488"/>
                          <a:pt x="59735" y="107488"/>
                        </a:cubicBezTo>
                        <a:cubicBezTo>
                          <a:pt x="59735" y="107488"/>
                          <a:pt x="60792" y="106919"/>
                          <a:pt x="60792" y="106919"/>
                        </a:cubicBezTo>
                        <a:cubicBezTo>
                          <a:pt x="61321" y="107488"/>
                          <a:pt x="61850" y="107488"/>
                          <a:pt x="61321" y="108056"/>
                        </a:cubicBezTo>
                        <a:cubicBezTo>
                          <a:pt x="61321" y="108056"/>
                          <a:pt x="61321" y="108056"/>
                          <a:pt x="60792" y="108625"/>
                        </a:cubicBezTo>
                        <a:cubicBezTo>
                          <a:pt x="60264" y="109194"/>
                          <a:pt x="59207" y="109763"/>
                          <a:pt x="59207" y="109763"/>
                        </a:cubicBezTo>
                        <a:cubicBezTo>
                          <a:pt x="59207" y="109763"/>
                          <a:pt x="59207" y="109763"/>
                          <a:pt x="58678" y="109763"/>
                        </a:cubicBezTo>
                        <a:cubicBezTo>
                          <a:pt x="57621" y="109194"/>
                          <a:pt x="57092" y="108625"/>
                          <a:pt x="57092" y="108625"/>
                        </a:cubicBezTo>
                        <a:cubicBezTo>
                          <a:pt x="57092" y="108625"/>
                          <a:pt x="56563" y="108056"/>
                          <a:pt x="57621" y="108056"/>
                        </a:cubicBezTo>
                        <a:cubicBezTo>
                          <a:pt x="58149" y="107488"/>
                          <a:pt x="58678" y="107488"/>
                          <a:pt x="58678" y="107488"/>
                        </a:cubicBezTo>
                        <a:cubicBezTo>
                          <a:pt x="59207" y="107488"/>
                          <a:pt x="59735" y="107488"/>
                          <a:pt x="59735" y="107488"/>
                        </a:cubicBezTo>
                        <a:close/>
                        <a:moveTo>
                          <a:pt x="65550" y="101232"/>
                        </a:moveTo>
                        <a:cubicBezTo>
                          <a:pt x="65550" y="101232"/>
                          <a:pt x="65550" y="101232"/>
                          <a:pt x="65550" y="101232"/>
                        </a:cubicBezTo>
                        <a:cubicBezTo>
                          <a:pt x="65550" y="101232"/>
                          <a:pt x="66607" y="100663"/>
                          <a:pt x="66607" y="100663"/>
                        </a:cubicBezTo>
                        <a:cubicBezTo>
                          <a:pt x="66607" y="100663"/>
                          <a:pt x="66607" y="100663"/>
                          <a:pt x="67136" y="100663"/>
                        </a:cubicBezTo>
                        <a:cubicBezTo>
                          <a:pt x="67136" y="100663"/>
                          <a:pt x="67136" y="100663"/>
                          <a:pt x="67665" y="100663"/>
                        </a:cubicBezTo>
                        <a:cubicBezTo>
                          <a:pt x="67665" y="100663"/>
                          <a:pt x="68193" y="100094"/>
                          <a:pt x="68722" y="100663"/>
                        </a:cubicBezTo>
                        <a:cubicBezTo>
                          <a:pt x="69251" y="100663"/>
                          <a:pt x="69251" y="101232"/>
                          <a:pt x="69779" y="101232"/>
                        </a:cubicBezTo>
                        <a:cubicBezTo>
                          <a:pt x="69779" y="101232"/>
                          <a:pt x="70308" y="101232"/>
                          <a:pt x="70308" y="101232"/>
                        </a:cubicBezTo>
                        <a:cubicBezTo>
                          <a:pt x="70837" y="101232"/>
                          <a:pt x="70837" y="101232"/>
                          <a:pt x="71894" y="101232"/>
                        </a:cubicBezTo>
                        <a:cubicBezTo>
                          <a:pt x="72951" y="101232"/>
                          <a:pt x="74537" y="101232"/>
                          <a:pt x="74537" y="101232"/>
                        </a:cubicBezTo>
                        <a:cubicBezTo>
                          <a:pt x="74537" y="101800"/>
                          <a:pt x="75066" y="101232"/>
                          <a:pt x="75594" y="101232"/>
                        </a:cubicBezTo>
                        <a:cubicBezTo>
                          <a:pt x="76651" y="101800"/>
                          <a:pt x="76651" y="101800"/>
                          <a:pt x="76651" y="101800"/>
                        </a:cubicBezTo>
                        <a:cubicBezTo>
                          <a:pt x="77180" y="101800"/>
                          <a:pt x="76651" y="102369"/>
                          <a:pt x="77709" y="101800"/>
                        </a:cubicBezTo>
                        <a:cubicBezTo>
                          <a:pt x="78237" y="101800"/>
                          <a:pt x="78237" y="101800"/>
                          <a:pt x="78237" y="101800"/>
                        </a:cubicBezTo>
                        <a:cubicBezTo>
                          <a:pt x="78237" y="101800"/>
                          <a:pt x="78237" y="101800"/>
                          <a:pt x="78766" y="101232"/>
                        </a:cubicBezTo>
                        <a:cubicBezTo>
                          <a:pt x="79295" y="101232"/>
                          <a:pt x="79823" y="100663"/>
                          <a:pt x="79823" y="100663"/>
                        </a:cubicBezTo>
                        <a:cubicBezTo>
                          <a:pt x="80352" y="100663"/>
                          <a:pt x="80352" y="100663"/>
                          <a:pt x="80352" y="100663"/>
                        </a:cubicBezTo>
                        <a:cubicBezTo>
                          <a:pt x="80352" y="102369"/>
                          <a:pt x="80352" y="102369"/>
                          <a:pt x="80352" y="102369"/>
                        </a:cubicBezTo>
                        <a:cubicBezTo>
                          <a:pt x="80352" y="102369"/>
                          <a:pt x="80352" y="102369"/>
                          <a:pt x="80352" y="102938"/>
                        </a:cubicBezTo>
                        <a:cubicBezTo>
                          <a:pt x="80352" y="102938"/>
                          <a:pt x="79823" y="103507"/>
                          <a:pt x="79295" y="103507"/>
                        </a:cubicBezTo>
                        <a:cubicBezTo>
                          <a:pt x="79295" y="103507"/>
                          <a:pt x="78766" y="102938"/>
                          <a:pt x="78766" y="102938"/>
                        </a:cubicBezTo>
                        <a:cubicBezTo>
                          <a:pt x="78766" y="102369"/>
                          <a:pt x="78237" y="102369"/>
                          <a:pt x="78237" y="102369"/>
                        </a:cubicBezTo>
                        <a:cubicBezTo>
                          <a:pt x="77709" y="102369"/>
                          <a:pt x="77180" y="102938"/>
                          <a:pt x="76651" y="102938"/>
                        </a:cubicBezTo>
                        <a:cubicBezTo>
                          <a:pt x="76651" y="102938"/>
                          <a:pt x="76123" y="102369"/>
                          <a:pt x="76123" y="102369"/>
                        </a:cubicBezTo>
                        <a:cubicBezTo>
                          <a:pt x="76123" y="102369"/>
                          <a:pt x="75066" y="102369"/>
                          <a:pt x="74537" y="102369"/>
                        </a:cubicBezTo>
                        <a:cubicBezTo>
                          <a:pt x="74537" y="102369"/>
                          <a:pt x="74008" y="102369"/>
                          <a:pt x="73480" y="102369"/>
                        </a:cubicBezTo>
                        <a:cubicBezTo>
                          <a:pt x="72951" y="102369"/>
                          <a:pt x="72422" y="102369"/>
                          <a:pt x="71894" y="102369"/>
                        </a:cubicBezTo>
                        <a:cubicBezTo>
                          <a:pt x="71365" y="102938"/>
                          <a:pt x="70308" y="102369"/>
                          <a:pt x="70308" y="102938"/>
                        </a:cubicBezTo>
                        <a:cubicBezTo>
                          <a:pt x="70308" y="102938"/>
                          <a:pt x="70308" y="103507"/>
                          <a:pt x="70308" y="103507"/>
                        </a:cubicBezTo>
                        <a:cubicBezTo>
                          <a:pt x="70308" y="103507"/>
                          <a:pt x="70837" y="104075"/>
                          <a:pt x="70308" y="104075"/>
                        </a:cubicBezTo>
                        <a:cubicBezTo>
                          <a:pt x="69251" y="104075"/>
                          <a:pt x="69251" y="104075"/>
                          <a:pt x="69251" y="103507"/>
                        </a:cubicBezTo>
                        <a:cubicBezTo>
                          <a:pt x="68722" y="102938"/>
                          <a:pt x="69779" y="102369"/>
                          <a:pt x="68193" y="102938"/>
                        </a:cubicBezTo>
                        <a:cubicBezTo>
                          <a:pt x="67136" y="102938"/>
                          <a:pt x="67136" y="102369"/>
                          <a:pt x="66607" y="102369"/>
                        </a:cubicBezTo>
                        <a:cubicBezTo>
                          <a:pt x="66607" y="102938"/>
                          <a:pt x="65550" y="101800"/>
                          <a:pt x="65022" y="102369"/>
                        </a:cubicBezTo>
                        <a:cubicBezTo>
                          <a:pt x="65022" y="102369"/>
                          <a:pt x="64493" y="102938"/>
                          <a:pt x="64493" y="102938"/>
                        </a:cubicBezTo>
                        <a:cubicBezTo>
                          <a:pt x="64493" y="102938"/>
                          <a:pt x="62907" y="102938"/>
                          <a:pt x="62907" y="102938"/>
                        </a:cubicBezTo>
                        <a:cubicBezTo>
                          <a:pt x="62907" y="102938"/>
                          <a:pt x="63436" y="101232"/>
                          <a:pt x="63436" y="101232"/>
                        </a:cubicBezTo>
                        <a:cubicBezTo>
                          <a:pt x="63436" y="101232"/>
                          <a:pt x="63436" y="101232"/>
                          <a:pt x="63964" y="101232"/>
                        </a:cubicBezTo>
                        <a:cubicBezTo>
                          <a:pt x="64493" y="101232"/>
                          <a:pt x="65022" y="101232"/>
                          <a:pt x="65022" y="101232"/>
                        </a:cubicBezTo>
                        <a:cubicBezTo>
                          <a:pt x="65550" y="101232"/>
                          <a:pt x="65550" y="101232"/>
                          <a:pt x="65550" y="101232"/>
                        </a:cubicBezTo>
                        <a:close/>
                        <a:moveTo>
                          <a:pt x="63436" y="97819"/>
                        </a:moveTo>
                        <a:cubicBezTo>
                          <a:pt x="63436" y="97819"/>
                          <a:pt x="63436" y="97819"/>
                          <a:pt x="63436" y="97819"/>
                        </a:cubicBezTo>
                        <a:cubicBezTo>
                          <a:pt x="63436" y="97819"/>
                          <a:pt x="61321" y="96682"/>
                          <a:pt x="61321" y="96682"/>
                        </a:cubicBezTo>
                        <a:cubicBezTo>
                          <a:pt x="60792" y="96682"/>
                          <a:pt x="60264" y="96682"/>
                          <a:pt x="59735" y="96682"/>
                        </a:cubicBezTo>
                        <a:cubicBezTo>
                          <a:pt x="59735" y="96682"/>
                          <a:pt x="58678" y="96113"/>
                          <a:pt x="59207" y="95545"/>
                        </a:cubicBezTo>
                        <a:cubicBezTo>
                          <a:pt x="59207" y="95545"/>
                          <a:pt x="59735" y="94976"/>
                          <a:pt x="60264" y="95545"/>
                        </a:cubicBezTo>
                        <a:cubicBezTo>
                          <a:pt x="60792" y="96113"/>
                          <a:pt x="61321" y="96113"/>
                          <a:pt x="61321" y="96682"/>
                        </a:cubicBezTo>
                        <a:cubicBezTo>
                          <a:pt x="61850" y="96682"/>
                          <a:pt x="62907" y="97251"/>
                          <a:pt x="62907" y="97251"/>
                        </a:cubicBezTo>
                        <a:cubicBezTo>
                          <a:pt x="63436" y="97251"/>
                          <a:pt x="63436" y="97819"/>
                          <a:pt x="63436" y="97251"/>
                        </a:cubicBezTo>
                        <a:cubicBezTo>
                          <a:pt x="63964" y="97251"/>
                          <a:pt x="63964" y="96113"/>
                          <a:pt x="63964" y="96113"/>
                        </a:cubicBezTo>
                        <a:cubicBezTo>
                          <a:pt x="63964" y="95545"/>
                          <a:pt x="63436" y="95545"/>
                          <a:pt x="63436" y="95545"/>
                        </a:cubicBezTo>
                        <a:cubicBezTo>
                          <a:pt x="63964" y="95545"/>
                          <a:pt x="65022" y="94976"/>
                          <a:pt x="65022" y="94976"/>
                        </a:cubicBezTo>
                        <a:cubicBezTo>
                          <a:pt x="65550" y="95545"/>
                          <a:pt x="66079" y="95545"/>
                          <a:pt x="66607" y="95545"/>
                        </a:cubicBezTo>
                        <a:cubicBezTo>
                          <a:pt x="66607" y="95545"/>
                          <a:pt x="66079" y="95545"/>
                          <a:pt x="68193" y="95545"/>
                        </a:cubicBezTo>
                        <a:cubicBezTo>
                          <a:pt x="69779" y="95545"/>
                          <a:pt x="69251" y="95545"/>
                          <a:pt x="70308" y="95545"/>
                        </a:cubicBezTo>
                        <a:cubicBezTo>
                          <a:pt x="70837" y="95545"/>
                          <a:pt x="71894" y="95545"/>
                          <a:pt x="71894" y="95545"/>
                        </a:cubicBezTo>
                        <a:cubicBezTo>
                          <a:pt x="71894" y="96113"/>
                          <a:pt x="72951" y="96682"/>
                          <a:pt x="72951" y="96682"/>
                        </a:cubicBezTo>
                        <a:cubicBezTo>
                          <a:pt x="72951" y="97251"/>
                          <a:pt x="73480" y="97251"/>
                          <a:pt x="72951" y="97819"/>
                        </a:cubicBezTo>
                        <a:cubicBezTo>
                          <a:pt x="71894" y="98388"/>
                          <a:pt x="71894" y="98388"/>
                          <a:pt x="70837" y="98388"/>
                        </a:cubicBezTo>
                        <a:cubicBezTo>
                          <a:pt x="70308" y="98388"/>
                          <a:pt x="70837" y="98388"/>
                          <a:pt x="69779" y="98957"/>
                        </a:cubicBezTo>
                        <a:cubicBezTo>
                          <a:pt x="68193" y="98957"/>
                          <a:pt x="67136" y="98957"/>
                          <a:pt x="67136" y="98957"/>
                        </a:cubicBezTo>
                        <a:cubicBezTo>
                          <a:pt x="67136" y="98957"/>
                          <a:pt x="67665" y="98957"/>
                          <a:pt x="66079" y="98957"/>
                        </a:cubicBezTo>
                        <a:cubicBezTo>
                          <a:pt x="65022" y="98388"/>
                          <a:pt x="64493" y="98957"/>
                          <a:pt x="63964" y="98388"/>
                        </a:cubicBezTo>
                        <a:cubicBezTo>
                          <a:pt x="63964" y="98388"/>
                          <a:pt x="63436" y="97819"/>
                          <a:pt x="63436" y="97819"/>
                        </a:cubicBezTo>
                        <a:close/>
                        <a:moveTo>
                          <a:pt x="26431" y="53459"/>
                        </a:moveTo>
                        <a:cubicBezTo>
                          <a:pt x="26431" y="53459"/>
                          <a:pt x="26431" y="53459"/>
                          <a:pt x="26431" y="53459"/>
                        </a:cubicBezTo>
                        <a:cubicBezTo>
                          <a:pt x="26431" y="53459"/>
                          <a:pt x="26431" y="52890"/>
                          <a:pt x="26431" y="52890"/>
                        </a:cubicBezTo>
                        <a:cubicBezTo>
                          <a:pt x="26431" y="52890"/>
                          <a:pt x="26431" y="52890"/>
                          <a:pt x="26431" y="52890"/>
                        </a:cubicBezTo>
                        <a:cubicBezTo>
                          <a:pt x="26431" y="52890"/>
                          <a:pt x="26960" y="52890"/>
                          <a:pt x="26960" y="52890"/>
                        </a:cubicBezTo>
                        <a:cubicBezTo>
                          <a:pt x="26960" y="53459"/>
                          <a:pt x="26960" y="53459"/>
                          <a:pt x="27488" y="53459"/>
                        </a:cubicBezTo>
                        <a:cubicBezTo>
                          <a:pt x="27488" y="53459"/>
                          <a:pt x="27488" y="53459"/>
                          <a:pt x="28017" y="53459"/>
                        </a:cubicBezTo>
                        <a:cubicBezTo>
                          <a:pt x="28017" y="54028"/>
                          <a:pt x="28017" y="54028"/>
                          <a:pt x="28017" y="54028"/>
                        </a:cubicBezTo>
                        <a:cubicBezTo>
                          <a:pt x="28017" y="54028"/>
                          <a:pt x="28017" y="55165"/>
                          <a:pt x="27488" y="54597"/>
                        </a:cubicBezTo>
                        <a:cubicBezTo>
                          <a:pt x="26960" y="54597"/>
                          <a:pt x="26431" y="54597"/>
                          <a:pt x="26431" y="54028"/>
                        </a:cubicBezTo>
                        <a:cubicBezTo>
                          <a:pt x="26431" y="54028"/>
                          <a:pt x="26431" y="53459"/>
                          <a:pt x="26431" y="53459"/>
                        </a:cubicBezTo>
                        <a:close/>
                        <a:moveTo>
                          <a:pt x="26960" y="58578"/>
                        </a:moveTo>
                        <a:cubicBezTo>
                          <a:pt x="26960" y="58578"/>
                          <a:pt x="26960" y="58578"/>
                          <a:pt x="26960" y="58578"/>
                        </a:cubicBezTo>
                        <a:cubicBezTo>
                          <a:pt x="26960" y="58578"/>
                          <a:pt x="26431" y="58578"/>
                          <a:pt x="26431" y="58578"/>
                        </a:cubicBezTo>
                        <a:cubicBezTo>
                          <a:pt x="26431" y="58578"/>
                          <a:pt x="25374" y="58009"/>
                          <a:pt x="24845" y="58009"/>
                        </a:cubicBezTo>
                        <a:cubicBezTo>
                          <a:pt x="24845" y="57440"/>
                          <a:pt x="24845" y="57440"/>
                          <a:pt x="25374" y="57440"/>
                        </a:cubicBezTo>
                        <a:cubicBezTo>
                          <a:pt x="25374" y="56872"/>
                          <a:pt x="25374" y="56303"/>
                          <a:pt x="25374" y="56303"/>
                        </a:cubicBezTo>
                        <a:cubicBezTo>
                          <a:pt x="25374" y="56303"/>
                          <a:pt x="25903" y="55734"/>
                          <a:pt x="25903" y="55734"/>
                        </a:cubicBezTo>
                        <a:cubicBezTo>
                          <a:pt x="26431" y="55734"/>
                          <a:pt x="26431" y="55734"/>
                          <a:pt x="26431" y="55734"/>
                        </a:cubicBezTo>
                        <a:cubicBezTo>
                          <a:pt x="26431" y="55734"/>
                          <a:pt x="26431" y="55165"/>
                          <a:pt x="26431" y="55165"/>
                        </a:cubicBezTo>
                        <a:cubicBezTo>
                          <a:pt x="26431" y="54597"/>
                          <a:pt x="26960" y="54597"/>
                          <a:pt x="26960" y="54597"/>
                        </a:cubicBezTo>
                        <a:cubicBezTo>
                          <a:pt x="26960" y="54597"/>
                          <a:pt x="28017" y="55734"/>
                          <a:pt x="28017" y="56303"/>
                        </a:cubicBezTo>
                        <a:cubicBezTo>
                          <a:pt x="28017" y="56303"/>
                          <a:pt x="26431" y="56303"/>
                          <a:pt x="26431" y="56303"/>
                        </a:cubicBezTo>
                        <a:cubicBezTo>
                          <a:pt x="26431" y="56303"/>
                          <a:pt x="26431" y="56303"/>
                          <a:pt x="26960" y="57440"/>
                        </a:cubicBezTo>
                        <a:cubicBezTo>
                          <a:pt x="27488" y="58009"/>
                          <a:pt x="27488" y="57440"/>
                          <a:pt x="27488" y="57440"/>
                        </a:cubicBezTo>
                        <a:cubicBezTo>
                          <a:pt x="27488" y="58009"/>
                          <a:pt x="27488" y="58009"/>
                          <a:pt x="28546" y="58009"/>
                        </a:cubicBezTo>
                        <a:cubicBezTo>
                          <a:pt x="29074" y="58578"/>
                          <a:pt x="28546" y="58578"/>
                          <a:pt x="29074" y="59146"/>
                        </a:cubicBezTo>
                        <a:cubicBezTo>
                          <a:pt x="29074" y="59146"/>
                          <a:pt x="28546" y="59715"/>
                          <a:pt x="28546" y="59715"/>
                        </a:cubicBezTo>
                        <a:cubicBezTo>
                          <a:pt x="28017" y="60284"/>
                          <a:pt x="28017" y="59715"/>
                          <a:pt x="28017" y="59715"/>
                        </a:cubicBezTo>
                        <a:cubicBezTo>
                          <a:pt x="28017" y="59715"/>
                          <a:pt x="27488" y="58578"/>
                          <a:pt x="26960" y="58578"/>
                        </a:cubicBezTo>
                        <a:close/>
                        <a:moveTo>
                          <a:pt x="29074" y="66540"/>
                        </a:moveTo>
                        <a:cubicBezTo>
                          <a:pt x="29074" y="66540"/>
                          <a:pt x="29074" y="66540"/>
                          <a:pt x="29074" y="66540"/>
                        </a:cubicBezTo>
                        <a:cubicBezTo>
                          <a:pt x="29074" y="66540"/>
                          <a:pt x="29603" y="65971"/>
                          <a:pt x="29603" y="66540"/>
                        </a:cubicBezTo>
                        <a:cubicBezTo>
                          <a:pt x="30132" y="66540"/>
                          <a:pt x="30132" y="67109"/>
                          <a:pt x="30132" y="67109"/>
                        </a:cubicBezTo>
                        <a:cubicBezTo>
                          <a:pt x="30660" y="67677"/>
                          <a:pt x="31189" y="67677"/>
                          <a:pt x="31718" y="67677"/>
                        </a:cubicBezTo>
                        <a:cubicBezTo>
                          <a:pt x="31718" y="68246"/>
                          <a:pt x="31718" y="68815"/>
                          <a:pt x="31718" y="68815"/>
                        </a:cubicBezTo>
                        <a:cubicBezTo>
                          <a:pt x="31718" y="68815"/>
                          <a:pt x="31189" y="69383"/>
                          <a:pt x="31189" y="68815"/>
                        </a:cubicBezTo>
                        <a:cubicBezTo>
                          <a:pt x="30660" y="68246"/>
                          <a:pt x="30660" y="68246"/>
                          <a:pt x="30660" y="68246"/>
                        </a:cubicBezTo>
                        <a:cubicBezTo>
                          <a:pt x="30660" y="68246"/>
                          <a:pt x="30132" y="67677"/>
                          <a:pt x="30132" y="67677"/>
                        </a:cubicBezTo>
                        <a:cubicBezTo>
                          <a:pt x="30132" y="67677"/>
                          <a:pt x="29074" y="66540"/>
                          <a:pt x="29074" y="66540"/>
                        </a:cubicBezTo>
                        <a:close/>
                        <a:moveTo>
                          <a:pt x="28017" y="68815"/>
                        </a:moveTo>
                        <a:cubicBezTo>
                          <a:pt x="28017" y="68815"/>
                          <a:pt x="28017" y="68815"/>
                          <a:pt x="28017" y="68815"/>
                        </a:cubicBezTo>
                        <a:cubicBezTo>
                          <a:pt x="28017" y="68815"/>
                          <a:pt x="28017" y="68246"/>
                          <a:pt x="28017" y="68246"/>
                        </a:cubicBezTo>
                        <a:cubicBezTo>
                          <a:pt x="28017" y="68246"/>
                          <a:pt x="28546" y="68246"/>
                          <a:pt x="28546" y="68815"/>
                        </a:cubicBezTo>
                        <a:cubicBezTo>
                          <a:pt x="28546" y="68815"/>
                          <a:pt x="29074" y="69383"/>
                          <a:pt x="29074" y="69383"/>
                        </a:cubicBezTo>
                        <a:cubicBezTo>
                          <a:pt x="29074" y="69952"/>
                          <a:pt x="28546" y="69952"/>
                          <a:pt x="28546" y="69952"/>
                        </a:cubicBezTo>
                        <a:cubicBezTo>
                          <a:pt x="28546" y="70521"/>
                          <a:pt x="29074" y="70521"/>
                          <a:pt x="28546" y="70521"/>
                        </a:cubicBezTo>
                        <a:cubicBezTo>
                          <a:pt x="28017" y="70521"/>
                          <a:pt x="28017" y="70521"/>
                          <a:pt x="28017" y="70521"/>
                        </a:cubicBezTo>
                        <a:cubicBezTo>
                          <a:pt x="28017" y="70521"/>
                          <a:pt x="28017" y="69952"/>
                          <a:pt x="28017" y="69952"/>
                        </a:cubicBezTo>
                        <a:cubicBezTo>
                          <a:pt x="28017" y="69383"/>
                          <a:pt x="28017" y="68815"/>
                          <a:pt x="28017" y="68815"/>
                        </a:cubicBezTo>
                        <a:close/>
                        <a:moveTo>
                          <a:pt x="25903" y="68815"/>
                        </a:moveTo>
                        <a:cubicBezTo>
                          <a:pt x="25903" y="68815"/>
                          <a:pt x="25903" y="68815"/>
                          <a:pt x="25903" y="68815"/>
                        </a:cubicBezTo>
                        <a:cubicBezTo>
                          <a:pt x="25903" y="68815"/>
                          <a:pt x="26431" y="68815"/>
                          <a:pt x="26431" y="69383"/>
                        </a:cubicBezTo>
                        <a:cubicBezTo>
                          <a:pt x="26431" y="69383"/>
                          <a:pt x="26960" y="69383"/>
                          <a:pt x="26960" y="69952"/>
                        </a:cubicBezTo>
                        <a:cubicBezTo>
                          <a:pt x="26960" y="69952"/>
                          <a:pt x="26960" y="69952"/>
                          <a:pt x="26960" y="70521"/>
                        </a:cubicBezTo>
                        <a:cubicBezTo>
                          <a:pt x="26960" y="71090"/>
                          <a:pt x="27488" y="71090"/>
                          <a:pt x="26960" y="71090"/>
                        </a:cubicBezTo>
                        <a:cubicBezTo>
                          <a:pt x="26431" y="70521"/>
                          <a:pt x="26431" y="70521"/>
                          <a:pt x="26431" y="70521"/>
                        </a:cubicBezTo>
                        <a:cubicBezTo>
                          <a:pt x="25903" y="69952"/>
                          <a:pt x="25903" y="69952"/>
                          <a:pt x="25903" y="69952"/>
                        </a:cubicBezTo>
                        <a:cubicBezTo>
                          <a:pt x="25903" y="69383"/>
                          <a:pt x="25903" y="69383"/>
                          <a:pt x="25903" y="69383"/>
                        </a:cubicBezTo>
                        <a:cubicBezTo>
                          <a:pt x="25903" y="68815"/>
                          <a:pt x="25903" y="68815"/>
                          <a:pt x="25903" y="68815"/>
                        </a:cubicBezTo>
                        <a:close/>
                        <a:moveTo>
                          <a:pt x="17973" y="65971"/>
                        </a:moveTo>
                        <a:cubicBezTo>
                          <a:pt x="17973" y="65971"/>
                          <a:pt x="17973" y="65971"/>
                          <a:pt x="17973" y="65971"/>
                        </a:cubicBezTo>
                        <a:cubicBezTo>
                          <a:pt x="17973" y="65971"/>
                          <a:pt x="18502" y="65971"/>
                          <a:pt x="18502" y="65971"/>
                        </a:cubicBezTo>
                        <a:cubicBezTo>
                          <a:pt x="19030" y="66540"/>
                          <a:pt x="18502" y="66540"/>
                          <a:pt x="19030" y="67109"/>
                        </a:cubicBezTo>
                        <a:cubicBezTo>
                          <a:pt x="19030" y="67109"/>
                          <a:pt x="18502" y="67677"/>
                          <a:pt x="18502" y="67677"/>
                        </a:cubicBezTo>
                        <a:cubicBezTo>
                          <a:pt x="17973" y="67109"/>
                          <a:pt x="17973" y="67109"/>
                          <a:pt x="17973" y="67109"/>
                        </a:cubicBezTo>
                        <a:cubicBezTo>
                          <a:pt x="17973" y="65971"/>
                          <a:pt x="17973" y="65971"/>
                          <a:pt x="17973" y="65971"/>
                        </a:cubicBezTo>
                        <a:close/>
                        <a:moveTo>
                          <a:pt x="17973" y="63696"/>
                        </a:moveTo>
                        <a:cubicBezTo>
                          <a:pt x="17973" y="63696"/>
                          <a:pt x="17973" y="63696"/>
                          <a:pt x="17973" y="63696"/>
                        </a:cubicBezTo>
                        <a:cubicBezTo>
                          <a:pt x="17973" y="63696"/>
                          <a:pt x="16916" y="63696"/>
                          <a:pt x="16916" y="63696"/>
                        </a:cubicBezTo>
                        <a:cubicBezTo>
                          <a:pt x="16916" y="63696"/>
                          <a:pt x="16387" y="63696"/>
                          <a:pt x="16387" y="63127"/>
                        </a:cubicBezTo>
                        <a:cubicBezTo>
                          <a:pt x="16387" y="63127"/>
                          <a:pt x="16387" y="62559"/>
                          <a:pt x="16916" y="62559"/>
                        </a:cubicBezTo>
                        <a:cubicBezTo>
                          <a:pt x="16916" y="62559"/>
                          <a:pt x="16916" y="61990"/>
                          <a:pt x="16916" y="61421"/>
                        </a:cubicBezTo>
                        <a:cubicBezTo>
                          <a:pt x="16916" y="61421"/>
                          <a:pt x="17444" y="61421"/>
                          <a:pt x="17444" y="61421"/>
                        </a:cubicBezTo>
                        <a:cubicBezTo>
                          <a:pt x="17444" y="61421"/>
                          <a:pt x="17973" y="61990"/>
                          <a:pt x="17973" y="61990"/>
                        </a:cubicBezTo>
                        <a:cubicBezTo>
                          <a:pt x="17973" y="61990"/>
                          <a:pt x="17973" y="63127"/>
                          <a:pt x="17973" y="63696"/>
                        </a:cubicBezTo>
                        <a:close/>
                        <a:moveTo>
                          <a:pt x="17973" y="50616"/>
                        </a:moveTo>
                        <a:cubicBezTo>
                          <a:pt x="17973" y="50616"/>
                          <a:pt x="17973" y="50616"/>
                          <a:pt x="17973" y="50616"/>
                        </a:cubicBezTo>
                        <a:cubicBezTo>
                          <a:pt x="17973" y="50616"/>
                          <a:pt x="19030" y="50616"/>
                          <a:pt x="19030" y="50616"/>
                        </a:cubicBezTo>
                        <a:cubicBezTo>
                          <a:pt x="19030" y="50616"/>
                          <a:pt x="19030" y="51184"/>
                          <a:pt x="19030" y="51753"/>
                        </a:cubicBezTo>
                        <a:cubicBezTo>
                          <a:pt x="19559" y="51753"/>
                          <a:pt x="19559" y="52322"/>
                          <a:pt x="19559" y="52322"/>
                        </a:cubicBezTo>
                        <a:cubicBezTo>
                          <a:pt x="20088" y="52322"/>
                          <a:pt x="20088" y="52322"/>
                          <a:pt x="20088" y="52322"/>
                        </a:cubicBezTo>
                        <a:cubicBezTo>
                          <a:pt x="20088" y="52322"/>
                          <a:pt x="20616" y="51753"/>
                          <a:pt x="20616" y="52322"/>
                        </a:cubicBezTo>
                        <a:cubicBezTo>
                          <a:pt x="21145" y="52322"/>
                          <a:pt x="21674" y="51753"/>
                          <a:pt x="21674" y="51753"/>
                        </a:cubicBezTo>
                        <a:cubicBezTo>
                          <a:pt x="21674" y="51753"/>
                          <a:pt x="22202" y="52322"/>
                          <a:pt x="22202" y="52322"/>
                        </a:cubicBezTo>
                        <a:cubicBezTo>
                          <a:pt x="22202" y="52890"/>
                          <a:pt x="21674" y="53459"/>
                          <a:pt x="21674" y="53459"/>
                        </a:cubicBezTo>
                        <a:cubicBezTo>
                          <a:pt x="21145" y="53459"/>
                          <a:pt x="20616" y="52890"/>
                          <a:pt x="20616" y="52890"/>
                        </a:cubicBezTo>
                        <a:cubicBezTo>
                          <a:pt x="20616" y="52890"/>
                          <a:pt x="20088" y="52322"/>
                          <a:pt x="20088" y="52890"/>
                        </a:cubicBezTo>
                        <a:cubicBezTo>
                          <a:pt x="20088" y="52890"/>
                          <a:pt x="20088" y="53459"/>
                          <a:pt x="20088" y="54028"/>
                        </a:cubicBezTo>
                        <a:cubicBezTo>
                          <a:pt x="20616" y="54028"/>
                          <a:pt x="20616" y="54028"/>
                          <a:pt x="20616" y="54597"/>
                        </a:cubicBezTo>
                        <a:cubicBezTo>
                          <a:pt x="20088" y="54597"/>
                          <a:pt x="20088" y="55165"/>
                          <a:pt x="20088" y="55165"/>
                        </a:cubicBezTo>
                        <a:cubicBezTo>
                          <a:pt x="20088" y="55734"/>
                          <a:pt x="20616" y="56303"/>
                          <a:pt x="20616" y="56303"/>
                        </a:cubicBezTo>
                        <a:cubicBezTo>
                          <a:pt x="20616" y="56303"/>
                          <a:pt x="20616" y="56303"/>
                          <a:pt x="20616" y="56872"/>
                        </a:cubicBezTo>
                        <a:cubicBezTo>
                          <a:pt x="20616" y="56872"/>
                          <a:pt x="21145" y="57440"/>
                          <a:pt x="21145" y="57440"/>
                        </a:cubicBezTo>
                        <a:cubicBezTo>
                          <a:pt x="21145" y="58009"/>
                          <a:pt x="21145" y="58578"/>
                          <a:pt x="21145" y="58578"/>
                        </a:cubicBezTo>
                        <a:cubicBezTo>
                          <a:pt x="21674" y="59146"/>
                          <a:pt x="21674" y="59146"/>
                          <a:pt x="21674" y="59146"/>
                        </a:cubicBezTo>
                        <a:cubicBezTo>
                          <a:pt x="21145" y="60284"/>
                          <a:pt x="21145" y="60284"/>
                          <a:pt x="21145" y="60284"/>
                        </a:cubicBezTo>
                        <a:cubicBezTo>
                          <a:pt x="21145" y="60284"/>
                          <a:pt x="21674" y="60853"/>
                          <a:pt x="21674" y="60853"/>
                        </a:cubicBezTo>
                        <a:cubicBezTo>
                          <a:pt x="21674" y="61421"/>
                          <a:pt x="22731" y="61990"/>
                          <a:pt x="22731" y="62559"/>
                        </a:cubicBezTo>
                        <a:cubicBezTo>
                          <a:pt x="22731" y="62559"/>
                          <a:pt x="22731" y="63696"/>
                          <a:pt x="22202" y="63696"/>
                        </a:cubicBezTo>
                        <a:cubicBezTo>
                          <a:pt x="22202" y="63696"/>
                          <a:pt x="21674" y="64265"/>
                          <a:pt x="21674" y="63696"/>
                        </a:cubicBezTo>
                        <a:cubicBezTo>
                          <a:pt x="21145" y="63127"/>
                          <a:pt x="20616" y="61990"/>
                          <a:pt x="20616" y="61990"/>
                        </a:cubicBezTo>
                        <a:cubicBezTo>
                          <a:pt x="20616" y="61990"/>
                          <a:pt x="20616" y="61990"/>
                          <a:pt x="20616" y="61990"/>
                        </a:cubicBezTo>
                        <a:cubicBezTo>
                          <a:pt x="20616" y="62559"/>
                          <a:pt x="20088" y="63127"/>
                          <a:pt x="20088" y="63127"/>
                        </a:cubicBezTo>
                        <a:cubicBezTo>
                          <a:pt x="20088" y="63696"/>
                          <a:pt x="21145" y="64265"/>
                          <a:pt x="21145" y="64265"/>
                        </a:cubicBezTo>
                        <a:cubicBezTo>
                          <a:pt x="21145" y="64265"/>
                          <a:pt x="20616" y="63127"/>
                          <a:pt x="21145" y="64265"/>
                        </a:cubicBezTo>
                        <a:cubicBezTo>
                          <a:pt x="21674" y="65402"/>
                          <a:pt x="22202" y="65971"/>
                          <a:pt x="22202" y="65971"/>
                        </a:cubicBezTo>
                        <a:cubicBezTo>
                          <a:pt x="22202" y="65971"/>
                          <a:pt x="22731" y="66540"/>
                          <a:pt x="23259" y="66540"/>
                        </a:cubicBezTo>
                        <a:cubicBezTo>
                          <a:pt x="23259" y="67109"/>
                          <a:pt x="23259" y="67109"/>
                          <a:pt x="23788" y="67677"/>
                        </a:cubicBezTo>
                        <a:cubicBezTo>
                          <a:pt x="23788" y="67677"/>
                          <a:pt x="24317" y="68246"/>
                          <a:pt x="23788" y="68246"/>
                        </a:cubicBezTo>
                        <a:cubicBezTo>
                          <a:pt x="23259" y="68815"/>
                          <a:pt x="23788" y="68815"/>
                          <a:pt x="23259" y="68815"/>
                        </a:cubicBezTo>
                        <a:cubicBezTo>
                          <a:pt x="23259" y="68246"/>
                          <a:pt x="22731" y="68246"/>
                          <a:pt x="22731" y="67677"/>
                        </a:cubicBezTo>
                        <a:cubicBezTo>
                          <a:pt x="22731" y="67109"/>
                          <a:pt x="22202" y="66540"/>
                          <a:pt x="22202" y="65971"/>
                        </a:cubicBezTo>
                        <a:cubicBezTo>
                          <a:pt x="21674" y="65971"/>
                          <a:pt x="21145" y="65402"/>
                          <a:pt x="21145" y="65402"/>
                        </a:cubicBezTo>
                        <a:cubicBezTo>
                          <a:pt x="20616" y="65402"/>
                          <a:pt x="20616" y="64834"/>
                          <a:pt x="20616" y="64834"/>
                        </a:cubicBezTo>
                        <a:cubicBezTo>
                          <a:pt x="20616" y="64834"/>
                          <a:pt x="20088" y="64834"/>
                          <a:pt x="20088" y="64834"/>
                        </a:cubicBezTo>
                        <a:cubicBezTo>
                          <a:pt x="20088" y="64834"/>
                          <a:pt x="19030" y="64834"/>
                          <a:pt x="19030" y="64834"/>
                        </a:cubicBezTo>
                        <a:cubicBezTo>
                          <a:pt x="19030" y="64265"/>
                          <a:pt x="19030" y="64265"/>
                          <a:pt x="19559" y="63696"/>
                        </a:cubicBezTo>
                        <a:cubicBezTo>
                          <a:pt x="19559" y="63696"/>
                          <a:pt x="20088" y="63696"/>
                          <a:pt x="20088" y="63696"/>
                        </a:cubicBezTo>
                        <a:cubicBezTo>
                          <a:pt x="20088" y="63696"/>
                          <a:pt x="19559" y="63127"/>
                          <a:pt x="19559" y="63127"/>
                        </a:cubicBezTo>
                        <a:cubicBezTo>
                          <a:pt x="19559" y="63127"/>
                          <a:pt x="19559" y="62559"/>
                          <a:pt x="19559" y="62559"/>
                        </a:cubicBezTo>
                        <a:cubicBezTo>
                          <a:pt x="19030" y="62559"/>
                          <a:pt x="19030" y="63127"/>
                          <a:pt x="19030" y="62559"/>
                        </a:cubicBezTo>
                        <a:cubicBezTo>
                          <a:pt x="19030" y="61990"/>
                          <a:pt x="19030" y="61990"/>
                          <a:pt x="19030" y="61421"/>
                        </a:cubicBezTo>
                        <a:cubicBezTo>
                          <a:pt x="19030" y="61421"/>
                          <a:pt x="19030" y="60284"/>
                          <a:pt x="19030" y="60284"/>
                        </a:cubicBezTo>
                        <a:cubicBezTo>
                          <a:pt x="19559" y="60853"/>
                          <a:pt x="19559" y="60853"/>
                          <a:pt x="19559" y="60853"/>
                        </a:cubicBezTo>
                        <a:cubicBezTo>
                          <a:pt x="20088" y="59715"/>
                          <a:pt x="20088" y="59715"/>
                          <a:pt x="20088" y="59715"/>
                        </a:cubicBezTo>
                        <a:cubicBezTo>
                          <a:pt x="20088" y="59715"/>
                          <a:pt x="20088" y="59715"/>
                          <a:pt x="19559" y="59715"/>
                        </a:cubicBezTo>
                        <a:cubicBezTo>
                          <a:pt x="19030" y="59715"/>
                          <a:pt x="19030" y="58578"/>
                          <a:pt x="19030" y="58578"/>
                        </a:cubicBezTo>
                        <a:cubicBezTo>
                          <a:pt x="19030" y="58578"/>
                          <a:pt x="19030" y="58009"/>
                          <a:pt x="19030" y="58009"/>
                        </a:cubicBezTo>
                        <a:cubicBezTo>
                          <a:pt x="19030" y="58009"/>
                          <a:pt x="18502" y="58009"/>
                          <a:pt x="18502" y="57440"/>
                        </a:cubicBezTo>
                        <a:cubicBezTo>
                          <a:pt x="17973" y="56872"/>
                          <a:pt x="17973" y="56303"/>
                          <a:pt x="17973" y="56303"/>
                        </a:cubicBezTo>
                        <a:cubicBezTo>
                          <a:pt x="17973" y="56303"/>
                          <a:pt x="18502" y="56303"/>
                          <a:pt x="17973" y="55734"/>
                        </a:cubicBezTo>
                        <a:cubicBezTo>
                          <a:pt x="17973" y="55165"/>
                          <a:pt x="17973" y="55165"/>
                          <a:pt x="17444" y="55165"/>
                        </a:cubicBezTo>
                        <a:cubicBezTo>
                          <a:pt x="17444" y="54597"/>
                          <a:pt x="17444" y="54028"/>
                          <a:pt x="17973" y="54028"/>
                        </a:cubicBezTo>
                        <a:cubicBezTo>
                          <a:pt x="17973" y="54028"/>
                          <a:pt x="17973" y="54028"/>
                          <a:pt x="18502" y="54028"/>
                        </a:cubicBezTo>
                        <a:cubicBezTo>
                          <a:pt x="18502" y="54597"/>
                          <a:pt x="19030" y="54597"/>
                          <a:pt x="19030" y="54597"/>
                        </a:cubicBezTo>
                        <a:cubicBezTo>
                          <a:pt x="19030" y="54028"/>
                          <a:pt x="19559" y="53459"/>
                          <a:pt x="19030" y="53459"/>
                        </a:cubicBezTo>
                        <a:cubicBezTo>
                          <a:pt x="19030" y="52890"/>
                          <a:pt x="18502" y="52322"/>
                          <a:pt x="18502" y="52322"/>
                        </a:cubicBezTo>
                        <a:cubicBezTo>
                          <a:pt x="17973" y="51753"/>
                          <a:pt x="17973" y="51753"/>
                          <a:pt x="17973" y="51753"/>
                        </a:cubicBezTo>
                        <a:cubicBezTo>
                          <a:pt x="17973" y="51753"/>
                          <a:pt x="17973" y="51753"/>
                          <a:pt x="17973" y="51184"/>
                        </a:cubicBezTo>
                        <a:cubicBezTo>
                          <a:pt x="17973" y="51184"/>
                          <a:pt x="17973" y="50616"/>
                          <a:pt x="17973" y="50616"/>
                        </a:cubicBezTo>
                        <a:close/>
                        <a:moveTo>
                          <a:pt x="17444" y="50616"/>
                        </a:moveTo>
                        <a:cubicBezTo>
                          <a:pt x="17444" y="50616"/>
                          <a:pt x="17444" y="50616"/>
                          <a:pt x="17444" y="50616"/>
                        </a:cubicBezTo>
                        <a:cubicBezTo>
                          <a:pt x="17444" y="50616"/>
                          <a:pt x="16916" y="50047"/>
                          <a:pt x="16916" y="49478"/>
                        </a:cubicBezTo>
                        <a:cubicBezTo>
                          <a:pt x="16916" y="49478"/>
                          <a:pt x="16916" y="49478"/>
                          <a:pt x="16916" y="48909"/>
                        </a:cubicBezTo>
                        <a:cubicBezTo>
                          <a:pt x="16916" y="48341"/>
                          <a:pt x="16387" y="48341"/>
                          <a:pt x="16387" y="47772"/>
                        </a:cubicBezTo>
                        <a:cubicBezTo>
                          <a:pt x="16916" y="47772"/>
                          <a:pt x="16916" y="47203"/>
                          <a:pt x="16916" y="47203"/>
                        </a:cubicBezTo>
                        <a:cubicBezTo>
                          <a:pt x="17444" y="46635"/>
                          <a:pt x="17973" y="46635"/>
                          <a:pt x="17973" y="47203"/>
                        </a:cubicBezTo>
                        <a:cubicBezTo>
                          <a:pt x="17973" y="47203"/>
                          <a:pt x="17973" y="47772"/>
                          <a:pt x="17973" y="48341"/>
                        </a:cubicBezTo>
                        <a:cubicBezTo>
                          <a:pt x="17973" y="48341"/>
                          <a:pt x="17973" y="48909"/>
                          <a:pt x="17973" y="48909"/>
                        </a:cubicBezTo>
                        <a:cubicBezTo>
                          <a:pt x="17973" y="49478"/>
                          <a:pt x="18502" y="49478"/>
                          <a:pt x="18502" y="49478"/>
                        </a:cubicBezTo>
                        <a:cubicBezTo>
                          <a:pt x="18502" y="50047"/>
                          <a:pt x="18502" y="50616"/>
                          <a:pt x="18502" y="50616"/>
                        </a:cubicBezTo>
                        <a:lnTo>
                          <a:pt x="17444" y="50616"/>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167" name="Shape 2023"/>
                  <p:cNvSpPr/>
                  <p:nvPr/>
                </p:nvSpPr>
                <p:spPr>
                  <a:xfrm>
                    <a:off x="5794467" y="3262800"/>
                    <a:ext cx="424380" cy="437886"/>
                  </a:xfrm>
                  <a:custGeom>
                    <a:avLst/>
                    <a:gdLst/>
                    <a:ahLst/>
                    <a:cxnLst/>
                    <a:rect l="0" t="0" r="0" b="0"/>
                    <a:pathLst>
                      <a:path w="120000" h="120000" extrusionOk="0">
                        <a:moveTo>
                          <a:pt x="7096" y="8484"/>
                        </a:moveTo>
                        <a:cubicBezTo>
                          <a:pt x="7096" y="8484"/>
                          <a:pt x="7096" y="8484"/>
                          <a:pt x="7096" y="8484"/>
                        </a:cubicBezTo>
                        <a:cubicBezTo>
                          <a:pt x="7096" y="8484"/>
                          <a:pt x="7096" y="8484"/>
                          <a:pt x="7096" y="8484"/>
                        </a:cubicBezTo>
                        <a:cubicBezTo>
                          <a:pt x="7741" y="8484"/>
                          <a:pt x="7741" y="8484"/>
                          <a:pt x="8387" y="8484"/>
                        </a:cubicBezTo>
                        <a:cubicBezTo>
                          <a:pt x="9677" y="8484"/>
                          <a:pt x="10322" y="8484"/>
                          <a:pt x="10322" y="8484"/>
                        </a:cubicBezTo>
                        <a:cubicBezTo>
                          <a:pt x="10967" y="6666"/>
                          <a:pt x="10967" y="6666"/>
                          <a:pt x="10967" y="6666"/>
                        </a:cubicBezTo>
                        <a:cubicBezTo>
                          <a:pt x="12258" y="6060"/>
                          <a:pt x="12258" y="6060"/>
                          <a:pt x="12258" y="6060"/>
                        </a:cubicBezTo>
                        <a:cubicBezTo>
                          <a:pt x="12258" y="6060"/>
                          <a:pt x="14193" y="3636"/>
                          <a:pt x="14838" y="3636"/>
                        </a:cubicBezTo>
                        <a:cubicBezTo>
                          <a:pt x="16129" y="3636"/>
                          <a:pt x="14838" y="2424"/>
                          <a:pt x="14838" y="2424"/>
                        </a:cubicBezTo>
                        <a:cubicBezTo>
                          <a:pt x="14838" y="2424"/>
                          <a:pt x="18064" y="1212"/>
                          <a:pt x="19354" y="1212"/>
                        </a:cubicBezTo>
                        <a:cubicBezTo>
                          <a:pt x="19354" y="1212"/>
                          <a:pt x="19354" y="1212"/>
                          <a:pt x="20000" y="1212"/>
                        </a:cubicBezTo>
                        <a:cubicBezTo>
                          <a:pt x="20645" y="1212"/>
                          <a:pt x="20645" y="1818"/>
                          <a:pt x="20645" y="1818"/>
                        </a:cubicBezTo>
                        <a:cubicBezTo>
                          <a:pt x="23225" y="606"/>
                          <a:pt x="23225" y="606"/>
                          <a:pt x="23225" y="606"/>
                        </a:cubicBezTo>
                        <a:cubicBezTo>
                          <a:pt x="23225" y="606"/>
                          <a:pt x="27096" y="0"/>
                          <a:pt x="27741" y="0"/>
                        </a:cubicBezTo>
                        <a:cubicBezTo>
                          <a:pt x="28387" y="0"/>
                          <a:pt x="29677" y="606"/>
                          <a:pt x="29677" y="606"/>
                        </a:cubicBezTo>
                        <a:cubicBezTo>
                          <a:pt x="30967" y="606"/>
                          <a:pt x="30967" y="606"/>
                          <a:pt x="30967" y="606"/>
                        </a:cubicBezTo>
                        <a:cubicBezTo>
                          <a:pt x="30967" y="606"/>
                          <a:pt x="31612" y="1212"/>
                          <a:pt x="32258" y="1212"/>
                        </a:cubicBezTo>
                        <a:cubicBezTo>
                          <a:pt x="33548" y="1818"/>
                          <a:pt x="34193" y="3636"/>
                          <a:pt x="34838" y="3636"/>
                        </a:cubicBezTo>
                        <a:cubicBezTo>
                          <a:pt x="36129" y="4242"/>
                          <a:pt x="37419" y="4242"/>
                          <a:pt x="38064" y="4242"/>
                        </a:cubicBezTo>
                        <a:cubicBezTo>
                          <a:pt x="38709" y="4848"/>
                          <a:pt x="40000" y="5454"/>
                          <a:pt x="40000" y="5454"/>
                        </a:cubicBezTo>
                        <a:cubicBezTo>
                          <a:pt x="40000" y="5454"/>
                          <a:pt x="43225" y="8484"/>
                          <a:pt x="43870" y="8484"/>
                        </a:cubicBezTo>
                        <a:cubicBezTo>
                          <a:pt x="44516" y="8484"/>
                          <a:pt x="44516" y="8484"/>
                          <a:pt x="45161" y="9696"/>
                        </a:cubicBezTo>
                        <a:cubicBezTo>
                          <a:pt x="45806" y="10303"/>
                          <a:pt x="47741" y="9696"/>
                          <a:pt x="47741" y="9696"/>
                        </a:cubicBezTo>
                        <a:cubicBezTo>
                          <a:pt x="47741" y="9696"/>
                          <a:pt x="48387" y="11515"/>
                          <a:pt x="47741" y="12121"/>
                        </a:cubicBezTo>
                        <a:cubicBezTo>
                          <a:pt x="47741" y="12727"/>
                          <a:pt x="47741" y="14545"/>
                          <a:pt x="47741" y="14545"/>
                        </a:cubicBezTo>
                        <a:cubicBezTo>
                          <a:pt x="47741" y="14545"/>
                          <a:pt x="47741" y="15151"/>
                          <a:pt x="47741" y="15757"/>
                        </a:cubicBezTo>
                        <a:cubicBezTo>
                          <a:pt x="48387" y="16969"/>
                          <a:pt x="49032" y="16969"/>
                          <a:pt x="49032" y="18181"/>
                        </a:cubicBezTo>
                        <a:cubicBezTo>
                          <a:pt x="49677" y="18787"/>
                          <a:pt x="49032" y="18787"/>
                          <a:pt x="49677" y="19393"/>
                        </a:cubicBezTo>
                        <a:cubicBezTo>
                          <a:pt x="50322" y="20000"/>
                          <a:pt x="50967" y="21212"/>
                          <a:pt x="51612" y="21212"/>
                        </a:cubicBezTo>
                        <a:cubicBezTo>
                          <a:pt x="52258" y="21212"/>
                          <a:pt x="52903" y="21212"/>
                          <a:pt x="54838" y="21818"/>
                        </a:cubicBezTo>
                        <a:cubicBezTo>
                          <a:pt x="56774" y="23030"/>
                          <a:pt x="57419" y="23030"/>
                          <a:pt x="58064" y="23636"/>
                        </a:cubicBezTo>
                        <a:cubicBezTo>
                          <a:pt x="59354" y="24242"/>
                          <a:pt x="58709" y="23636"/>
                          <a:pt x="60645" y="24242"/>
                        </a:cubicBezTo>
                        <a:cubicBezTo>
                          <a:pt x="63225" y="24848"/>
                          <a:pt x="62580" y="24242"/>
                          <a:pt x="63225" y="24848"/>
                        </a:cubicBezTo>
                        <a:cubicBezTo>
                          <a:pt x="63870" y="24848"/>
                          <a:pt x="63225" y="24242"/>
                          <a:pt x="64516" y="24848"/>
                        </a:cubicBezTo>
                        <a:cubicBezTo>
                          <a:pt x="66451" y="24848"/>
                          <a:pt x="67741" y="25454"/>
                          <a:pt x="67741" y="25454"/>
                        </a:cubicBezTo>
                        <a:cubicBezTo>
                          <a:pt x="67741" y="26666"/>
                          <a:pt x="67741" y="26666"/>
                          <a:pt x="67741" y="26666"/>
                        </a:cubicBezTo>
                        <a:cubicBezTo>
                          <a:pt x="66451" y="29090"/>
                          <a:pt x="66451" y="29090"/>
                          <a:pt x="66451" y="29090"/>
                        </a:cubicBezTo>
                        <a:cubicBezTo>
                          <a:pt x="66451" y="30909"/>
                          <a:pt x="66451" y="30909"/>
                          <a:pt x="66451" y="30909"/>
                        </a:cubicBezTo>
                        <a:cubicBezTo>
                          <a:pt x="66451" y="30909"/>
                          <a:pt x="65161" y="30909"/>
                          <a:pt x="66451" y="31515"/>
                        </a:cubicBezTo>
                        <a:cubicBezTo>
                          <a:pt x="67741" y="32121"/>
                          <a:pt x="70322" y="32727"/>
                          <a:pt x="70322" y="32727"/>
                        </a:cubicBezTo>
                        <a:cubicBezTo>
                          <a:pt x="72258" y="33939"/>
                          <a:pt x="72258" y="33939"/>
                          <a:pt x="72258" y="33939"/>
                        </a:cubicBezTo>
                        <a:cubicBezTo>
                          <a:pt x="72258" y="33939"/>
                          <a:pt x="70967" y="35757"/>
                          <a:pt x="70322" y="36363"/>
                        </a:cubicBezTo>
                        <a:cubicBezTo>
                          <a:pt x="69677" y="36363"/>
                          <a:pt x="67741" y="36363"/>
                          <a:pt x="67741" y="36363"/>
                        </a:cubicBezTo>
                        <a:cubicBezTo>
                          <a:pt x="67741" y="36363"/>
                          <a:pt x="67096" y="38181"/>
                          <a:pt x="68387" y="38181"/>
                        </a:cubicBezTo>
                        <a:cubicBezTo>
                          <a:pt x="69032" y="38787"/>
                          <a:pt x="70322" y="38787"/>
                          <a:pt x="70967" y="38787"/>
                        </a:cubicBezTo>
                        <a:cubicBezTo>
                          <a:pt x="71612" y="38787"/>
                          <a:pt x="72903" y="39393"/>
                          <a:pt x="72903" y="39393"/>
                        </a:cubicBezTo>
                        <a:cubicBezTo>
                          <a:pt x="72903" y="39393"/>
                          <a:pt x="73548" y="39393"/>
                          <a:pt x="74193" y="40000"/>
                        </a:cubicBezTo>
                        <a:cubicBezTo>
                          <a:pt x="74193" y="41212"/>
                          <a:pt x="74838" y="41818"/>
                          <a:pt x="75483" y="41818"/>
                        </a:cubicBezTo>
                        <a:cubicBezTo>
                          <a:pt x="76129" y="41818"/>
                          <a:pt x="77419" y="41818"/>
                          <a:pt x="78064" y="41818"/>
                        </a:cubicBezTo>
                        <a:cubicBezTo>
                          <a:pt x="78709" y="41818"/>
                          <a:pt x="78709" y="41212"/>
                          <a:pt x="79354" y="41212"/>
                        </a:cubicBezTo>
                        <a:cubicBezTo>
                          <a:pt x="80000" y="41818"/>
                          <a:pt x="83870" y="41212"/>
                          <a:pt x="83870" y="41212"/>
                        </a:cubicBezTo>
                        <a:cubicBezTo>
                          <a:pt x="83870" y="41212"/>
                          <a:pt x="83870" y="41212"/>
                          <a:pt x="84516" y="42424"/>
                        </a:cubicBezTo>
                        <a:cubicBezTo>
                          <a:pt x="85806" y="44242"/>
                          <a:pt x="87741" y="44848"/>
                          <a:pt x="87741" y="44848"/>
                        </a:cubicBezTo>
                        <a:cubicBezTo>
                          <a:pt x="87741" y="44848"/>
                          <a:pt x="88387" y="45454"/>
                          <a:pt x="88387" y="44848"/>
                        </a:cubicBezTo>
                        <a:cubicBezTo>
                          <a:pt x="88387" y="44242"/>
                          <a:pt x="89032" y="43636"/>
                          <a:pt x="89032" y="43636"/>
                        </a:cubicBezTo>
                        <a:cubicBezTo>
                          <a:pt x="89032" y="43636"/>
                          <a:pt x="90322" y="41818"/>
                          <a:pt x="90322" y="41212"/>
                        </a:cubicBezTo>
                        <a:cubicBezTo>
                          <a:pt x="90967" y="40606"/>
                          <a:pt x="91612" y="38787"/>
                          <a:pt x="92258" y="38787"/>
                        </a:cubicBezTo>
                        <a:cubicBezTo>
                          <a:pt x="92903" y="38181"/>
                          <a:pt x="94838" y="36969"/>
                          <a:pt x="94838" y="36969"/>
                        </a:cubicBezTo>
                        <a:cubicBezTo>
                          <a:pt x="94838" y="36969"/>
                          <a:pt x="94838" y="36363"/>
                          <a:pt x="96129" y="36969"/>
                        </a:cubicBezTo>
                        <a:cubicBezTo>
                          <a:pt x="96774" y="38181"/>
                          <a:pt x="98709" y="39393"/>
                          <a:pt x="98709" y="39393"/>
                        </a:cubicBezTo>
                        <a:cubicBezTo>
                          <a:pt x="101935" y="39393"/>
                          <a:pt x="101935" y="39393"/>
                          <a:pt x="101935" y="39393"/>
                        </a:cubicBezTo>
                        <a:cubicBezTo>
                          <a:pt x="101935" y="39393"/>
                          <a:pt x="103870" y="40000"/>
                          <a:pt x="103870" y="40606"/>
                        </a:cubicBezTo>
                        <a:cubicBezTo>
                          <a:pt x="103870" y="41212"/>
                          <a:pt x="103225" y="41212"/>
                          <a:pt x="101935" y="41818"/>
                        </a:cubicBezTo>
                        <a:cubicBezTo>
                          <a:pt x="101290" y="41818"/>
                          <a:pt x="99354" y="40000"/>
                          <a:pt x="99354" y="40606"/>
                        </a:cubicBezTo>
                        <a:cubicBezTo>
                          <a:pt x="98709" y="41212"/>
                          <a:pt x="98709" y="42424"/>
                          <a:pt x="98709" y="42424"/>
                        </a:cubicBezTo>
                        <a:cubicBezTo>
                          <a:pt x="96129" y="43636"/>
                          <a:pt x="96129" y="43636"/>
                          <a:pt x="96129" y="43636"/>
                        </a:cubicBezTo>
                        <a:cubicBezTo>
                          <a:pt x="96774" y="44848"/>
                          <a:pt x="96774" y="44848"/>
                          <a:pt x="96774" y="44848"/>
                        </a:cubicBezTo>
                        <a:cubicBezTo>
                          <a:pt x="96774" y="44848"/>
                          <a:pt x="100000" y="46060"/>
                          <a:pt x="100000" y="46666"/>
                        </a:cubicBezTo>
                        <a:cubicBezTo>
                          <a:pt x="100000" y="47272"/>
                          <a:pt x="100000" y="48484"/>
                          <a:pt x="100000" y="48484"/>
                        </a:cubicBezTo>
                        <a:cubicBezTo>
                          <a:pt x="101935" y="49090"/>
                          <a:pt x="101935" y="49090"/>
                          <a:pt x="101935" y="49090"/>
                        </a:cubicBezTo>
                        <a:cubicBezTo>
                          <a:pt x="103225" y="48484"/>
                          <a:pt x="103225" y="48484"/>
                          <a:pt x="103225" y="48484"/>
                        </a:cubicBezTo>
                        <a:cubicBezTo>
                          <a:pt x="103225" y="50909"/>
                          <a:pt x="103225" y="50909"/>
                          <a:pt x="103225" y="50909"/>
                        </a:cubicBezTo>
                        <a:cubicBezTo>
                          <a:pt x="103225" y="53333"/>
                          <a:pt x="103225" y="53333"/>
                          <a:pt x="103225" y="53333"/>
                        </a:cubicBezTo>
                        <a:cubicBezTo>
                          <a:pt x="103225" y="55151"/>
                          <a:pt x="103225" y="55151"/>
                          <a:pt x="103225" y="55151"/>
                        </a:cubicBezTo>
                        <a:cubicBezTo>
                          <a:pt x="103225" y="55151"/>
                          <a:pt x="103870" y="56969"/>
                          <a:pt x="103225" y="56969"/>
                        </a:cubicBezTo>
                        <a:cubicBezTo>
                          <a:pt x="102580" y="56969"/>
                          <a:pt x="100645" y="58181"/>
                          <a:pt x="100645" y="58181"/>
                        </a:cubicBezTo>
                        <a:cubicBezTo>
                          <a:pt x="99354" y="59999"/>
                          <a:pt x="99354" y="59999"/>
                          <a:pt x="99354" y="59999"/>
                        </a:cubicBezTo>
                        <a:cubicBezTo>
                          <a:pt x="99354" y="59999"/>
                          <a:pt x="99354" y="62424"/>
                          <a:pt x="99354" y="63030"/>
                        </a:cubicBezTo>
                        <a:cubicBezTo>
                          <a:pt x="100000" y="64242"/>
                          <a:pt x="99354" y="66060"/>
                          <a:pt x="99354" y="66060"/>
                        </a:cubicBezTo>
                        <a:cubicBezTo>
                          <a:pt x="99354" y="66060"/>
                          <a:pt x="99354" y="67272"/>
                          <a:pt x="100000" y="67878"/>
                        </a:cubicBezTo>
                        <a:cubicBezTo>
                          <a:pt x="100645" y="68484"/>
                          <a:pt x="101290" y="69696"/>
                          <a:pt x="101290" y="69696"/>
                        </a:cubicBezTo>
                        <a:cubicBezTo>
                          <a:pt x="101290" y="69696"/>
                          <a:pt x="101935" y="70303"/>
                          <a:pt x="102580" y="71515"/>
                        </a:cubicBezTo>
                        <a:cubicBezTo>
                          <a:pt x="103225" y="72727"/>
                          <a:pt x="105806" y="75757"/>
                          <a:pt x="105806" y="75757"/>
                        </a:cubicBezTo>
                        <a:cubicBezTo>
                          <a:pt x="105806" y="75757"/>
                          <a:pt x="107741" y="76363"/>
                          <a:pt x="108387" y="76363"/>
                        </a:cubicBezTo>
                        <a:cubicBezTo>
                          <a:pt x="108387" y="76363"/>
                          <a:pt x="110967" y="77575"/>
                          <a:pt x="110967" y="77575"/>
                        </a:cubicBezTo>
                        <a:cubicBezTo>
                          <a:pt x="110967" y="77575"/>
                          <a:pt x="112258" y="77575"/>
                          <a:pt x="112258" y="78181"/>
                        </a:cubicBezTo>
                        <a:cubicBezTo>
                          <a:pt x="112258" y="78181"/>
                          <a:pt x="114838" y="81818"/>
                          <a:pt x="114838" y="81818"/>
                        </a:cubicBezTo>
                        <a:cubicBezTo>
                          <a:pt x="117419" y="82424"/>
                          <a:pt x="117419" y="82424"/>
                          <a:pt x="117419" y="82424"/>
                        </a:cubicBezTo>
                        <a:cubicBezTo>
                          <a:pt x="120000" y="82424"/>
                          <a:pt x="120000" y="82424"/>
                          <a:pt x="120000" y="82424"/>
                        </a:cubicBezTo>
                        <a:cubicBezTo>
                          <a:pt x="120000" y="82424"/>
                          <a:pt x="119354" y="85454"/>
                          <a:pt x="118709" y="86060"/>
                        </a:cubicBezTo>
                        <a:cubicBezTo>
                          <a:pt x="118064" y="86666"/>
                          <a:pt x="116129" y="89090"/>
                          <a:pt x="116129" y="89090"/>
                        </a:cubicBezTo>
                        <a:cubicBezTo>
                          <a:pt x="116129" y="89090"/>
                          <a:pt x="114838" y="90303"/>
                          <a:pt x="114838" y="91515"/>
                        </a:cubicBezTo>
                        <a:cubicBezTo>
                          <a:pt x="115483" y="92121"/>
                          <a:pt x="115483" y="93939"/>
                          <a:pt x="115483" y="93939"/>
                        </a:cubicBezTo>
                        <a:cubicBezTo>
                          <a:pt x="115483" y="93939"/>
                          <a:pt x="114193" y="95151"/>
                          <a:pt x="113548" y="95151"/>
                        </a:cubicBezTo>
                        <a:cubicBezTo>
                          <a:pt x="112903" y="95151"/>
                          <a:pt x="111612" y="95151"/>
                          <a:pt x="110967" y="95757"/>
                        </a:cubicBezTo>
                        <a:cubicBezTo>
                          <a:pt x="110322" y="95757"/>
                          <a:pt x="109677" y="96363"/>
                          <a:pt x="109677" y="96363"/>
                        </a:cubicBezTo>
                        <a:cubicBezTo>
                          <a:pt x="109032" y="96969"/>
                          <a:pt x="107741" y="98181"/>
                          <a:pt x="107741" y="98181"/>
                        </a:cubicBezTo>
                        <a:cubicBezTo>
                          <a:pt x="109032" y="99999"/>
                          <a:pt x="109032" y="99999"/>
                          <a:pt x="109032" y="99999"/>
                        </a:cubicBezTo>
                        <a:cubicBezTo>
                          <a:pt x="109677" y="103030"/>
                          <a:pt x="109677" y="103030"/>
                          <a:pt x="109677" y="103030"/>
                        </a:cubicBezTo>
                        <a:cubicBezTo>
                          <a:pt x="109677" y="106060"/>
                          <a:pt x="109677" y="106060"/>
                          <a:pt x="109677" y="106060"/>
                        </a:cubicBezTo>
                        <a:cubicBezTo>
                          <a:pt x="109677" y="106060"/>
                          <a:pt x="111612" y="106666"/>
                          <a:pt x="111612" y="107272"/>
                        </a:cubicBezTo>
                        <a:cubicBezTo>
                          <a:pt x="112258" y="107272"/>
                          <a:pt x="112903" y="109090"/>
                          <a:pt x="112903" y="109090"/>
                        </a:cubicBezTo>
                        <a:cubicBezTo>
                          <a:pt x="112258" y="110303"/>
                          <a:pt x="112258" y="110303"/>
                          <a:pt x="112258" y="110303"/>
                        </a:cubicBezTo>
                        <a:cubicBezTo>
                          <a:pt x="111612" y="112121"/>
                          <a:pt x="111612" y="112121"/>
                          <a:pt x="111612" y="112121"/>
                        </a:cubicBezTo>
                        <a:cubicBezTo>
                          <a:pt x="111612" y="112121"/>
                          <a:pt x="110967" y="113333"/>
                          <a:pt x="110322" y="113939"/>
                        </a:cubicBezTo>
                        <a:cubicBezTo>
                          <a:pt x="109032" y="113939"/>
                          <a:pt x="107096" y="113939"/>
                          <a:pt x="107096" y="113939"/>
                        </a:cubicBezTo>
                        <a:cubicBezTo>
                          <a:pt x="107096" y="113939"/>
                          <a:pt x="107096" y="113333"/>
                          <a:pt x="105806" y="113939"/>
                        </a:cubicBezTo>
                        <a:cubicBezTo>
                          <a:pt x="104516" y="113939"/>
                          <a:pt x="103225" y="115151"/>
                          <a:pt x="103225" y="115151"/>
                        </a:cubicBezTo>
                        <a:cubicBezTo>
                          <a:pt x="103225" y="115151"/>
                          <a:pt x="103225" y="115151"/>
                          <a:pt x="102580" y="115757"/>
                        </a:cubicBezTo>
                        <a:cubicBezTo>
                          <a:pt x="101290" y="115757"/>
                          <a:pt x="100645" y="115757"/>
                          <a:pt x="100000" y="115757"/>
                        </a:cubicBezTo>
                        <a:cubicBezTo>
                          <a:pt x="99354" y="115757"/>
                          <a:pt x="98064" y="115151"/>
                          <a:pt x="98064" y="115151"/>
                        </a:cubicBezTo>
                        <a:cubicBezTo>
                          <a:pt x="96774" y="116969"/>
                          <a:pt x="96774" y="116969"/>
                          <a:pt x="96774" y="116969"/>
                        </a:cubicBezTo>
                        <a:cubicBezTo>
                          <a:pt x="96774" y="116969"/>
                          <a:pt x="95483" y="117575"/>
                          <a:pt x="94838" y="117575"/>
                        </a:cubicBezTo>
                        <a:cubicBezTo>
                          <a:pt x="94838" y="117575"/>
                          <a:pt x="92903" y="119999"/>
                          <a:pt x="92903" y="119999"/>
                        </a:cubicBezTo>
                        <a:cubicBezTo>
                          <a:pt x="92903" y="119999"/>
                          <a:pt x="92903" y="119999"/>
                          <a:pt x="92258" y="119999"/>
                        </a:cubicBezTo>
                        <a:cubicBezTo>
                          <a:pt x="90967" y="119999"/>
                          <a:pt x="89677" y="119393"/>
                          <a:pt x="89677" y="119393"/>
                        </a:cubicBezTo>
                        <a:cubicBezTo>
                          <a:pt x="87741" y="117575"/>
                          <a:pt x="87741" y="117575"/>
                          <a:pt x="87741" y="117575"/>
                        </a:cubicBezTo>
                        <a:cubicBezTo>
                          <a:pt x="87741" y="117575"/>
                          <a:pt x="88387" y="117575"/>
                          <a:pt x="89677" y="116363"/>
                        </a:cubicBezTo>
                        <a:cubicBezTo>
                          <a:pt x="90322" y="115757"/>
                          <a:pt x="90322" y="115757"/>
                          <a:pt x="90322" y="115151"/>
                        </a:cubicBezTo>
                        <a:cubicBezTo>
                          <a:pt x="89677" y="113939"/>
                          <a:pt x="89032" y="112727"/>
                          <a:pt x="89677" y="112727"/>
                        </a:cubicBezTo>
                        <a:cubicBezTo>
                          <a:pt x="90322" y="112121"/>
                          <a:pt x="90967" y="112727"/>
                          <a:pt x="91612" y="111515"/>
                        </a:cubicBezTo>
                        <a:cubicBezTo>
                          <a:pt x="91612" y="110909"/>
                          <a:pt x="91612" y="110303"/>
                          <a:pt x="91612" y="109090"/>
                        </a:cubicBezTo>
                        <a:cubicBezTo>
                          <a:pt x="91612" y="108484"/>
                          <a:pt x="91612" y="107272"/>
                          <a:pt x="92258" y="107272"/>
                        </a:cubicBezTo>
                        <a:cubicBezTo>
                          <a:pt x="92903" y="106666"/>
                          <a:pt x="92903" y="106060"/>
                          <a:pt x="92903" y="106060"/>
                        </a:cubicBezTo>
                        <a:cubicBezTo>
                          <a:pt x="89677" y="105454"/>
                          <a:pt x="89677" y="105454"/>
                          <a:pt x="89677" y="105454"/>
                        </a:cubicBezTo>
                        <a:cubicBezTo>
                          <a:pt x="87741" y="106060"/>
                          <a:pt x="87741" y="106060"/>
                          <a:pt x="87741" y="106060"/>
                        </a:cubicBezTo>
                        <a:cubicBezTo>
                          <a:pt x="87741" y="106060"/>
                          <a:pt x="87741" y="104848"/>
                          <a:pt x="86451" y="104848"/>
                        </a:cubicBezTo>
                        <a:cubicBezTo>
                          <a:pt x="85161" y="104242"/>
                          <a:pt x="82580" y="104242"/>
                          <a:pt x="82580" y="104242"/>
                        </a:cubicBezTo>
                        <a:cubicBezTo>
                          <a:pt x="81935" y="101818"/>
                          <a:pt x="81935" y="101818"/>
                          <a:pt x="81935" y="101818"/>
                        </a:cubicBezTo>
                        <a:cubicBezTo>
                          <a:pt x="76774" y="100606"/>
                          <a:pt x="76774" y="100606"/>
                          <a:pt x="76774" y="100606"/>
                        </a:cubicBezTo>
                        <a:cubicBezTo>
                          <a:pt x="76774" y="100606"/>
                          <a:pt x="76129" y="98181"/>
                          <a:pt x="75483" y="97575"/>
                        </a:cubicBezTo>
                        <a:cubicBezTo>
                          <a:pt x="74838" y="96969"/>
                          <a:pt x="74838" y="96969"/>
                          <a:pt x="74838" y="96969"/>
                        </a:cubicBezTo>
                        <a:cubicBezTo>
                          <a:pt x="71612" y="94545"/>
                          <a:pt x="71612" y="94545"/>
                          <a:pt x="71612" y="94545"/>
                        </a:cubicBezTo>
                        <a:cubicBezTo>
                          <a:pt x="69677" y="94545"/>
                          <a:pt x="69677" y="94545"/>
                          <a:pt x="69677" y="94545"/>
                        </a:cubicBezTo>
                        <a:cubicBezTo>
                          <a:pt x="69677" y="94545"/>
                          <a:pt x="69032" y="94545"/>
                          <a:pt x="67741" y="93939"/>
                        </a:cubicBezTo>
                        <a:cubicBezTo>
                          <a:pt x="65806" y="93333"/>
                          <a:pt x="65161" y="91515"/>
                          <a:pt x="65161" y="91515"/>
                        </a:cubicBezTo>
                        <a:cubicBezTo>
                          <a:pt x="65161" y="91515"/>
                          <a:pt x="65161" y="90303"/>
                          <a:pt x="63870" y="90909"/>
                        </a:cubicBezTo>
                        <a:cubicBezTo>
                          <a:pt x="62580" y="92121"/>
                          <a:pt x="61290" y="92121"/>
                          <a:pt x="60645" y="92727"/>
                        </a:cubicBezTo>
                        <a:cubicBezTo>
                          <a:pt x="60645" y="92727"/>
                          <a:pt x="60000" y="92727"/>
                          <a:pt x="59354" y="93333"/>
                        </a:cubicBezTo>
                        <a:cubicBezTo>
                          <a:pt x="59354" y="93939"/>
                          <a:pt x="58709" y="93939"/>
                          <a:pt x="60000" y="95151"/>
                        </a:cubicBezTo>
                        <a:cubicBezTo>
                          <a:pt x="60645" y="95757"/>
                          <a:pt x="61290" y="96363"/>
                          <a:pt x="61290" y="96363"/>
                        </a:cubicBezTo>
                        <a:cubicBezTo>
                          <a:pt x="60645" y="99393"/>
                          <a:pt x="60645" y="99393"/>
                          <a:pt x="60645" y="99393"/>
                        </a:cubicBezTo>
                        <a:cubicBezTo>
                          <a:pt x="56774" y="103030"/>
                          <a:pt x="56774" y="103030"/>
                          <a:pt x="56774" y="103030"/>
                        </a:cubicBezTo>
                        <a:cubicBezTo>
                          <a:pt x="57419" y="104848"/>
                          <a:pt x="57419" y="104848"/>
                          <a:pt x="57419" y="104848"/>
                        </a:cubicBezTo>
                        <a:cubicBezTo>
                          <a:pt x="57419" y="104848"/>
                          <a:pt x="58709" y="104848"/>
                          <a:pt x="56774" y="105454"/>
                        </a:cubicBezTo>
                        <a:cubicBezTo>
                          <a:pt x="55483" y="106060"/>
                          <a:pt x="55483" y="106666"/>
                          <a:pt x="54838" y="106666"/>
                        </a:cubicBezTo>
                        <a:cubicBezTo>
                          <a:pt x="54838" y="106060"/>
                          <a:pt x="54193" y="105454"/>
                          <a:pt x="52903" y="104848"/>
                        </a:cubicBezTo>
                        <a:cubicBezTo>
                          <a:pt x="52258" y="104242"/>
                          <a:pt x="52258" y="104242"/>
                          <a:pt x="52258" y="104242"/>
                        </a:cubicBezTo>
                        <a:cubicBezTo>
                          <a:pt x="52258" y="104242"/>
                          <a:pt x="52258" y="104242"/>
                          <a:pt x="51612" y="103636"/>
                        </a:cubicBezTo>
                        <a:cubicBezTo>
                          <a:pt x="51612" y="103636"/>
                          <a:pt x="51612" y="103636"/>
                          <a:pt x="51612" y="103636"/>
                        </a:cubicBezTo>
                        <a:cubicBezTo>
                          <a:pt x="51612" y="103636"/>
                          <a:pt x="51612" y="103030"/>
                          <a:pt x="50322" y="103030"/>
                        </a:cubicBezTo>
                        <a:cubicBezTo>
                          <a:pt x="49677" y="103030"/>
                          <a:pt x="48387" y="101818"/>
                          <a:pt x="48387" y="101818"/>
                        </a:cubicBezTo>
                        <a:cubicBezTo>
                          <a:pt x="46451" y="101818"/>
                          <a:pt x="46451" y="101818"/>
                          <a:pt x="46451" y="101818"/>
                        </a:cubicBezTo>
                        <a:cubicBezTo>
                          <a:pt x="46451" y="101818"/>
                          <a:pt x="44516" y="99999"/>
                          <a:pt x="44516" y="99999"/>
                        </a:cubicBezTo>
                        <a:cubicBezTo>
                          <a:pt x="43870" y="99999"/>
                          <a:pt x="41935" y="99393"/>
                          <a:pt x="41935" y="99393"/>
                        </a:cubicBezTo>
                        <a:cubicBezTo>
                          <a:pt x="41935" y="98181"/>
                          <a:pt x="41935" y="98181"/>
                          <a:pt x="41935" y="98181"/>
                        </a:cubicBezTo>
                        <a:cubicBezTo>
                          <a:pt x="41935" y="98181"/>
                          <a:pt x="41290" y="98181"/>
                          <a:pt x="41290" y="98181"/>
                        </a:cubicBezTo>
                        <a:cubicBezTo>
                          <a:pt x="40645" y="98181"/>
                          <a:pt x="40000" y="98787"/>
                          <a:pt x="40000" y="98787"/>
                        </a:cubicBezTo>
                        <a:cubicBezTo>
                          <a:pt x="38064" y="99393"/>
                          <a:pt x="38064" y="99393"/>
                          <a:pt x="38064" y="99393"/>
                        </a:cubicBezTo>
                        <a:cubicBezTo>
                          <a:pt x="38064" y="99393"/>
                          <a:pt x="36774" y="99393"/>
                          <a:pt x="36774" y="99393"/>
                        </a:cubicBezTo>
                        <a:cubicBezTo>
                          <a:pt x="36129" y="98787"/>
                          <a:pt x="35483" y="97575"/>
                          <a:pt x="35483" y="97575"/>
                        </a:cubicBezTo>
                        <a:cubicBezTo>
                          <a:pt x="35483" y="97575"/>
                          <a:pt x="35483" y="97575"/>
                          <a:pt x="34838" y="97575"/>
                        </a:cubicBezTo>
                        <a:cubicBezTo>
                          <a:pt x="34193" y="98181"/>
                          <a:pt x="35483" y="98787"/>
                          <a:pt x="34193" y="98181"/>
                        </a:cubicBezTo>
                        <a:cubicBezTo>
                          <a:pt x="32258" y="97575"/>
                          <a:pt x="32258" y="97575"/>
                          <a:pt x="32258" y="97575"/>
                        </a:cubicBezTo>
                        <a:cubicBezTo>
                          <a:pt x="30967" y="96363"/>
                          <a:pt x="30967" y="96363"/>
                          <a:pt x="30967" y="96363"/>
                        </a:cubicBezTo>
                        <a:cubicBezTo>
                          <a:pt x="30322" y="96363"/>
                          <a:pt x="30322" y="96363"/>
                          <a:pt x="30322" y="96363"/>
                        </a:cubicBezTo>
                        <a:cubicBezTo>
                          <a:pt x="29677" y="96363"/>
                          <a:pt x="29677" y="96363"/>
                          <a:pt x="29677" y="96363"/>
                        </a:cubicBezTo>
                        <a:cubicBezTo>
                          <a:pt x="29677" y="96363"/>
                          <a:pt x="29032" y="95151"/>
                          <a:pt x="29032" y="95151"/>
                        </a:cubicBezTo>
                        <a:cubicBezTo>
                          <a:pt x="29032" y="95151"/>
                          <a:pt x="29032" y="93939"/>
                          <a:pt x="29032" y="93939"/>
                        </a:cubicBezTo>
                        <a:cubicBezTo>
                          <a:pt x="28387" y="93939"/>
                          <a:pt x="26451" y="93333"/>
                          <a:pt x="26451" y="93333"/>
                        </a:cubicBezTo>
                        <a:cubicBezTo>
                          <a:pt x="25806" y="92121"/>
                          <a:pt x="25806" y="92121"/>
                          <a:pt x="25806" y="92121"/>
                        </a:cubicBezTo>
                        <a:cubicBezTo>
                          <a:pt x="25806" y="92121"/>
                          <a:pt x="25806" y="92121"/>
                          <a:pt x="25806" y="92121"/>
                        </a:cubicBezTo>
                        <a:cubicBezTo>
                          <a:pt x="25161" y="92121"/>
                          <a:pt x="23870" y="91515"/>
                          <a:pt x="23870" y="91515"/>
                        </a:cubicBezTo>
                        <a:cubicBezTo>
                          <a:pt x="23225" y="90909"/>
                          <a:pt x="23225" y="90909"/>
                          <a:pt x="23225" y="90909"/>
                        </a:cubicBezTo>
                        <a:cubicBezTo>
                          <a:pt x="21290" y="90909"/>
                          <a:pt x="21290" y="90909"/>
                          <a:pt x="21290" y="90909"/>
                        </a:cubicBezTo>
                        <a:cubicBezTo>
                          <a:pt x="20645" y="89696"/>
                          <a:pt x="20645" y="89696"/>
                          <a:pt x="20645" y="89696"/>
                        </a:cubicBezTo>
                        <a:cubicBezTo>
                          <a:pt x="20645" y="89696"/>
                          <a:pt x="20000" y="89090"/>
                          <a:pt x="20000" y="89090"/>
                        </a:cubicBezTo>
                        <a:cubicBezTo>
                          <a:pt x="20645" y="89090"/>
                          <a:pt x="20645" y="87878"/>
                          <a:pt x="20645" y="87878"/>
                        </a:cubicBezTo>
                        <a:cubicBezTo>
                          <a:pt x="20000" y="87878"/>
                          <a:pt x="20000" y="87878"/>
                          <a:pt x="20000" y="87878"/>
                        </a:cubicBezTo>
                        <a:cubicBezTo>
                          <a:pt x="20645" y="87272"/>
                          <a:pt x="21935" y="87272"/>
                          <a:pt x="21935" y="87272"/>
                        </a:cubicBezTo>
                        <a:cubicBezTo>
                          <a:pt x="23225" y="85454"/>
                          <a:pt x="23225" y="85454"/>
                          <a:pt x="23225" y="85454"/>
                        </a:cubicBezTo>
                        <a:cubicBezTo>
                          <a:pt x="23225" y="85454"/>
                          <a:pt x="23225" y="85454"/>
                          <a:pt x="23870" y="85454"/>
                        </a:cubicBezTo>
                        <a:cubicBezTo>
                          <a:pt x="25161" y="86060"/>
                          <a:pt x="25806" y="86060"/>
                          <a:pt x="26451" y="86060"/>
                        </a:cubicBezTo>
                        <a:cubicBezTo>
                          <a:pt x="27096" y="86060"/>
                          <a:pt x="27741" y="87272"/>
                          <a:pt x="27741" y="84848"/>
                        </a:cubicBezTo>
                        <a:cubicBezTo>
                          <a:pt x="27741" y="83030"/>
                          <a:pt x="27741" y="82424"/>
                          <a:pt x="27741" y="82424"/>
                        </a:cubicBezTo>
                        <a:cubicBezTo>
                          <a:pt x="24516" y="80000"/>
                          <a:pt x="24516" y="80000"/>
                          <a:pt x="24516" y="80000"/>
                        </a:cubicBezTo>
                        <a:cubicBezTo>
                          <a:pt x="24516" y="80000"/>
                          <a:pt x="24516" y="79393"/>
                          <a:pt x="23870" y="78181"/>
                        </a:cubicBezTo>
                        <a:cubicBezTo>
                          <a:pt x="23225" y="77575"/>
                          <a:pt x="22580" y="76969"/>
                          <a:pt x="22580" y="76969"/>
                        </a:cubicBezTo>
                        <a:cubicBezTo>
                          <a:pt x="21935" y="76969"/>
                          <a:pt x="20645" y="75757"/>
                          <a:pt x="20645" y="75757"/>
                        </a:cubicBezTo>
                        <a:cubicBezTo>
                          <a:pt x="20000" y="75151"/>
                          <a:pt x="19354" y="74545"/>
                          <a:pt x="19354" y="74545"/>
                        </a:cubicBezTo>
                        <a:cubicBezTo>
                          <a:pt x="19354" y="74545"/>
                          <a:pt x="19354" y="73333"/>
                          <a:pt x="19354" y="72727"/>
                        </a:cubicBezTo>
                        <a:cubicBezTo>
                          <a:pt x="20000" y="72727"/>
                          <a:pt x="20000" y="72727"/>
                          <a:pt x="20645" y="72727"/>
                        </a:cubicBezTo>
                        <a:cubicBezTo>
                          <a:pt x="21290" y="73333"/>
                          <a:pt x="21935" y="73333"/>
                          <a:pt x="22580" y="73333"/>
                        </a:cubicBezTo>
                        <a:cubicBezTo>
                          <a:pt x="23225" y="73333"/>
                          <a:pt x="23870" y="73333"/>
                          <a:pt x="24516" y="73333"/>
                        </a:cubicBezTo>
                        <a:cubicBezTo>
                          <a:pt x="24516" y="73333"/>
                          <a:pt x="26451" y="72727"/>
                          <a:pt x="26451" y="72727"/>
                        </a:cubicBezTo>
                        <a:cubicBezTo>
                          <a:pt x="27096" y="72727"/>
                          <a:pt x="27096" y="71515"/>
                          <a:pt x="27741" y="71515"/>
                        </a:cubicBezTo>
                        <a:cubicBezTo>
                          <a:pt x="27741" y="71515"/>
                          <a:pt x="28387" y="70909"/>
                          <a:pt x="27741" y="70303"/>
                        </a:cubicBezTo>
                        <a:cubicBezTo>
                          <a:pt x="27741" y="70303"/>
                          <a:pt x="26451" y="69696"/>
                          <a:pt x="26451" y="69696"/>
                        </a:cubicBezTo>
                        <a:cubicBezTo>
                          <a:pt x="25806" y="69696"/>
                          <a:pt x="25161" y="69090"/>
                          <a:pt x="25161" y="68484"/>
                        </a:cubicBezTo>
                        <a:cubicBezTo>
                          <a:pt x="24516" y="68484"/>
                          <a:pt x="23870" y="67878"/>
                          <a:pt x="23870" y="67272"/>
                        </a:cubicBezTo>
                        <a:cubicBezTo>
                          <a:pt x="23225" y="67272"/>
                          <a:pt x="23225" y="67878"/>
                          <a:pt x="22580" y="67878"/>
                        </a:cubicBezTo>
                        <a:cubicBezTo>
                          <a:pt x="21935" y="67272"/>
                          <a:pt x="21290" y="66666"/>
                          <a:pt x="20645" y="66060"/>
                        </a:cubicBezTo>
                        <a:cubicBezTo>
                          <a:pt x="20645" y="65454"/>
                          <a:pt x="20645" y="65454"/>
                          <a:pt x="20000" y="64848"/>
                        </a:cubicBezTo>
                        <a:cubicBezTo>
                          <a:pt x="19354" y="64848"/>
                          <a:pt x="18709" y="64242"/>
                          <a:pt x="18064" y="64242"/>
                        </a:cubicBezTo>
                        <a:cubicBezTo>
                          <a:pt x="17419" y="64242"/>
                          <a:pt x="17419" y="64848"/>
                          <a:pt x="16129" y="64242"/>
                        </a:cubicBezTo>
                        <a:cubicBezTo>
                          <a:pt x="14838" y="64242"/>
                          <a:pt x="13548" y="63636"/>
                          <a:pt x="13548" y="63030"/>
                        </a:cubicBezTo>
                        <a:cubicBezTo>
                          <a:pt x="14193" y="62424"/>
                          <a:pt x="13548" y="62424"/>
                          <a:pt x="14193" y="61818"/>
                        </a:cubicBezTo>
                        <a:cubicBezTo>
                          <a:pt x="14193" y="61212"/>
                          <a:pt x="14193" y="59999"/>
                          <a:pt x="14193" y="59393"/>
                        </a:cubicBezTo>
                        <a:cubicBezTo>
                          <a:pt x="14193" y="58787"/>
                          <a:pt x="13548" y="59393"/>
                          <a:pt x="13548" y="57575"/>
                        </a:cubicBezTo>
                        <a:cubicBezTo>
                          <a:pt x="12903" y="55757"/>
                          <a:pt x="14193" y="56363"/>
                          <a:pt x="14193" y="56363"/>
                        </a:cubicBezTo>
                        <a:cubicBezTo>
                          <a:pt x="14193" y="56363"/>
                          <a:pt x="14838" y="55151"/>
                          <a:pt x="14838" y="54545"/>
                        </a:cubicBezTo>
                        <a:cubicBezTo>
                          <a:pt x="14838" y="54545"/>
                          <a:pt x="15483" y="52727"/>
                          <a:pt x="15483" y="52727"/>
                        </a:cubicBezTo>
                        <a:cubicBezTo>
                          <a:pt x="17419" y="50303"/>
                          <a:pt x="17419" y="50303"/>
                          <a:pt x="17419" y="50303"/>
                        </a:cubicBezTo>
                        <a:cubicBezTo>
                          <a:pt x="17419" y="48484"/>
                          <a:pt x="17419" y="48484"/>
                          <a:pt x="17419" y="48484"/>
                        </a:cubicBezTo>
                        <a:cubicBezTo>
                          <a:pt x="17419" y="46060"/>
                          <a:pt x="17419" y="46060"/>
                          <a:pt x="17419" y="46060"/>
                        </a:cubicBezTo>
                        <a:cubicBezTo>
                          <a:pt x="17419" y="44242"/>
                          <a:pt x="17419" y="44242"/>
                          <a:pt x="17419" y="44242"/>
                        </a:cubicBezTo>
                        <a:cubicBezTo>
                          <a:pt x="15483" y="43636"/>
                          <a:pt x="15483" y="43636"/>
                          <a:pt x="15483" y="43636"/>
                        </a:cubicBezTo>
                        <a:cubicBezTo>
                          <a:pt x="11612" y="43030"/>
                          <a:pt x="11612" y="43030"/>
                          <a:pt x="11612" y="43030"/>
                        </a:cubicBezTo>
                        <a:cubicBezTo>
                          <a:pt x="11612" y="43030"/>
                          <a:pt x="11612" y="44242"/>
                          <a:pt x="10967" y="44242"/>
                        </a:cubicBezTo>
                        <a:cubicBezTo>
                          <a:pt x="10967" y="44242"/>
                          <a:pt x="10322" y="44848"/>
                          <a:pt x="9677" y="44848"/>
                        </a:cubicBezTo>
                        <a:cubicBezTo>
                          <a:pt x="9032" y="44242"/>
                          <a:pt x="9032" y="44242"/>
                          <a:pt x="9032" y="44242"/>
                        </a:cubicBezTo>
                        <a:cubicBezTo>
                          <a:pt x="10322" y="43030"/>
                          <a:pt x="10322" y="43030"/>
                          <a:pt x="10322" y="43030"/>
                        </a:cubicBezTo>
                        <a:cubicBezTo>
                          <a:pt x="10322" y="40606"/>
                          <a:pt x="10322" y="40606"/>
                          <a:pt x="10322" y="40606"/>
                        </a:cubicBezTo>
                        <a:cubicBezTo>
                          <a:pt x="10322" y="40606"/>
                          <a:pt x="9677" y="39393"/>
                          <a:pt x="9032" y="38181"/>
                        </a:cubicBezTo>
                        <a:cubicBezTo>
                          <a:pt x="8387" y="37575"/>
                          <a:pt x="7741" y="36969"/>
                          <a:pt x="7741" y="36969"/>
                        </a:cubicBezTo>
                        <a:cubicBezTo>
                          <a:pt x="9677" y="35757"/>
                          <a:pt x="9677" y="35757"/>
                          <a:pt x="9677" y="35757"/>
                        </a:cubicBezTo>
                        <a:cubicBezTo>
                          <a:pt x="10322" y="35151"/>
                          <a:pt x="10322" y="35151"/>
                          <a:pt x="10322" y="35151"/>
                        </a:cubicBezTo>
                        <a:cubicBezTo>
                          <a:pt x="10322" y="34545"/>
                          <a:pt x="10322" y="34545"/>
                          <a:pt x="10322" y="34545"/>
                        </a:cubicBezTo>
                        <a:cubicBezTo>
                          <a:pt x="10322" y="34545"/>
                          <a:pt x="11612" y="35757"/>
                          <a:pt x="12903" y="35757"/>
                        </a:cubicBezTo>
                        <a:cubicBezTo>
                          <a:pt x="13548" y="35757"/>
                          <a:pt x="12903" y="35757"/>
                          <a:pt x="14193" y="35151"/>
                        </a:cubicBezTo>
                        <a:cubicBezTo>
                          <a:pt x="15483" y="35151"/>
                          <a:pt x="17419" y="33333"/>
                          <a:pt x="17419" y="33333"/>
                        </a:cubicBezTo>
                        <a:cubicBezTo>
                          <a:pt x="17419" y="33333"/>
                          <a:pt x="16129" y="32121"/>
                          <a:pt x="15483" y="32121"/>
                        </a:cubicBezTo>
                        <a:cubicBezTo>
                          <a:pt x="14838" y="32727"/>
                          <a:pt x="15483" y="32727"/>
                          <a:pt x="13548" y="32727"/>
                        </a:cubicBezTo>
                        <a:cubicBezTo>
                          <a:pt x="11612" y="32121"/>
                          <a:pt x="10967" y="31515"/>
                          <a:pt x="10967" y="31515"/>
                        </a:cubicBezTo>
                        <a:cubicBezTo>
                          <a:pt x="10967" y="31515"/>
                          <a:pt x="10322" y="31515"/>
                          <a:pt x="9677" y="31515"/>
                        </a:cubicBezTo>
                        <a:cubicBezTo>
                          <a:pt x="9032" y="31515"/>
                          <a:pt x="9032" y="31515"/>
                          <a:pt x="8387" y="30909"/>
                        </a:cubicBezTo>
                        <a:cubicBezTo>
                          <a:pt x="7096" y="29696"/>
                          <a:pt x="5806" y="28484"/>
                          <a:pt x="5806" y="28484"/>
                        </a:cubicBezTo>
                        <a:cubicBezTo>
                          <a:pt x="5806" y="28484"/>
                          <a:pt x="4516" y="29090"/>
                          <a:pt x="4516" y="28484"/>
                        </a:cubicBezTo>
                        <a:cubicBezTo>
                          <a:pt x="4516" y="27878"/>
                          <a:pt x="5161" y="27272"/>
                          <a:pt x="5161" y="27272"/>
                        </a:cubicBezTo>
                        <a:cubicBezTo>
                          <a:pt x="4516" y="26060"/>
                          <a:pt x="4516" y="26060"/>
                          <a:pt x="4516" y="26060"/>
                        </a:cubicBezTo>
                        <a:cubicBezTo>
                          <a:pt x="4516" y="26060"/>
                          <a:pt x="5806" y="26060"/>
                          <a:pt x="6451" y="25454"/>
                        </a:cubicBezTo>
                        <a:cubicBezTo>
                          <a:pt x="7096" y="25454"/>
                          <a:pt x="7096" y="23636"/>
                          <a:pt x="6451" y="23636"/>
                        </a:cubicBezTo>
                        <a:cubicBezTo>
                          <a:pt x="5806" y="23636"/>
                          <a:pt x="5161" y="23030"/>
                          <a:pt x="4516" y="23636"/>
                        </a:cubicBezTo>
                        <a:cubicBezTo>
                          <a:pt x="3870" y="23636"/>
                          <a:pt x="3225" y="24242"/>
                          <a:pt x="3225" y="24242"/>
                        </a:cubicBezTo>
                        <a:cubicBezTo>
                          <a:pt x="2580" y="24242"/>
                          <a:pt x="1290" y="23636"/>
                          <a:pt x="1290" y="23030"/>
                        </a:cubicBezTo>
                        <a:cubicBezTo>
                          <a:pt x="1290" y="22424"/>
                          <a:pt x="645" y="22424"/>
                          <a:pt x="1935" y="21818"/>
                        </a:cubicBezTo>
                        <a:cubicBezTo>
                          <a:pt x="2580" y="21818"/>
                          <a:pt x="3225" y="20606"/>
                          <a:pt x="3225" y="20606"/>
                        </a:cubicBezTo>
                        <a:cubicBezTo>
                          <a:pt x="1935" y="18787"/>
                          <a:pt x="1935" y="18787"/>
                          <a:pt x="1935" y="18787"/>
                        </a:cubicBezTo>
                        <a:cubicBezTo>
                          <a:pt x="2580" y="15151"/>
                          <a:pt x="2580" y="15151"/>
                          <a:pt x="2580" y="15151"/>
                        </a:cubicBezTo>
                        <a:cubicBezTo>
                          <a:pt x="0" y="14545"/>
                          <a:pt x="0" y="14545"/>
                          <a:pt x="0" y="14545"/>
                        </a:cubicBezTo>
                        <a:cubicBezTo>
                          <a:pt x="0" y="13333"/>
                          <a:pt x="0" y="13333"/>
                          <a:pt x="0" y="13333"/>
                        </a:cubicBezTo>
                        <a:cubicBezTo>
                          <a:pt x="2580" y="12121"/>
                          <a:pt x="2580" y="12121"/>
                          <a:pt x="2580" y="12121"/>
                        </a:cubicBezTo>
                        <a:cubicBezTo>
                          <a:pt x="5161" y="8484"/>
                          <a:pt x="5161" y="8484"/>
                          <a:pt x="5161" y="8484"/>
                        </a:cubicBezTo>
                        <a:cubicBezTo>
                          <a:pt x="5806" y="9090"/>
                          <a:pt x="5806" y="9090"/>
                          <a:pt x="5806" y="9090"/>
                        </a:cubicBezTo>
                        <a:cubicBezTo>
                          <a:pt x="5806" y="9090"/>
                          <a:pt x="6451" y="9090"/>
                          <a:pt x="7096" y="848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2" name="Shape 2024"/>
                  <p:cNvSpPr/>
                  <p:nvPr/>
                </p:nvSpPr>
                <p:spPr>
                  <a:xfrm>
                    <a:off x="4681844" y="3129624"/>
                    <a:ext cx="394695" cy="240785"/>
                  </a:xfrm>
                  <a:custGeom>
                    <a:avLst/>
                    <a:gdLst/>
                    <a:ahLst/>
                    <a:cxnLst/>
                    <a:rect l="0" t="0" r="0" b="0"/>
                    <a:pathLst>
                      <a:path w="120000" h="120000" extrusionOk="0">
                        <a:moveTo>
                          <a:pt x="21502" y="82568"/>
                        </a:moveTo>
                        <a:cubicBezTo>
                          <a:pt x="22890" y="83669"/>
                          <a:pt x="22890" y="83669"/>
                          <a:pt x="22890" y="83669"/>
                        </a:cubicBezTo>
                        <a:cubicBezTo>
                          <a:pt x="22890" y="85871"/>
                          <a:pt x="22890" y="85871"/>
                          <a:pt x="22890" y="85871"/>
                        </a:cubicBezTo>
                        <a:cubicBezTo>
                          <a:pt x="22890" y="85871"/>
                          <a:pt x="22890" y="84770"/>
                          <a:pt x="22196" y="86972"/>
                        </a:cubicBezTo>
                        <a:cubicBezTo>
                          <a:pt x="21502" y="88073"/>
                          <a:pt x="21502" y="88073"/>
                          <a:pt x="21502" y="88073"/>
                        </a:cubicBezTo>
                        <a:cubicBezTo>
                          <a:pt x="22196" y="88073"/>
                          <a:pt x="22890" y="89174"/>
                          <a:pt x="22890" y="89174"/>
                        </a:cubicBezTo>
                        <a:cubicBezTo>
                          <a:pt x="22890" y="89174"/>
                          <a:pt x="23583" y="89174"/>
                          <a:pt x="22890" y="90275"/>
                        </a:cubicBezTo>
                        <a:cubicBezTo>
                          <a:pt x="22890" y="92477"/>
                          <a:pt x="22890" y="93577"/>
                          <a:pt x="22890" y="93577"/>
                        </a:cubicBezTo>
                        <a:cubicBezTo>
                          <a:pt x="22890" y="93577"/>
                          <a:pt x="22890" y="94678"/>
                          <a:pt x="22890" y="95779"/>
                        </a:cubicBezTo>
                        <a:cubicBezTo>
                          <a:pt x="22196" y="95779"/>
                          <a:pt x="21502" y="99082"/>
                          <a:pt x="21502" y="99082"/>
                        </a:cubicBezTo>
                        <a:cubicBezTo>
                          <a:pt x="21502" y="99082"/>
                          <a:pt x="21502" y="99082"/>
                          <a:pt x="21502" y="100183"/>
                        </a:cubicBezTo>
                        <a:cubicBezTo>
                          <a:pt x="22196" y="100183"/>
                          <a:pt x="24277" y="100183"/>
                          <a:pt x="24277" y="100183"/>
                        </a:cubicBezTo>
                        <a:cubicBezTo>
                          <a:pt x="24277" y="100183"/>
                          <a:pt x="24277" y="102385"/>
                          <a:pt x="24277" y="103486"/>
                        </a:cubicBezTo>
                        <a:cubicBezTo>
                          <a:pt x="23583" y="103486"/>
                          <a:pt x="22890" y="105688"/>
                          <a:pt x="23583" y="105688"/>
                        </a:cubicBezTo>
                        <a:cubicBezTo>
                          <a:pt x="24277" y="105688"/>
                          <a:pt x="24971" y="106788"/>
                          <a:pt x="24971" y="106788"/>
                        </a:cubicBezTo>
                        <a:cubicBezTo>
                          <a:pt x="24971" y="106788"/>
                          <a:pt x="25664" y="107889"/>
                          <a:pt x="25664" y="107889"/>
                        </a:cubicBezTo>
                        <a:cubicBezTo>
                          <a:pt x="26358" y="107889"/>
                          <a:pt x="27052" y="108990"/>
                          <a:pt x="27052" y="108990"/>
                        </a:cubicBezTo>
                        <a:cubicBezTo>
                          <a:pt x="27052" y="108990"/>
                          <a:pt x="28439" y="111192"/>
                          <a:pt x="28439" y="111192"/>
                        </a:cubicBezTo>
                        <a:cubicBezTo>
                          <a:pt x="28439" y="112293"/>
                          <a:pt x="27745" y="113394"/>
                          <a:pt x="27745" y="113394"/>
                        </a:cubicBezTo>
                        <a:cubicBezTo>
                          <a:pt x="27745" y="113394"/>
                          <a:pt x="29132" y="115596"/>
                          <a:pt x="29132" y="115596"/>
                        </a:cubicBezTo>
                        <a:cubicBezTo>
                          <a:pt x="29132" y="115596"/>
                          <a:pt x="29132" y="116697"/>
                          <a:pt x="29826" y="116697"/>
                        </a:cubicBezTo>
                        <a:cubicBezTo>
                          <a:pt x="30520" y="116697"/>
                          <a:pt x="31213" y="115596"/>
                          <a:pt x="31213" y="115596"/>
                        </a:cubicBezTo>
                        <a:cubicBezTo>
                          <a:pt x="31213" y="115596"/>
                          <a:pt x="32601" y="114495"/>
                          <a:pt x="32601" y="114495"/>
                        </a:cubicBezTo>
                        <a:cubicBezTo>
                          <a:pt x="32601" y="114495"/>
                          <a:pt x="33294" y="113394"/>
                          <a:pt x="33988" y="113394"/>
                        </a:cubicBezTo>
                        <a:cubicBezTo>
                          <a:pt x="34682" y="113394"/>
                          <a:pt x="35375" y="114495"/>
                          <a:pt x="36069" y="114495"/>
                        </a:cubicBezTo>
                        <a:cubicBezTo>
                          <a:pt x="36763" y="114495"/>
                          <a:pt x="38843" y="114495"/>
                          <a:pt x="38843" y="114495"/>
                        </a:cubicBezTo>
                        <a:cubicBezTo>
                          <a:pt x="38843" y="112293"/>
                          <a:pt x="38843" y="112293"/>
                          <a:pt x="38843" y="112293"/>
                        </a:cubicBezTo>
                        <a:cubicBezTo>
                          <a:pt x="38843" y="112293"/>
                          <a:pt x="38843" y="111192"/>
                          <a:pt x="39537" y="111192"/>
                        </a:cubicBezTo>
                        <a:cubicBezTo>
                          <a:pt x="40231" y="111192"/>
                          <a:pt x="40924" y="111192"/>
                          <a:pt x="40924" y="111192"/>
                        </a:cubicBezTo>
                        <a:cubicBezTo>
                          <a:pt x="40924" y="111192"/>
                          <a:pt x="40231" y="110091"/>
                          <a:pt x="40924" y="110091"/>
                        </a:cubicBezTo>
                        <a:cubicBezTo>
                          <a:pt x="40924" y="110091"/>
                          <a:pt x="42312" y="110091"/>
                          <a:pt x="43005" y="111192"/>
                        </a:cubicBezTo>
                        <a:cubicBezTo>
                          <a:pt x="43005" y="111192"/>
                          <a:pt x="44393" y="110091"/>
                          <a:pt x="44393" y="111192"/>
                        </a:cubicBezTo>
                        <a:cubicBezTo>
                          <a:pt x="44393" y="111192"/>
                          <a:pt x="45086" y="112293"/>
                          <a:pt x="45086" y="112293"/>
                        </a:cubicBezTo>
                        <a:cubicBezTo>
                          <a:pt x="45086" y="112293"/>
                          <a:pt x="45780" y="114495"/>
                          <a:pt x="45780" y="113394"/>
                        </a:cubicBezTo>
                        <a:cubicBezTo>
                          <a:pt x="46473" y="113394"/>
                          <a:pt x="46473" y="113394"/>
                          <a:pt x="47167" y="113394"/>
                        </a:cubicBezTo>
                        <a:cubicBezTo>
                          <a:pt x="47167" y="114495"/>
                          <a:pt x="48554" y="114495"/>
                          <a:pt x="49248" y="114495"/>
                        </a:cubicBezTo>
                        <a:cubicBezTo>
                          <a:pt x="49248" y="113394"/>
                          <a:pt x="49248" y="113394"/>
                          <a:pt x="49248" y="113394"/>
                        </a:cubicBezTo>
                        <a:cubicBezTo>
                          <a:pt x="49248" y="112293"/>
                          <a:pt x="48554" y="111192"/>
                          <a:pt x="49942" y="111192"/>
                        </a:cubicBezTo>
                        <a:cubicBezTo>
                          <a:pt x="50635" y="111192"/>
                          <a:pt x="50635" y="110091"/>
                          <a:pt x="51329" y="110091"/>
                        </a:cubicBezTo>
                        <a:cubicBezTo>
                          <a:pt x="52023" y="110091"/>
                          <a:pt x="52716" y="110091"/>
                          <a:pt x="52716" y="110091"/>
                        </a:cubicBezTo>
                        <a:cubicBezTo>
                          <a:pt x="52716" y="110091"/>
                          <a:pt x="52716" y="110091"/>
                          <a:pt x="53410" y="108990"/>
                        </a:cubicBezTo>
                        <a:cubicBezTo>
                          <a:pt x="54104" y="107889"/>
                          <a:pt x="54104" y="106788"/>
                          <a:pt x="54104" y="106788"/>
                        </a:cubicBezTo>
                        <a:cubicBezTo>
                          <a:pt x="54104" y="105688"/>
                          <a:pt x="54104" y="104587"/>
                          <a:pt x="54104" y="104587"/>
                        </a:cubicBezTo>
                        <a:cubicBezTo>
                          <a:pt x="54797" y="103486"/>
                          <a:pt x="54797" y="103486"/>
                          <a:pt x="54797" y="103486"/>
                        </a:cubicBezTo>
                        <a:cubicBezTo>
                          <a:pt x="55491" y="102385"/>
                          <a:pt x="55491" y="102385"/>
                          <a:pt x="55491" y="102385"/>
                        </a:cubicBezTo>
                        <a:cubicBezTo>
                          <a:pt x="55491" y="102385"/>
                          <a:pt x="55491" y="102385"/>
                          <a:pt x="56184" y="100183"/>
                        </a:cubicBezTo>
                        <a:cubicBezTo>
                          <a:pt x="56184" y="99082"/>
                          <a:pt x="56184" y="99082"/>
                          <a:pt x="56184" y="99082"/>
                        </a:cubicBezTo>
                        <a:cubicBezTo>
                          <a:pt x="56878" y="96880"/>
                          <a:pt x="56878" y="96880"/>
                          <a:pt x="56878" y="96880"/>
                        </a:cubicBezTo>
                        <a:cubicBezTo>
                          <a:pt x="56184" y="93577"/>
                          <a:pt x="56184" y="93577"/>
                          <a:pt x="56184" y="93577"/>
                        </a:cubicBezTo>
                        <a:cubicBezTo>
                          <a:pt x="55491" y="92477"/>
                          <a:pt x="55491" y="92477"/>
                          <a:pt x="55491" y="92477"/>
                        </a:cubicBezTo>
                        <a:cubicBezTo>
                          <a:pt x="56184" y="91376"/>
                          <a:pt x="56184" y="91376"/>
                          <a:pt x="56184" y="91376"/>
                        </a:cubicBezTo>
                        <a:cubicBezTo>
                          <a:pt x="56184" y="91376"/>
                          <a:pt x="56878" y="90275"/>
                          <a:pt x="57572" y="90275"/>
                        </a:cubicBezTo>
                        <a:cubicBezTo>
                          <a:pt x="58265" y="90275"/>
                          <a:pt x="58265" y="90275"/>
                          <a:pt x="58265" y="89174"/>
                        </a:cubicBezTo>
                        <a:cubicBezTo>
                          <a:pt x="58959" y="89174"/>
                          <a:pt x="60346" y="86972"/>
                          <a:pt x="60346" y="86972"/>
                        </a:cubicBezTo>
                        <a:cubicBezTo>
                          <a:pt x="60346" y="86972"/>
                          <a:pt x="60346" y="86972"/>
                          <a:pt x="61040" y="86972"/>
                        </a:cubicBezTo>
                        <a:cubicBezTo>
                          <a:pt x="61040" y="85871"/>
                          <a:pt x="61040" y="84770"/>
                          <a:pt x="61040" y="84770"/>
                        </a:cubicBezTo>
                        <a:cubicBezTo>
                          <a:pt x="61040" y="84770"/>
                          <a:pt x="61040" y="83669"/>
                          <a:pt x="61734" y="83669"/>
                        </a:cubicBezTo>
                        <a:cubicBezTo>
                          <a:pt x="62427" y="82568"/>
                          <a:pt x="65202" y="81467"/>
                          <a:pt x="65202" y="81467"/>
                        </a:cubicBezTo>
                        <a:cubicBezTo>
                          <a:pt x="65202" y="81467"/>
                          <a:pt x="64508" y="83669"/>
                          <a:pt x="64508" y="84770"/>
                        </a:cubicBezTo>
                        <a:cubicBezTo>
                          <a:pt x="64508" y="85871"/>
                          <a:pt x="65202" y="88073"/>
                          <a:pt x="65202" y="88073"/>
                        </a:cubicBezTo>
                        <a:cubicBezTo>
                          <a:pt x="65202" y="88073"/>
                          <a:pt x="64508" y="90275"/>
                          <a:pt x="64508" y="90275"/>
                        </a:cubicBezTo>
                        <a:cubicBezTo>
                          <a:pt x="64508" y="91376"/>
                          <a:pt x="64508" y="92477"/>
                          <a:pt x="64508" y="92477"/>
                        </a:cubicBezTo>
                        <a:cubicBezTo>
                          <a:pt x="65202" y="93577"/>
                          <a:pt x="65202" y="93577"/>
                          <a:pt x="65202" y="93577"/>
                        </a:cubicBezTo>
                        <a:cubicBezTo>
                          <a:pt x="65202" y="93577"/>
                          <a:pt x="65202" y="94678"/>
                          <a:pt x="65202" y="94678"/>
                        </a:cubicBezTo>
                        <a:cubicBezTo>
                          <a:pt x="65895" y="94678"/>
                          <a:pt x="66589" y="96880"/>
                          <a:pt x="66589" y="96880"/>
                        </a:cubicBezTo>
                        <a:cubicBezTo>
                          <a:pt x="67283" y="96880"/>
                          <a:pt x="67283" y="96880"/>
                          <a:pt x="67283" y="96880"/>
                        </a:cubicBezTo>
                        <a:cubicBezTo>
                          <a:pt x="67283" y="96880"/>
                          <a:pt x="67976" y="97981"/>
                          <a:pt x="67976" y="99082"/>
                        </a:cubicBezTo>
                        <a:cubicBezTo>
                          <a:pt x="67976" y="99082"/>
                          <a:pt x="68670" y="100183"/>
                          <a:pt x="69364" y="101284"/>
                        </a:cubicBezTo>
                        <a:cubicBezTo>
                          <a:pt x="69364" y="101284"/>
                          <a:pt x="70057" y="101284"/>
                          <a:pt x="70057" y="101284"/>
                        </a:cubicBezTo>
                        <a:cubicBezTo>
                          <a:pt x="70751" y="101284"/>
                          <a:pt x="71445" y="101284"/>
                          <a:pt x="71445" y="101284"/>
                        </a:cubicBezTo>
                        <a:cubicBezTo>
                          <a:pt x="71445" y="102385"/>
                          <a:pt x="72832" y="102385"/>
                          <a:pt x="73526" y="102385"/>
                        </a:cubicBezTo>
                        <a:cubicBezTo>
                          <a:pt x="73526" y="103486"/>
                          <a:pt x="74913" y="102385"/>
                          <a:pt x="74913" y="102385"/>
                        </a:cubicBezTo>
                        <a:cubicBezTo>
                          <a:pt x="75606" y="103486"/>
                          <a:pt x="75606" y="103486"/>
                          <a:pt x="75606" y="103486"/>
                        </a:cubicBezTo>
                        <a:cubicBezTo>
                          <a:pt x="76300" y="103486"/>
                          <a:pt x="76300" y="103486"/>
                          <a:pt x="76300" y="103486"/>
                        </a:cubicBezTo>
                        <a:cubicBezTo>
                          <a:pt x="76300" y="103486"/>
                          <a:pt x="76994" y="103486"/>
                          <a:pt x="76994" y="104587"/>
                        </a:cubicBezTo>
                        <a:cubicBezTo>
                          <a:pt x="76300" y="105688"/>
                          <a:pt x="76300" y="105688"/>
                          <a:pt x="76300" y="105688"/>
                        </a:cubicBezTo>
                        <a:cubicBezTo>
                          <a:pt x="76300" y="105688"/>
                          <a:pt x="76300" y="105688"/>
                          <a:pt x="76300" y="105688"/>
                        </a:cubicBezTo>
                        <a:cubicBezTo>
                          <a:pt x="75606" y="106788"/>
                          <a:pt x="74913" y="108990"/>
                          <a:pt x="74913" y="108990"/>
                        </a:cubicBezTo>
                        <a:cubicBezTo>
                          <a:pt x="76994" y="111192"/>
                          <a:pt x="76994" y="111192"/>
                          <a:pt x="76994" y="111192"/>
                        </a:cubicBezTo>
                        <a:cubicBezTo>
                          <a:pt x="76994" y="111192"/>
                          <a:pt x="77687" y="111192"/>
                          <a:pt x="77687" y="112293"/>
                        </a:cubicBezTo>
                        <a:cubicBezTo>
                          <a:pt x="78381" y="113394"/>
                          <a:pt x="78381" y="114495"/>
                          <a:pt x="78381" y="114495"/>
                        </a:cubicBezTo>
                        <a:cubicBezTo>
                          <a:pt x="78381" y="114495"/>
                          <a:pt x="78381" y="114495"/>
                          <a:pt x="78381" y="114495"/>
                        </a:cubicBezTo>
                        <a:cubicBezTo>
                          <a:pt x="78381" y="115596"/>
                          <a:pt x="78381" y="117798"/>
                          <a:pt x="78381" y="117798"/>
                        </a:cubicBezTo>
                        <a:cubicBezTo>
                          <a:pt x="78381" y="117798"/>
                          <a:pt x="76994" y="118899"/>
                          <a:pt x="78381" y="118899"/>
                        </a:cubicBezTo>
                        <a:cubicBezTo>
                          <a:pt x="79768" y="118899"/>
                          <a:pt x="79768" y="118899"/>
                          <a:pt x="79768" y="118899"/>
                        </a:cubicBezTo>
                        <a:cubicBezTo>
                          <a:pt x="80462" y="118899"/>
                          <a:pt x="81156" y="120000"/>
                          <a:pt x="81156" y="120000"/>
                        </a:cubicBezTo>
                        <a:cubicBezTo>
                          <a:pt x="81849" y="118899"/>
                          <a:pt x="81849" y="118899"/>
                          <a:pt x="81849" y="118899"/>
                        </a:cubicBezTo>
                        <a:cubicBezTo>
                          <a:pt x="81849" y="118899"/>
                          <a:pt x="81156" y="116697"/>
                          <a:pt x="82543" y="115596"/>
                        </a:cubicBezTo>
                        <a:cubicBezTo>
                          <a:pt x="83236" y="114495"/>
                          <a:pt x="83236" y="114495"/>
                          <a:pt x="83236" y="114495"/>
                        </a:cubicBezTo>
                        <a:cubicBezTo>
                          <a:pt x="83236" y="114495"/>
                          <a:pt x="81156" y="113394"/>
                          <a:pt x="81156" y="112293"/>
                        </a:cubicBezTo>
                        <a:cubicBezTo>
                          <a:pt x="81156" y="112293"/>
                          <a:pt x="80462" y="112293"/>
                          <a:pt x="81156" y="111192"/>
                        </a:cubicBezTo>
                        <a:cubicBezTo>
                          <a:pt x="81156" y="110091"/>
                          <a:pt x="80462" y="110091"/>
                          <a:pt x="81156" y="108990"/>
                        </a:cubicBezTo>
                        <a:cubicBezTo>
                          <a:pt x="81156" y="108990"/>
                          <a:pt x="81849" y="108990"/>
                          <a:pt x="81849" y="107889"/>
                        </a:cubicBezTo>
                        <a:cubicBezTo>
                          <a:pt x="81849" y="107889"/>
                          <a:pt x="81156" y="105688"/>
                          <a:pt x="81156" y="105688"/>
                        </a:cubicBezTo>
                        <a:cubicBezTo>
                          <a:pt x="82543" y="104587"/>
                          <a:pt x="82543" y="104587"/>
                          <a:pt x="82543" y="104587"/>
                        </a:cubicBezTo>
                        <a:cubicBezTo>
                          <a:pt x="82543" y="104587"/>
                          <a:pt x="82543" y="103486"/>
                          <a:pt x="82543" y="103486"/>
                        </a:cubicBezTo>
                        <a:cubicBezTo>
                          <a:pt x="82543" y="102385"/>
                          <a:pt x="82543" y="100183"/>
                          <a:pt x="82543" y="100183"/>
                        </a:cubicBezTo>
                        <a:cubicBezTo>
                          <a:pt x="83236" y="100183"/>
                          <a:pt x="83930" y="97981"/>
                          <a:pt x="83930" y="97981"/>
                        </a:cubicBezTo>
                        <a:cubicBezTo>
                          <a:pt x="83930" y="97981"/>
                          <a:pt x="85317" y="97981"/>
                          <a:pt x="85317" y="97981"/>
                        </a:cubicBezTo>
                        <a:cubicBezTo>
                          <a:pt x="85317" y="96880"/>
                          <a:pt x="86011" y="95779"/>
                          <a:pt x="86011" y="95779"/>
                        </a:cubicBezTo>
                        <a:cubicBezTo>
                          <a:pt x="86011" y="95779"/>
                          <a:pt x="86011" y="95779"/>
                          <a:pt x="86705" y="94678"/>
                        </a:cubicBezTo>
                        <a:cubicBezTo>
                          <a:pt x="86705" y="93577"/>
                          <a:pt x="86705" y="92477"/>
                          <a:pt x="86705" y="92477"/>
                        </a:cubicBezTo>
                        <a:cubicBezTo>
                          <a:pt x="86705" y="91376"/>
                          <a:pt x="87398" y="90275"/>
                          <a:pt x="87398" y="90275"/>
                        </a:cubicBezTo>
                        <a:cubicBezTo>
                          <a:pt x="87398" y="89174"/>
                          <a:pt x="87398" y="89174"/>
                          <a:pt x="87398" y="89174"/>
                        </a:cubicBezTo>
                        <a:cubicBezTo>
                          <a:pt x="87398" y="89174"/>
                          <a:pt x="87398" y="88073"/>
                          <a:pt x="87398" y="88073"/>
                        </a:cubicBezTo>
                        <a:cubicBezTo>
                          <a:pt x="87398" y="86972"/>
                          <a:pt x="87398" y="85871"/>
                          <a:pt x="87398" y="85871"/>
                        </a:cubicBezTo>
                        <a:cubicBezTo>
                          <a:pt x="87398" y="83669"/>
                          <a:pt x="87398" y="83669"/>
                          <a:pt x="87398" y="83669"/>
                        </a:cubicBezTo>
                        <a:cubicBezTo>
                          <a:pt x="86705" y="81467"/>
                          <a:pt x="86705" y="81467"/>
                          <a:pt x="86705" y="81467"/>
                        </a:cubicBezTo>
                        <a:cubicBezTo>
                          <a:pt x="86705" y="80366"/>
                          <a:pt x="86705" y="80366"/>
                          <a:pt x="86705" y="80366"/>
                        </a:cubicBezTo>
                        <a:cubicBezTo>
                          <a:pt x="88092" y="78165"/>
                          <a:pt x="88092" y="78165"/>
                          <a:pt x="88092" y="78165"/>
                        </a:cubicBezTo>
                        <a:cubicBezTo>
                          <a:pt x="88092" y="78165"/>
                          <a:pt x="88786" y="77064"/>
                          <a:pt x="88786" y="78165"/>
                        </a:cubicBezTo>
                        <a:cubicBezTo>
                          <a:pt x="89479" y="78165"/>
                          <a:pt x="90173" y="79266"/>
                          <a:pt x="90173" y="79266"/>
                        </a:cubicBezTo>
                        <a:cubicBezTo>
                          <a:pt x="90867" y="79266"/>
                          <a:pt x="90867" y="79266"/>
                          <a:pt x="90867" y="79266"/>
                        </a:cubicBezTo>
                        <a:cubicBezTo>
                          <a:pt x="92254" y="78165"/>
                          <a:pt x="92254" y="78165"/>
                          <a:pt x="92254" y="78165"/>
                        </a:cubicBezTo>
                        <a:cubicBezTo>
                          <a:pt x="92254" y="78165"/>
                          <a:pt x="92947" y="78165"/>
                          <a:pt x="92947" y="79266"/>
                        </a:cubicBezTo>
                        <a:cubicBezTo>
                          <a:pt x="92254" y="79266"/>
                          <a:pt x="91560" y="80366"/>
                          <a:pt x="92254" y="81467"/>
                        </a:cubicBezTo>
                        <a:cubicBezTo>
                          <a:pt x="92254" y="81467"/>
                          <a:pt x="92947" y="82568"/>
                          <a:pt x="92947" y="83669"/>
                        </a:cubicBezTo>
                        <a:cubicBezTo>
                          <a:pt x="92947" y="84770"/>
                          <a:pt x="92947" y="84770"/>
                          <a:pt x="92947" y="86972"/>
                        </a:cubicBezTo>
                        <a:cubicBezTo>
                          <a:pt x="92947" y="88073"/>
                          <a:pt x="94335" y="88073"/>
                          <a:pt x="94335" y="89174"/>
                        </a:cubicBezTo>
                        <a:cubicBezTo>
                          <a:pt x="95028" y="89174"/>
                          <a:pt x="93641" y="90275"/>
                          <a:pt x="95722" y="90275"/>
                        </a:cubicBezTo>
                        <a:cubicBezTo>
                          <a:pt x="97109" y="90275"/>
                          <a:pt x="98497" y="91376"/>
                          <a:pt x="98497" y="90275"/>
                        </a:cubicBezTo>
                        <a:cubicBezTo>
                          <a:pt x="99190" y="90275"/>
                          <a:pt x="99190" y="90275"/>
                          <a:pt x="99190" y="89174"/>
                        </a:cubicBezTo>
                        <a:cubicBezTo>
                          <a:pt x="98497" y="88073"/>
                          <a:pt x="99190" y="86972"/>
                          <a:pt x="99190" y="86972"/>
                        </a:cubicBezTo>
                        <a:cubicBezTo>
                          <a:pt x="99190" y="86972"/>
                          <a:pt x="99884" y="86972"/>
                          <a:pt x="99884" y="86972"/>
                        </a:cubicBezTo>
                        <a:cubicBezTo>
                          <a:pt x="100578" y="86972"/>
                          <a:pt x="100578" y="88073"/>
                          <a:pt x="101271" y="86972"/>
                        </a:cubicBezTo>
                        <a:cubicBezTo>
                          <a:pt x="101271" y="86972"/>
                          <a:pt x="101965" y="85871"/>
                          <a:pt x="101965" y="85871"/>
                        </a:cubicBezTo>
                        <a:cubicBezTo>
                          <a:pt x="103352" y="85871"/>
                          <a:pt x="103352" y="85871"/>
                          <a:pt x="103352" y="85871"/>
                        </a:cubicBezTo>
                        <a:cubicBezTo>
                          <a:pt x="103352" y="85871"/>
                          <a:pt x="102658" y="84770"/>
                          <a:pt x="104046" y="84770"/>
                        </a:cubicBezTo>
                        <a:cubicBezTo>
                          <a:pt x="104739" y="84770"/>
                          <a:pt x="106127" y="84770"/>
                          <a:pt x="106127" y="84770"/>
                        </a:cubicBezTo>
                        <a:cubicBezTo>
                          <a:pt x="106127" y="84770"/>
                          <a:pt x="106127" y="85871"/>
                          <a:pt x="106127" y="86972"/>
                        </a:cubicBezTo>
                        <a:cubicBezTo>
                          <a:pt x="106820" y="88073"/>
                          <a:pt x="106820" y="88073"/>
                          <a:pt x="106820" y="88073"/>
                        </a:cubicBezTo>
                        <a:cubicBezTo>
                          <a:pt x="106820" y="88073"/>
                          <a:pt x="106127" y="88073"/>
                          <a:pt x="106820" y="90275"/>
                        </a:cubicBezTo>
                        <a:cubicBezTo>
                          <a:pt x="107514" y="91376"/>
                          <a:pt x="108208" y="91376"/>
                          <a:pt x="108208" y="92477"/>
                        </a:cubicBezTo>
                        <a:cubicBezTo>
                          <a:pt x="108901" y="92477"/>
                          <a:pt x="108208" y="94678"/>
                          <a:pt x="108208" y="94678"/>
                        </a:cubicBezTo>
                        <a:cubicBezTo>
                          <a:pt x="108208" y="94678"/>
                          <a:pt x="109595" y="94678"/>
                          <a:pt x="109595" y="94678"/>
                        </a:cubicBezTo>
                        <a:cubicBezTo>
                          <a:pt x="109595" y="93577"/>
                          <a:pt x="109595" y="93577"/>
                          <a:pt x="110289" y="93577"/>
                        </a:cubicBezTo>
                        <a:cubicBezTo>
                          <a:pt x="110289" y="93577"/>
                          <a:pt x="110289" y="93577"/>
                          <a:pt x="110289" y="93577"/>
                        </a:cubicBezTo>
                        <a:cubicBezTo>
                          <a:pt x="110289" y="93577"/>
                          <a:pt x="110982" y="92477"/>
                          <a:pt x="110982" y="91376"/>
                        </a:cubicBezTo>
                        <a:cubicBezTo>
                          <a:pt x="110982" y="91376"/>
                          <a:pt x="110982" y="88073"/>
                          <a:pt x="110289" y="88073"/>
                        </a:cubicBezTo>
                        <a:cubicBezTo>
                          <a:pt x="110289" y="88073"/>
                          <a:pt x="109595" y="88073"/>
                          <a:pt x="109595" y="86972"/>
                        </a:cubicBezTo>
                        <a:cubicBezTo>
                          <a:pt x="108901" y="85871"/>
                          <a:pt x="108901" y="85871"/>
                          <a:pt x="109595" y="85871"/>
                        </a:cubicBezTo>
                        <a:cubicBezTo>
                          <a:pt x="109595" y="85871"/>
                          <a:pt x="110289" y="84770"/>
                          <a:pt x="110289" y="84770"/>
                        </a:cubicBezTo>
                        <a:cubicBezTo>
                          <a:pt x="110289" y="84770"/>
                          <a:pt x="110982" y="83669"/>
                          <a:pt x="110289" y="83669"/>
                        </a:cubicBezTo>
                        <a:cubicBezTo>
                          <a:pt x="110289" y="82568"/>
                          <a:pt x="109595" y="81467"/>
                          <a:pt x="109595" y="81467"/>
                        </a:cubicBezTo>
                        <a:cubicBezTo>
                          <a:pt x="109595" y="81467"/>
                          <a:pt x="108901" y="82568"/>
                          <a:pt x="108208" y="81467"/>
                        </a:cubicBezTo>
                        <a:cubicBezTo>
                          <a:pt x="108208" y="81467"/>
                          <a:pt x="108208" y="81467"/>
                          <a:pt x="108208" y="80366"/>
                        </a:cubicBezTo>
                        <a:cubicBezTo>
                          <a:pt x="108208" y="80366"/>
                          <a:pt x="108208" y="78165"/>
                          <a:pt x="108208" y="78165"/>
                        </a:cubicBezTo>
                        <a:cubicBezTo>
                          <a:pt x="107514" y="78165"/>
                          <a:pt x="107514" y="78165"/>
                          <a:pt x="107514" y="78165"/>
                        </a:cubicBezTo>
                        <a:cubicBezTo>
                          <a:pt x="108208" y="75963"/>
                          <a:pt x="108208" y="75963"/>
                          <a:pt x="108208" y="75963"/>
                        </a:cubicBezTo>
                        <a:cubicBezTo>
                          <a:pt x="108208" y="74862"/>
                          <a:pt x="108208" y="74862"/>
                          <a:pt x="108208" y="74862"/>
                        </a:cubicBezTo>
                        <a:cubicBezTo>
                          <a:pt x="108208" y="74862"/>
                          <a:pt x="108208" y="73761"/>
                          <a:pt x="108901" y="73761"/>
                        </a:cubicBezTo>
                        <a:cubicBezTo>
                          <a:pt x="108901" y="72660"/>
                          <a:pt x="108901" y="72660"/>
                          <a:pt x="108901" y="71559"/>
                        </a:cubicBezTo>
                        <a:cubicBezTo>
                          <a:pt x="109595" y="71559"/>
                          <a:pt x="109595" y="70458"/>
                          <a:pt x="109595" y="70458"/>
                        </a:cubicBezTo>
                        <a:cubicBezTo>
                          <a:pt x="110289" y="70458"/>
                          <a:pt x="110982" y="70458"/>
                          <a:pt x="111676" y="70458"/>
                        </a:cubicBezTo>
                        <a:cubicBezTo>
                          <a:pt x="111676" y="70458"/>
                          <a:pt x="111676" y="69357"/>
                          <a:pt x="112369" y="69357"/>
                        </a:cubicBezTo>
                        <a:cubicBezTo>
                          <a:pt x="112369" y="69357"/>
                          <a:pt x="113063" y="70458"/>
                          <a:pt x="113063" y="70458"/>
                        </a:cubicBezTo>
                        <a:cubicBezTo>
                          <a:pt x="113063" y="70458"/>
                          <a:pt x="113063" y="70458"/>
                          <a:pt x="113063" y="71559"/>
                        </a:cubicBezTo>
                        <a:cubicBezTo>
                          <a:pt x="113063" y="71559"/>
                          <a:pt x="115144" y="73761"/>
                          <a:pt x="115144" y="73761"/>
                        </a:cubicBezTo>
                        <a:cubicBezTo>
                          <a:pt x="115144" y="73761"/>
                          <a:pt x="115144" y="73761"/>
                          <a:pt x="115838" y="73761"/>
                        </a:cubicBezTo>
                        <a:cubicBezTo>
                          <a:pt x="115838" y="73761"/>
                          <a:pt x="115144" y="73761"/>
                          <a:pt x="115838" y="73761"/>
                        </a:cubicBezTo>
                        <a:cubicBezTo>
                          <a:pt x="115838" y="74862"/>
                          <a:pt x="117919" y="73761"/>
                          <a:pt x="117919" y="73761"/>
                        </a:cubicBezTo>
                        <a:cubicBezTo>
                          <a:pt x="118612" y="73761"/>
                          <a:pt x="118612" y="73761"/>
                          <a:pt x="118612" y="73761"/>
                        </a:cubicBezTo>
                        <a:cubicBezTo>
                          <a:pt x="118612" y="73761"/>
                          <a:pt x="118612" y="73761"/>
                          <a:pt x="118612" y="72660"/>
                        </a:cubicBezTo>
                        <a:cubicBezTo>
                          <a:pt x="119306" y="72660"/>
                          <a:pt x="119306" y="71559"/>
                          <a:pt x="119306" y="70458"/>
                        </a:cubicBezTo>
                        <a:cubicBezTo>
                          <a:pt x="119306" y="70458"/>
                          <a:pt x="120000" y="70458"/>
                          <a:pt x="119306" y="69357"/>
                        </a:cubicBezTo>
                        <a:cubicBezTo>
                          <a:pt x="117919" y="68256"/>
                          <a:pt x="117225" y="68256"/>
                          <a:pt x="117225" y="68256"/>
                        </a:cubicBezTo>
                        <a:cubicBezTo>
                          <a:pt x="117225" y="68256"/>
                          <a:pt x="115838" y="66055"/>
                          <a:pt x="116531" y="66055"/>
                        </a:cubicBezTo>
                        <a:cubicBezTo>
                          <a:pt x="117225" y="64954"/>
                          <a:pt x="117919" y="63853"/>
                          <a:pt x="117919" y="63853"/>
                        </a:cubicBezTo>
                        <a:cubicBezTo>
                          <a:pt x="117225" y="61651"/>
                          <a:pt x="117225" y="61651"/>
                          <a:pt x="117225" y="61651"/>
                        </a:cubicBezTo>
                        <a:cubicBezTo>
                          <a:pt x="117919" y="60550"/>
                          <a:pt x="117919" y="60550"/>
                          <a:pt x="117919" y="60550"/>
                        </a:cubicBezTo>
                        <a:cubicBezTo>
                          <a:pt x="117225" y="58348"/>
                          <a:pt x="117225" y="58348"/>
                          <a:pt x="117225" y="58348"/>
                        </a:cubicBezTo>
                        <a:cubicBezTo>
                          <a:pt x="117225" y="58348"/>
                          <a:pt x="117919" y="57247"/>
                          <a:pt x="117919" y="57247"/>
                        </a:cubicBezTo>
                        <a:cubicBezTo>
                          <a:pt x="117919" y="56146"/>
                          <a:pt x="118612" y="52844"/>
                          <a:pt x="118612" y="52844"/>
                        </a:cubicBezTo>
                        <a:cubicBezTo>
                          <a:pt x="118612" y="52844"/>
                          <a:pt x="118612" y="51743"/>
                          <a:pt x="118612" y="50642"/>
                        </a:cubicBezTo>
                        <a:cubicBezTo>
                          <a:pt x="118612" y="50642"/>
                          <a:pt x="117919" y="49541"/>
                          <a:pt x="117919" y="49541"/>
                        </a:cubicBezTo>
                        <a:cubicBezTo>
                          <a:pt x="117225" y="48440"/>
                          <a:pt x="117225" y="48440"/>
                          <a:pt x="117225" y="48440"/>
                        </a:cubicBezTo>
                        <a:cubicBezTo>
                          <a:pt x="117225" y="48440"/>
                          <a:pt x="116531" y="46238"/>
                          <a:pt x="116531" y="46238"/>
                        </a:cubicBezTo>
                        <a:cubicBezTo>
                          <a:pt x="115838" y="47339"/>
                          <a:pt x="115144" y="47339"/>
                          <a:pt x="115144" y="47339"/>
                        </a:cubicBezTo>
                        <a:cubicBezTo>
                          <a:pt x="115144" y="47339"/>
                          <a:pt x="115144" y="49541"/>
                          <a:pt x="115144" y="49541"/>
                        </a:cubicBezTo>
                        <a:cubicBezTo>
                          <a:pt x="114450" y="50642"/>
                          <a:pt x="113757" y="50642"/>
                          <a:pt x="113757" y="50642"/>
                        </a:cubicBezTo>
                        <a:cubicBezTo>
                          <a:pt x="113757" y="50642"/>
                          <a:pt x="113757" y="50642"/>
                          <a:pt x="113757" y="50642"/>
                        </a:cubicBezTo>
                        <a:cubicBezTo>
                          <a:pt x="113063" y="50642"/>
                          <a:pt x="113063" y="50642"/>
                          <a:pt x="113063" y="50642"/>
                        </a:cubicBezTo>
                        <a:cubicBezTo>
                          <a:pt x="112369" y="52844"/>
                          <a:pt x="112369" y="52844"/>
                          <a:pt x="112369" y="52844"/>
                        </a:cubicBezTo>
                        <a:cubicBezTo>
                          <a:pt x="111676" y="53944"/>
                          <a:pt x="111676" y="53944"/>
                          <a:pt x="111676" y="53944"/>
                        </a:cubicBezTo>
                        <a:cubicBezTo>
                          <a:pt x="111676" y="53944"/>
                          <a:pt x="110289" y="55045"/>
                          <a:pt x="109595" y="55045"/>
                        </a:cubicBezTo>
                        <a:cubicBezTo>
                          <a:pt x="109595" y="55045"/>
                          <a:pt x="108208" y="55045"/>
                          <a:pt x="108208" y="55045"/>
                        </a:cubicBezTo>
                        <a:cubicBezTo>
                          <a:pt x="107514" y="53944"/>
                          <a:pt x="107514" y="53944"/>
                          <a:pt x="107514" y="53944"/>
                        </a:cubicBezTo>
                        <a:cubicBezTo>
                          <a:pt x="105433" y="52844"/>
                          <a:pt x="105433" y="52844"/>
                          <a:pt x="105433" y="52844"/>
                        </a:cubicBezTo>
                        <a:cubicBezTo>
                          <a:pt x="105433" y="52844"/>
                          <a:pt x="105433" y="52844"/>
                          <a:pt x="105433" y="52844"/>
                        </a:cubicBezTo>
                        <a:cubicBezTo>
                          <a:pt x="104046" y="51743"/>
                          <a:pt x="104046" y="51743"/>
                          <a:pt x="104046" y="51743"/>
                        </a:cubicBezTo>
                        <a:cubicBezTo>
                          <a:pt x="103352" y="50642"/>
                          <a:pt x="103352" y="50642"/>
                          <a:pt x="103352" y="50642"/>
                        </a:cubicBezTo>
                        <a:cubicBezTo>
                          <a:pt x="103352" y="48440"/>
                          <a:pt x="103352" y="48440"/>
                          <a:pt x="103352" y="48440"/>
                        </a:cubicBezTo>
                        <a:cubicBezTo>
                          <a:pt x="101965" y="46238"/>
                          <a:pt x="101965" y="46238"/>
                          <a:pt x="101965" y="46238"/>
                        </a:cubicBezTo>
                        <a:cubicBezTo>
                          <a:pt x="99190" y="45137"/>
                          <a:pt x="99190" y="45137"/>
                          <a:pt x="99190" y="45137"/>
                        </a:cubicBezTo>
                        <a:cubicBezTo>
                          <a:pt x="97109" y="44036"/>
                          <a:pt x="97109" y="44036"/>
                          <a:pt x="97109" y="44036"/>
                        </a:cubicBezTo>
                        <a:cubicBezTo>
                          <a:pt x="95722" y="44036"/>
                          <a:pt x="95722" y="44036"/>
                          <a:pt x="95722" y="44036"/>
                        </a:cubicBezTo>
                        <a:cubicBezTo>
                          <a:pt x="95722" y="44036"/>
                          <a:pt x="92947" y="44036"/>
                          <a:pt x="92947" y="44036"/>
                        </a:cubicBezTo>
                        <a:cubicBezTo>
                          <a:pt x="92947"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2254" y="44036"/>
                          <a:pt x="92254" y="44036"/>
                          <a:pt x="92254" y="44036"/>
                        </a:cubicBezTo>
                        <a:cubicBezTo>
                          <a:pt x="91560" y="44036"/>
                          <a:pt x="91560" y="44036"/>
                          <a:pt x="91560" y="44036"/>
                        </a:cubicBezTo>
                        <a:cubicBezTo>
                          <a:pt x="92254" y="41834"/>
                          <a:pt x="92254" y="41834"/>
                          <a:pt x="92254" y="41834"/>
                        </a:cubicBezTo>
                        <a:cubicBezTo>
                          <a:pt x="92947" y="41834"/>
                          <a:pt x="92947" y="41834"/>
                          <a:pt x="92947" y="41834"/>
                        </a:cubicBezTo>
                        <a:cubicBezTo>
                          <a:pt x="92947" y="40733"/>
                          <a:pt x="92947" y="40733"/>
                          <a:pt x="92947" y="40733"/>
                        </a:cubicBezTo>
                        <a:cubicBezTo>
                          <a:pt x="92947" y="40733"/>
                          <a:pt x="92254" y="39633"/>
                          <a:pt x="92254" y="39633"/>
                        </a:cubicBezTo>
                        <a:cubicBezTo>
                          <a:pt x="92254" y="39633"/>
                          <a:pt x="92254" y="38532"/>
                          <a:pt x="92254" y="38532"/>
                        </a:cubicBezTo>
                        <a:cubicBezTo>
                          <a:pt x="92254" y="38532"/>
                          <a:pt x="92254" y="38532"/>
                          <a:pt x="92254" y="38532"/>
                        </a:cubicBezTo>
                        <a:cubicBezTo>
                          <a:pt x="92254" y="38532"/>
                          <a:pt x="92254" y="37431"/>
                          <a:pt x="92254" y="37431"/>
                        </a:cubicBezTo>
                        <a:cubicBezTo>
                          <a:pt x="92254" y="37431"/>
                          <a:pt x="92254" y="37431"/>
                          <a:pt x="92254" y="37431"/>
                        </a:cubicBezTo>
                        <a:cubicBezTo>
                          <a:pt x="92254" y="36330"/>
                          <a:pt x="92254" y="36330"/>
                          <a:pt x="92254" y="36330"/>
                        </a:cubicBezTo>
                        <a:cubicBezTo>
                          <a:pt x="92947" y="33027"/>
                          <a:pt x="92947" y="33027"/>
                          <a:pt x="92947" y="33027"/>
                        </a:cubicBezTo>
                        <a:cubicBezTo>
                          <a:pt x="94335" y="30825"/>
                          <a:pt x="94335" y="30825"/>
                          <a:pt x="94335" y="30825"/>
                        </a:cubicBezTo>
                        <a:cubicBezTo>
                          <a:pt x="94335" y="30825"/>
                          <a:pt x="94335" y="28623"/>
                          <a:pt x="95028" y="28623"/>
                        </a:cubicBezTo>
                        <a:cubicBezTo>
                          <a:pt x="95028" y="27522"/>
                          <a:pt x="95028" y="26422"/>
                          <a:pt x="95028" y="26422"/>
                        </a:cubicBezTo>
                        <a:cubicBezTo>
                          <a:pt x="96416" y="25321"/>
                          <a:pt x="96416" y="25321"/>
                          <a:pt x="96416" y="25321"/>
                        </a:cubicBezTo>
                        <a:cubicBezTo>
                          <a:pt x="96416" y="25321"/>
                          <a:pt x="97109" y="24220"/>
                          <a:pt x="97109" y="24220"/>
                        </a:cubicBezTo>
                        <a:cubicBezTo>
                          <a:pt x="97109" y="23119"/>
                          <a:pt x="96416" y="22018"/>
                          <a:pt x="96416" y="22018"/>
                        </a:cubicBezTo>
                        <a:cubicBezTo>
                          <a:pt x="96416" y="20917"/>
                          <a:pt x="97109" y="19816"/>
                          <a:pt x="97109" y="19816"/>
                        </a:cubicBezTo>
                        <a:cubicBezTo>
                          <a:pt x="96416" y="19816"/>
                          <a:pt x="96416" y="18715"/>
                          <a:pt x="95722" y="18715"/>
                        </a:cubicBezTo>
                        <a:cubicBezTo>
                          <a:pt x="95722" y="18715"/>
                          <a:pt x="95028" y="18715"/>
                          <a:pt x="95028" y="17614"/>
                        </a:cubicBezTo>
                        <a:cubicBezTo>
                          <a:pt x="95028" y="17614"/>
                          <a:pt x="94335" y="16513"/>
                          <a:pt x="94335" y="16513"/>
                        </a:cubicBezTo>
                        <a:cubicBezTo>
                          <a:pt x="94335" y="16513"/>
                          <a:pt x="94335" y="14311"/>
                          <a:pt x="93641" y="14311"/>
                        </a:cubicBezTo>
                        <a:cubicBezTo>
                          <a:pt x="93641" y="14311"/>
                          <a:pt x="92947" y="14311"/>
                          <a:pt x="92254" y="13211"/>
                        </a:cubicBezTo>
                        <a:cubicBezTo>
                          <a:pt x="91560" y="13211"/>
                          <a:pt x="90867" y="12110"/>
                          <a:pt x="90867" y="12110"/>
                        </a:cubicBezTo>
                        <a:cubicBezTo>
                          <a:pt x="90173" y="12110"/>
                          <a:pt x="88786" y="9908"/>
                          <a:pt x="88786" y="9908"/>
                        </a:cubicBezTo>
                        <a:cubicBezTo>
                          <a:pt x="88786" y="9908"/>
                          <a:pt x="88786" y="9908"/>
                          <a:pt x="88092" y="9908"/>
                        </a:cubicBezTo>
                        <a:cubicBezTo>
                          <a:pt x="88092" y="9908"/>
                          <a:pt x="87398" y="8807"/>
                          <a:pt x="87398" y="8807"/>
                        </a:cubicBezTo>
                        <a:cubicBezTo>
                          <a:pt x="86705" y="8807"/>
                          <a:pt x="86705" y="8807"/>
                          <a:pt x="86705" y="8807"/>
                        </a:cubicBezTo>
                        <a:cubicBezTo>
                          <a:pt x="86705" y="8807"/>
                          <a:pt x="86705" y="8807"/>
                          <a:pt x="86705" y="8807"/>
                        </a:cubicBezTo>
                        <a:cubicBezTo>
                          <a:pt x="86011" y="8807"/>
                          <a:pt x="86011" y="8807"/>
                          <a:pt x="85317" y="7706"/>
                        </a:cubicBezTo>
                        <a:cubicBezTo>
                          <a:pt x="83930" y="7706"/>
                          <a:pt x="84624" y="7706"/>
                          <a:pt x="83236" y="7706"/>
                        </a:cubicBezTo>
                        <a:cubicBezTo>
                          <a:pt x="82543" y="7706"/>
                          <a:pt x="81849" y="7706"/>
                          <a:pt x="81849" y="7706"/>
                        </a:cubicBezTo>
                        <a:cubicBezTo>
                          <a:pt x="81849" y="7706"/>
                          <a:pt x="81156" y="6605"/>
                          <a:pt x="79768" y="6605"/>
                        </a:cubicBezTo>
                        <a:cubicBezTo>
                          <a:pt x="79075" y="7706"/>
                          <a:pt x="77687" y="8807"/>
                          <a:pt x="76994" y="8807"/>
                        </a:cubicBezTo>
                        <a:cubicBezTo>
                          <a:pt x="76994" y="8807"/>
                          <a:pt x="76300" y="7706"/>
                          <a:pt x="76300" y="7706"/>
                        </a:cubicBezTo>
                        <a:cubicBezTo>
                          <a:pt x="76300" y="7706"/>
                          <a:pt x="76300" y="6605"/>
                          <a:pt x="76300" y="6605"/>
                        </a:cubicBezTo>
                        <a:cubicBezTo>
                          <a:pt x="76300" y="6605"/>
                          <a:pt x="75606" y="5504"/>
                          <a:pt x="74913" y="4403"/>
                        </a:cubicBezTo>
                        <a:cubicBezTo>
                          <a:pt x="74913" y="4403"/>
                          <a:pt x="74219" y="4403"/>
                          <a:pt x="74219" y="4403"/>
                        </a:cubicBezTo>
                        <a:cubicBezTo>
                          <a:pt x="74219" y="4403"/>
                          <a:pt x="74219" y="4403"/>
                          <a:pt x="74219" y="5504"/>
                        </a:cubicBezTo>
                        <a:cubicBezTo>
                          <a:pt x="74219" y="6605"/>
                          <a:pt x="75606" y="6605"/>
                          <a:pt x="74219" y="6605"/>
                        </a:cubicBezTo>
                        <a:cubicBezTo>
                          <a:pt x="73526" y="5504"/>
                          <a:pt x="72832" y="5504"/>
                          <a:pt x="72832" y="5504"/>
                        </a:cubicBezTo>
                        <a:cubicBezTo>
                          <a:pt x="70751" y="6605"/>
                          <a:pt x="70751" y="6605"/>
                          <a:pt x="70751" y="6605"/>
                        </a:cubicBezTo>
                        <a:cubicBezTo>
                          <a:pt x="71445" y="5504"/>
                          <a:pt x="71445" y="5504"/>
                          <a:pt x="71445" y="5504"/>
                        </a:cubicBezTo>
                        <a:cubicBezTo>
                          <a:pt x="71445" y="5504"/>
                          <a:pt x="72138" y="5504"/>
                          <a:pt x="72138" y="5504"/>
                        </a:cubicBezTo>
                        <a:cubicBezTo>
                          <a:pt x="72138" y="4403"/>
                          <a:pt x="72138" y="4403"/>
                          <a:pt x="72138" y="4403"/>
                        </a:cubicBezTo>
                        <a:cubicBezTo>
                          <a:pt x="72138" y="4403"/>
                          <a:pt x="72138" y="3302"/>
                          <a:pt x="72138" y="3302"/>
                        </a:cubicBezTo>
                        <a:cubicBezTo>
                          <a:pt x="72832" y="3302"/>
                          <a:pt x="73526" y="2201"/>
                          <a:pt x="72832" y="2201"/>
                        </a:cubicBezTo>
                        <a:cubicBezTo>
                          <a:pt x="72138" y="2201"/>
                          <a:pt x="71445" y="2201"/>
                          <a:pt x="71445" y="2201"/>
                        </a:cubicBezTo>
                        <a:cubicBezTo>
                          <a:pt x="71445" y="1100"/>
                          <a:pt x="71445" y="1100"/>
                          <a:pt x="71445" y="1100"/>
                        </a:cubicBezTo>
                        <a:cubicBezTo>
                          <a:pt x="71445" y="1100"/>
                          <a:pt x="70751" y="0"/>
                          <a:pt x="70751" y="0"/>
                        </a:cubicBezTo>
                        <a:cubicBezTo>
                          <a:pt x="70751" y="1100"/>
                          <a:pt x="70751" y="2201"/>
                          <a:pt x="70751" y="2201"/>
                        </a:cubicBezTo>
                        <a:cubicBezTo>
                          <a:pt x="70057" y="2201"/>
                          <a:pt x="70057" y="2201"/>
                          <a:pt x="70057" y="1100"/>
                        </a:cubicBezTo>
                        <a:cubicBezTo>
                          <a:pt x="70057" y="0"/>
                          <a:pt x="70057" y="0"/>
                          <a:pt x="70057" y="0"/>
                        </a:cubicBezTo>
                        <a:cubicBezTo>
                          <a:pt x="69364" y="0"/>
                          <a:pt x="68670" y="0"/>
                          <a:pt x="68670" y="0"/>
                        </a:cubicBezTo>
                        <a:cubicBezTo>
                          <a:pt x="68670" y="0"/>
                          <a:pt x="69364" y="1100"/>
                          <a:pt x="67976" y="1100"/>
                        </a:cubicBezTo>
                        <a:cubicBezTo>
                          <a:pt x="67283" y="1100"/>
                          <a:pt x="66589" y="2201"/>
                          <a:pt x="65895" y="2201"/>
                        </a:cubicBezTo>
                        <a:cubicBezTo>
                          <a:pt x="65202" y="3302"/>
                          <a:pt x="65202" y="4403"/>
                          <a:pt x="65202" y="4403"/>
                        </a:cubicBezTo>
                        <a:cubicBezTo>
                          <a:pt x="65202" y="5504"/>
                          <a:pt x="63815" y="5504"/>
                          <a:pt x="63815" y="6605"/>
                        </a:cubicBezTo>
                        <a:cubicBezTo>
                          <a:pt x="64508" y="6605"/>
                          <a:pt x="63815" y="6605"/>
                          <a:pt x="65202" y="7706"/>
                        </a:cubicBezTo>
                        <a:cubicBezTo>
                          <a:pt x="65895" y="7706"/>
                          <a:pt x="65895" y="7706"/>
                          <a:pt x="66589" y="7706"/>
                        </a:cubicBezTo>
                        <a:cubicBezTo>
                          <a:pt x="67283" y="8807"/>
                          <a:pt x="67976" y="7706"/>
                          <a:pt x="67976" y="7706"/>
                        </a:cubicBezTo>
                        <a:cubicBezTo>
                          <a:pt x="67976" y="7706"/>
                          <a:pt x="67976" y="7706"/>
                          <a:pt x="68670" y="8807"/>
                        </a:cubicBezTo>
                        <a:cubicBezTo>
                          <a:pt x="68670" y="8807"/>
                          <a:pt x="69364" y="7706"/>
                          <a:pt x="69364" y="8807"/>
                        </a:cubicBezTo>
                        <a:cubicBezTo>
                          <a:pt x="69364" y="9908"/>
                          <a:pt x="70057" y="11009"/>
                          <a:pt x="69364" y="11009"/>
                        </a:cubicBezTo>
                        <a:cubicBezTo>
                          <a:pt x="68670" y="11009"/>
                          <a:pt x="67976" y="12110"/>
                          <a:pt x="67976" y="11009"/>
                        </a:cubicBezTo>
                        <a:cubicBezTo>
                          <a:pt x="67976" y="11009"/>
                          <a:pt x="67976" y="9908"/>
                          <a:pt x="67283" y="9908"/>
                        </a:cubicBezTo>
                        <a:cubicBezTo>
                          <a:pt x="67283" y="9908"/>
                          <a:pt x="66589" y="9908"/>
                          <a:pt x="66589" y="9908"/>
                        </a:cubicBezTo>
                        <a:cubicBezTo>
                          <a:pt x="65895" y="12110"/>
                          <a:pt x="65895" y="12110"/>
                          <a:pt x="65895" y="12110"/>
                        </a:cubicBezTo>
                        <a:cubicBezTo>
                          <a:pt x="65895" y="12110"/>
                          <a:pt x="65895" y="13211"/>
                          <a:pt x="65202" y="13211"/>
                        </a:cubicBezTo>
                        <a:cubicBezTo>
                          <a:pt x="64508" y="13211"/>
                          <a:pt x="65202" y="13211"/>
                          <a:pt x="63815" y="13211"/>
                        </a:cubicBezTo>
                        <a:cubicBezTo>
                          <a:pt x="62427" y="13211"/>
                          <a:pt x="62427" y="12110"/>
                          <a:pt x="61734" y="12110"/>
                        </a:cubicBezTo>
                        <a:cubicBezTo>
                          <a:pt x="61734" y="12110"/>
                          <a:pt x="61734" y="12110"/>
                          <a:pt x="61040" y="12110"/>
                        </a:cubicBezTo>
                        <a:cubicBezTo>
                          <a:pt x="61040" y="12110"/>
                          <a:pt x="59653" y="9908"/>
                          <a:pt x="58959" y="12110"/>
                        </a:cubicBezTo>
                        <a:cubicBezTo>
                          <a:pt x="58265" y="13211"/>
                          <a:pt x="57572" y="14311"/>
                          <a:pt x="57572" y="14311"/>
                        </a:cubicBezTo>
                        <a:cubicBezTo>
                          <a:pt x="55491" y="14311"/>
                          <a:pt x="55491" y="14311"/>
                          <a:pt x="55491" y="14311"/>
                        </a:cubicBezTo>
                        <a:cubicBezTo>
                          <a:pt x="55491" y="14311"/>
                          <a:pt x="54797" y="14311"/>
                          <a:pt x="54104" y="14311"/>
                        </a:cubicBezTo>
                        <a:cubicBezTo>
                          <a:pt x="53410" y="14311"/>
                          <a:pt x="52716" y="14311"/>
                          <a:pt x="52716" y="14311"/>
                        </a:cubicBezTo>
                        <a:cubicBezTo>
                          <a:pt x="52023" y="15412"/>
                          <a:pt x="51329" y="12110"/>
                          <a:pt x="51329" y="12110"/>
                        </a:cubicBezTo>
                        <a:cubicBezTo>
                          <a:pt x="51329" y="12110"/>
                          <a:pt x="52023" y="9908"/>
                          <a:pt x="49942" y="12110"/>
                        </a:cubicBezTo>
                        <a:cubicBezTo>
                          <a:pt x="47861" y="14311"/>
                          <a:pt x="47167" y="14311"/>
                          <a:pt x="47167" y="14311"/>
                        </a:cubicBezTo>
                        <a:cubicBezTo>
                          <a:pt x="46473" y="14311"/>
                          <a:pt x="45780" y="15412"/>
                          <a:pt x="45780" y="15412"/>
                        </a:cubicBezTo>
                        <a:cubicBezTo>
                          <a:pt x="45086" y="14311"/>
                          <a:pt x="45086" y="14311"/>
                          <a:pt x="45086" y="14311"/>
                        </a:cubicBezTo>
                        <a:cubicBezTo>
                          <a:pt x="45086" y="14311"/>
                          <a:pt x="45086" y="14311"/>
                          <a:pt x="45086" y="14311"/>
                        </a:cubicBezTo>
                        <a:cubicBezTo>
                          <a:pt x="45086" y="14311"/>
                          <a:pt x="45086" y="14311"/>
                          <a:pt x="45086" y="14311"/>
                        </a:cubicBezTo>
                        <a:cubicBezTo>
                          <a:pt x="45780" y="14311"/>
                          <a:pt x="45780" y="13211"/>
                          <a:pt x="45780" y="13211"/>
                        </a:cubicBezTo>
                        <a:cubicBezTo>
                          <a:pt x="45086" y="12110"/>
                          <a:pt x="45086" y="12110"/>
                          <a:pt x="45086" y="12110"/>
                        </a:cubicBezTo>
                        <a:cubicBezTo>
                          <a:pt x="43005" y="13211"/>
                          <a:pt x="43005" y="13211"/>
                          <a:pt x="43005" y="13211"/>
                        </a:cubicBezTo>
                        <a:cubicBezTo>
                          <a:pt x="43005" y="13211"/>
                          <a:pt x="43699" y="13211"/>
                          <a:pt x="43005" y="13211"/>
                        </a:cubicBezTo>
                        <a:cubicBezTo>
                          <a:pt x="43005" y="13211"/>
                          <a:pt x="41618" y="13211"/>
                          <a:pt x="41618" y="13211"/>
                        </a:cubicBezTo>
                        <a:cubicBezTo>
                          <a:pt x="41618" y="15412"/>
                          <a:pt x="41618" y="15412"/>
                          <a:pt x="41618" y="15412"/>
                        </a:cubicBezTo>
                        <a:cubicBezTo>
                          <a:pt x="41618" y="15412"/>
                          <a:pt x="40924" y="15412"/>
                          <a:pt x="40924" y="15412"/>
                        </a:cubicBezTo>
                        <a:cubicBezTo>
                          <a:pt x="40924" y="15412"/>
                          <a:pt x="40924" y="16513"/>
                          <a:pt x="40924" y="16513"/>
                        </a:cubicBezTo>
                        <a:cubicBezTo>
                          <a:pt x="40924" y="16513"/>
                          <a:pt x="40924" y="17614"/>
                          <a:pt x="40924" y="17614"/>
                        </a:cubicBezTo>
                        <a:cubicBezTo>
                          <a:pt x="40924" y="17614"/>
                          <a:pt x="40231" y="17614"/>
                          <a:pt x="40231" y="17614"/>
                        </a:cubicBezTo>
                        <a:cubicBezTo>
                          <a:pt x="40231" y="17614"/>
                          <a:pt x="39537" y="17614"/>
                          <a:pt x="39537" y="17614"/>
                        </a:cubicBezTo>
                        <a:cubicBezTo>
                          <a:pt x="39537" y="17614"/>
                          <a:pt x="38843" y="19816"/>
                          <a:pt x="38843" y="19816"/>
                        </a:cubicBezTo>
                        <a:cubicBezTo>
                          <a:pt x="38843" y="19816"/>
                          <a:pt x="38843" y="20917"/>
                          <a:pt x="38843" y="20917"/>
                        </a:cubicBezTo>
                        <a:cubicBezTo>
                          <a:pt x="38843" y="20917"/>
                          <a:pt x="38843" y="20917"/>
                          <a:pt x="38843" y="22018"/>
                        </a:cubicBezTo>
                        <a:cubicBezTo>
                          <a:pt x="38150" y="22018"/>
                          <a:pt x="37456" y="22018"/>
                          <a:pt x="37456" y="22018"/>
                        </a:cubicBezTo>
                        <a:cubicBezTo>
                          <a:pt x="37456" y="22018"/>
                          <a:pt x="36763" y="22018"/>
                          <a:pt x="36069" y="22018"/>
                        </a:cubicBezTo>
                        <a:cubicBezTo>
                          <a:pt x="36069" y="22018"/>
                          <a:pt x="35375" y="22018"/>
                          <a:pt x="35375" y="22018"/>
                        </a:cubicBezTo>
                        <a:cubicBezTo>
                          <a:pt x="34682" y="22018"/>
                          <a:pt x="34682" y="23119"/>
                          <a:pt x="34682" y="23119"/>
                        </a:cubicBezTo>
                        <a:cubicBezTo>
                          <a:pt x="34682" y="23119"/>
                          <a:pt x="33294" y="22018"/>
                          <a:pt x="33294" y="22018"/>
                        </a:cubicBezTo>
                        <a:cubicBezTo>
                          <a:pt x="32601" y="22018"/>
                          <a:pt x="32601" y="20917"/>
                          <a:pt x="32601" y="19816"/>
                        </a:cubicBezTo>
                        <a:cubicBezTo>
                          <a:pt x="32601" y="19816"/>
                          <a:pt x="31907" y="17614"/>
                          <a:pt x="31907" y="17614"/>
                        </a:cubicBezTo>
                        <a:cubicBezTo>
                          <a:pt x="31213" y="18715"/>
                          <a:pt x="31213" y="18715"/>
                          <a:pt x="31213" y="18715"/>
                        </a:cubicBezTo>
                        <a:cubicBezTo>
                          <a:pt x="29132" y="18715"/>
                          <a:pt x="29132" y="18715"/>
                          <a:pt x="29132" y="18715"/>
                        </a:cubicBezTo>
                        <a:cubicBezTo>
                          <a:pt x="27745" y="17614"/>
                          <a:pt x="27745" y="17614"/>
                          <a:pt x="27745" y="17614"/>
                        </a:cubicBezTo>
                        <a:cubicBezTo>
                          <a:pt x="27745" y="19816"/>
                          <a:pt x="27745" y="19816"/>
                          <a:pt x="27745" y="19816"/>
                        </a:cubicBezTo>
                        <a:cubicBezTo>
                          <a:pt x="27745" y="19816"/>
                          <a:pt x="28439" y="20917"/>
                          <a:pt x="28439" y="20917"/>
                        </a:cubicBezTo>
                        <a:cubicBezTo>
                          <a:pt x="28439" y="20917"/>
                          <a:pt x="27745" y="20917"/>
                          <a:pt x="27745" y="20917"/>
                        </a:cubicBezTo>
                        <a:cubicBezTo>
                          <a:pt x="27052" y="22018"/>
                          <a:pt x="27052" y="22018"/>
                          <a:pt x="27052" y="22018"/>
                        </a:cubicBezTo>
                        <a:cubicBezTo>
                          <a:pt x="26358" y="22018"/>
                          <a:pt x="26358" y="22018"/>
                          <a:pt x="26358" y="22018"/>
                        </a:cubicBezTo>
                        <a:cubicBezTo>
                          <a:pt x="26358" y="22018"/>
                          <a:pt x="25664" y="24220"/>
                          <a:pt x="25664" y="24220"/>
                        </a:cubicBezTo>
                        <a:cubicBezTo>
                          <a:pt x="25664" y="25321"/>
                          <a:pt x="24971" y="25321"/>
                          <a:pt x="24971" y="25321"/>
                        </a:cubicBezTo>
                        <a:cubicBezTo>
                          <a:pt x="24971" y="25321"/>
                          <a:pt x="24277" y="25321"/>
                          <a:pt x="24971" y="26422"/>
                        </a:cubicBezTo>
                        <a:cubicBezTo>
                          <a:pt x="25664" y="26422"/>
                          <a:pt x="26358" y="26422"/>
                          <a:pt x="26358" y="26422"/>
                        </a:cubicBezTo>
                        <a:cubicBezTo>
                          <a:pt x="27052" y="26422"/>
                          <a:pt x="27745" y="26422"/>
                          <a:pt x="27745" y="26422"/>
                        </a:cubicBezTo>
                        <a:cubicBezTo>
                          <a:pt x="27745" y="26422"/>
                          <a:pt x="29132" y="25321"/>
                          <a:pt x="29132" y="25321"/>
                        </a:cubicBezTo>
                        <a:cubicBezTo>
                          <a:pt x="29132" y="26422"/>
                          <a:pt x="29132" y="26422"/>
                          <a:pt x="29132" y="26422"/>
                        </a:cubicBezTo>
                        <a:cubicBezTo>
                          <a:pt x="29132" y="28623"/>
                          <a:pt x="29132" y="28623"/>
                          <a:pt x="29132" y="28623"/>
                        </a:cubicBezTo>
                        <a:cubicBezTo>
                          <a:pt x="28439" y="28623"/>
                          <a:pt x="28439" y="28623"/>
                          <a:pt x="28439" y="28623"/>
                        </a:cubicBezTo>
                        <a:cubicBezTo>
                          <a:pt x="28439" y="28623"/>
                          <a:pt x="28439" y="29724"/>
                          <a:pt x="28439" y="29724"/>
                        </a:cubicBezTo>
                        <a:cubicBezTo>
                          <a:pt x="27745" y="30825"/>
                          <a:pt x="27052" y="30825"/>
                          <a:pt x="27052" y="30825"/>
                        </a:cubicBezTo>
                        <a:cubicBezTo>
                          <a:pt x="26358" y="31926"/>
                          <a:pt x="26358" y="31926"/>
                          <a:pt x="26358" y="33027"/>
                        </a:cubicBezTo>
                        <a:cubicBezTo>
                          <a:pt x="26358" y="34128"/>
                          <a:pt x="25664" y="36330"/>
                          <a:pt x="25664" y="36330"/>
                        </a:cubicBezTo>
                        <a:cubicBezTo>
                          <a:pt x="24277" y="37431"/>
                          <a:pt x="24277" y="37431"/>
                          <a:pt x="24277" y="37431"/>
                        </a:cubicBezTo>
                        <a:cubicBezTo>
                          <a:pt x="22890" y="39633"/>
                          <a:pt x="22890" y="39633"/>
                          <a:pt x="22890" y="39633"/>
                        </a:cubicBezTo>
                        <a:cubicBezTo>
                          <a:pt x="22196" y="39633"/>
                          <a:pt x="22196" y="39633"/>
                          <a:pt x="22196" y="39633"/>
                        </a:cubicBezTo>
                        <a:cubicBezTo>
                          <a:pt x="21502" y="40733"/>
                          <a:pt x="21502" y="40733"/>
                          <a:pt x="21502" y="40733"/>
                        </a:cubicBezTo>
                        <a:cubicBezTo>
                          <a:pt x="21502" y="41834"/>
                          <a:pt x="21502" y="41834"/>
                          <a:pt x="21502" y="41834"/>
                        </a:cubicBezTo>
                        <a:cubicBezTo>
                          <a:pt x="20115" y="42935"/>
                          <a:pt x="20115" y="42935"/>
                          <a:pt x="20115" y="42935"/>
                        </a:cubicBezTo>
                        <a:cubicBezTo>
                          <a:pt x="20115" y="45137"/>
                          <a:pt x="20115" y="45137"/>
                          <a:pt x="20115" y="45137"/>
                        </a:cubicBezTo>
                        <a:cubicBezTo>
                          <a:pt x="19421" y="46238"/>
                          <a:pt x="19421" y="46238"/>
                          <a:pt x="19421" y="46238"/>
                        </a:cubicBezTo>
                        <a:cubicBezTo>
                          <a:pt x="18728" y="46238"/>
                          <a:pt x="18728" y="46238"/>
                          <a:pt x="18728" y="46238"/>
                        </a:cubicBezTo>
                        <a:cubicBezTo>
                          <a:pt x="18034" y="48440"/>
                          <a:pt x="18034" y="48440"/>
                          <a:pt x="18034" y="48440"/>
                        </a:cubicBezTo>
                        <a:cubicBezTo>
                          <a:pt x="18034" y="48440"/>
                          <a:pt x="17341" y="49541"/>
                          <a:pt x="17341" y="49541"/>
                        </a:cubicBezTo>
                        <a:cubicBezTo>
                          <a:pt x="16647" y="49541"/>
                          <a:pt x="15953" y="50642"/>
                          <a:pt x="15953" y="50642"/>
                        </a:cubicBezTo>
                        <a:cubicBezTo>
                          <a:pt x="14566" y="50642"/>
                          <a:pt x="14566" y="50642"/>
                          <a:pt x="14566" y="50642"/>
                        </a:cubicBezTo>
                        <a:cubicBezTo>
                          <a:pt x="14566" y="50642"/>
                          <a:pt x="13872" y="50642"/>
                          <a:pt x="13179" y="51743"/>
                        </a:cubicBezTo>
                        <a:cubicBezTo>
                          <a:pt x="13179" y="52844"/>
                          <a:pt x="13179" y="52844"/>
                          <a:pt x="13179" y="52844"/>
                        </a:cubicBezTo>
                        <a:cubicBezTo>
                          <a:pt x="13179" y="53944"/>
                          <a:pt x="13872" y="55045"/>
                          <a:pt x="13872" y="55045"/>
                        </a:cubicBezTo>
                        <a:cubicBezTo>
                          <a:pt x="13872" y="57247"/>
                          <a:pt x="13872" y="57247"/>
                          <a:pt x="13872" y="57247"/>
                        </a:cubicBezTo>
                        <a:cubicBezTo>
                          <a:pt x="13872" y="57247"/>
                          <a:pt x="13179" y="57247"/>
                          <a:pt x="13179" y="58348"/>
                        </a:cubicBezTo>
                        <a:cubicBezTo>
                          <a:pt x="13179" y="58348"/>
                          <a:pt x="13179" y="59449"/>
                          <a:pt x="13179" y="59449"/>
                        </a:cubicBezTo>
                        <a:cubicBezTo>
                          <a:pt x="13179" y="59449"/>
                          <a:pt x="13179" y="60550"/>
                          <a:pt x="13179" y="60550"/>
                        </a:cubicBezTo>
                        <a:cubicBezTo>
                          <a:pt x="13179" y="60550"/>
                          <a:pt x="13179" y="61651"/>
                          <a:pt x="13179" y="61651"/>
                        </a:cubicBezTo>
                        <a:cubicBezTo>
                          <a:pt x="13179" y="61651"/>
                          <a:pt x="13179" y="62752"/>
                          <a:pt x="12485" y="63853"/>
                        </a:cubicBezTo>
                        <a:cubicBezTo>
                          <a:pt x="12485" y="63853"/>
                          <a:pt x="11791" y="64954"/>
                          <a:pt x="11791" y="64954"/>
                        </a:cubicBezTo>
                        <a:cubicBezTo>
                          <a:pt x="11791" y="64954"/>
                          <a:pt x="10404" y="64954"/>
                          <a:pt x="10404" y="64954"/>
                        </a:cubicBezTo>
                        <a:cubicBezTo>
                          <a:pt x="10404" y="66055"/>
                          <a:pt x="9017" y="66055"/>
                          <a:pt x="9017" y="66055"/>
                        </a:cubicBezTo>
                        <a:cubicBezTo>
                          <a:pt x="7630" y="68256"/>
                          <a:pt x="7630" y="68256"/>
                          <a:pt x="7630" y="68256"/>
                        </a:cubicBezTo>
                        <a:cubicBezTo>
                          <a:pt x="4855" y="72660"/>
                          <a:pt x="4855" y="72660"/>
                          <a:pt x="4855" y="72660"/>
                        </a:cubicBezTo>
                        <a:cubicBezTo>
                          <a:pt x="4855" y="72660"/>
                          <a:pt x="4855" y="73761"/>
                          <a:pt x="4855" y="73761"/>
                        </a:cubicBezTo>
                        <a:cubicBezTo>
                          <a:pt x="4855" y="73761"/>
                          <a:pt x="4855" y="75963"/>
                          <a:pt x="4855" y="75963"/>
                        </a:cubicBezTo>
                        <a:cubicBezTo>
                          <a:pt x="4855" y="77064"/>
                          <a:pt x="4161" y="78165"/>
                          <a:pt x="4161" y="78165"/>
                        </a:cubicBezTo>
                        <a:cubicBezTo>
                          <a:pt x="3468" y="79266"/>
                          <a:pt x="3468" y="79266"/>
                          <a:pt x="3468" y="79266"/>
                        </a:cubicBezTo>
                        <a:cubicBezTo>
                          <a:pt x="3468" y="81467"/>
                          <a:pt x="3468" y="81467"/>
                          <a:pt x="3468" y="81467"/>
                        </a:cubicBezTo>
                        <a:cubicBezTo>
                          <a:pt x="3468" y="82568"/>
                          <a:pt x="3468" y="82568"/>
                          <a:pt x="3468" y="82568"/>
                        </a:cubicBezTo>
                        <a:cubicBezTo>
                          <a:pt x="4161" y="83669"/>
                          <a:pt x="4161" y="83669"/>
                          <a:pt x="4161" y="83669"/>
                        </a:cubicBezTo>
                        <a:cubicBezTo>
                          <a:pt x="4855" y="84770"/>
                          <a:pt x="4855" y="84770"/>
                          <a:pt x="4855" y="84770"/>
                        </a:cubicBezTo>
                        <a:cubicBezTo>
                          <a:pt x="4855" y="88073"/>
                          <a:pt x="4855" y="88073"/>
                          <a:pt x="4855" y="88073"/>
                        </a:cubicBezTo>
                        <a:cubicBezTo>
                          <a:pt x="4161" y="90275"/>
                          <a:pt x="4161" y="90275"/>
                          <a:pt x="4161" y="90275"/>
                        </a:cubicBezTo>
                        <a:cubicBezTo>
                          <a:pt x="4161" y="92477"/>
                          <a:pt x="4161" y="92477"/>
                          <a:pt x="4161" y="92477"/>
                        </a:cubicBezTo>
                        <a:cubicBezTo>
                          <a:pt x="2774" y="92477"/>
                          <a:pt x="2774" y="92477"/>
                          <a:pt x="2774" y="92477"/>
                        </a:cubicBezTo>
                        <a:cubicBezTo>
                          <a:pt x="2774" y="92477"/>
                          <a:pt x="2080" y="93577"/>
                          <a:pt x="1387" y="93577"/>
                        </a:cubicBezTo>
                        <a:cubicBezTo>
                          <a:pt x="1387" y="93577"/>
                          <a:pt x="693" y="94678"/>
                          <a:pt x="693" y="94678"/>
                        </a:cubicBezTo>
                        <a:cubicBezTo>
                          <a:pt x="0" y="95779"/>
                          <a:pt x="0" y="95779"/>
                          <a:pt x="0" y="95779"/>
                        </a:cubicBezTo>
                        <a:cubicBezTo>
                          <a:pt x="693" y="96880"/>
                          <a:pt x="693" y="96880"/>
                          <a:pt x="693" y="96880"/>
                        </a:cubicBezTo>
                        <a:cubicBezTo>
                          <a:pt x="693" y="99082"/>
                          <a:pt x="693" y="99082"/>
                          <a:pt x="693" y="99082"/>
                        </a:cubicBezTo>
                        <a:cubicBezTo>
                          <a:pt x="1387" y="99082"/>
                          <a:pt x="1387" y="99082"/>
                          <a:pt x="1387" y="99082"/>
                        </a:cubicBezTo>
                        <a:cubicBezTo>
                          <a:pt x="2774" y="97981"/>
                          <a:pt x="2774" y="97981"/>
                          <a:pt x="2774" y="97981"/>
                        </a:cubicBezTo>
                        <a:cubicBezTo>
                          <a:pt x="4161" y="99082"/>
                          <a:pt x="4161" y="99082"/>
                          <a:pt x="4161" y="99082"/>
                        </a:cubicBezTo>
                        <a:cubicBezTo>
                          <a:pt x="6242" y="97981"/>
                          <a:pt x="6242" y="97981"/>
                          <a:pt x="6242" y="97981"/>
                        </a:cubicBezTo>
                        <a:cubicBezTo>
                          <a:pt x="6242" y="97981"/>
                          <a:pt x="6242" y="96880"/>
                          <a:pt x="6936" y="95779"/>
                        </a:cubicBezTo>
                        <a:cubicBezTo>
                          <a:pt x="7630" y="94678"/>
                          <a:pt x="8323" y="94678"/>
                          <a:pt x="8323" y="94678"/>
                        </a:cubicBezTo>
                        <a:cubicBezTo>
                          <a:pt x="9017" y="92477"/>
                          <a:pt x="9017" y="92477"/>
                          <a:pt x="9017" y="92477"/>
                        </a:cubicBezTo>
                        <a:cubicBezTo>
                          <a:pt x="8323" y="92477"/>
                          <a:pt x="8323" y="92477"/>
                          <a:pt x="8323" y="92477"/>
                        </a:cubicBezTo>
                        <a:cubicBezTo>
                          <a:pt x="8323" y="90275"/>
                          <a:pt x="8323" y="90275"/>
                          <a:pt x="8323" y="90275"/>
                        </a:cubicBezTo>
                        <a:cubicBezTo>
                          <a:pt x="6936" y="89174"/>
                          <a:pt x="6936" y="89174"/>
                          <a:pt x="6936" y="89174"/>
                        </a:cubicBezTo>
                        <a:cubicBezTo>
                          <a:pt x="6936" y="89174"/>
                          <a:pt x="6936" y="88073"/>
                          <a:pt x="6936" y="88073"/>
                        </a:cubicBezTo>
                        <a:cubicBezTo>
                          <a:pt x="7630" y="86972"/>
                          <a:pt x="8323" y="84770"/>
                          <a:pt x="8323" y="84770"/>
                        </a:cubicBezTo>
                        <a:cubicBezTo>
                          <a:pt x="10404" y="83669"/>
                          <a:pt x="10404" y="83669"/>
                          <a:pt x="10404" y="83669"/>
                        </a:cubicBezTo>
                        <a:cubicBezTo>
                          <a:pt x="12485" y="82568"/>
                          <a:pt x="12485" y="82568"/>
                          <a:pt x="12485" y="82568"/>
                        </a:cubicBezTo>
                        <a:cubicBezTo>
                          <a:pt x="13179" y="81467"/>
                          <a:pt x="13179" y="81467"/>
                          <a:pt x="13179" y="81467"/>
                        </a:cubicBezTo>
                        <a:cubicBezTo>
                          <a:pt x="14566" y="80366"/>
                          <a:pt x="14566" y="80366"/>
                          <a:pt x="14566" y="80366"/>
                        </a:cubicBezTo>
                        <a:cubicBezTo>
                          <a:pt x="14566" y="80366"/>
                          <a:pt x="16647" y="80366"/>
                          <a:pt x="16647" y="80366"/>
                        </a:cubicBezTo>
                        <a:cubicBezTo>
                          <a:pt x="16647" y="80366"/>
                          <a:pt x="19421" y="80366"/>
                          <a:pt x="19421" y="80366"/>
                        </a:cubicBezTo>
                        <a:lnTo>
                          <a:pt x="21502" y="82568"/>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3" name="Shape 2025"/>
                  <p:cNvSpPr/>
                  <p:nvPr/>
                </p:nvSpPr>
                <p:spPr>
                  <a:xfrm>
                    <a:off x="5753789" y="1798916"/>
                    <a:ext cx="494744" cy="296185"/>
                  </a:xfrm>
                  <a:custGeom>
                    <a:avLst/>
                    <a:gdLst/>
                    <a:ahLst/>
                    <a:cxnLst/>
                    <a:rect l="0" t="0" r="0" b="0"/>
                    <a:pathLst>
                      <a:path w="120000" h="120000" extrusionOk="0">
                        <a:moveTo>
                          <a:pt x="10506" y="40298"/>
                        </a:moveTo>
                        <a:cubicBezTo>
                          <a:pt x="13271" y="35820"/>
                          <a:pt x="13271" y="35820"/>
                          <a:pt x="13271" y="35820"/>
                        </a:cubicBezTo>
                        <a:cubicBezTo>
                          <a:pt x="13271" y="35820"/>
                          <a:pt x="16589" y="31343"/>
                          <a:pt x="17142" y="31343"/>
                        </a:cubicBezTo>
                        <a:cubicBezTo>
                          <a:pt x="18248" y="30447"/>
                          <a:pt x="19907" y="28656"/>
                          <a:pt x="19907" y="29552"/>
                        </a:cubicBezTo>
                        <a:cubicBezTo>
                          <a:pt x="19907" y="30447"/>
                          <a:pt x="20460" y="36716"/>
                          <a:pt x="20460" y="36716"/>
                        </a:cubicBezTo>
                        <a:cubicBezTo>
                          <a:pt x="23225" y="38507"/>
                          <a:pt x="23225" y="38507"/>
                          <a:pt x="23225" y="38507"/>
                        </a:cubicBezTo>
                        <a:cubicBezTo>
                          <a:pt x="25437" y="41194"/>
                          <a:pt x="25437" y="41194"/>
                          <a:pt x="25437" y="41194"/>
                        </a:cubicBezTo>
                        <a:cubicBezTo>
                          <a:pt x="29861" y="44776"/>
                          <a:pt x="29861" y="44776"/>
                          <a:pt x="29861" y="44776"/>
                        </a:cubicBezTo>
                        <a:cubicBezTo>
                          <a:pt x="30414" y="47462"/>
                          <a:pt x="30414" y="47462"/>
                          <a:pt x="30414" y="47462"/>
                        </a:cubicBezTo>
                        <a:cubicBezTo>
                          <a:pt x="30414" y="47462"/>
                          <a:pt x="29861" y="49253"/>
                          <a:pt x="30967" y="51940"/>
                        </a:cubicBezTo>
                        <a:cubicBezTo>
                          <a:pt x="32626" y="54626"/>
                          <a:pt x="33179" y="54626"/>
                          <a:pt x="33732" y="57313"/>
                        </a:cubicBezTo>
                        <a:cubicBezTo>
                          <a:pt x="34285" y="59104"/>
                          <a:pt x="36497" y="60895"/>
                          <a:pt x="36497" y="60895"/>
                        </a:cubicBezTo>
                        <a:cubicBezTo>
                          <a:pt x="39262" y="61791"/>
                          <a:pt x="39262" y="61791"/>
                          <a:pt x="39262" y="61791"/>
                        </a:cubicBezTo>
                        <a:cubicBezTo>
                          <a:pt x="39262" y="61791"/>
                          <a:pt x="42027" y="63582"/>
                          <a:pt x="42580" y="62686"/>
                        </a:cubicBezTo>
                        <a:cubicBezTo>
                          <a:pt x="43133" y="61791"/>
                          <a:pt x="45898" y="58208"/>
                          <a:pt x="45898" y="57313"/>
                        </a:cubicBezTo>
                        <a:cubicBezTo>
                          <a:pt x="46451" y="56417"/>
                          <a:pt x="48110" y="52835"/>
                          <a:pt x="48663" y="51940"/>
                        </a:cubicBezTo>
                        <a:cubicBezTo>
                          <a:pt x="49216" y="51044"/>
                          <a:pt x="50875" y="44776"/>
                          <a:pt x="50875" y="43880"/>
                        </a:cubicBezTo>
                        <a:cubicBezTo>
                          <a:pt x="50875" y="42089"/>
                          <a:pt x="48663" y="34925"/>
                          <a:pt x="48110" y="33134"/>
                        </a:cubicBezTo>
                        <a:cubicBezTo>
                          <a:pt x="48110" y="31343"/>
                          <a:pt x="47557" y="25970"/>
                          <a:pt x="47557" y="25970"/>
                        </a:cubicBezTo>
                        <a:cubicBezTo>
                          <a:pt x="45345" y="18805"/>
                          <a:pt x="45345" y="18805"/>
                          <a:pt x="45345" y="18805"/>
                        </a:cubicBezTo>
                        <a:cubicBezTo>
                          <a:pt x="45345" y="18805"/>
                          <a:pt x="45345" y="14328"/>
                          <a:pt x="45898" y="14328"/>
                        </a:cubicBezTo>
                        <a:cubicBezTo>
                          <a:pt x="46451" y="13432"/>
                          <a:pt x="49216" y="9850"/>
                          <a:pt x="49216" y="9850"/>
                        </a:cubicBezTo>
                        <a:cubicBezTo>
                          <a:pt x="51981" y="5373"/>
                          <a:pt x="51981" y="5373"/>
                          <a:pt x="51981" y="5373"/>
                        </a:cubicBezTo>
                        <a:cubicBezTo>
                          <a:pt x="54746" y="2686"/>
                          <a:pt x="54746" y="2686"/>
                          <a:pt x="54746" y="2686"/>
                        </a:cubicBezTo>
                        <a:cubicBezTo>
                          <a:pt x="56958" y="0"/>
                          <a:pt x="56958" y="0"/>
                          <a:pt x="56958" y="0"/>
                        </a:cubicBezTo>
                        <a:cubicBezTo>
                          <a:pt x="59723" y="1791"/>
                          <a:pt x="59723" y="1791"/>
                          <a:pt x="59723" y="1791"/>
                        </a:cubicBezTo>
                        <a:cubicBezTo>
                          <a:pt x="61935" y="1791"/>
                          <a:pt x="61935" y="1791"/>
                          <a:pt x="61935" y="1791"/>
                        </a:cubicBezTo>
                        <a:cubicBezTo>
                          <a:pt x="64147" y="3582"/>
                          <a:pt x="64147" y="3582"/>
                          <a:pt x="64147" y="3582"/>
                        </a:cubicBezTo>
                        <a:cubicBezTo>
                          <a:pt x="66912" y="3582"/>
                          <a:pt x="66912" y="3582"/>
                          <a:pt x="66912" y="3582"/>
                        </a:cubicBezTo>
                        <a:cubicBezTo>
                          <a:pt x="69124" y="4477"/>
                          <a:pt x="69124" y="4477"/>
                          <a:pt x="69124" y="4477"/>
                        </a:cubicBezTo>
                        <a:cubicBezTo>
                          <a:pt x="71889" y="6268"/>
                          <a:pt x="71889" y="6268"/>
                          <a:pt x="71889" y="6268"/>
                        </a:cubicBezTo>
                        <a:cubicBezTo>
                          <a:pt x="76866" y="11641"/>
                          <a:pt x="76866" y="11641"/>
                          <a:pt x="76866" y="11641"/>
                        </a:cubicBezTo>
                        <a:cubicBezTo>
                          <a:pt x="78525" y="15223"/>
                          <a:pt x="78525" y="15223"/>
                          <a:pt x="78525" y="15223"/>
                        </a:cubicBezTo>
                        <a:cubicBezTo>
                          <a:pt x="80184" y="16119"/>
                          <a:pt x="80184" y="16119"/>
                          <a:pt x="80184" y="16119"/>
                        </a:cubicBezTo>
                        <a:cubicBezTo>
                          <a:pt x="80184" y="16119"/>
                          <a:pt x="81290" y="17910"/>
                          <a:pt x="82396" y="17014"/>
                        </a:cubicBezTo>
                        <a:cubicBezTo>
                          <a:pt x="82949" y="17014"/>
                          <a:pt x="83502" y="16119"/>
                          <a:pt x="84055" y="15223"/>
                        </a:cubicBezTo>
                        <a:cubicBezTo>
                          <a:pt x="85161" y="14328"/>
                          <a:pt x="85714" y="12537"/>
                          <a:pt x="85714" y="12537"/>
                        </a:cubicBezTo>
                        <a:cubicBezTo>
                          <a:pt x="86820" y="12537"/>
                          <a:pt x="86820" y="12537"/>
                          <a:pt x="86820" y="12537"/>
                        </a:cubicBezTo>
                        <a:cubicBezTo>
                          <a:pt x="87926" y="9850"/>
                          <a:pt x="87926" y="9850"/>
                          <a:pt x="87926" y="9850"/>
                        </a:cubicBezTo>
                        <a:cubicBezTo>
                          <a:pt x="92350" y="11641"/>
                          <a:pt x="92350" y="11641"/>
                          <a:pt x="92350" y="11641"/>
                        </a:cubicBezTo>
                        <a:cubicBezTo>
                          <a:pt x="94562" y="11641"/>
                          <a:pt x="94562" y="11641"/>
                          <a:pt x="94562" y="11641"/>
                        </a:cubicBezTo>
                        <a:cubicBezTo>
                          <a:pt x="97880" y="9850"/>
                          <a:pt x="97880" y="9850"/>
                          <a:pt x="97880" y="9850"/>
                        </a:cubicBezTo>
                        <a:cubicBezTo>
                          <a:pt x="99539" y="12537"/>
                          <a:pt x="99539" y="12537"/>
                          <a:pt x="99539" y="12537"/>
                        </a:cubicBezTo>
                        <a:cubicBezTo>
                          <a:pt x="99539" y="15223"/>
                          <a:pt x="99539" y="15223"/>
                          <a:pt x="99539" y="15223"/>
                        </a:cubicBezTo>
                        <a:cubicBezTo>
                          <a:pt x="101751" y="16119"/>
                          <a:pt x="101751" y="16119"/>
                          <a:pt x="101751" y="16119"/>
                        </a:cubicBezTo>
                        <a:cubicBezTo>
                          <a:pt x="101751" y="16119"/>
                          <a:pt x="103410" y="17910"/>
                          <a:pt x="103963" y="17910"/>
                        </a:cubicBezTo>
                        <a:cubicBezTo>
                          <a:pt x="104516" y="17910"/>
                          <a:pt x="105622" y="18805"/>
                          <a:pt x="105622" y="18805"/>
                        </a:cubicBezTo>
                        <a:cubicBezTo>
                          <a:pt x="106175" y="27761"/>
                          <a:pt x="106175" y="27761"/>
                          <a:pt x="106175" y="27761"/>
                        </a:cubicBezTo>
                        <a:cubicBezTo>
                          <a:pt x="105069" y="30447"/>
                          <a:pt x="105069" y="30447"/>
                          <a:pt x="105069" y="30447"/>
                        </a:cubicBezTo>
                        <a:cubicBezTo>
                          <a:pt x="106175" y="37611"/>
                          <a:pt x="106175" y="37611"/>
                          <a:pt x="106175" y="37611"/>
                        </a:cubicBezTo>
                        <a:cubicBezTo>
                          <a:pt x="106175" y="41194"/>
                          <a:pt x="106175" y="41194"/>
                          <a:pt x="106175" y="41194"/>
                        </a:cubicBezTo>
                        <a:cubicBezTo>
                          <a:pt x="108387" y="38507"/>
                          <a:pt x="108387" y="38507"/>
                          <a:pt x="108387" y="38507"/>
                        </a:cubicBezTo>
                        <a:cubicBezTo>
                          <a:pt x="110599" y="41194"/>
                          <a:pt x="110599" y="41194"/>
                          <a:pt x="110599" y="41194"/>
                        </a:cubicBezTo>
                        <a:cubicBezTo>
                          <a:pt x="109493" y="43880"/>
                          <a:pt x="109493" y="43880"/>
                          <a:pt x="109493" y="43880"/>
                        </a:cubicBezTo>
                        <a:cubicBezTo>
                          <a:pt x="112258" y="47462"/>
                          <a:pt x="112258" y="47462"/>
                          <a:pt x="112258" y="47462"/>
                        </a:cubicBezTo>
                        <a:cubicBezTo>
                          <a:pt x="114470" y="49253"/>
                          <a:pt x="114470" y="49253"/>
                          <a:pt x="114470" y="49253"/>
                        </a:cubicBezTo>
                        <a:cubicBezTo>
                          <a:pt x="113917" y="51940"/>
                          <a:pt x="113917" y="51940"/>
                          <a:pt x="113917" y="51940"/>
                        </a:cubicBezTo>
                        <a:cubicBezTo>
                          <a:pt x="113917" y="51940"/>
                          <a:pt x="114470" y="52835"/>
                          <a:pt x="115023" y="52835"/>
                        </a:cubicBezTo>
                        <a:cubicBezTo>
                          <a:pt x="115576" y="53731"/>
                          <a:pt x="116682" y="54626"/>
                          <a:pt x="116682" y="54626"/>
                        </a:cubicBezTo>
                        <a:cubicBezTo>
                          <a:pt x="116682" y="54626"/>
                          <a:pt x="117235" y="57313"/>
                          <a:pt x="117235" y="59104"/>
                        </a:cubicBezTo>
                        <a:cubicBezTo>
                          <a:pt x="117788" y="60000"/>
                          <a:pt x="120000" y="62686"/>
                          <a:pt x="120000" y="62686"/>
                        </a:cubicBezTo>
                        <a:cubicBezTo>
                          <a:pt x="119447" y="67164"/>
                          <a:pt x="119447" y="67164"/>
                          <a:pt x="119447" y="67164"/>
                        </a:cubicBezTo>
                        <a:cubicBezTo>
                          <a:pt x="119447" y="67164"/>
                          <a:pt x="119447" y="68955"/>
                          <a:pt x="119447" y="69850"/>
                        </a:cubicBezTo>
                        <a:cubicBezTo>
                          <a:pt x="119447" y="70746"/>
                          <a:pt x="119447" y="71641"/>
                          <a:pt x="119447" y="72537"/>
                        </a:cubicBezTo>
                        <a:cubicBezTo>
                          <a:pt x="119447" y="71641"/>
                          <a:pt x="119447" y="71641"/>
                          <a:pt x="119447" y="71641"/>
                        </a:cubicBezTo>
                        <a:cubicBezTo>
                          <a:pt x="116682" y="74328"/>
                          <a:pt x="116682" y="74328"/>
                          <a:pt x="116682" y="74328"/>
                        </a:cubicBezTo>
                        <a:cubicBezTo>
                          <a:pt x="116129" y="80597"/>
                          <a:pt x="116129" y="80597"/>
                          <a:pt x="116129" y="80597"/>
                        </a:cubicBezTo>
                        <a:cubicBezTo>
                          <a:pt x="113364" y="85074"/>
                          <a:pt x="113364" y="85074"/>
                          <a:pt x="113364" y="85074"/>
                        </a:cubicBezTo>
                        <a:cubicBezTo>
                          <a:pt x="114470" y="89552"/>
                          <a:pt x="114470" y="89552"/>
                          <a:pt x="114470" y="89552"/>
                        </a:cubicBezTo>
                        <a:cubicBezTo>
                          <a:pt x="113364" y="92238"/>
                          <a:pt x="113364" y="92238"/>
                          <a:pt x="113364" y="92238"/>
                        </a:cubicBezTo>
                        <a:cubicBezTo>
                          <a:pt x="108940" y="92238"/>
                          <a:pt x="108940" y="92238"/>
                          <a:pt x="108940" y="92238"/>
                        </a:cubicBezTo>
                        <a:cubicBezTo>
                          <a:pt x="108940" y="92238"/>
                          <a:pt x="108387" y="92238"/>
                          <a:pt x="106175" y="92238"/>
                        </a:cubicBezTo>
                        <a:cubicBezTo>
                          <a:pt x="103963" y="92238"/>
                          <a:pt x="104516" y="92238"/>
                          <a:pt x="104516" y="92238"/>
                        </a:cubicBezTo>
                        <a:cubicBezTo>
                          <a:pt x="102857" y="94925"/>
                          <a:pt x="102857" y="94925"/>
                          <a:pt x="102857" y="94925"/>
                        </a:cubicBezTo>
                        <a:cubicBezTo>
                          <a:pt x="102304" y="100298"/>
                          <a:pt x="102304" y="100298"/>
                          <a:pt x="102304" y="100298"/>
                        </a:cubicBezTo>
                        <a:cubicBezTo>
                          <a:pt x="102304" y="100298"/>
                          <a:pt x="101198" y="100298"/>
                          <a:pt x="98986" y="101194"/>
                        </a:cubicBezTo>
                        <a:cubicBezTo>
                          <a:pt x="97880" y="102089"/>
                          <a:pt x="97880" y="102985"/>
                          <a:pt x="97880" y="102985"/>
                        </a:cubicBezTo>
                        <a:cubicBezTo>
                          <a:pt x="97880" y="102985"/>
                          <a:pt x="97880" y="102985"/>
                          <a:pt x="97880" y="102985"/>
                        </a:cubicBezTo>
                        <a:cubicBezTo>
                          <a:pt x="96221" y="102985"/>
                          <a:pt x="96221" y="102985"/>
                          <a:pt x="96221" y="102985"/>
                        </a:cubicBezTo>
                        <a:cubicBezTo>
                          <a:pt x="93456" y="102089"/>
                          <a:pt x="93456" y="102089"/>
                          <a:pt x="93456" y="102089"/>
                        </a:cubicBezTo>
                        <a:cubicBezTo>
                          <a:pt x="91244" y="102089"/>
                          <a:pt x="91244" y="102089"/>
                          <a:pt x="91244" y="102089"/>
                        </a:cubicBezTo>
                        <a:cubicBezTo>
                          <a:pt x="90138" y="98507"/>
                          <a:pt x="90138" y="98507"/>
                          <a:pt x="90138" y="98507"/>
                        </a:cubicBezTo>
                        <a:cubicBezTo>
                          <a:pt x="88479" y="97611"/>
                          <a:pt x="88479" y="97611"/>
                          <a:pt x="88479" y="97611"/>
                        </a:cubicBezTo>
                        <a:cubicBezTo>
                          <a:pt x="86820" y="94029"/>
                          <a:pt x="86820" y="94029"/>
                          <a:pt x="86820" y="94029"/>
                        </a:cubicBezTo>
                        <a:cubicBezTo>
                          <a:pt x="84608" y="93134"/>
                          <a:pt x="84608" y="93134"/>
                          <a:pt x="84608" y="93134"/>
                        </a:cubicBezTo>
                        <a:cubicBezTo>
                          <a:pt x="83502" y="90447"/>
                          <a:pt x="83502" y="90447"/>
                          <a:pt x="83502" y="90447"/>
                        </a:cubicBezTo>
                        <a:cubicBezTo>
                          <a:pt x="80737" y="90447"/>
                          <a:pt x="80737" y="90447"/>
                          <a:pt x="80737" y="90447"/>
                        </a:cubicBezTo>
                        <a:cubicBezTo>
                          <a:pt x="79078" y="88656"/>
                          <a:pt x="79078" y="88656"/>
                          <a:pt x="79078" y="88656"/>
                        </a:cubicBezTo>
                        <a:cubicBezTo>
                          <a:pt x="78525" y="86865"/>
                          <a:pt x="78525" y="86865"/>
                          <a:pt x="78525" y="86865"/>
                        </a:cubicBezTo>
                        <a:cubicBezTo>
                          <a:pt x="76866" y="86865"/>
                          <a:pt x="76866" y="86865"/>
                          <a:pt x="76866" y="86865"/>
                        </a:cubicBezTo>
                        <a:cubicBezTo>
                          <a:pt x="74654" y="87761"/>
                          <a:pt x="74654" y="87761"/>
                          <a:pt x="74654" y="87761"/>
                        </a:cubicBezTo>
                        <a:cubicBezTo>
                          <a:pt x="70783" y="89552"/>
                          <a:pt x="70783" y="89552"/>
                          <a:pt x="70783" y="89552"/>
                        </a:cubicBezTo>
                        <a:cubicBezTo>
                          <a:pt x="68571" y="86865"/>
                          <a:pt x="68571" y="86865"/>
                          <a:pt x="68571" y="86865"/>
                        </a:cubicBezTo>
                        <a:cubicBezTo>
                          <a:pt x="68018" y="85970"/>
                          <a:pt x="68018" y="85970"/>
                          <a:pt x="68018" y="85970"/>
                        </a:cubicBezTo>
                        <a:cubicBezTo>
                          <a:pt x="65806" y="83283"/>
                          <a:pt x="65806" y="83283"/>
                          <a:pt x="65806" y="83283"/>
                        </a:cubicBezTo>
                        <a:cubicBezTo>
                          <a:pt x="64700" y="77910"/>
                          <a:pt x="64700" y="77910"/>
                          <a:pt x="64700" y="77910"/>
                        </a:cubicBezTo>
                        <a:cubicBezTo>
                          <a:pt x="64700" y="77910"/>
                          <a:pt x="62488" y="80597"/>
                          <a:pt x="61935" y="80597"/>
                        </a:cubicBezTo>
                        <a:cubicBezTo>
                          <a:pt x="61935" y="80597"/>
                          <a:pt x="60276" y="85074"/>
                          <a:pt x="60276" y="85074"/>
                        </a:cubicBezTo>
                        <a:cubicBezTo>
                          <a:pt x="59723" y="88656"/>
                          <a:pt x="59723" y="88656"/>
                          <a:pt x="59723" y="88656"/>
                        </a:cubicBezTo>
                        <a:cubicBezTo>
                          <a:pt x="56405" y="86865"/>
                          <a:pt x="56405" y="86865"/>
                          <a:pt x="56405" y="86865"/>
                        </a:cubicBezTo>
                        <a:cubicBezTo>
                          <a:pt x="56405" y="86865"/>
                          <a:pt x="54746" y="90447"/>
                          <a:pt x="54746" y="91343"/>
                        </a:cubicBezTo>
                        <a:cubicBezTo>
                          <a:pt x="54193" y="91343"/>
                          <a:pt x="51981" y="89552"/>
                          <a:pt x="51981" y="89552"/>
                        </a:cubicBezTo>
                        <a:cubicBezTo>
                          <a:pt x="48663" y="89552"/>
                          <a:pt x="48663" y="89552"/>
                          <a:pt x="48663" y="89552"/>
                        </a:cubicBezTo>
                        <a:cubicBezTo>
                          <a:pt x="48663" y="89552"/>
                          <a:pt x="45345" y="89552"/>
                          <a:pt x="44792" y="88656"/>
                        </a:cubicBezTo>
                        <a:cubicBezTo>
                          <a:pt x="44239" y="88656"/>
                          <a:pt x="44239" y="89552"/>
                          <a:pt x="44239" y="89552"/>
                        </a:cubicBezTo>
                        <a:cubicBezTo>
                          <a:pt x="41474" y="90447"/>
                          <a:pt x="41474" y="90447"/>
                          <a:pt x="41474" y="90447"/>
                        </a:cubicBezTo>
                        <a:cubicBezTo>
                          <a:pt x="38156" y="91343"/>
                          <a:pt x="38156" y="91343"/>
                          <a:pt x="38156" y="91343"/>
                        </a:cubicBezTo>
                        <a:cubicBezTo>
                          <a:pt x="38156" y="91343"/>
                          <a:pt x="37603" y="94925"/>
                          <a:pt x="37050" y="95820"/>
                        </a:cubicBezTo>
                        <a:cubicBezTo>
                          <a:pt x="36497" y="95820"/>
                          <a:pt x="34838" y="93134"/>
                          <a:pt x="34285" y="92238"/>
                        </a:cubicBezTo>
                        <a:cubicBezTo>
                          <a:pt x="34285" y="91343"/>
                          <a:pt x="32626" y="90447"/>
                          <a:pt x="32626" y="90447"/>
                        </a:cubicBezTo>
                        <a:cubicBezTo>
                          <a:pt x="30414" y="93134"/>
                          <a:pt x="30414" y="93134"/>
                          <a:pt x="30414" y="93134"/>
                        </a:cubicBezTo>
                        <a:cubicBezTo>
                          <a:pt x="30414" y="93134"/>
                          <a:pt x="26543" y="94029"/>
                          <a:pt x="25990" y="94029"/>
                        </a:cubicBezTo>
                        <a:cubicBezTo>
                          <a:pt x="25437" y="94029"/>
                          <a:pt x="22672" y="95820"/>
                          <a:pt x="22672" y="95820"/>
                        </a:cubicBezTo>
                        <a:cubicBezTo>
                          <a:pt x="18801" y="94925"/>
                          <a:pt x="18801" y="94925"/>
                          <a:pt x="18801" y="94925"/>
                        </a:cubicBezTo>
                        <a:cubicBezTo>
                          <a:pt x="17142" y="97611"/>
                          <a:pt x="17142" y="97611"/>
                          <a:pt x="17142" y="97611"/>
                        </a:cubicBezTo>
                        <a:cubicBezTo>
                          <a:pt x="13824" y="101194"/>
                          <a:pt x="13824" y="101194"/>
                          <a:pt x="13824" y="101194"/>
                        </a:cubicBezTo>
                        <a:cubicBezTo>
                          <a:pt x="11612" y="101194"/>
                          <a:pt x="11612" y="101194"/>
                          <a:pt x="11612" y="101194"/>
                        </a:cubicBezTo>
                        <a:cubicBezTo>
                          <a:pt x="10506" y="105671"/>
                          <a:pt x="10506" y="105671"/>
                          <a:pt x="10506" y="105671"/>
                        </a:cubicBezTo>
                        <a:cubicBezTo>
                          <a:pt x="8294" y="107462"/>
                          <a:pt x="8294" y="107462"/>
                          <a:pt x="8294" y="107462"/>
                        </a:cubicBezTo>
                        <a:cubicBezTo>
                          <a:pt x="7741" y="109253"/>
                          <a:pt x="7741" y="109253"/>
                          <a:pt x="7741" y="109253"/>
                        </a:cubicBezTo>
                        <a:cubicBezTo>
                          <a:pt x="7188" y="114626"/>
                          <a:pt x="7188" y="114626"/>
                          <a:pt x="7188" y="114626"/>
                        </a:cubicBezTo>
                        <a:cubicBezTo>
                          <a:pt x="7188" y="114626"/>
                          <a:pt x="5529" y="115522"/>
                          <a:pt x="4423" y="115522"/>
                        </a:cubicBezTo>
                        <a:cubicBezTo>
                          <a:pt x="3870" y="116417"/>
                          <a:pt x="4976" y="117313"/>
                          <a:pt x="4976" y="117313"/>
                        </a:cubicBezTo>
                        <a:cubicBezTo>
                          <a:pt x="4423" y="120000"/>
                          <a:pt x="4423" y="120000"/>
                          <a:pt x="4423" y="120000"/>
                        </a:cubicBezTo>
                        <a:cubicBezTo>
                          <a:pt x="4423" y="120000"/>
                          <a:pt x="3870" y="119104"/>
                          <a:pt x="3870" y="119104"/>
                        </a:cubicBezTo>
                        <a:cubicBezTo>
                          <a:pt x="3870" y="119104"/>
                          <a:pt x="3317" y="116417"/>
                          <a:pt x="2764" y="114626"/>
                        </a:cubicBezTo>
                        <a:cubicBezTo>
                          <a:pt x="1658" y="112835"/>
                          <a:pt x="552" y="104776"/>
                          <a:pt x="552" y="104776"/>
                        </a:cubicBezTo>
                        <a:cubicBezTo>
                          <a:pt x="1658" y="101194"/>
                          <a:pt x="1658" y="101194"/>
                          <a:pt x="1658" y="101194"/>
                        </a:cubicBezTo>
                        <a:cubicBezTo>
                          <a:pt x="1658" y="101194"/>
                          <a:pt x="1658" y="97611"/>
                          <a:pt x="1658" y="96716"/>
                        </a:cubicBezTo>
                        <a:cubicBezTo>
                          <a:pt x="1105" y="94925"/>
                          <a:pt x="552" y="86865"/>
                          <a:pt x="552" y="86865"/>
                        </a:cubicBezTo>
                        <a:cubicBezTo>
                          <a:pt x="552" y="86865"/>
                          <a:pt x="0" y="83283"/>
                          <a:pt x="0" y="82388"/>
                        </a:cubicBezTo>
                        <a:cubicBezTo>
                          <a:pt x="0" y="81492"/>
                          <a:pt x="3870" y="74328"/>
                          <a:pt x="3870" y="74328"/>
                        </a:cubicBezTo>
                        <a:cubicBezTo>
                          <a:pt x="3870" y="73432"/>
                          <a:pt x="4423" y="66268"/>
                          <a:pt x="4423" y="66268"/>
                        </a:cubicBezTo>
                        <a:cubicBezTo>
                          <a:pt x="3317" y="60895"/>
                          <a:pt x="3317" y="60895"/>
                          <a:pt x="3317" y="60895"/>
                        </a:cubicBezTo>
                        <a:cubicBezTo>
                          <a:pt x="4423" y="53731"/>
                          <a:pt x="4423" y="53731"/>
                          <a:pt x="4423" y="53731"/>
                        </a:cubicBezTo>
                        <a:cubicBezTo>
                          <a:pt x="5529" y="45671"/>
                          <a:pt x="5529" y="45671"/>
                          <a:pt x="5529" y="45671"/>
                        </a:cubicBezTo>
                        <a:cubicBezTo>
                          <a:pt x="5529" y="45671"/>
                          <a:pt x="6082" y="42089"/>
                          <a:pt x="6635" y="42089"/>
                        </a:cubicBezTo>
                        <a:cubicBezTo>
                          <a:pt x="7188" y="41194"/>
                          <a:pt x="10506" y="40298"/>
                          <a:pt x="10506" y="4029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4" name="Shape 2026"/>
                  <p:cNvSpPr/>
                  <p:nvPr/>
                </p:nvSpPr>
                <p:spPr>
                  <a:xfrm>
                    <a:off x="5535001" y="3399175"/>
                    <a:ext cx="359513" cy="307905"/>
                  </a:xfrm>
                  <a:custGeom>
                    <a:avLst/>
                    <a:gdLst/>
                    <a:ahLst/>
                    <a:cxnLst/>
                    <a:rect l="0" t="0" r="0" b="0"/>
                    <a:pathLst>
                      <a:path w="120000" h="120000" extrusionOk="0">
                        <a:moveTo>
                          <a:pt x="110126" y="71654"/>
                        </a:moveTo>
                        <a:cubicBezTo>
                          <a:pt x="110886" y="71654"/>
                          <a:pt x="110886" y="71654"/>
                          <a:pt x="110886" y="71654"/>
                        </a:cubicBezTo>
                        <a:cubicBezTo>
                          <a:pt x="110886" y="71654"/>
                          <a:pt x="110886" y="71654"/>
                          <a:pt x="110886" y="71654"/>
                        </a:cubicBezTo>
                        <a:cubicBezTo>
                          <a:pt x="110126" y="71654"/>
                          <a:pt x="110126" y="71654"/>
                          <a:pt x="110126" y="71654"/>
                        </a:cubicBezTo>
                        <a:close/>
                        <a:moveTo>
                          <a:pt x="100253" y="7769"/>
                        </a:moveTo>
                        <a:cubicBezTo>
                          <a:pt x="100253" y="7769"/>
                          <a:pt x="100253" y="7769"/>
                          <a:pt x="100253" y="7769"/>
                        </a:cubicBezTo>
                        <a:cubicBezTo>
                          <a:pt x="104810" y="8633"/>
                          <a:pt x="104810" y="8633"/>
                          <a:pt x="104810" y="8633"/>
                        </a:cubicBezTo>
                        <a:cubicBezTo>
                          <a:pt x="107088" y="9496"/>
                          <a:pt x="107088" y="9496"/>
                          <a:pt x="107088" y="9496"/>
                        </a:cubicBezTo>
                        <a:cubicBezTo>
                          <a:pt x="107088" y="12086"/>
                          <a:pt x="107088" y="12086"/>
                          <a:pt x="107088" y="12086"/>
                        </a:cubicBezTo>
                        <a:cubicBezTo>
                          <a:pt x="107088" y="15539"/>
                          <a:pt x="107088" y="15539"/>
                          <a:pt x="107088" y="15539"/>
                        </a:cubicBezTo>
                        <a:cubicBezTo>
                          <a:pt x="107088" y="18129"/>
                          <a:pt x="107088" y="18129"/>
                          <a:pt x="107088" y="18129"/>
                        </a:cubicBezTo>
                        <a:cubicBezTo>
                          <a:pt x="104810" y="21582"/>
                          <a:pt x="104810" y="21582"/>
                          <a:pt x="104810" y="21582"/>
                        </a:cubicBezTo>
                        <a:cubicBezTo>
                          <a:pt x="104810" y="21582"/>
                          <a:pt x="104050" y="24172"/>
                          <a:pt x="104050" y="24172"/>
                        </a:cubicBezTo>
                        <a:cubicBezTo>
                          <a:pt x="104050" y="25035"/>
                          <a:pt x="103291" y="26762"/>
                          <a:pt x="103291" y="26762"/>
                        </a:cubicBezTo>
                        <a:cubicBezTo>
                          <a:pt x="103291" y="26762"/>
                          <a:pt x="101772" y="25899"/>
                          <a:pt x="102531" y="28489"/>
                        </a:cubicBezTo>
                        <a:cubicBezTo>
                          <a:pt x="102531" y="31079"/>
                          <a:pt x="103291" y="30215"/>
                          <a:pt x="103291" y="31079"/>
                        </a:cubicBezTo>
                        <a:cubicBezTo>
                          <a:pt x="103291" y="31942"/>
                          <a:pt x="103291" y="33669"/>
                          <a:pt x="103291" y="34532"/>
                        </a:cubicBezTo>
                        <a:cubicBezTo>
                          <a:pt x="102531" y="35395"/>
                          <a:pt x="103291" y="35395"/>
                          <a:pt x="102531" y="36258"/>
                        </a:cubicBezTo>
                        <a:cubicBezTo>
                          <a:pt x="102531" y="37122"/>
                          <a:pt x="104050" y="37985"/>
                          <a:pt x="105569" y="37985"/>
                        </a:cubicBezTo>
                        <a:cubicBezTo>
                          <a:pt x="107088" y="38848"/>
                          <a:pt x="107088" y="37985"/>
                          <a:pt x="107848" y="37985"/>
                        </a:cubicBezTo>
                        <a:cubicBezTo>
                          <a:pt x="108607" y="37985"/>
                          <a:pt x="109367" y="38848"/>
                          <a:pt x="110126" y="38848"/>
                        </a:cubicBezTo>
                        <a:cubicBezTo>
                          <a:pt x="110886" y="39712"/>
                          <a:pt x="110886" y="39712"/>
                          <a:pt x="110886" y="40575"/>
                        </a:cubicBezTo>
                        <a:cubicBezTo>
                          <a:pt x="111645" y="41438"/>
                          <a:pt x="112405" y="42302"/>
                          <a:pt x="113164" y="43165"/>
                        </a:cubicBezTo>
                        <a:cubicBezTo>
                          <a:pt x="113924" y="43165"/>
                          <a:pt x="113924" y="42302"/>
                          <a:pt x="114683" y="42302"/>
                        </a:cubicBezTo>
                        <a:cubicBezTo>
                          <a:pt x="114683" y="43165"/>
                          <a:pt x="115443" y="44028"/>
                          <a:pt x="116202" y="44028"/>
                        </a:cubicBezTo>
                        <a:cubicBezTo>
                          <a:pt x="116202" y="44892"/>
                          <a:pt x="116962" y="45755"/>
                          <a:pt x="117721" y="45755"/>
                        </a:cubicBezTo>
                        <a:cubicBezTo>
                          <a:pt x="117721" y="45755"/>
                          <a:pt x="119240" y="46618"/>
                          <a:pt x="119240" y="46618"/>
                        </a:cubicBezTo>
                        <a:cubicBezTo>
                          <a:pt x="120000" y="47482"/>
                          <a:pt x="119240" y="48345"/>
                          <a:pt x="119240" y="48345"/>
                        </a:cubicBezTo>
                        <a:cubicBezTo>
                          <a:pt x="118481" y="48345"/>
                          <a:pt x="118481" y="50071"/>
                          <a:pt x="117721" y="50071"/>
                        </a:cubicBezTo>
                        <a:cubicBezTo>
                          <a:pt x="117721" y="50071"/>
                          <a:pt x="115443" y="50935"/>
                          <a:pt x="115443" y="50935"/>
                        </a:cubicBezTo>
                        <a:cubicBezTo>
                          <a:pt x="114683" y="50935"/>
                          <a:pt x="113924" y="50935"/>
                          <a:pt x="113164" y="50935"/>
                        </a:cubicBezTo>
                        <a:cubicBezTo>
                          <a:pt x="112405" y="50935"/>
                          <a:pt x="111645" y="50935"/>
                          <a:pt x="110886" y="50071"/>
                        </a:cubicBezTo>
                        <a:cubicBezTo>
                          <a:pt x="110126" y="50071"/>
                          <a:pt x="110126" y="50071"/>
                          <a:pt x="109367" y="50071"/>
                        </a:cubicBezTo>
                        <a:cubicBezTo>
                          <a:pt x="109367" y="50935"/>
                          <a:pt x="109367" y="52661"/>
                          <a:pt x="109367" y="52661"/>
                        </a:cubicBezTo>
                        <a:cubicBezTo>
                          <a:pt x="109367" y="52661"/>
                          <a:pt x="110126" y="53525"/>
                          <a:pt x="110886" y="54388"/>
                        </a:cubicBezTo>
                        <a:cubicBezTo>
                          <a:pt x="110886" y="54388"/>
                          <a:pt x="112405" y="56115"/>
                          <a:pt x="113164" y="56115"/>
                        </a:cubicBezTo>
                        <a:cubicBezTo>
                          <a:pt x="113164" y="56115"/>
                          <a:pt x="113924" y="56978"/>
                          <a:pt x="114683" y="57841"/>
                        </a:cubicBezTo>
                        <a:cubicBezTo>
                          <a:pt x="115443" y="59568"/>
                          <a:pt x="115443" y="60431"/>
                          <a:pt x="115443" y="60431"/>
                        </a:cubicBezTo>
                        <a:cubicBezTo>
                          <a:pt x="119240" y="63884"/>
                          <a:pt x="119240" y="63884"/>
                          <a:pt x="119240" y="63884"/>
                        </a:cubicBezTo>
                        <a:cubicBezTo>
                          <a:pt x="119240" y="63884"/>
                          <a:pt x="119240" y="64748"/>
                          <a:pt x="119240" y="67338"/>
                        </a:cubicBezTo>
                        <a:cubicBezTo>
                          <a:pt x="119240" y="70791"/>
                          <a:pt x="118481" y="69064"/>
                          <a:pt x="117721" y="69064"/>
                        </a:cubicBezTo>
                        <a:cubicBezTo>
                          <a:pt x="116962" y="69064"/>
                          <a:pt x="116202" y="69064"/>
                          <a:pt x="114683" y="68201"/>
                        </a:cubicBezTo>
                        <a:cubicBezTo>
                          <a:pt x="113924" y="68201"/>
                          <a:pt x="113924" y="68201"/>
                          <a:pt x="113924" y="68201"/>
                        </a:cubicBezTo>
                        <a:cubicBezTo>
                          <a:pt x="112405" y="70791"/>
                          <a:pt x="112405" y="70791"/>
                          <a:pt x="112405" y="70791"/>
                        </a:cubicBezTo>
                        <a:cubicBezTo>
                          <a:pt x="112405" y="70791"/>
                          <a:pt x="110886" y="70791"/>
                          <a:pt x="110126" y="71654"/>
                        </a:cubicBezTo>
                        <a:cubicBezTo>
                          <a:pt x="109367" y="71654"/>
                          <a:pt x="109367" y="71654"/>
                          <a:pt x="109367" y="71654"/>
                        </a:cubicBezTo>
                        <a:cubicBezTo>
                          <a:pt x="109367" y="71654"/>
                          <a:pt x="107848" y="72517"/>
                          <a:pt x="107848" y="72517"/>
                        </a:cubicBezTo>
                        <a:cubicBezTo>
                          <a:pt x="107848" y="72517"/>
                          <a:pt x="107088" y="73381"/>
                          <a:pt x="107088" y="73381"/>
                        </a:cubicBezTo>
                        <a:cubicBezTo>
                          <a:pt x="106329" y="73381"/>
                          <a:pt x="106329" y="73381"/>
                          <a:pt x="106329" y="73381"/>
                        </a:cubicBezTo>
                        <a:cubicBezTo>
                          <a:pt x="105569" y="72517"/>
                          <a:pt x="105569" y="72517"/>
                          <a:pt x="105569" y="72517"/>
                        </a:cubicBezTo>
                        <a:cubicBezTo>
                          <a:pt x="104810" y="71654"/>
                          <a:pt x="104810" y="71654"/>
                          <a:pt x="104810" y="71654"/>
                        </a:cubicBezTo>
                        <a:cubicBezTo>
                          <a:pt x="103291" y="73381"/>
                          <a:pt x="103291" y="73381"/>
                          <a:pt x="103291" y="73381"/>
                        </a:cubicBezTo>
                        <a:cubicBezTo>
                          <a:pt x="102531" y="74244"/>
                          <a:pt x="102531" y="74244"/>
                          <a:pt x="102531" y="74244"/>
                        </a:cubicBezTo>
                        <a:cubicBezTo>
                          <a:pt x="102531" y="74244"/>
                          <a:pt x="102531" y="75107"/>
                          <a:pt x="102531" y="75107"/>
                        </a:cubicBezTo>
                        <a:cubicBezTo>
                          <a:pt x="102531" y="75107"/>
                          <a:pt x="104050" y="75107"/>
                          <a:pt x="104050" y="75107"/>
                        </a:cubicBezTo>
                        <a:cubicBezTo>
                          <a:pt x="104050" y="76834"/>
                          <a:pt x="104050" y="76834"/>
                          <a:pt x="104050" y="76834"/>
                        </a:cubicBezTo>
                        <a:cubicBezTo>
                          <a:pt x="104050" y="76834"/>
                          <a:pt x="104050" y="76834"/>
                          <a:pt x="104810" y="76834"/>
                        </a:cubicBezTo>
                        <a:cubicBezTo>
                          <a:pt x="104810" y="76834"/>
                          <a:pt x="105569" y="77697"/>
                          <a:pt x="105569" y="77697"/>
                        </a:cubicBezTo>
                        <a:cubicBezTo>
                          <a:pt x="106329" y="78561"/>
                          <a:pt x="106329" y="78561"/>
                          <a:pt x="106329" y="78561"/>
                        </a:cubicBezTo>
                        <a:cubicBezTo>
                          <a:pt x="106329" y="80287"/>
                          <a:pt x="106329" y="80287"/>
                          <a:pt x="106329" y="80287"/>
                        </a:cubicBezTo>
                        <a:cubicBezTo>
                          <a:pt x="107848" y="81151"/>
                          <a:pt x="107848" y="81151"/>
                          <a:pt x="107848" y="81151"/>
                        </a:cubicBezTo>
                        <a:cubicBezTo>
                          <a:pt x="107848" y="82877"/>
                          <a:pt x="107848" y="82877"/>
                          <a:pt x="107848" y="82877"/>
                        </a:cubicBezTo>
                        <a:cubicBezTo>
                          <a:pt x="107088" y="83741"/>
                          <a:pt x="107088" y="83741"/>
                          <a:pt x="107088" y="83741"/>
                        </a:cubicBezTo>
                        <a:cubicBezTo>
                          <a:pt x="106329" y="84604"/>
                          <a:pt x="106329" y="84604"/>
                          <a:pt x="106329" y="84604"/>
                        </a:cubicBezTo>
                        <a:cubicBezTo>
                          <a:pt x="104810" y="84604"/>
                          <a:pt x="104810" y="84604"/>
                          <a:pt x="104810" y="84604"/>
                        </a:cubicBezTo>
                        <a:cubicBezTo>
                          <a:pt x="104810" y="83741"/>
                          <a:pt x="104810" y="83741"/>
                          <a:pt x="104810" y="83741"/>
                        </a:cubicBezTo>
                        <a:cubicBezTo>
                          <a:pt x="104050" y="82014"/>
                          <a:pt x="104050" y="82014"/>
                          <a:pt x="104050" y="82014"/>
                        </a:cubicBezTo>
                        <a:cubicBezTo>
                          <a:pt x="103291" y="81151"/>
                          <a:pt x="103291" y="81151"/>
                          <a:pt x="103291" y="81151"/>
                        </a:cubicBezTo>
                        <a:cubicBezTo>
                          <a:pt x="101012" y="82014"/>
                          <a:pt x="101012" y="82014"/>
                          <a:pt x="101012" y="82014"/>
                        </a:cubicBezTo>
                        <a:cubicBezTo>
                          <a:pt x="101012" y="83741"/>
                          <a:pt x="101012" y="83741"/>
                          <a:pt x="101012" y="83741"/>
                        </a:cubicBezTo>
                        <a:cubicBezTo>
                          <a:pt x="97215" y="87194"/>
                          <a:pt x="97215" y="87194"/>
                          <a:pt x="97215" y="87194"/>
                        </a:cubicBezTo>
                        <a:cubicBezTo>
                          <a:pt x="97974" y="88920"/>
                          <a:pt x="97974" y="88920"/>
                          <a:pt x="97974" y="88920"/>
                        </a:cubicBezTo>
                        <a:cubicBezTo>
                          <a:pt x="96455" y="90647"/>
                          <a:pt x="96455" y="90647"/>
                          <a:pt x="96455" y="90647"/>
                        </a:cubicBezTo>
                        <a:cubicBezTo>
                          <a:pt x="96455" y="93237"/>
                          <a:pt x="96455" y="93237"/>
                          <a:pt x="96455" y="93237"/>
                        </a:cubicBezTo>
                        <a:cubicBezTo>
                          <a:pt x="97215" y="95827"/>
                          <a:pt x="97215" y="95827"/>
                          <a:pt x="97215" y="95827"/>
                        </a:cubicBezTo>
                        <a:cubicBezTo>
                          <a:pt x="97215" y="97553"/>
                          <a:pt x="97215" y="97553"/>
                          <a:pt x="97215" y="97553"/>
                        </a:cubicBezTo>
                        <a:cubicBezTo>
                          <a:pt x="94177" y="98417"/>
                          <a:pt x="94177" y="98417"/>
                          <a:pt x="94177" y="98417"/>
                        </a:cubicBezTo>
                        <a:cubicBezTo>
                          <a:pt x="91898" y="99280"/>
                          <a:pt x="91898" y="99280"/>
                          <a:pt x="91898" y="99280"/>
                        </a:cubicBezTo>
                        <a:cubicBezTo>
                          <a:pt x="91898" y="101870"/>
                          <a:pt x="91898" y="101870"/>
                          <a:pt x="91898" y="101870"/>
                        </a:cubicBezTo>
                        <a:cubicBezTo>
                          <a:pt x="91898" y="102733"/>
                          <a:pt x="91898" y="102733"/>
                          <a:pt x="91898" y="102733"/>
                        </a:cubicBezTo>
                        <a:cubicBezTo>
                          <a:pt x="94177" y="106187"/>
                          <a:pt x="94177" y="106187"/>
                          <a:pt x="94177" y="106187"/>
                        </a:cubicBezTo>
                        <a:cubicBezTo>
                          <a:pt x="93417" y="107050"/>
                          <a:pt x="93417" y="107050"/>
                          <a:pt x="93417" y="107050"/>
                        </a:cubicBezTo>
                        <a:cubicBezTo>
                          <a:pt x="92658" y="107913"/>
                          <a:pt x="92658" y="107913"/>
                          <a:pt x="92658" y="107913"/>
                        </a:cubicBezTo>
                        <a:cubicBezTo>
                          <a:pt x="94936" y="111366"/>
                          <a:pt x="94936" y="111366"/>
                          <a:pt x="94936" y="111366"/>
                        </a:cubicBezTo>
                        <a:cubicBezTo>
                          <a:pt x="95696" y="112230"/>
                          <a:pt x="95696" y="112230"/>
                          <a:pt x="95696" y="112230"/>
                        </a:cubicBezTo>
                        <a:cubicBezTo>
                          <a:pt x="97215" y="112230"/>
                          <a:pt x="97215" y="112230"/>
                          <a:pt x="97215" y="112230"/>
                        </a:cubicBezTo>
                        <a:cubicBezTo>
                          <a:pt x="97215" y="113956"/>
                          <a:pt x="97215" y="113956"/>
                          <a:pt x="97215" y="113956"/>
                        </a:cubicBezTo>
                        <a:cubicBezTo>
                          <a:pt x="97215" y="114820"/>
                          <a:pt x="97215" y="114820"/>
                          <a:pt x="97215" y="114820"/>
                        </a:cubicBezTo>
                        <a:cubicBezTo>
                          <a:pt x="97215" y="116546"/>
                          <a:pt x="97215" y="116546"/>
                          <a:pt x="97215" y="116546"/>
                        </a:cubicBezTo>
                        <a:cubicBezTo>
                          <a:pt x="95696" y="118273"/>
                          <a:pt x="95696" y="118273"/>
                          <a:pt x="95696" y="118273"/>
                        </a:cubicBezTo>
                        <a:cubicBezTo>
                          <a:pt x="96455" y="120000"/>
                          <a:pt x="96455" y="120000"/>
                          <a:pt x="96455" y="120000"/>
                        </a:cubicBezTo>
                        <a:cubicBezTo>
                          <a:pt x="94936" y="119136"/>
                          <a:pt x="94936" y="119136"/>
                          <a:pt x="94936" y="119136"/>
                        </a:cubicBezTo>
                        <a:cubicBezTo>
                          <a:pt x="94177" y="120000"/>
                          <a:pt x="94177" y="120000"/>
                          <a:pt x="94177" y="120000"/>
                        </a:cubicBezTo>
                        <a:cubicBezTo>
                          <a:pt x="94177" y="120000"/>
                          <a:pt x="94177" y="120000"/>
                          <a:pt x="94177" y="120000"/>
                        </a:cubicBezTo>
                        <a:cubicBezTo>
                          <a:pt x="91898" y="119136"/>
                          <a:pt x="91898" y="119136"/>
                          <a:pt x="91898" y="119136"/>
                        </a:cubicBezTo>
                        <a:cubicBezTo>
                          <a:pt x="91898" y="119136"/>
                          <a:pt x="90379" y="120000"/>
                          <a:pt x="89620" y="120000"/>
                        </a:cubicBezTo>
                        <a:cubicBezTo>
                          <a:pt x="89620" y="120000"/>
                          <a:pt x="88860" y="120000"/>
                          <a:pt x="88860" y="120000"/>
                        </a:cubicBezTo>
                        <a:cubicBezTo>
                          <a:pt x="88860" y="120000"/>
                          <a:pt x="87341"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9136"/>
                          <a:pt x="86582" y="119136"/>
                          <a:pt x="86582" y="119136"/>
                        </a:cubicBezTo>
                        <a:cubicBezTo>
                          <a:pt x="86582" y="118273"/>
                          <a:pt x="86582" y="118273"/>
                          <a:pt x="86582" y="118273"/>
                        </a:cubicBezTo>
                        <a:cubicBezTo>
                          <a:pt x="86582" y="118273"/>
                          <a:pt x="86582" y="118273"/>
                          <a:pt x="86582" y="118273"/>
                        </a:cubicBezTo>
                        <a:cubicBezTo>
                          <a:pt x="86582" y="118273"/>
                          <a:pt x="86582" y="118273"/>
                          <a:pt x="86582" y="118273"/>
                        </a:cubicBezTo>
                        <a:cubicBezTo>
                          <a:pt x="86582" y="118273"/>
                          <a:pt x="86582" y="118273"/>
                          <a:pt x="8658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822" y="118273"/>
                          <a:pt x="85822" y="118273"/>
                          <a:pt x="85822"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5063" y="118273"/>
                          <a:pt x="85063" y="118273"/>
                          <a:pt x="85063" y="118273"/>
                        </a:cubicBezTo>
                        <a:cubicBezTo>
                          <a:pt x="80506" y="115683"/>
                          <a:pt x="80506" y="115683"/>
                          <a:pt x="80506" y="115683"/>
                        </a:cubicBezTo>
                        <a:cubicBezTo>
                          <a:pt x="76708" y="113093"/>
                          <a:pt x="76708" y="113093"/>
                          <a:pt x="76708" y="113093"/>
                        </a:cubicBezTo>
                        <a:cubicBezTo>
                          <a:pt x="75189" y="111366"/>
                          <a:pt x="75189" y="111366"/>
                          <a:pt x="75189" y="111366"/>
                        </a:cubicBezTo>
                        <a:cubicBezTo>
                          <a:pt x="74430" y="107913"/>
                          <a:pt x="74430" y="107913"/>
                          <a:pt x="74430" y="107913"/>
                        </a:cubicBezTo>
                        <a:cubicBezTo>
                          <a:pt x="70632" y="107050"/>
                          <a:pt x="70632" y="107050"/>
                          <a:pt x="70632" y="107050"/>
                        </a:cubicBezTo>
                        <a:cubicBezTo>
                          <a:pt x="70632" y="104460"/>
                          <a:pt x="66075" y="108776"/>
                          <a:pt x="67594" y="103597"/>
                        </a:cubicBezTo>
                        <a:cubicBezTo>
                          <a:pt x="67594" y="103597"/>
                          <a:pt x="67594" y="102733"/>
                          <a:pt x="67594" y="102733"/>
                        </a:cubicBezTo>
                        <a:cubicBezTo>
                          <a:pt x="67594" y="102733"/>
                          <a:pt x="67594" y="102733"/>
                          <a:pt x="67594" y="102733"/>
                        </a:cubicBezTo>
                        <a:cubicBezTo>
                          <a:pt x="67594" y="101870"/>
                          <a:pt x="66075" y="100143"/>
                          <a:pt x="66075" y="100143"/>
                        </a:cubicBezTo>
                        <a:cubicBezTo>
                          <a:pt x="61518" y="97553"/>
                          <a:pt x="60759" y="94964"/>
                          <a:pt x="58481" y="94100"/>
                        </a:cubicBezTo>
                        <a:cubicBezTo>
                          <a:pt x="57721" y="94100"/>
                          <a:pt x="57721" y="94100"/>
                          <a:pt x="57721" y="94100"/>
                        </a:cubicBezTo>
                        <a:cubicBezTo>
                          <a:pt x="54683" y="90647"/>
                          <a:pt x="54683" y="90647"/>
                          <a:pt x="54683" y="90647"/>
                        </a:cubicBezTo>
                        <a:cubicBezTo>
                          <a:pt x="53164" y="89784"/>
                          <a:pt x="53164" y="89784"/>
                          <a:pt x="53164" y="89784"/>
                        </a:cubicBezTo>
                        <a:cubicBezTo>
                          <a:pt x="51645" y="88057"/>
                          <a:pt x="51645" y="88057"/>
                          <a:pt x="51645" y="88057"/>
                        </a:cubicBezTo>
                        <a:cubicBezTo>
                          <a:pt x="51645" y="86330"/>
                          <a:pt x="51645" y="86330"/>
                          <a:pt x="51645" y="86330"/>
                        </a:cubicBezTo>
                        <a:cubicBezTo>
                          <a:pt x="50886" y="82877"/>
                          <a:pt x="50886" y="82877"/>
                          <a:pt x="50886" y="82877"/>
                        </a:cubicBezTo>
                        <a:cubicBezTo>
                          <a:pt x="50886" y="82877"/>
                          <a:pt x="50886" y="82877"/>
                          <a:pt x="50886" y="82877"/>
                        </a:cubicBezTo>
                        <a:cubicBezTo>
                          <a:pt x="50886" y="82877"/>
                          <a:pt x="47848" y="82014"/>
                          <a:pt x="46329" y="81151"/>
                        </a:cubicBezTo>
                        <a:cubicBezTo>
                          <a:pt x="44810" y="80287"/>
                          <a:pt x="44810" y="80287"/>
                          <a:pt x="44810" y="80287"/>
                        </a:cubicBezTo>
                        <a:cubicBezTo>
                          <a:pt x="43291" y="77697"/>
                          <a:pt x="43291" y="77697"/>
                          <a:pt x="43291" y="77697"/>
                        </a:cubicBezTo>
                        <a:cubicBezTo>
                          <a:pt x="42531" y="76834"/>
                          <a:pt x="42531" y="76834"/>
                          <a:pt x="42531" y="76834"/>
                        </a:cubicBezTo>
                        <a:cubicBezTo>
                          <a:pt x="40253" y="74244"/>
                          <a:pt x="40253" y="74244"/>
                          <a:pt x="40253" y="74244"/>
                        </a:cubicBezTo>
                        <a:cubicBezTo>
                          <a:pt x="39493" y="74244"/>
                          <a:pt x="39493" y="74244"/>
                          <a:pt x="39493" y="74244"/>
                        </a:cubicBezTo>
                        <a:cubicBezTo>
                          <a:pt x="35696" y="72517"/>
                          <a:pt x="35696" y="72517"/>
                          <a:pt x="35696" y="72517"/>
                        </a:cubicBezTo>
                        <a:cubicBezTo>
                          <a:pt x="34936" y="70791"/>
                          <a:pt x="34936" y="70791"/>
                          <a:pt x="34936" y="70791"/>
                        </a:cubicBezTo>
                        <a:cubicBezTo>
                          <a:pt x="33417" y="69928"/>
                          <a:pt x="33417" y="69928"/>
                          <a:pt x="33417" y="69928"/>
                        </a:cubicBezTo>
                        <a:cubicBezTo>
                          <a:pt x="32658" y="68201"/>
                          <a:pt x="32658" y="68201"/>
                          <a:pt x="32658" y="68201"/>
                        </a:cubicBezTo>
                        <a:cubicBezTo>
                          <a:pt x="30379" y="67338"/>
                          <a:pt x="30379" y="67338"/>
                          <a:pt x="30379" y="67338"/>
                        </a:cubicBezTo>
                        <a:cubicBezTo>
                          <a:pt x="29620" y="65611"/>
                          <a:pt x="29620" y="65611"/>
                          <a:pt x="29620" y="65611"/>
                        </a:cubicBezTo>
                        <a:cubicBezTo>
                          <a:pt x="28860" y="64748"/>
                          <a:pt x="28860" y="64748"/>
                          <a:pt x="28860" y="64748"/>
                        </a:cubicBezTo>
                        <a:cubicBezTo>
                          <a:pt x="26582" y="61294"/>
                          <a:pt x="26582" y="61294"/>
                          <a:pt x="26582" y="61294"/>
                        </a:cubicBezTo>
                        <a:cubicBezTo>
                          <a:pt x="24303" y="59568"/>
                          <a:pt x="24303" y="59568"/>
                          <a:pt x="24303" y="59568"/>
                        </a:cubicBezTo>
                        <a:cubicBezTo>
                          <a:pt x="23544" y="58705"/>
                          <a:pt x="23544" y="58705"/>
                          <a:pt x="23544" y="58705"/>
                        </a:cubicBezTo>
                        <a:cubicBezTo>
                          <a:pt x="22784" y="57841"/>
                          <a:pt x="22784" y="57841"/>
                          <a:pt x="22784" y="57841"/>
                        </a:cubicBezTo>
                        <a:cubicBezTo>
                          <a:pt x="21265" y="55251"/>
                          <a:pt x="21265" y="55251"/>
                          <a:pt x="21265" y="55251"/>
                        </a:cubicBezTo>
                        <a:cubicBezTo>
                          <a:pt x="18987" y="52661"/>
                          <a:pt x="18987" y="52661"/>
                          <a:pt x="18987" y="52661"/>
                        </a:cubicBezTo>
                        <a:cubicBezTo>
                          <a:pt x="17468" y="50935"/>
                          <a:pt x="17468" y="50935"/>
                          <a:pt x="17468" y="50935"/>
                        </a:cubicBezTo>
                        <a:cubicBezTo>
                          <a:pt x="15949" y="48345"/>
                          <a:pt x="15949" y="48345"/>
                          <a:pt x="15949" y="48345"/>
                        </a:cubicBezTo>
                        <a:cubicBezTo>
                          <a:pt x="17468" y="46618"/>
                          <a:pt x="17468" y="46618"/>
                          <a:pt x="17468" y="46618"/>
                        </a:cubicBezTo>
                        <a:cubicBezTo>
                          <a:pt x="16708" y="45755"/>
                          <a:pt x="15949" y="45755"/>
                          <a:pt x="15949" y="44892"/>
                        </a:cubicBezTo>
                        <a:cubicBezTo>
                          <a:pt x="15189" y="44892"/>
                          <a:pt x="13670" y="44028"/>
                          <a:pt x="14430" y="43165"/>
                        </a:cubicBezTo>
                        <a:cubicBezTo>
                          <a:pt x="14430" y="42302"/>
                          <a:pt x="13670" y="41438"/>
                          <a:pt x="13670" y="39712"/>
                        </a:cubicBezTo>
                        <a:cubicBezTo>
                          <a:pt x="13670" y="38848"/>
                          <a:pt x="13670" y="37985"/>
                          <a:pt x="12911" y="37985"/>
                        </a:cubicBezTo>
                        <a:cubicBezTo>
                          <a:pt x="12151" y="37122"/>
                          <a:pt x="12151" y="37122"/>
                          <a:pt x="12151" y="37122"/>
                        </a:cubicBezTo>
                        <a:cubicBezTo>
                          <a:pt x="11392" y="37122"/>
                          <a:pt x="10632" y="37122"/>
                          <a:pt x="10632" y="37122"/>
                        </a:cubicBezTo>
                        <a:cubicBezTo>
                          <a:pt x="9873" y="37122"/>
                          <a:pt x="9873" y="37122"/>
                          <a:pt x="9873" y="37122"/>
                        </a:cubicBezTo>
                        <a:cubicBezTo>
                          <a:pt x="9873" y="37122"/>
                          <a:pt x="10632" y="35395"/>
                          <a:pt x="10632" y="33669"/>
                        </a:cubicBezTo>
                        <a:cubicBezTo>
                          <a:pt x="7594" y="32805"/>
                          <a:pt x="7594" y="32805"/>
                          <a:pt x="7594" y="32805"/>
                        </a:cubicBezTo>
                        <a:cubicBezTo>
                          <a:pt x="7594" y="32805"/>
                          <a:pt x="7594" y="30215"/>
                          <a:pt x="6075" y="29352"/>
                        </a:cubicBezTo>
                        <a:cubicBezTo>
                          <a:pt x="4556" y="29352"/>
                          <a:pt x="4556" y="29352"/>
                          <a:pt x="4556" y="29352"/>
                        </a:cubicBezTo>
                        <a:cubicBezTo>
                          <a:pt x="3797" y="30215"/>
                          <a:pt x="3797" y="31079"/>
                          <a:pt x="3797" y="31079"/>
                        </a:cubicBezTo>
                        <a:cubicBezTo>
                          <a:pt x="759" y="27625"/>
                          <a:pt x="759" y="27625"/>
                          <a:pt x="759" y="27625"/>
                        </a:cubicBezTo>
                        <a:cubicBezTo>
                          <a:pt x="759" y="27625"/>
                          <a:pt x="759" y="26762"/>
                          <a:pt x="1518" y="25035"/>
                        </a:cubicBezTo>
                        <a:cubicBezTo>
                          <a:pt x="3037" y="23309"/>
                          <a:pt x="1518" y="22446"/>
                          <a:pt x="1518" y="22446"/>
                        </a:cubicBezTo>
                        <a:cubicBezTo>
                          <a:pt x="759" y="19856"/>
                          <a:pt x="759" y="19856"/>
                          <a:pt x="759" y="19856"/>
                        </a:cubicBezTo>
                        <a:cubicBezTo>
                          <a:pt x="1518" y="18129"/>
                          <a:pt x="1518" y="18129"/>
                          <a:pt x="1518" y="18129"/>
                        </a:cubicBezTo>
                        <a:cubicBezTo>
                          <a:pt x="759" y="17266"/>
                          <a:pt x="759" y="17266"/>
                          <a:pt x="759" y="17266"/>
                        </a:cubicBezTo>
                        <a:cubicBezTo>
                          <a:pt x="0" y="16402"/>
                          <a:pt x="0" y="16402"/>
                          <a:pt x="0" y="16402"/>
                        </a:cubicBezTo>
                        <a:cubicBezTo>
                          <a:pt x="0" y="16402"/>
                          <a:pt x="0" y="16402"/>
                          <a:pt x="0" y="16402"/>
                        </a:cubicBezTo>
                        <a:cubicBezTo>
                          <a:pt x="0" y="16402"/>
                          <a:pt x="0" y="16402"/>
                          <a:pt x="0" y="16402"/>
                        </a:cubicBezTo>
                        <a:cubicBezTo>
                          <a:pt x="1518" y="12949"/>
                          <a:pt x="1518" y="12949"/>
                          <a:pt x="1518" y="12949"/>
                        </a:cubicBezTo>
                        <a:cubicBezTo>
                          <a:pt x="1518" y="12949"/>
                          <a:pt x="759" y="11223"/>
                          <a:pt x="759" y="9496"/>
                        </a:cubicBezTo>
                        <a:cubicBezTo>
                          <a:pt x="759" y="9496"/>
                          <a:pt x="1518" y="8633"/>
                          <a:pt x="1518" y="8633"/>
                        </a:cubicBezTo>
                        <a:cubicBezTo>
                          <a:pt x="1518" y="8633"/>
                          <a:pt x="1518" y="8633"/>
                          <a:pt x="1518" y="8633"/>
                        </a:cubicBezTo>
                        <a:cubicBezTo>
                          <a:pt x="1518" y="7769"/>
                          <a:pt x="1518" y="7769"/>
                          <a:pt x="1518" y="7769"/>
                        </a:cubicBezTo>
                        <a:cubicBezTo>
                          <a:pt x="1518" y="7769"/>
                          <a:pt x="1518" y="7769"/>
                          <a:pt x="1518" y="7769"/>
                        </a:cubicBezTo>
                        <a:cubicBezTo>
                          <a:pt x="2278" y="7769"/>
                          <a:pt x="2278" y="7769"/>
                          <a:pt x="2278" y="7769"/>
                        </a:cubicBezTo>
                        <a:cubicBezTo>
                          <a:pt x="2278" y="7769"/>
                          <a:pt x="2278" y="7769"/>
                          <a:pt x="2278" y="7769"/>
                        </a:cubicBezTo>
                        <a:cubicBezTo>
                          <a:pt x="2278" y="6906"/>
                          <a:pt x="6075" y="6043"/>
                          <a:pt x="6075" y="6043"/>
                        </a:cubicBezTo>
                        <a:cubicBezTo>
                          <a:pt x="7594" y="5179"/>
                          <a:pt x="7594" y="5179"/>
                          <a:pt x="7594" y="5179"/>
                        </a:cubicBezTo>
                        <a:cubicBezTo>
                          <a:pt x="10632" y="9496"/>
                          <a:pt x="10632" y="9496"/>
                          <a:pt x="10632" y="9496"/>
                        </a:cubicBezTo>
                        <a:cubicBezTo>
                          <a:pt x="13670" y="12949"/>
                          <a:pt x="13670" y="12949"/>
                          <a:pt x="13670" y="12949"/>
                        </a:cubicBezTo>
                        <a:cubicBezTo>
                          <a:pt x="15949" y="14676"/>
                          <a:pt x="15949" y="14676"/>
                          <a:pt x="15949" y="14676"/>
                        </a:cubicBezTo>
                        <a:cubicBezTo>
                          <a:pt x="15949" y="14676"/>
                          <a:pt x="16708" y="13812"/>
                          <a:pt x="17468" y="13812"/>
                        </a:cubicBezTo>
                        <a:cubicBezTo>
                          <a:pt x="17468" y="12949"/>
                          <a:pt x="17468" y="11223"/>
                          <a:pt x="17468" y="11223"/>
                        </a:cubicBezTo>
                        <a:cubicBezTo>
                          <a:pt x="18987" y="9496"/>
                          <a:pt x="18987" y="9496"/>
                          <a:pt x="18987" y="9496"/>
                        </a:cubicBezTo>
                        <a:cubicBezTo>
                          <a:pt x="19746" y="7769"/>
                          <a:pt x="19746" y="7769"/>
                          <a:pt x="19746" y="7769"/>
                        </a:cubicBezTo>
                        <a:cubicBezTo>
                          <a:pt x="19746" y="6043"/>
                          <a:pt x="19746" y="6043"/>
                          <a:pt x="19746" y="6043"/>
                        </a:cubicBezTo>
                        <a:cubicBezTo>
                          <a:pt x="21265" y="5179"/>
                          <a:pt x="21265" y="5179"/>
                          <a:pt x="21265" y="5179"/>
                        </a:cubicBezTo>
                        <a:cubicBezTo>
                          <a:pt x="23544" y="4316"/>
                          <a:pt x="23544" y="4316"/>
                          <a:pt x="23544" y="4316"/>
                        </a:cubicBezTo>
                        <a:cubicBezTo>
                          <a:pt x="26582" y="3453"/>
                          <a:pt x="26582" y="3453"/>
                          <a:pt x="26582" y="3453"/>
                        </a:cubicBezTo>
                        <a:cubicBezTo>
                          <a:pt x="26582" y="3453"/>
                          <a:pt x="28860" y="4316"/>
                          <a:pt x="29620" y="4316"/>
                        </a:cubicBezTo>
                        <a:cubicBezTo>
                          <a:pt x="29620" y="4316"/>
                          <a:pt x="30379" y="4316"/>
                          <a:pt x="30379" y="4316"/>
                        </a:cubicBezTo>
                        <a:cubicBezTo>
                          <a:pt x="31898" y="1726"/>
                          <a:pt x="31898" y="1726"/>
                          <a:pt x="31898" y="1726"/>
                        </a:cubicBezTo>
                        <a:cubicBezTo>
                          <a:pt x="31898" y="1726"/>
                          <a:pt x="31898" y="1726"/>
                          <a:pt x="31898" y="1726"/>
                        </a:cubicBezTo>
                        <a:cubicBezTo>
                          <a:pt x="32658" y="0"/>
                          <a:pt x="32658" y="0"/>
                          <a:pt x="32658" y="0"/>
                        </a:cubicBezTo>
                        <a:cubicBezTo>
                          <a:pt x="36455" y="1726"/>
                          <a:pt x="36455" y="1726"/>
                          <a:pt x="36455" y="1726"/>
                        </a:cubicBezTo>
                        <a:cubicBezTo>
                          <a:pt x="37974" y="3453"/>
                          <a:pt x="37974" y="3453"/>
                          <a:pt x="37974" y="3453"/>
                        </a:cubicBezTo>
                        <a:cubicBezTo>
                          <a:pt x="41772" y="4316"/>
                          <a:pt x="41772" y="4316"/>
                          <a:pt x="41772" y="4316"/>
                        </a:cubicBezTo>
                        <a:cubicBezTo>
                          <a:pt x="41772" y="4316"/>
                          <a:pt x="41772" y="4316"/>
                          <a:pt x="41772" y="4316"/>
                        </a:cubicBezTo>
                        <a:cubicBezTo>
                          <a:pt x="43291" y="4316"/>
                          <a:pt x="43291" y="4316"/>
                          <a:pt x="43291" y="4316"/>
                        </a:cubicBezTo>
                        <a:cubicBezTo>
                          <a:pt x="43291" y="3453"/>
                          <a:pt x="43291" y="3453"/>
                          <a:pt x="43291" y="3453"/>
                        </a:cubicBezTo>
                        <a:cubicBezTo>
                          <a:pt x="46329" y="3453"/>
                          <a:pt x="46329" y="3453"/>
                          <a:pt x="46329" y="3453"/>
                        </a:cubicBezTo>
                        <a:cubicBezTo>
                          <a:pt x="50126" y="4316"/>
                          <a:pt x="50126" y="4316"/>
                          <a:pt x="50126" y="4316"/>
                        </a:cubicBezTo>
                        <a:cubicBezTo>
                          <a:pt x="52405" y="4316"/>
                          <a:pt x="52405" y="4316"/>
                          <a:pt x="52405" y="4316"/>
                        </a:cubicBezTo>
                        <a:cubicBezTo>
                          <a:pt x="56202" y="4316"/>
                          <a:pt x="56202" y="4316"/>
                          <a:pt x="56202" y="4316"/>
                        </a:cubicBezTo>
                        <a:cubicBezTo>
                          <a:pt x="58481" y="5179"/>
                          <a:pt x="58481" y="5179"/>
                          <a:pt x="58481" y="5179"/>
                        </a:cubicBezTo>
                        <a:cubicBezTo>
                          <a:pt x="60000" y="6043"/>
                          <a:pt x="60000" y="6043"/>
                          <a:pt x="60000" y="6043"/>
                        </a:cubicBezTo>
                        <a:cubicBezTo>
                          <a:pt x="60000" y="6043"/>
                          <a:pt x="60000" y="6043"/>
                          <a:pt x="60759" y="5179"/>
                        </a:cubicBezTo>
                        <a:cubicBezTo>
                          <a:pt x="60759" y="5179"/>
                          <a:pt x="63037" y="5179"/>
                          <a:pt x="63037" y="5179"/>
                        </a:cubicBezTo>
                        <a:cubicBezTo>
                          <a:pt x="63797" y="2589"/>
                          <a:pt x="63797" y="2589"/>
                          <a:pt x="63797" y="2589"/>
                        </a:cubicBezTo>
                        <a:cubicBezTo>
                          <a:pt x="64556" y="4316"/>
                          <a:pt x="64556" y="4316"/>
                          <a:pt x="64556" y="4316"/>
                        </a:cubicBezTo>
                        <a:cubicBezTo>
                          <a:pt x="65316" y="4316"/>
                          <a:pt x="66835" y="4316"/>
                          <a:pt x="66835" y="4316"/>
                        </a:cubicBezTo>
                        <a:cubicBezTo>
                          <a:pt x="67594" y="1726"/>
                          <a:pt x="67594" y="1726"/>
                          <a:pt x="67594" y="1726"/>
                        </a:cubicBezTo>
                        <a:cubicBezTo>
                          <a:pt x="68354" y="2589"/>
                          <a:pt x="68354" y="2589"/>
                          <a:pt x="68354" y="2589"/>
                        </a:cubicBezTo>
                        <a:cubicBezTo>
                          <a:pt x="69113" y="2589"/>
                          <a:pt x="69113" y="2589"/>
                          <a:pt x="69873" y="2589"/>
                        </a:cubicBezTo>
                        <a:cubicBezTo>
                          <a:pt x="70632" y="2589"/>
                          <a:pt x="71392" y="1726"/>
                          <a:pt x="71392" y="1726"/>
                        </a:cubicBezTo>
                        <a:cubicBezTo>
                          <a:pt x="71392" y="1726"/>
                          <a:pt x="72151" y="2589"/>
                          <a:pt x="72151" y="2589"/>
                        </a:cubicBezTo>
                        <a:cubicBezTo>
                          <a:pt x="72151" y="2589"/>
                          <a:pt x="72911" y="1726"/>
                          <a:pt x="73670" y="1726"/>
                        </a:cubicBezTo>
                        <a:cubicBezTo>
                          <a:pt x="73670" y="1726"/>
                          <a:pt x="73670" y="1726"/>
                          <a:pt x="73670" y="1726"/>
                        </a:cubicBezTo>
                        <a:cubicBezTo>
                          <a:pt x="73670" y="1726"/>
                          <a:pt x="73670" y="1726"/>
                          <a:pt x="7367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4430" y="1726"/>
                          <a:pt x="74430" y="1726"/>
                          <a:pt x="74430"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1726"/>
                          <a:pt x="75189" y="1726"/>
                          <a:pt x="75189" y="1726"/>
                        </a:cubicBezTo>
                        <a:cubicBezTo>
                          <a:pt x="75189" y="863"/>
                          <a:pt x="75189" y="863"/>
                          <a:pt x="75189" y="863"/>
                        </a:cubicBezTo>
                        <a:cubicBezTo>
                          <a:pt x="75189" y="863"/>
                          <a:pt x="75189" y="863"/>
                          <a:pt x="75189" y="863"/>
                        </a:cubicBezTo>
                        <a:cubicBezTo>
                          <a:pt x="75189" y="863"/>
                          <a:pt x="75189" y="863"/>
                          <a:pt x="75189" y="863"/>
                        </a:cubicBezTo>
                        <a:cubicBezTo>
                          <a:pt x="75189" y="863"/>
                          <a:pt x="75189" y="863"/>
                          <a:pt x="75189" y="863"/>
                        </a:cubicBezTo>
                        <a:cubicBezTo>
                          <a:pt x="75189" y="863"/>
                          <a:pt x="75189" y="863"/>
                          <a:pt x="7518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5949" y="863"/>
                          <a:pt x="75949" y="863"/>
                        </a:cubicBezTo>
                        <a:cubicBezTo>
                          <a:pt x="75949" y="863"/>
                          <a:pt x="76708" y="2589"/>
                          <a:pt x="78227" y="3453"/>
                        </a:cubicBezTo>
                        <a:cubicBezTo>
                          <a:pt x="78227" y="3453"/>
                          <a:pt x="78227" y="3453"/>
                          <a:pt x="78227" y="3453"/>
                        </a:cubicBezTo>
                        <a:cubicBezTo>
                          <a:pt x="79746" y="3453"/>
                          <a:pt x="79746" y="3453"/>
                          <a:pt x="79746" y="3453"/>
                        </a:cubicBezTo>
                        <a:cubicBezTo>
                          <a:pt x="79746" y="3453"/>
                          <a:pt x="79746" y="3453"/>
                          <a:pt x="79746" y="3453"/>
                        </a:cubicBezTo>
                        <a:cubicBezTo>
                          <a:pt x="79746" y="3453"/>
                          <a:pt x="80506" y="2589"/>
                          <a:pt x="81265" y="2589"/>
                        </a:cubicBezTo>
                        <a:cubicBezTo>
                          <a:pt x="82784" y="2589"/>
                          <a:pt x="83544" y="2589"/>
                          <a:pt x="84303" y="2589"/>
                        </a:cubicBezTo>
                        <a:cubicBezTo>
                          <a:pt x="85822" y="2589"/>
                          <a:pt x="86582" y="4316"/>
                          <a:pt x="86582" y="4316"/>
                        </a:cubicBezTo>
                        <a:cubicBezTo>
                          <a:pt x="88860" y="6906"/>
                          <a:pt x="88860" y="6906"/>
                          <a:pt x="88860" y="6906"/>
                        </a:cubicBezTo>
                        <a:cubicBezTo>
                          <a:pt x="88860" y="6906"/>
                          <a:pt x="89620" y="8633"/>
                          <a:pt x="89620" y="9496"/>
                        </a:cubicBezTo>
                        <a:cubicBezTo>
                          <a:pt x="90379" y="10359"/>
                          <a:pt x="90379" y="11223"/>
                          <a:pt x="90379" y="11223"/>
                        </a:cubicBezTo>
                        <a:cubicBezTo>
                          <a:pt x="90379" y="11223"/>
                          <a:pt x="90379" y="11223"/>
                          <a:pt x="90379" y="11223"/>
                        </a:cubicBezTo>
                        <a:cubicBezTo>
                          <a:pt x="91139" y="11223"/>
                          <a:pt x="96455" y="13812"/>
                          <a:pt x="97215" y="13812"/>
                        </a:cubicBezTo>
                        <a:cubicBezTo>
                          <a:pt x="97215" y="13812"/>
                          <a:pt x="97974" y="13812"/>
                          <a:pt x="97974" y="13812"/>
                        </a:cubicBezTo>
                        <a:cubicBezTo>
                          <a:pt x="97974" y="12086"/>
                          <a:pt x="97215" y="11223"/>
                          <a:pt x="98734" y="10359"/>
                        </a:cubicBezTo>
                        <a:cubicBezTo>
                          <a:pt x="99493" y="10359"/>
                          <a:pt x="100253" y="12086"/>
                          <a:pt x="100253" y="10359"/>
                        </a:cubicBezTo>
                        <a:cubicBezTo>
                          <a:pt x="100253" y="8633"/>
                          <a:pt x="101012" y="9496"/>
                          <a:pt x="100253" y="7769"/>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5" name="Shape 2027"/>
                  <p:cNvSpPr/>
                  <p:nvPr/>
                </p:nvSpPr>
                <p:spPr>
                  <a:xfrm>
                    <a:off x="4877542" y="1947009"/>
                    <a:ext cx="322132" cy="369699"/>
                  </a:xfrm>
                  <a:custGeom>
                    <a:avLst/>
                    <a:gdLst/>
                    <a:ahLst/>
                    <a:cxnLst/>
                    <a:rect l="0" t="0" r="0" b="0"/>
                    <a:pathLst>
                      <a:path w="120000" h="120000" extrusionOk="0">
                        <a:moveTo>
                          <a:pt x="32340" y="23712"/>
                        </a:moveTo>
                        <a:cubicBezTo>
                          <a:pt x="37446" y="21556"/>
                          <a:pt x="37446" y="21556"/>
                          <a:pt x="37446" y="21556"/>
                        </a:cubicBezTo>
                        <a:cubicBezTo>
                          <a:pt x="40000" y="17245"/>
                          <a:pt x="40000" y="17245"/>
                          <a:pt x="40000" y="17245"/>
                        </a:cubicBezTo>
                        <a:cubicBezTo>
                          <a:pt x="43404" y="12215"/>
                          <a:pt x="43404" y="12215"/>
                          <a:pt x="43404" y="12215"/>
                        </a:cubicBezTo>
                        <a:cubicBezTo>
                          <a:pt x="45106" y="10059"/>
                          <a:pt x="45106" y="10059"/>
                          <a:pt x="45106" y="10059"/>
                        </a:cubicBezTo>
                        <a:cubicBezTo>
                          <a:pt x="46808" y="6467"/>
                          <a:pt x="46808" y="6467"/>
                          <a:pt x="46808" y="6467"/>
                        </a:cubicBezTo>
                        <a:cubicBezTo>
                          <a:pt x="51914" y="5029"/>
                          <a:pt x="51914" y="5029"/>
                          <a:pt x="51914" y="5029"/>
                        </a:cubicBezTo>
                        <a:cubicBezTo>
                          <a:pt x="51914" y="5029"/>
                          <a:pt x="55319" y="4311"/>
                          <a:pt x="56170" y="4311"/>
                        </a:cubicBezTo>
                        <a:cubicBezTo>
                          <a:pt x="57021" y="3592"/>
                          <a:pt x="62127" y="0"/>
                          <a:pt x="62127" y="0"/>
                        </a:cubicBezTo>
                        <a:cubicBezTo>
                          <a:pt x="62978" y="0"/>
                          <a:pt x="62978" y="0"/>
                          <a:pt x="62978" y="0"/>
                        </a:cubicBezTo>
                        <a:cubicBezTo>
                          <a:pt x="60425" y="3592"/>
                          <a:pt x="60425" y="3592"/>
                          <a:pt x="60425" y="3592"/>
                        </a:cubicBezTo>
                        <a:cubicBezTo>
                          <a:pt x="60425" y="5748"/>
                          <a:pt x="60425" y="5748"/>
                          <a:pt x="60425" y="5748"/>
                        </a:cubicBezTo>
                        <a:cubicBezTo>
                          <a:pt x="60425" y="7185"/>
                          <a:pt x="60425" y="7185"/>
                          <a:pt x="60425" y="7185"/>
                        </a:cubicBezTo>
                        <a:cubicBezTo>
                          <a:pt x="61276" y="10059"/>
                          <a:pt x="61276" y="10059"/>
                          <a:pt x="61276" y="10059"/>
                        </a:cubicBezTo>
                        <a:cubicBezTo>
                          <a:pt x="62127" y="10778"/>
                          <a:pt x="62127" y="10778"/>
                          <a:pt x="62127" y="10778"/>
                        </a:cubicBezTo>
                        <a:cubicBezTo>
                          <a:pt x="62127" y="13652"/>
                          <a:pt x="62127" y="13652"/>
                          <a:pt x="62127" y="13652"/>
                        </a:cubicBezTo>
                        <a:cubicBezTo>
                          <a:pt x="62127" y="16526"/>
                          <a:pt x="62127" y="16526"/>
                          <a:pt x="62127" y="16526"/>
                        </a:cubicBezTo>
                        <a:cubicBezTo>
                          <a:pt x="62127" y="16526"/>
                          <a:pt x="64680" y="17964"/>
                          <a:pt x="63829" y="18682"/>
                        </a:cubicBezTo>
                        <a:cubicBezTo>
                          <a:pt x="62127" y="19401"/>
                          <a:pt x="60425" y="21556"/>
                          <a:pt x="60425" y="21556"/>
                        </a:cubicBezTo>
                        <a:cubicBezTo>
                          <a:pt x="59574" y="25868"/>
                          <a:pt x="59574" y="25868"/>
                          <a:pt x="59574" y="25868"/>
                        </a:cubicBezTo>
                        <a:cubicBezTo>
                          <a:pt x="56170" y="29461"/>
                          <a:pt x="56170" y="29461"/>
                          <a:pt x="56170" y="29461"/>
                        </a:cubicBezTo>
                        <a:cubicBezTo>
                          <a:pt x="57021" y="33772"/>
                          <a:pt x="57021" y="33772"/>
                          <a:pt x="57021" y="33772"/>
                        </a:cubicBezTo>
                        <a:cubicBezTo>
                          <a:pt x="57872" y="37365"/>
                          <a:pt x="57872" y="37365"/>
                          <a:pt x="57872" y="37365"/>
                        </a:cubicBezTo>
                        <a:cubicBezTo>
                          <a:pt x="57021" y="40239"/>
                          <a:pt x="57021" y="40239"/>
                          <a:pt x="57021" y="40239"/>
                        </a:cubicBezTo>
                        <a:cubicBezTo>
                          <a:pt x="59574" y="42395"/>
                          <a:pt x="59574" y="42395"/>
                          <a:pt x="59574" y="42395"/>
                        </a:cubicBezTo>
                        <a:cubicBezTo>
                          <a:pt x="58723" y="43832"/>
                          <a:pt x="58723" y="43832"/>
                          <a:pt x="58723" y="43832"/>
                        </a:cubicBezTo>
                        <a:cubicBezTo>
                          <a:pt x="59574" y="45988"/>
                          <a:pt x="59574" y="45988"/>
                          <a:pt x="59574" y="45988"/>
                        </a:cubicBezTo>
                        <a:cubicBezTo>
                          <a:pt x="62127" y="47425"/>
                          <a:pt x="62127" y="47425"/>
                          <a:pt x="62127" y="47425"/>
                        </a:cubicBezTo>
                        <a:cubicBezTo>
                          <a:pt x="62127" y="47425"/>
                          <a:pt x="63829" y="47425"/>
                          <a:pt x="64680" y="47425"/>
                        </a:cubicBezTo>
                        <a:cubicBezTo>
                          <a:pt x="65531" y="47425"/>
                          <a:pt x="68085" y="46706"/>
                          <a:pt x="68936" y="46706"/>
                        </a:cubicBezTo>
                        <a:cubicBezTo>
                          <a:pt x="69787" y="46706"/>
                          <a:pt x="71489" y="47425"/>
                          <a:pt x="71489" y="47425"/>
                        </a:cubicBezTo>
                        <a:cubicBezTo>
                          <a:pt x="74042" y="50299"/>
                          <a:pt x="74042" y="50299"/>
                          <a:pt x="74042" y="50299"/>
                        </a:cubicBezTo>
                        <a:cubicBezTo>
                          <a:pt x="74042" y="52455"/>
                          <a:pt x="74042" y="52455"/>
                          <a:pt x="74042" y="52455"/>
                        </a:cubicBezTo>
                        <a:cubicBezTo>
                          <a:pt x="74042" y="52455"/>
                          <a:pt x="73191" y="53892"/>
                          <a:pt x="73191" y="54610"/>
                        </a:cubicBezTo>
                        <a:cubicBezTo>
                          <a:pt x="72340" y="55329"/>
                          <a:pt x="71489" y="56766"/>
                          <a:pt x="71489" y="56766"/>
                        </a:cubicBezTo>
                        <a:cubicBezTo>
                          <a:pt x="69787" y="58203"/>
                          <a:pt x="69787" y="58203"/>
                          <a:pt x="69787" y="58203"/>
                        </a:cubicBezTo>
                        <a:cubicBezTo>
                          <a:pt x="68936" y="60359"/>
                          <a:pt x="68936" y="60359"/>
                          <a:pt x="68936" y="60359"/>
                        </a:cubicBezTo>
                        <a:cubicBezTo>
                          <a:pt x="68085" y="61796"/>
                          <a:pt x="68085" y="61796"/>
                          <a:pt x="68085" y="61796"/>
                        </a:cubicBezTo>
                        <a:cubicBezTo>
                          <a:pt x="68085" y="61796"/>
                          <a:pt x="68085" y="61796"/>
                          <a:pt x="68085" y="61796"/>
                        </a:cubicBezTo>
                        <a:cubicBezTo>
                          <a:pt x="66382" y="60359"/>
                          <a:pt x="66382" y="60359"/>
                          <a:pt x="66382" y="60359"/>
                        </a:cubicBezTo>
                        <a:cubicBezTo>
                          <a:pt x="66382" y="60359"/>
                          <a:pt x="66382" y="58203"/>
                          <a:pt x="65531" y="58922"/>
                        </a:cubicBezTo>
                        <a:cubicBezTo>
                          <a:pt x="64680" y="58922"/>
                          <a:pt x="63829" y="60359"/>
                          <a:pt x="63829" y="60359"/>
                        </a:cubicBezTo>
                        <a:cubicBezTo>
                          <a:pt x="64680" y="61796"/>
                          <a:pt x="64680" y="61796"/>
                          <a:pt x="64680" y="61796"/>
                        </a:cubicBezTo>
                        <a:cubicBezTo>
                          <a:pt x="64680" y="61796"/>
                          <a:pt x="65531" y="63952"/>
                          <a:pt x="64680" y="63952"/>
                        </a:cubicBezTo>
                        <a:cubicBezTo>
                          <a:pt x="63829" y="63952"/>
                          <a:pt x="62978" y="63952"/>
                          <a:pt x="62978" y="63952"/>
                        </a:cubicBezTo>
                        <a:cubicBezTo>
                          <a:pt x="62127" y="61077"/>
                          <a:pt x="62127" y="61077"/>
                          <a:pt x="62127" y="61077"/>
                        </a:cubicBezTo>
                        <a:cubicBezTo>
                          <a:pt x="59574" y="60359"/>
                          <a:pt x="59574" y="60359"/>
                          <a:pt x="59574" y="60359"/>
                        </a:cubicBezTo>
                        <a:cubicBezTo>
                          <a:pt x="61276" y="57485"/>
                          <a:pt x="61276" y="57485"/>
                          <a:pt x="61276" y="57485"/>
                        </a:cubicBezTo>
                        <a:cubicBezTo>
                          <a:pt x="59574" y="56766"/>
                          <a:pt x="59574" y="56766"/>
                          <a:pt x="59574" y="56766"/>
                        </a:cubicBezTo>
                        <a:cubicBezTo>
                          <a:pt x="59574" y="56766"/>
                          <a:pt x="58723" y="56766"/>
                          <a:pt x="57872" y="57485"/>
                        </a:cubicBezTo>
                        <a:cubicBezTo>
                          <a:pt x="57872" y="58203"/>
                          <a:pt x="57021" y="61077"/>
                          <a:pt x="57021" y="61077"/>
                        </a:cubicBezTo>
                        <a:cubicBezTo>
                          <a:pt x="56170" y="63952"/>
                          <a:pt x="56170" y="63952"/>
                          <a:pt x="56170" y="63952"/>
                        </a:cubicBezTo>
                        <a:cubicBezTo>
                          <a:pt x="56170" y="63952"/>
                          <a:pt x="57021" y="64670"/>
                          <a:pt x="57021" y="65389"/>
                        </a:cubicBezTo>
                        <a:cubicBezTo>
                          <a:pt x="57021" y="66107"/>
                          <a:pt x="56170" y="66826"/>
                          <a:pt x="56170" y="66826"/>
                        </a:cubicBezTo>
                        <a:cubicBezTo>
                          <a:pt x="56170" y="66826"/>
                          <a:pt x="56170" y="67544"/>
                          <a:pt x="56170" y="68263"/>
                        </a:cubicBezTo>
                        <a:cubicBezTo>
                          <a:pt x="56170" y="68263"/>
                          <a:pt x="57021" y="69700"/>
                          <a:pt x="57021" y="70419"/>
                        </a:cubicBezTo>
                        <a:cubicBezTo>
                          <a:pt x="57021" y="70419"/>
                          <a:pt x="57021" y="71137"/>
                          <a:pt x="56170" y="71137"/>
                        </a:cubicBezTo>
                        <a:cubicBezTo>
                          <a:pt x="56170" y="71856"/>
                          <a:pt x="56170" y="71856"/>
                          <a:pt x="56170" y="72574"/>
                        </a:cubicBezTo>
                        <a:cubicBezTo>
                          <a:pt x="55319" y="72574"/>
                          <a:pt x="54468" y="73293"/>
                          <a:pt x="54468" y="73293"/>
                        </a:cubicBezTo>
                        <a:cubicBezTo>
                          <a:pt x="54468" y="73293"/>
                          <a:pt x="52765" y="74011"/>
                          <a:pt x="52765" y="74011"/>
                        </a:cubicBezTo>
                        <a:cubicBezTo>
                          <a:pt x="52765" y="74011"/>
                          <a:pt x="51914" y="73293"/>
                          <a:pt x="51063" y="73293"/>
                        </a:cubicBezTo>
                        <a:cubicBezTo>
                          <a:pt x="50212" y="73293"/>
                          <a:pt x="50212" y="72574"/>
                          <a:pt x="49361" y="73293"/>
                        </a:cubicBezTo>
                        <a:cubicBezTo>
                          <a:pt x="48510" y="74011"/>
                          <a:pt x="48510" y="74011"/>
                          <a:pt x="48510" y="74011"/>
                        </a:cubicBezTo>
                        <a:cubicBezTo>
                          <a:pt x="49361" y="74730"/>
                          <a:pt x="49361" y="74730"/>
                          <a:pt x="49361" y="74730"/>
                        </a:cubicBezTo>
                        <a:cubicBezTo>
                          <a:pt x="51063" y="74730"/>
                          <a:pt x="51063" y="74730"/>
                          <a:pt x="51063" y="74730"/>
                        </a:cubicBezTo>
                        <a:cubicBezTo>
                          <a:pt x="51063" y="76167"/>
                          <a:pt x="51063" y="76167"/>
                          <a:pt x="51063" y="76167"/>
                        </a:cubicBezTo>
                        <a:cubicBezTo>
                          <a:pt x="51063" y="76167"/>
                          <a:pt x="51914" y="76167"/>
                          <a:pt x="51914" y="76886"/>
                        </a:cubicBezTo>
                        <a:cubicBezTo>
                          <a:pt x="51063" y="77604"/>
                          <a:pt x="50212" y="78323"/>
                          <a:pt x="50212" y="78323"/>
                        </a:cubicBezTo>
                        <a:cubicBezTo>
                          <a:pt x="48510" y="79760"/>
                          <a:pt x="48510" y="79760"/>
                          <a:pt x="48510" y="79760"/>
                        </a:cubicBezTo>
                        <a:cubicBezTo>
                          <a:pt x="46808" y="80479"/>
                          <a:pt x="46808" y="80479"/>
                          <a:pt x="46808" y="80479"/>
                        </a:cubicBezTo>
                        <a:cubicBezTo>
                          <a:pt x="46808" y="80479"/>
                          <a:pt x="45106" y="79760"/>
                          <a:pt x="45106" y="80479"/>
                        </a:cubicBezTo>
                        <a:cubicBezTo>
                          <a:pt x="44255" y="80479"/>
                          <a:pt x="43404" y="80479"/>
                          <a:pt x="43404" y="80479"/>
                        </a:cubicBezTo>
                        <a:cubicBezTo>
                          <a:pt x="43404" y="81197"/>
                          <a:pt x="45106" y="82634"/>
                          <a:pt x="45106" y="82634"/>
                        </a:cubicBezTo>
                        <a:cubicBezTo>
                          <a:pt x="41702" y="79760"/>
                          <a:pt x="41702" y="79760"/>
                          <a:pt x="41702" y="79760"/>
                        </a:cubicBezTo>
                        <a:cubicBezTo>
                          <a:pt x="40000" y="79760"/>
                          <a:pt x="40000" y="79760"/>
                          <a:pt x="40000" y="79760"/>
                        </a:cubicBezTo>
                        <a:cubicBezTo>
                          <a:pt x="42553" y="81197"/>
                          <a:pt x="42553" y="81197"/>
                          <a:pt x="42553" y="81197"/>
                        </a:cubicBezTo>
                        <a:cubicBezTo>
                          <a:pt x="43404" y="82634"/>
                          <a:pt x="43404" y="82634"/>
                          <a:pt x="43404" y="82634"/>
                        </a:cubicBezTo>
                        <a:cubicBezTo>
                          <a:pt x="45106" y="83353"/>
                          <a:pt x="45106" y="83353"/>
                          <a:pt x="45106" y="83353"/>
                        </a:cubicBezTo>
                        <a:cubicBezTo>
                          <a:pt x="44255" y="84071"/>
                          <a:pt x="44255" y="84071"/>
                          <a:pt x="44255" y="84071"/>
                        </a:cubicBezTo>
                        <a:cubicBezTo>
                          <a:pt x="43404" y="84790"/>
                          <a:pt x="43404" y="84790"/>
                          <a:pt x="43404" y="84790"/>
                        </a:cubicBezTo>
                        <a:cubicBezTo>
                          <a:pt x="41702" y="86227"/>
                          <a:pt x="41702" y="86227"/>
                          <a:pt x="41702" y="86227"/>
                        </a:cubicBezTo>
                        <a:cubicBezTo>
                          <a:pt x="41702" y="86227"/>
                          <a:pt x="40851" y="86946"/>
                          <a:pt x="40000" y="86946"/>
                        </a:cubicBezTo>
                        <a:cubicBezTo>
                          <a:pt x="40000" y="86946"/>
                          <a:pt x="37446" y="86946"/>
                          <a:pt x="37446" y="86946"/>
                        </a:cubicBezTo>
                        <a:cubicBezTo>
                          <a:pt x="38297" y="87664"/>
                          <a:pt x="38297" y="87664"/>
                          <a:pt x="38297" y="87664"/>
                        </a:cubicBezTo>
                        <a:cubicBezTo>
                          <a:pt x="40000" y="88383"/>
                          <a:pt x="40000" y="88383"/>
                          <a:pt x="40000" y="88383"/>
                        </a:cubicBezTo>
                        <a:cubicBezTo>
                          <a:pt x="40000" y="88383"/>
                          <a:pt x="40851" y="87664"/>
                          <a:pt x="40851" y="88383"/>
                        </a:cubicBezTo>
                        <a:cubicBezTo>
                          <a:pt x="40000" y="88383"/>
                          <a:pt x="40000" y="88383"/>
                          <a:pt x="40000" y="89101"/>
                        </a:cubicBezTo>
                        <a:cubicBezTo>
                          <a:pt x="40000" y="90538"/>
                          <a:pt x="40000" y="92694"/>
                          <a:pt x="40000" y="92694"/>
                        </a:cubicBezTo>
                        <a:cubicBezTo>
                          <a:pt x="41702" y="94850"/>
                          <a:pt x="41702" y="94850"/>
                          <a:pt x="41702" y="94850"/>
                        </a:cubicBezTo>
                        <a:cubicBezTo>
                          <a:pt x="42553" y="95568"/>
                          <a:pt x="42553" y="95568"/>
                          <a:pt x="42553" y="95568"/>
                        </a:cubicBezTo>
                        <a:cubicBezTo>
                          <a:pt x="42553" y="95568"/>
                          <a:pt x="42553" y="95568"/>
                          <a:pt x="42553" y="96287"/>
                        </a:cubicBezTo>
                        <a:cubicBezTo>
                          <a:pt x="42553" y="96287"/>
                          <a:pt x="42553" y="97005"/>
                          <a:pt x="42553" y="97005"/>
                        </a:cubicBezTo>
                        <a:cubicBezTo>
                          <a:pt x="42553" y="98443"/>
                          <a:pt x="42553" y="98443"/>
                          <a:pt x="42553" y="98443"/>
                        </a:cubicBezTo>
                        <a:cubicBezTo>
                          <a:pt x="42553" y="98443"/>
                          <a:pt x="41702" y="99161"/>
                          <a:pt x="40851" y="99161"/>
                        </a:cubicBezTo>
                        <a:cubicBezTo>
                          <a:pt x="40851" y="99161"/>
                          <a:pt x="37446" y="99880"/>
                          <a:pt x="37446" y="99880"/>
                        </a:cubicBezTo>
                        <a:cubicBezTo>
                          <a:pt x="36595" y="101317"/>
                          <a:pt x="36595" y="101317"/>
                          <a:pt x="36595" y="101317"/>
                        </a:cubicBezTo>
                        <a:cubicBezTo>
                          <a:pt x="38297" y="102035"/>
                          <a:pt x="38297" y="102035"/>
                          <a:pt x="38297" y="102035"/>
                        </a:cubicBezTo>
                        <a:cubicBezTo>
                          <a:pt x="38297" y="102035"/>
                          <a:pt x="38297" y="103473"/>
                          <a:pt x="38297" y="103473"/>
                        </a:cubicBezTo>
                        <a:cubicBezTo>
                          <a:pt x="38297" y="104191"/>
                          <a:pt x="37446" y="104910"/>
                          <a:pt x="37446" y="104910"/>
                        </a:cubicBezTo>
                        <a:cubicBezTo>
                          <a:pt x="39148" y="104910"/>
                          <a:pt x="39148" y="104910"/>
                          <a:pt x="39148" y="104910"/>
                        </a:cubicBezTo>
                        <a:cubicBezTo>
                          <a:pt x="41702" y="105628"/>
                          <a:pt x="41702" y="105628"/>
                          <a:pt x="41702" y="105628"/>
                        </a:cubicBezTo>
                        <a:cubicBezTo>
                          <a:pt x="45106" y="109221"/>
                          <a:pt x="45106" y="109221"/>
                          <a:pt x="45106" y="109221"/>
                        </a:cubicBezTo>
                        <a:cubicBezTo>
                          <a:pt x="44255" y="112095"/>
                          <a:pt x="44255" y="112095"/>
                          <a:pt x="44255" y="112095"/>
                        </a:cubicBezTo>
                        <a:cubicBezTo>
                          <a:pt x="42553" y="113532"/>
                          <a:pt x="42553" y="113532"/>
                          <a:pt x="42553" y="113532"/>
                        </a:cubicBezTo>
                        <a:cubicBezTo>
                          <a:pt x="40851" y="110658"/>
                          <a:pt x="40851" y="110658"/>
                          <a:pt x="40851" y="110658"/>
                        </a:cubicBezTo>
                        <a:cubicBezTo>
                          <a:pt x="40851" y="110658"/>
                          <a:pt x="40000" y="110658"/>
                          <a:pt x="40000" y="111377"/>
                        </a:cubicBezTo>
                        <a:cubicBezTo>
                          <a:pt x="39148" y="111377"/>
                          <a:pt x="36595" y="112814"/>
                          <a:pt x="36595" y="112814"/>
                        </a:cubicBezTo>
                        <a:cubicBezTo>
                          <a:pt x="36595" y="112814"/>
                          <a:pt x="34893" y="113532"/>
                          <a:pt x="34042" y="113532"/>
                        </a:cubicBezTo>
                        <a:cubicBezTo>
                          <a:pt x="34042" y="113532"/>
                          <a:pt x="33191" y="113532"/>
                          <a:pt x="33191" y="113532"/>
                        </a:cubicBezTo>
                        <a:cubicBezTo>
                          <a:pt x="30638" y="112814"/>
                          <a:pt x="30638" y="112814"/>
                          <a:pt x="30638" y="112814"/>
                        </a:cubicBezTo>
                        <a:cubicBezTo>
                          <a:pt x="27234" y="111377"/>
                          <a:pt x="27234" y="111377"/>
                          <a:pt x="27234" y="111377"/>
                        </a:cubicBezTo>
                        <a:cubicBezTo>
                          <a:pt x="27234" y="111377"/>
                          <a:pt x="25531" y="110658"/>
                          <a:pt x="24680" y="110658"/>
                        </a:cubicBezTo>
                        <a:cubicBezTo>
                          <a:pt x="23829" y="110658"/>
                          <a:pt x="19574" y="109221"/>
                          <a:pt x="19574" y="109221"/>
                        </a:cubicBezTo>
                        <a:cubicBezTo>
                          <a:pt x="17872" y="109940"/>
                          <a:pt x="17872" y="109940"/>
                          <a:pt x="17872" y="109940"/>
                        </a:cubicBezTo>
                        <a:cubicBezTo>
                          <a:pt x="15319" y="109940"/>
                          <a:pt x="15319" y="109940"/>
                          <a:pt x="15319" y="109940"/>
                        </a:cubicBezTo>
                        <a:cubicBezTo>
                          <a:pt x="13617" y="109221"/>
                          <a:pt x="13617" y="109221"/>
                          <a:pt x="13617" y="109221"/>
                        </a:cubicBezTo>
                        <a:cubicBezTo>
                          <a:pt x="11914" y="107065"/>
                          <a:pt x="11914" y="107065"/>
                          <a:pt x="11914" y="107065"/>
                        </a:cubicBezTo>
                        <a:cubicBezTo>
                          <a:pt x="11914" y="107065"/>
                          <a:pt x="11063" y="105628"/>
                          <a:pt x="11063" y="105628"/>
                        </a:cubicBezTo>
                        <a:cubicBezTo>
                          <a:pt x="11063" y="105628"/>
                          <a:pt x="13617" y="104191"/>
                          <a:pt x="13617" y="104191"/>
                        </a:cubicBezTo>
                        <a:cubicBezTo>
                          <a:pt x="14468" y="104191"/>
                          <a:pt x="14468" y="103473"/>
                          <a:pt x="14468" y="103473"/>
                        </a:cubicBezTo>
                        <a:cubicBezTo>
                          <a:pt x="14468" y="100598"/>
                          <a:pt x="14468" y="100598"/>
                          <a:pt x="14468" y="100598"/>
                        </a:cubicBezTo>
                        <a:cubicBezTo>
                          <a:pt x="14468" y="100598"/>
                          <a:pt x="14468" y="99161"/>
                          <a:pt x="14468" y="99161"/>
                        </a:cubicBezTo>
                        <a:cubicBezTo>
                          <a:pt x="14468" y="98443"/>
                          <a:pt x="15319" y="97724"/>
                          <a:pt x="15319" y="97724"/>
                        </a:cubicBezTo>
                        <a:cubicBezTo>
                          <a:pt x="15319" y="97724"/>
                          <a:pt x="15319" y="95568"/>
                          <a:pt x="14468" y="94850"/>
                        </a:cubicBezTo>
                        <a:cubicBezTo>
                          <a:pt x="14468" y="93413"/>
                          <a:pt x="14468" y="91976"/>
                          <a:pt x="14468" y="91976"/>
                        </a:cubicBezTo>
                        <a:cubicBezTo>
                          <a:pt x="12765" y="89820"/>
                          <a:pt x="12765" y="89820"/>
                          <a:pt x="12765" y="89820"/>
                        </a:cubicBezTo>
                        <a:cubicBezTo>
                          <a:pt x="12765" y="89820"/>
                          <a:pt x="11914" y="89820"/>
                          <a:pt x="10212" y="89101"/>
                        </a:cubicBezTo>
                        <a:cubicBezTo>
                          <a:pt x="8510" y="88383"/>
                          <a:pt x="5957" y="87664"/>
                          <a:pt x="5957" y="87664"/>
                        </a:cubicBezTo>
                        <a:cubicBezTo>
                          <a:pt x="5957" y="85508"/>
                          <a:pt x="5957" y="85508"/>
                          <a:pt x="5957" y="85508"/>
                        </a:cubicBezTo>
                        <a:cubicBezTo>
                          <a:pt x="5106" y="84790"/>
                          <a:pt x="5106" y="84790"/>
                          <a:pt x="5106" y="84790"/>
                        </a:cubicBezTo>
                        <a:cubicBezTo>
                          <a:pt x="5106" y="84790"/>
                          <a:pt x="3404" y="84790"/>
                          <a:pt x="3404" y="85508"/>
                        </a:cubicBezTo>
                        <a:cubicBezTo>
                          <a:pt x="3404" y="85508"/>
                          <a:pt x="3404" y="86227"/>
                          <a:pt x="3404" y="86227"/>
                        </a:cubicBezTo>
                        <a:cubicBezTo>
                          <a:pt x="1702" y="85508"/>
                          <a:pt x="1702" y="85508"/>
                          <a:pt x="1702" y="85508"/>
                        </a:cubicBezTo>
                        <a:cubicBezTo>
                          <a:pt x="1702" y="85508"/>
                          <a:pt x="0" y="83353"/>
                          <a:pt x="0" y="82634"/>
                        </a:cubicBezTo>
                        <a:cubicBezTo>
                          <a:pt x="851" y="82634"/>
                          <a:pt x="1702" y="81916"/>
                          <a:pt x="1702" y="81197"/>
                        </a:cubicBezTo>
                        <a:cubicBezTo>
                          <a:pt x="2553" y="80479"/>
                          <a:pt x="3404" y="79041"/>
                          <a:pt x="3404" y="78323"/>
                        </a:cubicBezTo>
                        <a:cubicBezTo>
                          <a:pt x="3404" y="78323"/>
                          <a:pt x="3404" y="75449"/>
                          <a:pt x="3404" y="75449"/>
                        </a:cubicBezTo>
                        <a:cubicBezTo>
                          <a:pt x="3404" y="75449"/>
                          <a:pt x="2553" y="74730"/>
                          <a:pt x="3404" y="74730"/>
                        </a:cubicBezTo>
                        <a:cubicBezTo>
                          <a:pt x="4255" y="74730"/>
                          <a:pt x="3404" y="74730"/>
                          <a:pt x="4255" y="74730"/>
                        </a:cubicBezTo>
                        <a:cubicBezTo>
                          <a:pt x="5106" y="74011"/>
                          <a:pt x="7659" y="72574"/>
                          <a:pt x="7659" y="72574"/>
                        </a:cubicBezTo>
                        <a:cubicBezTo>
                          <a:pt x="7659" y="71137"/>
                          <a:pt x="7659" y="71137"/>
                          <a:pt x="7659" y="71137"/>
                        </a:cubicBezTo>
                        <a:cubicBezTo>
                          <a:pt x="7659" y="71137"/>
                          <a:pt x="6808" y="69700"/>
                          <a:pt x="6808" y="68982"/>
                        </a:cubicBezTo>
                        <a:cubicBezTo>
                          <a:pt x="6808" y="68982"/>
                          <a:pt x="6808" y="68982"/>
                          <a:pt x="6808" y="68263"/>
                        </a:cubicBezTo>
                        <a:cubicBezTo>
                          <a:pt x="6808" y="66826"/>
                          <a:pt x="3404" y="63952"/>
                          <a:pt x="3404" y="63952"/>
                        </a:cubicBezTo>
                        <a:cubicBezTo>
                          <a:pt x="1702" y="63952"/>
                          <a:pt x="1702" y="63952"/>
                          <a:pt x="1702" y="63952"/>
                        </a:cubicBezTo>
                        <a:cubicBezTo>
                          <a:pt x="1702" y="63952"/>
                          <a:pt x="1702" y="63233"/>
                          <a:pt x="1702" y="62514"/>
                        </a:cubicBezTo>
                        <a:cubicBezTo>
                          <a:pt x="1702" y="62514"/>
                          <a:pt x="1702" y="60359"/>
                          <a:pt x="1702" y="60359"/>
                        </a:cubicBezTo>
                        <a:cubicBezTo>
                          <a:pt x="2553" y="57485"/>
                          <a:pt x="2553" y="57485"/>
                          <a:pt x="2553" y="57485"/>
                        </a:cubicBezTo>
                        <a:cubicBezTo>
                          <a:pt x="1702" y="52455"/>
                          <a:pt x="1702" y="52455"/>
                          <a:pt x="1702" y="52455"/>
                        </a:cubicBezTo>
                        <a:cubicBezTo>
                          <a:pt x="1702" y="48862"/>
                          <a:pt x="1702" y="48862"/>
                          <a:pt x="1702" y="48862"/>
                        </a:cubicBezTo>
                        <a:cubicBezTo>
                          <a:pt x="1702" y="48862"/>
                          <a:pt x="1702" y="45988"/>
                          <a:pt x="1702" y="45269"/>
                        </a:cubicBezTo>
                        <a:cubicBezTo>
                          <a:pt x="1702" y="45269"/>
                          <a:pt x="3404" y="42395"/>
                          <a:pt x="3404" y="42395"/>
                        </a:cubicBezTo>
                        <a:cubicBezTo>
                          <a:pt x="4255" y="40958"/>
                          <a:pt x="4255" y="40958"/>
                          <a:pt x="4255" y="40958"/>
                        </a:cubicBezTo>
                        <a:cubicBezTo>
                          <a:pt x="5106" y="43113"/>
                          <a:pt x="5106" y="43113"/>
                          <a:pt x="5106" y="43113"/>
                        </a:cubicBezTo>
                        <a:cubicBezTo>
                          <a:pt x="5106" y="43113"/>
                          <a:pt x="4255" y="43832"/>
                          <a:pt x="5106" y="44550"/>
                        </a:cubicBezTo>
                        <a:cubicBezTo>
                          <a:pt x="5957" y="44550"/>
                          <a:pt x="6808" y="44550"/>
                          <a:pt x="7659" y="44550"/>
                        </a:cubicBezTo>
                        <a:cubicBezTo>
                          <a:pt x="7659" y="44550"/>
                          <a:pt x="8510" y="45269"/>
                          <a:pt x="8510" y="45269"/>
                        </a:cubicBezTo>
                        <a:cubicBezTo>
                          <a:pt x="11063" y="46706"/>
                          <a:pt x="11063" y="46706"/>
                          <a:pt x="11063" y="46706"/>
                        </a:cubicBezTo>
                        <a:cubicBezTo>
                          <a:pt x="12765" y="48143"/>
                          <a:pt x="12765" y="48143"/>
                          <a:pt x="12765" y="48143"/>
                        </a:cubicBezTo>
                        <a:cubicBezTo>
                          <a:pt x="14468" y="48862"/>
                          <a:pt x="14468" y="48862"/>
                          <a:pt x="14468" y="48862"/>
                        </a:cubicBezTo>
                        <a:cubicBezTo>
                          <a:pt x="16170" y="48862"/>
                          <a:pt x="16170" y="48862"/>
                          <a:pt x="16170" y="48862"/>
                        </a:cubicBezTo>
                        <a:cubicBezTo>
                          <a:pt x="17021" y="48143"/>
                          <a:pt x="17021" y="48143"/>
                          <a:pt x="17021" y="48143"/>
                        </a:cubicBezTo>
                        <a:cubicBezTo>
                          <a:pt x="17021" y="48143"/>
                          <a:pt x="17021" y="47425"/>
                          <a:pt x="17021" y="47425"/>
                        </a:cubicBezTo>
                        <a:cubicBezTo>
                          <a:pt x="17021" y="47425"/>
                          <a:pt x="16170" y="45988"/>
                          <a:pt x="16170" y="45988"/>
                        </a:cubicBezTo>
                        <a:cubicBezTo>
                          <a:pt x="16170" y="45269"/>
                          <a:pt x="15319" y="44550"/>
                          <a:pt x="15319" y="44550"/>
                        </a:cubicBezTo>
                        <a:cubicBezTo>
                          <a:pt x="17872" y="43113"/>
                          <a:pt x="17872" y="43113"/>
                          <a:pt x="17872" y="43113"/>
                        </a:cubicBezTo>
                        <a:cubicBezTo>
                          <a:pt x="18723" y="41676"/>
                          <a:pt x="18723" y="41676"/>
                          <a:pt x="18723" y="41676"/>
                        </a:cubicBezTo>
                        <a:cubicBezTo>
                          <a:pt x="18723" y="41676"/>
                          <a:pt x="18723" y="40958"/>
                          <a:pt x="17872" y="40958"/>
                        </a:cubicBezTo>
                        <a:cubicBezTo>
                          <a:pt x="17021" y="40958"/>
                          <a:pt x="15319" y="40958"/>
                          <a:pt x="15319" y="40958"/>
                        </a:cubicBezTo>
                        <a:cubicBezTo>
                          <a:pt x="15319" y="40958"/>
                          <a:pt x="14468" y="40239"/>
                          <a:pt x="14468" y="40239"/>
                        </a:cubicBezTo>
                        <a:cubicBezTo>
                          <a:pt x="14468" y="40239"/>
                          <a:pt x="13617" y="38802"/>
                          <a:pt x="13617" y="38802"/>
                        </a:cubicBezTo>
                        <a:cubicBezTo>
                          <a:pt x="13617" y="38802"/>
                          <a:pt x="13617" y="37365"/>
                          <a:pt x="14468" y="37365"/>
                        </a:cubicBezTo>
                        <a:cubicBezTo>
                          <a:pt x="14468" y="36646"/>
                          <a:pt x="15319" y="34491"/>
                          <a:pt x="15319" y="34491"/>
                        </a:cubicBezTo>
                        <a:cubicBezTo>
                          <a:pt x="15319" y="34491"/>
                          <a:pt x="14468" y="33053"/>
                          <a:pt x="16170" y="33053"/>
                        </a:cubicBezTo>
                        <a:cubicBezTo>
                          <a:pt x="17872" y="33053"/>
                          <a:pt x="18723" y="33053"/>
                          <a:pt x="18723" y="33053"/>
                        </a:cubicBezTo>
                        <a:cubicBezTo>
                          <a:pt x="18723" y="33053"/>
                          <a:pt x="19574" y="31616"/>
                          <a:pt x="20425" y="31616"/>
                        </a:cubicBezTo>
                        <a:cubicBezTo>
                          <a:pt x="20425" y="31616"/>
                          <a:pt x="21276" y="30898"/>
                          <a:pt x="21276" y="31616"/>
                        </a:cubicBezTo>
                        <a:cubicBezTo>
                          <a:pt x="22127" y="31616"/>
                          <a:pt x="21276" y="33772"/>
                          <a:pt x="21276" y="33772"/>
                        </a:cubicBezTo>
                        <a:cubicBezTo>
                          <a:pt x="19574" y="35209"/>
                          <a:pt x="19574" y="35209"/>
                          <a:pt x="19574" y="35209"/>
                        </a:cubicBezTo>
                        <a:cubicBezTo>
                          <a:pt x="19574" y="35209"/>
                          <a:pt x="20425" y="35928"/>
                          <a:pt x="20425" y="36646"/>
                        </a:cubicBezTo>
                        <a:cubicBezTo>
                          <a:pt x="20425" y="37365"/>
                          <a:pt x="20425" y="38083"/>
                          <a:pt x="20425" y="38083"/>
                        </a:cubicBezTo>
                        <a:cubicBezTo>
                          <a:pt x="18723" y="40239"/>
                          <a:pt x="18723" y="40239"/>
                          <a:pt x="18723" y="40239"/>
                        </a:cubicBezTo>
                        <a:cubicBezTo>
                          <a:pt x="18723" y="40239"/>
                          <a:pt x="19574" y="40239"/>
                          <a:pt x="19574" y="40239"/>
                        </a:cubicBezTo>
                        <a:cubicBezTo>
                          <a:pt x="19574" y="40958"/>
                          <a:pt x="19574" y="41676"/>
                          <a:pt x="19574" y="41676"/>
                        </a:cubicBezTo>
                        <a:cubicBezTo>
                          <a:pt x="22127" y="40958"/>
                          <a:pt x="22127" y="40958"/>
                          <a:pt x="22127" y="40958"/>
                        </a:cubicBezTo>
                        <a:cubicBezTo>
                          <a:pt x="22127" y="40958"/>
                          <a:pt x="21276" y="40239"/>
                          <a:pt x="21276" y="40239"/>
                        </a:cubicBezTo>
                        <a:cubicBezTo>
                          <a:pt x="21276" y="40239"/>
                          <a:pt x="20425" y="39520"/>
                          <a:pt x="21276" y="38802"/>
                        </a:cubicBezTo>
                        <a:cubicBezTo>
                          <a:pt x="22127" y="38083"/>
                          <a:pt x="22127" y="37365"/>
                          <a:pt x="22978" y="37365"/>
                        </a:cubicBezTo>
                        <a:cubicBezTo>
                          <a:pt x="22978" y="36646"/>
                          <a:pt x="22978" y="36646"/>
                          <a:pt x="24680" y="36646"/>
                        </a:cubicBezTo>
                        <a:cubicBezTo>
                          <a:pt x="25531" y="36646"/>
                          <a:pt x="27234" y="38083"/>
                          <a:pt x="27234" y="38083"/>
                        </a:cubicBezTo>
                        <a:cubicBezTo>
                          <a:pt x="27234" y="38083"/>
                          <a:pt x="28085" y="38802"/>
                          <a:pt x="27234" y="38802"/>
                        </a:cubicBezTo>
                        <a:cubicBezTo>
                          <a:pt x="27234" y="39520"/>
                          <a:pt x="26382" y="40239"/>
                          <a:pt x="26382" y="40239"/>
                        </a:cubicBezTo>
                        <a:cubicBezTo>
                          <a:pt x="28085" y="42395"/>
                          <a:pt x="28085" y="42395"/>
                          <a:pt x="28085" y="42395"/>
                        </a:cubicBezTo>
                        <a:cubicBezTo>
                          <a:pt x="28085" y="42395"/>
                          <a:pt x="27234" y="42395"/>
                          <a:pt x="26382" y="43113"/>
                        </a:cubicBezTo>
                        <a:cubicBezTo>
                          <a:pt x="26382" y="43113"/>
                          <a:pt x="26382" y="43832"/>
                          <a:pt x="26382" y="43832"/>
                        </a:cubicBezTo>
                        <a:cubicBezTo>
                          <a:pt x="26382" y="44550"/>
                          <a:pt x="23829" y="45269"/>
                          <a:pt x="26382" y="45269"/>
                        </a:cubicBezTo>
                        <a:cubicBezTo>
                          <a:pt x="28085" y="45269"/>
                          <a:pt x="28085" y="45269"/>
                          <a:pt x="28085" y="44550"/>
                        </a:cubicBezTo>
                        <a:cubicBezTo>
                          <a:pt x="28085" y="44550"/>
                          <a:pt x="28085" y="43113"/>
                          <a:pt x="28085" y="43113"/>
                        </a:cubicBezTo>
                        <a:cubicBezTo>
                          <a:pt x="28085" y="43113"/>
                          <a:pt x="28936" y="43113"/>
                          <a:pt x="28936" y="43113"/>
                        </a:cubicBezTo>
                        <a:cubicBezTo>
                          <a:pt x="29787" y="43113"/>
                          <a:pt x="30638" y="43113"/>
                          <a:pt x="30638" y="43113"/>
                        </a:cubicBezTo>
                        <a:cubicBezTo>
                          <a:pt x="31489" y="43832"/>
                          <a:pt x="31489" y="43832"/>
                          <a:pt x="31489" y="43832"/>
                        </a:cubicBezTo>
                        <a:cubicBezTo>
                          <a:pt x="31489" y="43832"/>
                          <a:pt x="31489" y="44550"/>
                          <a:pt x="31489" y="45269"/>
                        </a:cubicBezTo>
                        <a:cubicBezTo>
                          <a:pt x="31489" y="45269"/>
                          <a:pt x="31489" y="45988"/>
                          <a:pt x="31489" y="45988"/>
                        </a:cubicBezTo>
                        <a:cubicBezTo>
                          <a:pt x="31489" y="45988"/>
                          <a:pt x="33191" y="47425"/>
                          <a:pt x="33191" y="46706"/>
                        </a:cubicBezTo>
                        <a:cubicBezTo>
                          <a:pt x="33191" y="45988"/>
                          <a:pt x="34042" y="46706"/>
                          <a:pt x="33191" y="45269"/>
                        </a:cubicBezTo>
                        <a:cubicBezTo>
                          <a:pt x="32340" y="44550"/>
                          <a:pt x="32340" y="43113"/>
                          <a:pt x="32340" y="43113"/>
                        </a:cubicBezTo>
                        <a:cubicBezTo>
                          <a:pt x="32340" y="43113"/>
                          <a:pt x="32340" y="43113"/>
                          <a:pt x="32340" y="42395"/>
                        </a:cubicBezTo>
                        <a:cubicBezTo>
                          <a:pt x="32340" y="42395"/>
                          <a:pt x="32340" y="41676"/>
                          <a:pt x="32340" y="41676"/>
                        </a:cubicBezTo>
                        <a:cubicBezTo>
                          <a:pt x="31489" y="40958"/>
                          <a:pt x="30638" y="40958"/>
                          <a:pt x="30638" y="40239"/>
                        </a:cubicBezTo>
                        <a:cubicBezTo>
                          <a:pt x="30638" y="40239"/>
                          <a:pt x="28085" y="38083"/>
                          <a:pt x="28085" y="38083"/>
                        </a:cubicBezTo>
                        <a:cubicBezTo>
                          <a:pt x="28085" y="38083"/>
                          <a:pt x="28085" y="37365"/>
                          <a:pt x="28085" y="36646"/>
                        </a:cubicBezTo>
                        <a:cubicBezTo>
                          <a:pt x="28085" y="35209"/>
                          <a:pt x="28085" y="34491"/>
                          <a:pt x="28085" y="33772"/>
                        </a:cubicBezTo>
                        <a:cubicBezTo>
                          <a:pt x="28085" y="33772"/>
                          <a:pt x="28936" y="32335"/>
                          <a:pt x="28936" y="32335"/>
                        </a:cubicBezTo>
                        <a:cubicBezTo>
                          <a:pt x="28936" y="32335"/>
                          <a:pt x="28936" y="30898"/>
                          <a:pt x="29787" y="30179"/>
                        </a:cubicBezTo>
                        <a:cubicBezTo>
                          <a:pt x="30638" y="30179"/>
                          <a:pt x="29787" y="29461"/>
                          <a:pt x="30638" y="29461"/>
                        </a:cubicBezTo>
                        <a:cubicBezTo>
                          <a:pt x="32340" y="28742"/>
                          <a:pt x="31489" y="28742"/>
                          <a:pt x="33191" y="28742"/>
                        </a:cubicBezTo>
                        <a:cubicBezTo>
                          <a:pt x="34042" y="28742"/>
                          <a:pt x="35744" y="29461"/>
                          <a:pt x="36595" y="29461"/>
                        </a:cubicBezTo>
                        <a:cubicBezTo>
                          <a:pt x="36595" y="29461"/>
                          <a:pt x="39148" y="30179"/>
                          <a:pt x="39148" y="30179"/>
                        </a:cubicBezTo>
                        <a:cubicBezTo>
                          <a:pt x="39148" y="30179"/>
                          <a:pt x="39148" y="29461"/>
                          <a:pt x="39148" y="29461"/>
                        </a:cubicBezTo>
                        <a:cubicBezTo>
                          <a:pt x="40000" y="29461"/>
                          <a:pt x="40000" y="28023"/>
                          <a:pt x="40000" y="28742"/>
                        </a:cubicBezTo>
                        <a:cubicBezTo>
                          <a:pt x="40851" y="28742"/>
                          <a:pt x="40851" y="29461"/>
                          <a:pt x="41702" y="28742"/>
                        </a:cubicBezTo>
                        <a:cubicBezTo>
                          <a:pt x="42553" y="28023"/>
                          <a:pt x="42553" y="27305"/>
                          <a:pt x="42553" y="27305"/>
                        </a:cubicBezTo>
                        <a:cubicBezTo>
                          <a:pt x="42553" y="27305"/>
                          <a:pt x="43404" y="27305"/>
                          <a:pt x="44255" y="26586"/>
                        </a:cubicBezTo>
                        <a:cubicBezTo>
                          <a:pt x="44255" y="26586"/>
                          <a:pt x="43404" y="25868"/>
                          <a:pt x="42553" y="25868"/>
                        </a:cubicBezTo>
                        <a:cubicBezTo>
                          <a:pt x="42553" y="25868"/>
                          <a:pt x="40851" y="25868"/>
                          <a:pt x="40000" y="26586"/>
                        </a:cubicBezTo>
                        <a:cubicBezTo>
                          <a:pt x="39148" y="26586"/>
                          <a:pt x="40000" y="26586"/>
                          <a:pt x="38297" y="26586"/>
                        </a:cubicBezTo>
                        <a:cubicBezTo>
                          <a:pt x="37446" y="27305"/>
                          <a:pt x="37446" y="27305"/>
                          <a:pt x="35744" y="27305"/>
                        </a:cubicBezTo>
                        <a:cubicBezTo>
                          <a:pt x="34042" y="27305"/>
                          <a:pt x="34042" y="27305"/>
                          <a:pt x="33191" y="28023"/>
                        </a:cubicBezTo>
                        <a:cubicBezTo>
                          <a:pt x="32340" y="28742"/>
                          <a:pt x="31489" y="28742"/>
                          <a:pt x="31489" y="28742"/>
                        </a:cubicBezTo>
                        <a:cubicBezTo>
                          <a:pt x="30638" y="28742"/>
                          <a:pt x="30638" y="28742"/>
                          <a:pt x="30638" y="28742"/>
                        </a:cubicBezTo>
                        <a:cubicBezTo>
                          <a:pt x="30638" y="28742"/>
                          <a:pt x="29787" y="28742"/>
                          <a:pt x="28936" y="28742"/>
                        </a:cubicBezTo>
                        <a:cubicBezTo>
                          <a:pt x="28936" y="28742"/>
                          <a:pt x="28085" y="28023"/>
                          <a:pt x="28085" y="28023"/>
                        </a:cubicBezTo>
                        <a:cubicBezTo>
                          <a:pt x="28085" y="28023"/>
                          <a:pt x="28085" y="28023"/>
                          <a:pt x="27234" y="28023"/>
                        </a:cubicBezTo>
                        <a:cubicBezTo>
                          <a:pt x="26382" y="28023"/>
                          <a:pt x="25531" y="28742"/>
                          <a:pt x="25531" y="28742"/>
                        </a:cubicBezTo>
                        <a:cubicBezTo>
                          <a:pt x="23829" y="28742"/>
                          <a:pt x="23829" y="28742"/>
                          <a:pt x="23829" y="28742"/>
                        </a:cubicBezTo>
                        <a:cubicBezTo>
                          <a:pt x="23829" y="28742"/>
                          <a:pt x="22978" y="28742"/>
                          <a:pt x="22127" y="28742"/>
                        </a:cubicBezTo>
                        <a:cubicBezTo>
                          <a:pt x="22127" y="29461"/>
                          <a:pt x="20425" y="29461"/>
                          <a:pt x="20425" y="29461"/>
                        </a:cubicBezTo>
                        <a:cubicBezTo>
                          <a:pt x="20425" y="29461"/>
                          <a:pt x="20425" y="29461"/>
                          <a:pt x="19574" y="29461"/>
                        </a:cubicBezTo>
                        <a:cubicBezTo>
                          <a:pt x="19574" y="30179"/>
                          <a:pt x="20425" y="30179"/>
                          <a:pt x="19574" y="30898"/>
                        </a:cubicBezTo>
                        <a:cubicBezTo>
                          <a:pt x="18723" y="30898"/>
                          <a:pt x="17021" y="30898"/>
                          <a:pt x="17021" y="30898"/>
                        </a:cubicBezTo>
                        <a:cubicBezTo>
                          <a:pt x="16170" y="31616"/>
                          <a:pt x="16170" y="31616"/>
                          <a:pt x="16170" y="31616"/>
                        </a:cubicBezTo>
                        <a:cubicBezTo>
                          <a:pt x="15319" y="33053"/>
                          <a:pt x="15319" y="33053"/>
                          <a:pt x="15319" y="33053"/>
                        </a:cubicBezTo>
                        <a:cubicBezTo>
                          <a:pt x="14468" y="33053"/>
                          <a:pt x="14468" y="33053"/>
                          <a:pt x="14468" y="33053"/>
                        </a:cubicBezTo>
                        <a:cubicBezTo>
                          <a:pt x="13617" y="35209"/>
                          <a:pt x="13617" y="35209"/>
                          <a:pt x="13617" y="35209"/>
                        </a:cubicBezTo>
                        <a:cubicBezTo>
                          <a:pt x="13617" y="35928"/>
                          <a:pt x="13617" y="35928"/>
                          <a:pt x="13617" y="35928"/>
                        </a:cubicBezTo>
                        <a:cubicBezTo>
                          <a:pt x="11914" y="37365"/>
                          <a:pt x="11914" y="37365"/>
                          <a:pt x="11914" y="37365"/>
                        </a:cubicBezTo>
                        <a:cubicBezTo>
                          <a:pt x="11063" y="38083"/>
                          <a:pt x="11063" y="38083"/>
                          <a:pt x="11063" y="38083"/>
                        </a:cubicBezTo>
                        <a:cubicBezTo>
                          <a:pt x="11063" y="38083"/>
                          <a:pt x="11063" y="38083"/>
                          <a:pt x="11914" y="38802"/>
                        </a:cubicBezTo>
                        <a:cubicBezTo>
                          <a:pt x="11914" y="38802"/>
                          <a:pt x="11914" y="39520"/>
                          <a:pt x="11914" y="39520"/>
                        </a:cubicBezTo>
                        <a:cubicBezTo>
                          <a:pt x="11063" y="40239"/>
                          <a:pt x="11063" y="40239"/>
                          <a:pt x="11063" y="40239"/>
                        </a:cubicBezTo>
                        <a:cubicBezTo>
                          <a:pt x="11914" y="41676"/>
                          <a:pt x="11914" y="41676"/>
                          <a:pt x="11914" y="41676"/>
                        </a:cubicBezTo>
                        <a:cubicBezTo>
                          <a:pt x="13617" y="40958"/>
                          <a:pt x="13617" y="40958"/>
                          <a:pt x="13617" y="40958"/>
                        </a:cubicBezTo>
                        <a:cubicBezTo>
                          <a:pt x="14468" y="42395"/>
                          <a:pt x="14468" y="42395"/>
                          <a:pt x="14468" y="42395"/>
                        </a:cubicBezTo>
                        <a:cubicBezTo>
                          <a:pt x="13617" y="43832"/>
                          <a:pt x="13617" y="43832"/>
                          <a:pt x="13617" y="43832"/>
                        </a:cubicBezTo>
                        <a:cubicBezTo>
                          <a:pt x="13617" y="43832"/>
                          <a:pt x="12765" y="44550"/>
                          <a:pt x="11914" y="44550"/>
                        </a:cubicBezTo>
                        <a:cubicBezTo>
                          <a:pt x="11914" y="44550"/>
                          <a:pt x="11063" y="43832"/>
                          <a:pt x="11063" y="43832"/>
                        </a:cubicBezTo>
                        <a:cubicBezTo>
                          <a:pt x="10212" y="42395"/>
                          <a:pt x="10212" y="42395"/>
                          <a:pt x="10212" y="42395"/>
                        </a:cubicBezTo>
                        <a:cubicBezTo>
                          <a:pt x="10212" y="41676"/>
                          <a:pt x="10212" y="41676"/>
                          <a:pt x="10212" y="41676"/>
                        </a:cubicBezTo>
                        <a:cubicBezTo>
                          <a:pt x="10212" y="40958"/>
                          <a:pt x="10212" y="40958"/>
                          <a:pt x="10212" y="40958"/>
                        </a:cubicBezTo>
                        <a:cubicBezTo>
                          <a:pt x="7659" y="41676"/>
                          <a:pt x="7659" y="41676"/>
                          <a:pt x="7659" y="41676"/>
                        </a:cubicBezTo>
                        <a:cubicBezTo>
                          <a:pt x="7659" y="40958"/>
                          <a:pt x="7659" y="40958"/>
                          <a:pt x="7659" y="40958"/>
                        </a:cubicBezTo>
                        <a:cubicBezTo>
                          <a:pt x="7659" y="40958"/>
                          <a:pt x="6808" y="40239"/>
                          <a:pt x="6808" y="40239"/>
                        </a:cubicBezTo>
                        <a:cubicBezTo>
                          <a:pt x="6808" y="39520"/>
                          <a:pt x="5957" y="38802"/>
                          <a:pt x="5957" y="38802"/>
                        </a:cubicBezTo>
                        <a:cubicBezTo>
                          <a:pt x="4255" y="36646"/>
                          <a:pt x="4255" y="36646"/>
                          <a:pt x="4255" y="36646"/>
                        </a:cubicBezTo>
                        <a:cubicBezTo>
                          <a:pt x="4255" y="36646"/>
                          <a:pt x="4255" y="36646"/>
                          <a:pt x="5106" y="36646"/>
                        </a:cubicBezTo>
                        <a:cubicBezTo>
                          <a:pt x="5106" y="35928"/>
                          <a:pt x="5106" y="35928"/>
                          <a:pt x="5957" y="35209"/>
                        </a:cubicBezTo>
                        <a:cubicBezTo>
                          <a:pt x="5957" y="34491"/>
                          <a:pt x="7659" y="33053"/>
                          <a:pt x="7659" y="33053"/>
                        </a:cubicBezTo>
                        <a:cubicBezTo>
                          <a:pt x="8510" y="30898"/>
                          <a:pt x="8510" y="30898"/>
                          <a:pt x="8510" y="30898"/>
                        </a:cubicBezTo>
                        <a:cubicBezTo>
                          <a:pt x="10212" y="29461"/>
                          <a:pt x="10212" y="29461"/>
                          <a:pt x="10212" y="29461"/>
                        </a:cubicBezTo>
                        <a:cubicBezTo>
                          <a:pt x="11063" y="28023"/>
                          <a:pt x="11063" y="28023"/>
                          <a:pt x="11063" y="28023"/>
                        </a:cubicBezTo>
                        <a:cubicBezTo>
                          <a:pt x="12765" y="25868"/>
                          <a:pt x="12765" y="25868"/>
                          <a:pt x="12765" y="25868"/>
                        </a:cubicBezTo>
                        <a:cubicBezTo>
                          <a:pt x="14468" y="24431"/>
                          <a:pt x="14468" y="24431"/>
                          <a:pt x="14468" y="24431"/>
                        </a:cubicBezTo>
                        <a:cubicBezTo>
                          <a:pt x="17021" y="24431"/>
                          <a:pt x="17021" y="24431"/>
                          <a:pt x="17021" y="24431"/>
                        </a:cubicBezTo>
                        <a:cubicBezTo>
                          <a:pt x="17021" y="24431"/>
                          <a:pt x="18723" y="25149"/>
                          <a:pt x="18723" y="25149"/>
                        </a:cubicBezTo>
                        <a:cubicBezTo>
                          <a:pt x="19574" y="24431"/>
                          <a:pt x="20425" y="23712"/>
                          <a:pt x="20425" y="23712"/>
                        </a:cubicBezTo>
                        <a:cubicBezTo>
                          <a:pt x="23829" y="22994"/>
                          <a:pt x="23829" y="22994"/>
                          <a:pt x="23829" y="22994"/>
                        </a:cubicBezTo>
                        <a:cubicBezTo>
                          <a:pt x="24680" y="22994"/>
                          <a:pt x="24680" y="22994"/>
                          <a:pt x="24680" y="22994"/>
                        </a:cubicBezTo>
                        <a:cubicBezTo>
                          <a:pt x="27234" y="23712"/>
                          <a:pt x="27234" y="23712"/>
                          <a:pt x="27234" y="23712"/>
                        </a:cubicBezTo>
                        <a:cubicBezTo>
                          <a:pt x="28936" y="23712"/>
                          <a:pt x="28936" y="23712"/>
                          <a:pt x="28936" y="23712"/>
                        </a:cubicBezTo>
                        <a:cubicBezTo>
                          <a:pt x="32340" y="23712"/>
                          <a:pt x="32340" y="23712"/>
                          <a:pt x="32340" y="23712"/>
                        </a:cubicBezTo>
                        <a:close/>
                        <a:moveTo>
                          <a:pt x="13617" y="99880"/>
                        </a:moveTo>
                        <a:cubicBezTo>
                          <a:pt x="13617" y="99880"/>
                          <a:pt x="13617" y="99880"/>
                          <a:pt x="13617" y="99880"/>
                        </a:cubicBezTo>
                        <a:cubicBezTo>
                          <a:pt x="13617" y="99880"/>
                          <a:pt x="11914" y="99161"/>
                          <a:pt x="11914" y="99161"/>
                        </a:cubicBezTo>
                        <a:cubicBezTo>
                          <a:pt x="11914" y="99880"/>
                          <a:pt x="11063" y="100598"/>
                          <a:pt x="11063" y="100598"/>
                        </a:cubicBezTo>
                        <a:cubicBezTo>
                          <a:pt x="10212" y="102754"/>
                          <a:pt x="10212" y="102754"/>
                          <a:pt x="10212" y="102754"/>
                        </a:cubicBezTo>
                        <a:cubicBezTo>
                          <a:pt x="9361" y="103473"/>
                          <a:pt x="9361" y="103473"/>
                          <a:pt x="9361" y="103473"/>
                        </a:cubicBezTo>
                        <a:cubicBezTo>
                          <a:pt x="9361" y="104910"/>
                          <a:pt x="9361" y="104910"/>
                          <a:pt x="9361" y="104910"/>
                        </a:cubicBezTo>
                        <a:cubicBezTo>
                          <a:pt x="6808" y="105628"/>
                          <a:pt x="6808" y="105628"/>
                          <a:pt x="6808" y="105628"/>
                        </a:cubicBezTo>
                        <a:cubicBezTo>
                          <a:pt x="6808" y="105628"/>
                          <a:pt x="6808" y="106347"/>
                          <a:pt x="7659" y="106347"/>
                        </a:cubicBezTo>
                        <a:cubicBezTo>
                          <a:pt x="8510" y="106347"/>
                          <a:pt x="9361" y="106347"/>
                          <a:pt x="9361" y="106347"/>
                        </a:cubicBezTo>
                        <a:cubicBezTo>
                          <a:pt x="9361" y="105628"/>
                          <a:pt x="10212" y="104910"/>
                          <a:pt x="10212" y="104910"/>
                        </a:cubicBezTo>
                        <a:cubicBezTo>
                          <a:pt x="10212" y="104910"/>
                          <a:pt x="11063" y="104191"/>
                          <a:pt x="11063" y="104191"/>
                        </a:cubicBezTo>
                        <a:cubicBezTo>
                          <a:pt x="11914" y="104191"/>
                          <a:pt x="13617" y="104191"/>
                          <a:pt x="13617" y="103473"/>
                        </a:cubicBezTo>
                        <a:cubicBezTo>
                          <a:pt x="13617" y="102754"/>
                          <a:pt x="13617" y="102035"/>
                          <a:pt x="13617" y="102035"/>
                        </a:cubicBezTo>
                        <a:cubicBezTo>
                          <a:pt x="13617" y="101317"/>
                          <a:pt x="13617" y="101317"/>
                          <a:pt x="13617" y="101317"/>
                        </a:cubicBezTo>
                        <a:cubicBezTo>
                          <a:pt x="13617" y="99880"/>
                          <a:pt x="13617" y="99880"/>
                          <a:pt x="13617" y="99880"/>
                        </a:cubicBezTo>
                        <a:close/>
                        <a:moveTo>
                          <a:pt x="57872" y="80479"/>
                        </a:moveTo>
                        <a:cubicBezTo>
                          <a:pt x="57872" y="80479"/>
                          <a:pt x="57872" y="80479"/>
                          <a:pt x="57872" y="80479"/>
                        </a:cubicBezTo>
                        <a:cubicBezTo>
                          <a:pt x="57872" y="80479"/>
                          <a:pt x="57872" y="80479"/>
                          <a:pt x="57872" y="80479"/>
                        </a:cubicBezTo>
                        <a:cubicBezTo>
                          <a:pt x="57872" y="80479"/>
                          <a:pt x="58723" y="79760"/>
                          <a:pt x="58723" y="79760"/>
                        </a:cubicBezTo>
                        <a:cubicBezTo>
                          <a:pt x="58723" y="79041"/>
                          <a:pt x="57872" y="78323"/>
                          <a:pt x="57872" y="78323"/>
                        </a:cubicBezTo>
                        <a:cubicBezTo>
                          <a:pt x="57872" y="77604"/>
                          <a:pt x="58723" y="77604"/>
                          <a:pt x="58723" y="77604"/>
                        </a:cubicBezTo>
                        <a:cubicBezTo>
                          <a:pt x="58723" y="77604"/>
                          <a:pt x="58723" y="76886"/>
                          <a:pt x="58723" y="76886"/>
                        </a:cubicBezTo>
                        <a:cubicBezTo>
                          <a:pt x="58723" y="76886"/>
                          <a:pt x="57872" y="76886"/>
                          <a:pt x="57872" y="76886"/>
                        </a:cubicBezTo>
                        <a:cubicBezTo>
                          <a:pt x="57021" y="76886"/>
                          <a:pt x="57021" y="77604"/>
                          <a:pt x="57021" y="77604"/>
                        </a:cubicBezTo>
                        <a:cubicBezTo>
                          <a:pt x="57021" y="77604"/>
                          <a:pt x="57021" y="78323"/>
                          <a:pt x="57021" y="78323"/>
                        </a:cubicBezTo>
                        <a:cubicBezTo>
                          <a:pt x="57021" y="78323"/>
                          <a:pt x="57021" y="79041"/>
                          <a:pt x="57021" y="79041"/>
                        </a:cubicBezTo>
                        <a:cubicBezTo>
                          <a:pt x="57021" y="79041"/>
                          <a:pt x="57872" y="80479"/>
                          <a:pt x="57872" y="80479"/>
                        </a:cubicBezTo>
                        <a:close/>
                        <a:moveTo>
                          <a:pt x="80851" y="99880"/>
                        </a:moveTo>
                        <a:cubicBezTo>
                          <a:pt x="80851" y="99880"/>
                          <a:pt x="80851" y="99880"/>
                          <a:pt x="80851" y="99880"/>
                        </a:cubicBezTo>
                        <a:cubicBezTo>
                          <a:pt x="81702" y="99161"/>
                          <a:pt x="81702" y="99161"/>
                          <a:pt x="81702" y="99161"/>
                        </a:cubicBezTo>
                        <a:cubicBezTo>
                          <a:pt x="82553" y="99880"/>
                          <a:pt x="82553" y="99880"/>
                          <a:pt x="82553" y="99880"/>
                        </a:cubicBezTo>
                        <a:cubicBezTo>
                          <a:pt x="82553" y="99880"/>
                          <a:pt x="81702" y="100598"/>
                          <a:pt x="81702" y="100598"/>
                        </a:cubicBezTo>
                        <a:cubicBezTo>
                          <a:pt x="81702" y="100598"/>
                          <a:pt x="80851" y="99880"/>
                          <a:pt x="80851" y="99880"/>
                        </a:cubicBezTo>
                        <a:cubicBezTo>
                          <a:pt x="80851" y="99880"/>
                          <a:pt x="80851" y="99880"/>
                          <a:pt x="80851" y="99880"/>
                        </a:cubicBezTo>
                        <a:close/>
                        <a:moveTo>
                          <a:pt x="90212" y="109221"/>
                        </a:moveTo>
                        <a:cubicBezTo>
                          <a:pt x="90212" y="109221"/>
                          <a:pt x="90212" y="109221"/>
                          <a:pt x="90212" y="109221"/>
                        </a:cubicBezTo>
                        <a:cubicBezTo>
                          <a:pt x="91063" y="109221"/>
                          <a:pt x="91063" y="109221"/>
                          <a:pt x="91063" y="109221"/>
                        </a:cubicBezTo>
                        <a:cubicBezTo>
                          <a:pt x="91063" y="109940"/>
                          <a:pt x="91063" y="109940"/>
                          <a:pt x="91063" y="109940"/>
                        </a:cubicBezTo>
                        <a:cubicBezTo>
                          <a:pt x="90212" y="110658"/>
                          <a:pt x="90212" y="110658"/>
                          <a:pt x="90212" y="110658"/>
                        </a:cubicBezTo>
                        <a:cubicBezTo>
                          <a:pt x="90212" y="109940"/>
                          <a:pt x="90212" y="109940"/>
                          <a:pt x="90212" y="109940"/>
                        </a:cubicBezTo>
                        <a:cubicBezTo>
                          <a:pt x="90212" y="109221"/>
                          <a:pt x="90212" y="109221"/>
                          <a:pt x="90212" y="109221"/>
                        </a:cubicBezTo>
                        <a:close/>
                        <a:moveTo>
                          <a:pt x="87659" y="107784"/>
                        </a:moveTo>
                        <a:cubicBezTo>
                          <a:pt x="87659" y="107784"/>
                          <a:pt x="87659" y="107784"/>
                          <a:pt x="87659" y="107784"/>
                        </a:cubicBezTo>
                        <a:cubicBezTo>
                          <a:pt x="86808" y="107065"/>
                          <a:pt x="86808" y="107065"/>
                          <a:pt x="86808" y="107065"/>
                        </a:cubicBezTo>
                        <a:cubicBezTo>
                          <a:pt x="88510" y="107065"/>
                          <a:pt x="88510" y="107065"/>
                          <a:pt x="88510" y="107065"/>
                        </a:cubicBezTo>
                        <a:cubicBezTo>
                          <a:pt x="88510" y="107065"/>
                          <a:pt x="88510" y="107065"/>
                          <a:pt x="89361" y="107065"/>
                        </a:cubicBezTo>
                        <a:cubicBezTo>
                          <a:pt x="89361" y="107065"/>
                          <a:pt x="90212" y="107784"/>
                          <a:pt x="90212" y="107784"/>
                        </a:cubicBezTo>
                        <a:cubicBezTo>
                          <a:pt x="90212" y="107784"/>
                          <a:pt x="90212" y="107784"/>
                          <a:pt x="90212" y="107784"/>
                        </a:cubicBezTo>
                        <a:cubicBezTo>
                          <a:pt x="89361" y="107784"/>
                          <a:pt x="89361" y="108502"/>
                          <a:pt x="89361" y="108502"/>
                        </a:cubicBezTo>
                        <a:cubicBezTo>
                          <a:pt x="88510" y="108502"/>
                          <a:pt x="87659" y="107784"/>
                          <a:pt x="87659" y="107784"/>
                        </a:cubicBezTo>
                        <a:close/>
                        <a:moveTo>
                          <a:pt x="91914" y="107784"/>
                        </a:moveTo>
                        <a:cubicBezTo>
                          <a:pt x="91914" y="107784"/>
                          <a:pt x="91914" y="107784"/>
                          <a:pt x="91914" y="107784"/>
                        </a:cubicBezTo>
                        <a:cubicBezTo>
                          <a:pt x="91063" y="106347"/>
                          <a:pt x="91063" y="106347"/>
                          <a:pt x="91063" y="106347"/>
                        </a:cubicBezTo>
                        <a:cubicBezTo>
                          <a:pt x="91914" y="105628"/>
                          <a:pt x="91914" y="105628"/>
                          <a:pt x="91914" y="105628"/>
                        </a:cubicBezTo>
                        <a:cubicBezTo>
                          <a:pt x="91914" y="105628"/>
                          <a:pt x="92765" y="106347"/>
                          <a:pt x="92765" y="106347"/>
                        </a:cubicBezTo>
                        <a:cubicBezTo>
                          <a:pt x="92765" y="106347"/>
                          <a:pt x="91914" y="107065"/>
                          <a:pt x="91914" y="107065"/>
                        </a:cubicBezTo>
                        <a:cubicBezTo>
                          <a:pt x="91914" y="107784"/>
                          <a:pt x="91914" y="107784"/>
                          <a:pt x="91914" y="107784"/>
                        </a:cubicBezTo>
                        <a:close/>
                        <a:moveTo>
                          <a:pt x="109787" y="103473"/>
                        </a:moveTo>
                        <a:cubicBezTo>
                          <a:pt x="109787" y="103473"/>
                          <a:pt x="109787" y="103473"/>
                          <a:pt x="109787" y="103473"/>
                        </a:cubicBezTo>
                        <a:cubicBezTo>
                          <a:pt x="108936" y="102754"/>
                          <a:pt x="108936" y="102754"/>
                          <a:pt x="108936" y="102754"/>
                        </a:cubicBezTo>
                        <a:cubicBezTo>
                          <a:pt x="108936" y="102754"/>
                          <a:pt x="109787" y="102035"/>
                          <a:pt x="109787" y="102035"/>
                        </a:cubicBezTo>
                        <a:cubicBezTo>
                          <a:pt x="110638" y="102035"/>
                          <a:pt x="111489" y="102035"/>
                          <a:pt x="111489" y="102035"/>
                        </a:cubicBezTo>
                        <a:cubicBezTo>
                          <a:pt x="109787" y="103473"/>
                          <a:pt x="109787" y="103473"/>
                          <a:pt x="109787" y="103473"/>
                        </a:cubicBezTo>
                        <a:close/>
                        <a:moveTo>
                          <a:pt x="108085" y="104191"/>
                        </a:moveTo>
                        <a:cubicBezTo>
                          <a:pt x="108085" y="104191"/>
                          <a:pt x="108085" y="104191"/>
                          <a:pt x="108085" y="104191"/>
                        </a:cubicBezTo>
                        <a:cubicBezTo>
                          <a:pt x="108085" y="102035"/>
                          <a:pt x="108085" y="102035"/>
                          <a:pt x="108085" y="102035"/>
                        </a:cubicBezTo>
                        <a:cubicBezTo>
                          <a:pt x="108936" y="101317"/>
                          <a:pt x="108936" y="101317"/>
                          <a:pt x="108936" y="101317"/>
                        </a:cubicBezTo>
                        <a:cubicBezTo>
                          <a:pt x="108085" y="100598"/>
                          <a:pt x="108085" y="100598"/>
                          <a:pt x="108085" y="100598"/>
                        </a:cubicBezTo>
                        <a:cubicBezTo>
                          <a:pt x="107234" y="100598"/>
                          <a:pt x="107234" y="100598"/>
                          <a:pt x="107234" y="100598"/>
                        </a:cubicBezTo>
                        <a:cubicBezTo>
                          <a:pt x="107234" y="100598"/>
                          <a:pt x="106382" y="99161"/>
                          <a:pt x="106382" y="99161"/>
                        </a:cubicBezTo>
                        <a:cubicBezTo>
                          <a:pt x="106382" y="99161"/>
                          <a:pt x="105531" y="99161"/>
                          <a:pt x="105531" y="99161"/>
                        </a:cubicBezTo>
                        <a:cubicBezTo>
                          <a:pt x="105531" y="99161"/>
                          <a:pt x="104680" y="99161"/>
                          <a:pt x="104680" y="99161"/>
                        </a:cubicBezTo>
                        <a:cubicBezTo>
                          <a:pt x="104680" y="99161"/>
                          <a:pt x="105531" y="98443"/>
                          <a:pt x="105531" y="98443"/>
                        </a:cubicBezTo>
                        <a:cubicBezTo>
                          <a:pt x="105531" y="98443"/>
                          <a:pt x="105531" y="98443"/>
                          <a:pt x="106382" y="98443"/>
                        </a:cubicBezTo>
                        <a:cubicBezTo>
                          <a:pt x="107234" y="97724"/>
                          <a:pt x="107234" y="97724"/>
                          <a:pt x="107234" y="97724"/>
                        </a:cubicBezTo>
                        <a:cubicBezTo>
                          <a:pt x="107234" y="97724"/>
                          <a:pt x="108936" y="95568"/>
                          <a:pt x="110638" y="95568"/>
                        </a:cubicBezTo>
                        <a:cubicBezTo>
                          <a:pt x="111489" y="95568"/>
                          <a:pt x="113191" y="95568"/>
                          <a:pt x="113191" y="95568"/>
                        </a:cubicBezTo>
                        <a:cubicBezTo>
                          <a:pt x="114893" y="94131"/>
                          <a:pt x="114893" y="94131"/>
                          <a:pt x="114893" y="94131"/>
                        </a:cubicBezTo>
                        <a:cubicBezTo>
                          <a:pt x="114893" y="94131"/>
                          <a:pt x="114893" y="93413"/>
                          <a:pt x="114893" y="93413"/>
                        </a:cubicBezTo>
                        <a:cubicBezTo>
                          <a:pt x="115744" y="93413"/>
                          <a:pt x="114893" y="91976"/>
                          <a:pt x="114893" y="91976"/>
                        </a:cubicBezTo>
                        <a:cubicBezTo>
                          <a:pt x="114893" y="90538"/>
                          <a:pt x="114893" y="90538"/>
                          <a:pt x="114893" y="90538"/>
                        </a:cubicBezTo>
                        <a:cubicBezTo>
                          <a:pt x="114893" y="90538"/>
                          <a:pt x="112340" y="89101"/>
                          <a:pt x="112340" y="89101"/>
                        </a:cubicBezTo>
                        <a:cubicBezTo>
                          <a:pt x="112340" y="89101"/>
                          <a:pt x="108936" y="87664"/>
                          <a:pt x="108936" y="87664"/>
                        </a:cubicBezTo>
                        <a:cubicBezTo>
                          <a:pt x="108936" y="87664"/>
                          <a:pt x="108936" y="86227"/>
                          <a:pt x="108085" y="86227"/>
                        </a:cubicBezTo>
                        <a:cubicBezTo>
                          <a:pt x="108085" y="86227"/>
                          <a:pt x="108936" y="84790"/>
                          <a:pt x="108936" y="84790"/>
                        </a:cubicBezTo>
                        <a:cubicBezTo>
                          <a:pt x="108936" y="84790"/>
                          <a:pt x="110638" y="82634"/>
                          <a:pt x="112340" y="81916"/>
                        </a:cubicBezTo>
                        <a:cubicBezTo>
                          <a:pt x="113191" y="81197"/>
                          <a:pt x="114042" y="81197"/>
                          <a:pt x="114042" y="81197"/>
                        </a:cubicBezTo>
                        <a:cubicBezTo>
                          <a:pt x="114893" y="81197"/>
                          <a:pt x="115744" y="81916"/>
                          <a:pt x="116595" y="82634"/>
                        </a:cubicBezTo>
                        <a:cubicBezTo>
                          <a:pt x="116595" y="82634"/>
                          <a:pt x="117446" y="82634"/>
                          <a:pt x="118297" y="82634"/>
                        </a:cubicBezTo>
                        <a:cubicBezTo>
                          <a:pt x="119148" y="82634"/>
                          <a:pt x="120000" y="82634"/>
                          <a:pt x="120000" y="82634"/>
                        </a:cubicBezTo>
                        <a:cubicBezTo>
                          <a:pt x="120000" y="82634"/>
                          <a:pt x="120000" y="81197"/>
                          <a:pt x="120000" y="80479"/>
                        </a:cubicBezTo>
                        <a:cubicBezTo>
                          <a:pt x="120000" y="79760"/>
                          <a:pt x="120000" y="80479"/>
                          <a:pt x="119148" y="79760"/>
                        </a:cubicBezTo>
                        <a:cubicBezTo>
                          <a:pt x="119148" y="79760"/>
                          <a:pt x="118297" y="79041"/>
                          <a:pt x="118297" y="79041"/>
                        </a:cubicBezTo>
                        <a:cubicBezTo>
                          <a:pt x="118297" y="79041"/>
                          <a:pt x="118297" y="78323"/>
                          <a:pt x="118297" y="78323"/>
                        </a:cubicBezTo>
                        <a:cubicBezTo>
                          <a:pt x="118297" y="78323"/>
                          <a:pt x="118297" y="77604"/>
                          <a:pt x="118297" y="76886"/>
                        </a:cubicBezTo>
                        <a:cubicBezTo>
                          <a:pt x="118297" y="76886"/>
                          <a:pt x="118297" y="74730"/>
                          <a:pt x="118297" y="74730"/>
                        </a:cubicBezTo>
                        <a:cubicBezTo>
                          <a:pt x="118297" y="74011"/>
                          <a:pt x="117446" y="72574"/>
                          <a:pt x="117446" y="72574"/>
                        </a:cubicBezTo>
                        <a:cubicBezTo>
                          <a:pt x="117446" y="71856"/>
                          <a:pt x="116595" y="71137"/>
                          <a:pt x="116595" y="71137"/>
                        </a:cubicBezTo>
                        <a:cubicBezTo>
                          <a:pt x="115744" y="69700"/>
                          <a:pt x="115744" y="69700"/>
                          <a:pt x="115744" y="69700"/>
                        </a:cubicBezTo>
                        <a:cubicBezTo>
                          <a:pt x="115744" y="69700"/>
                          <a:pt x="115744" y="69700"/>
                          <a:pt x="115744" y="68982"/>
                        </a:cubicBezTo>
                        <a:cubicBezTo>
                          <a:pt x="115744" y="67544"/>
                          <a:pt x="116595" y="66107"/>
                          <a:pt x="116595" y="66107"/>
                        </a:cubicBezTo>
                        <a:cubicBezTo>
                          <a:pt x="117446" y="65389"/>
                          <a:pt x="117446" y="63952"/>
                          <a:pt x="117446" y="63952"/>
                        </a:cubicBezTo>
                        <a:cubicBezTo>
                          <a:pt x="116595" y="63233"/>
                          <a:pt x="116595" y="63233"/>
                          <a:pt x="116595" y="63233"/>
                        </a:cubicBezTo>
                        <a:cubicBezTo>
                          <a:pt x="116595" y="63233"/>
                          <a:pt x="113191" y="62514"/>
                          <a:pt x="113191" y="62514"/>
                        </a:cubicBezTo>
                        <a:cubicBezTo>
                          <a:pt x="113191" y="62514"/>
                          <a:pt x="112340" y="61796"/>
                          <a:pt x="112340" y="61796"/>
                        </a:cubicBezTo>
                        <a:cubicBezTo>
                          <a:pt x="112340" y="61077"/>
                          <a:pt x="111489" y="61077"/>
                          <a:pt x="111489" y="61077"/>
                        </a:cubicBezTo>
                        <a:cubicBezTo>
                          <a:pt x="111489" y="61077"/>
                          <a:pt x="108085" y="61796"/>
                          <a:pt x="108085" y="61796"/>
                        </a:cubicBezTo>
                        <a:cubicBezTo>
                          <a:pt x="108085" y="61796"/>
                          <a:pt x="106382" y="62514"/>
                          <a:pt x="105531" y="63233"/>
                        </a:cubicBezTo>
                        <a:cubicBezTo>
                          <a:pt x="103829" y="63233"/>
                          <a:pt x="103829" y="63233"/>
                          <a:pt x="102978" y="63952"/>
                        </a:cubicBezTo>
                        <a:cubicBezTo>
                          <a:pt x="101276" y="64670"/>
                          <a:pt x="101276" y="65389"/>
                          <a:pt x="100425" y="66107"/>
                        </a:cubicBezTo>
                        <a:cubicBezTo>
                          <a:pt x="99574" y="66107"/>
                          <a:pt x="98723" y="67544"/>
                          <a:pt x="98723" y="67544"/>
                        </a:cubicBezTo>
                        <a:cubicBezTo>
                          <a:pt x="97872" y="68263"/>
                          <a:pt x="97872" y="68263"/>
                          <a:pt x="98723" y="68982"/>
                        </a:cubicBezTo>
                        <a:cubicBezTo>
                          <a:pt x="98723" y="69700"/>
                          <a:pt x="99574" y="68982"/>
                          <a:pt x="99574" y="68982"/>
                        </a:cubicBezTo>
                        <a:cubicBezTo>
                          <a:pt x="99574" y="68982"/>
                          <a:pt x="100425" y="68982"/>
                          <a:pt x="101276" y="68982"/>
                        </a:cubicBezTo>
                        <a:cubicBezTo>
                          <a:pt x="102127" y="68982"/>
                          <a:pt x="102127" y="69700"/>
                          <a:pt x="101276" y="69700"/>
                        </a:cubicBezTo>
                        <a:cubicBezTo>
                          <a:pt x="101276" y="69700"/>
                          <a:pt x="101276" y="70419"/>
                          <a:pt x="101276" y="70419"/>
                        </a:cubicBezTo>
                        <a:cubicBezTo>
                          <a:pt x="101276" y="70419"/>
                          <a:pt x="101276" y="70419"/>
                          <a:pt x="100425" y="71137"/>
                        </a:cubicBezTo>
                        <a:cubicBezTo>
                          <a:pt x="100425" y="71137"/>
                          <a:pt x="100425" y="71856"/>
                          <a:pt x="100425" y="72574"/>
                        </a:cubicBezTo>
                        <a:cubicBezTo>
                          <a:pt x="100425" y="73293"/>
                          <a:pt x="99574" y="73293"/>
                          <a:pt x="99574" y="73293"/>
                        </a:cubicBezTo>
                        <a:cubicBezTo>
                          <a:pt x="98723" y="74011"/>
                          <a:pt x="98723" y="74011"/>
                          <a:pt x="97872" y="74730"/>
                        </a:cubicBezTo>
                        <a:cubicBezTo>
                          <a:pt x="97021" y="74730"/>
                          <a:pt x="97021" y="75449"/>
                          <a:pt x="97021" y="75449"/>
                        </a:cubicBezTo>
                        <a:cubicBezTo>
                          <a:pt x="97021" y="76167"/>
                          <a:pt x="97021" y="76167"/>
                          <a:pt x="97872" y="76886"/>
                        </a:cubicBezTo>
                        <a:cubicBezTo>
                          <a:pt x="97872" y="77604"/>
                          <a:pt x="97872" y="77604"/>
                          <a:pt x="97872" y="77604"/>
                        </a:cubicBezTo>
                        <a:cubicBezTo>
                          <a:pt x="97872" y="78323"/>
                          <a:pt x="97021" y="79041"/>
                          <a:pt x="97021" y="78323"/>
                        </a:cubicBezTo>
                        <a:cubicBezTo>
                          <a:pt x="97021" y="78323"/>
                          <a:pt x="97021" y="77604"/>
                          <a:pt x="97021" y="77604"/>
                        </a:cubicBezTo>
                        <a:cubicBezTo>
                          <a:pt x="94468" y="77604"/>
                          <a:pt x="94468" y="77604"/>
                          <a:pt x="94468" y="77604"/>
                        </a:cubicBezTo>
                        <a:cubicBezTo>
                          <a:pt x="94468" y="77604"/>
                          <a:pt x="94468" y="77604"/>
                          <a:pt x="93617" y="77604"/>
                        </a:cubicBezTo>
                        <a:cubicBezTo>
                          <a:pt x="93617" y="77604"/>
                          <a:pt x="95319" y="76167"/>
                          <a:pt x="95319" y="76167"/>
                        </a:cubicBezTo>
                        <a:cubicBezTo>
                          <a:pt x="96170" y="75449"/>
                          <a:pt x="96170" y="75449"/>
                          <a:pt x="96170" y="75449"/>
                        </a:cubicBezTo>
                        <a:cubicBezTo>
                          <a:pt x="96170" y="74730"/>
                          <a:pt x="96170" y="74730"/>
                          <a:pt x="96170" y="74730"/>
                        </a:cubicBezTo>
                        <a:cubicBezTo>
                          <a:pt x="93617" y="74730"/>
                          <a:pt x="93617" y="74730"/>
                          <a:pt x="93617" y="74730"/>
                        </a:cubicBezTo>
                        <a:cubicBezTo>
                          <a:pt x="92765" y="74730"/>
                          <a:pt x="92765" y="74730"/>
                          <a:pt x="92765" y="74730"/>
                        </a:cubicBezTo>
                        <a:cubicBezTo>
                          <a:pt x="93617" y="74011"/>
                          <a:pt x="93617" y="74011"/>
                          <a:pt x="93617" y="74011"/>
                        </a:cubicBezTo>
                        <a:cubicBezTo>
                          <a:pt x="93617" y="72574"/>
                          <a:pt x="93617" y="72574"/>
                          <a:pt x="93617" y="72574"/>
                        </a:cubicBezTo>
                        <a:cubicBezTo>
                          <a:pt x="94468" y="71137"/>
                          <a:pt x="94468" y="71137"/>
                          <a:pt x="94468" y="71137"/>
                        </a:cubicBezTo>
                        <a:cubicBezTo>
                          <a:pt x="94468" y="71137"/>
                          <a:pt x="94468" y="69700"/>
                          <a:pt x="95319" y="69700"/>
                        </a:cubicBezTo>
                        <a:cubicBezTo>
                          <a:pt x="95319" y="69700"/>
                          <a:pt x="96170" y="68982"/>
                          <a:pt x="96170" y="68263"/>
                        </a:cubicBezTo>
                        <a:cubicBezTo>
                          <a:pt x="97021" y="68263"/>
                          <a:pt x="96170" y="67544"/>
                          <a:pt x="96170" y="67544"/>
                        </a:cubicBezTo>
                        <a:cubicBezTo>
                          <a:pt x="94468" y="67544"/>
                          <a:pt x="94468" y="67544"/>
                          <a:pt x="94468" y="67544"/>
                        </a:cubicBezTo>
                        <a:cubicBezTo>
                          <a:pt x="92765" y="68263"/>
                          <a:pt x="92765" y="68263"/>
                          <a:pt x="92765" y="68263"/>
                        </a:cubicBezTo>
                        <a:cubicBezTo>
                          <a:pt x="92765" y="68263"/>
                          <a:pt x="90212" y="68982"/>
                          <a:pt x="89361" y="68982"/>
                        </a:cubicBezTo>
                        <a:cubicBezTo>
                          <a:pt x="88510" y="68982"/>
                          <a:pt x="89361" y="68982"/>
                          <a:pt x="88510" y="68982"/>
                        </a:cubicBezTo>
                        <a:cubicBezTo>
                          <a:pt x="88510" y="68263"/>
                          <a:pt x="87659" y="68263"/>
                          <a:pt x="87659" y="68263"/>
                        </a:cubicBezTo>
                        <a:cubicBezTo>
                          <a:pt x="87659" y="68263"/>
                          <a:pt x="85957" y="68263"/>
                          <a:pt x="85957" y="68263"/>
                        </a:cubicBezTo>
                        <a:cubicBezTo>
                          <a:pt x="85106" y="68263"/>
                          <a:pt x="85106" y="68982"/>
                          <a:pt x="85106" y="68982"/>
                        </a:cubicBezTo>
                        <a:cubicBezTo>
                          <a:pt x="85106" y="68982"/>
                          <a:pt x="87659" y="69700"/>
                          <a:pt x="88510" y="70419"/>
                        </a:cubicBezTo>
                        <a:cubicBezTo>
                          <a:pt x="88510" y="70419"/>
                          <a:pt x="89361" y="70419"/>
                          <a:pt x="89361" y="70419"/>
                        </a:cubicBezTo>
                        <a:cubicBezTo>
                          <a:pt x="89361" y="71137"/>
                          <a:pt x="89361" y="71137"/>
                          <a:pt x="89361" y="71137"/>
                        </a:cubicBezTo>
                        <a:cubicBezTo>
                          <a:pt x="89361" y="71137"/>
                          <a:pt x="88510" y="72574"/>
                          <a:pt x="87659" y="72574"/>
                        </a:cubicBezTo>
                        <a:cubicBezTo>
                          <a:pt x="87659" y="73293"/>
                          <a:pt x="86808" y="73293"/>
                          <a:pt x="86808" y="73293"/>
                        </a:cubicBezTo>
                        <a:cubicBezTo>
                          <a:pt x="85106" y="74011"/>
                          <a:pt x="85106" y="74011"/>
                          <a:pt x="85106" y="74011"/>
                        </a:cubicBezTo>
                        <a:cubicBezTo>
                          <a:pt x="85106" y="74011"/>
                          <a:pt x="85957" y="75449"/>
                          <a:pt x="85957" y="75449"/>
                        </a:cubicBezTo>
                        <a:cubicBezTo>
                          <a:pt x="85957" y="75449"/>
                          <a:pt x="85957" y="76886"/>
                          <a:pt x="85957" y="76886"/>
                        </a:cubicBezTo>
                        <a:cubicBezTo>
                          <a:pt x="84255" y="76167"/>
                          <a:pt x="84255" y="76167"/>
                          <a:pt x="84255" y="76167"/>
                        </a:cubicBezTo>
                        <a:cubicBezTo>
                          <a:pt x="81702" y="77604"/>
                          <a:pt x="81702" y="77604"/>
                          <a:pt x="81702" y="77604"/>
                        </a:cubicBezTo>
                        <a:cubicBezTo>
                          <a:pt x="81702" y="77604"/>
                          <a:pt x="80851" y="77604"/>
                          <a:pt x="80851" y="77604"/>
                        </a:cubicBezTo>
                        <a:cubicBezTo>
                          <a:pt x="80000" y="77604"/>
                          <a:pt x="80000" y="76886"/>
                          <a:pt x="80000" y="76886"/>
                        </a:cubicBezTo>
                        <a:cubicBezTo>
                          <a:pt x="79148" y="78323"/>
                          <a:pt x="79148" y="78323"/>
                          <a:pt x="79148" y="78323"/>
                        </a:cubicBezTo>
                        <a:cubicBezTo>
                          <a:pt x="79148" y="78323"/>
                          <a:pt x="75744" y="77604"/>
                          <a:pt x="74893" y="77604"/>
                        </a:cubicBezTo>
                        <a:cubicBezTo>
                          <a:pt x="74893" y="77604"/>
                          <a:pt x="74893" y="79041"/>
                          <a:pt x="74893" y="79041"/>
                        </a:cubicBezTo>
                        <a:cubicBezTo>
                          <a:pt x="76595" y="79760"/>
                          <a:pt x="76595" y="79760"/>
                          <a:pt x="76595" y="79760"/>
                        </a:cubicBezTo>
                        <a:cubicBezTo>
                          <a:pt x="74893" y="80479"/>
                          <a:pt x="74893" y="80479"/>
                          <a:pt x="74893" y="80479"/>
                        </a:cubicBezTo>
                        <a:cubicBezTo>
                          <a:pt x="78297" y="81916"/>
                          <a:pt x="78297" y="81916"/>
                          <a:pt x="78297" y="81916"/>
                        </a:cubicBezTo>
                        <a:cubicBezTo>
                          <a:pt x="79148" y="82634"/>
                          <a:pt x="79148" y="82634"/>
                          <a:pt x="79148" y="82634"/>
                        </a:cubicBezTo>
                        <a:cubicBezTo>
                          <a:pt x="80000" y="84790"/>
                          <a:pt x="80000" y="84790"/>
                          <a:pt x="80000" y="84790"/>
                        </a:cubicBezTo>
                        <a:cubicBezTo>
                          <a:pt x="79148" y="85508"/>
                          <a:pt x="79148" y="85508"/>
                          <a:pt x="79148" y="85508"/>
                        </a:cubicBezTo>
                        <a:cubicBezTo>
                          <a:pt x="80851" y="86946"/>
                          <a:pt x="80851" y="86946"/>
                          <a:pt x="80851" y="86946"/>
                        </a:cubicBezTo>
                        <a:cubicBezTo>
                          <a:pt x="80851" y="86946"/>
                          <a:pt x="80851" y="87664"/>
                          <a:pt x="81702" y="88383"/>
                        </a:cubicBezTo>
                        <a:cubicBezTo>
                          <a:pt x="81702" y="88383"/>
                          <a:pt x="81702" y="89820"/>
                          <a:pt x="81702" y="89820"/>
                        </a:cubicBezTo>
                        <a:cubicBezTo>
                          <a:pt x="81702" y="91257"/>
                          <a:pt x="81702" y="91257"/>
                          <a:pt x="81702" y="91257"/>
                        </a:cubicBezTo>
                        <a:cubicBezTo>
                          <a:pt x="81702" y="91976"/>
                          <a:pt x="81702" y="91976"/>
                          <a:pt x="81702" y="91976"/>
                        </a:cubicBezTo>
                        <a:cubicBezTo>
                          <a:pt x="81702" y="91976"/>
                          <a:pt x="80000" y="92694"/>
                          <a:pt x="80000" y="93413"/>
                        </a:cubicBezTo>
                        <a:cubicBezTo>
                          <a:pt x="80000" y="93413"/>
                          <a:pt x="80851" y="93413"/>
                          <a:pt x="80851" y="93413"/>
                        </a:cubicBezTo>
                        <a:cubicBezTo>
                          <a:pt x="82553" y="94850"/>
                          <a:pt x="82553" y="94850"/>
                          <a:pt x="82553" y="94850"/>
                        </a:cubicBezTo>
                        <a:cubicBezTo>
                          <a:pt x="83404" y="96287"/>
                          <a:pt x="83404" y="96287"/>
                          <a:pt x="83404" y="96287"/>
                        </a:cubicBezTo>
                        <a:cubicBezTo>
                          <a:pt x="83404" y="96287"/>
                          <a:pt x="82553" y="97005"/>
                          <a:pt x="82553" y="97724"/>
                        </a:cubicBezTo>
                        <a:cubicBezTo>
                          <a:pt x="82553" y="97724"/>
                          <a:pt x="84255" y="98443"/>
                          <a:pt x="84255" y="98443"/>
                        </a:cubicBezTo>
                        <a:cubicBezTo>
                          <a:pt x="87659" y="98443"/>
                          <a:pt x="87659" y="98443"/>
                          <a:pt x="87659" y="98443"/>
                        </a:cubicBezTo>
                        <a:cubicBezTo>
                          <a:pt x="89361" y="98443"/>
                          <a:pt x="89361" y="98443"/>
                          <a:pt x="89361" y="98443"/>
                        </a:cubicBezTo>
                        <a:cubicBezTo>
                          <a:pt x="89361" y="98443"/>
                          <a:pt x="91914" y="98443"/>
                          <a:pt x="92765" y="98443"/>
                        </a:cubicBezTo>
                        <a:cubicBezTo>
                          <a:pt x="92765" y="98443"/>
                          <a:pt x="95319" y="97724"/>
                          <a:pt x="95319" y="97724"/>
                        </a:cubicBezTo>
                        <a:cubicBezTo>
                          <a:pt x="95319" y="97724"/>
                          <a:pt x="97021" y="99161"/>
                          <a:pt x="97872" y="99161"/>
                        </a:cubicBezTo>
                        <a:cubicBezTo>
                          <a:pt x="98723" y="99880"/>
                          <a:pt x="97872" y="100598"/>
                          <a:pt x="97872" y="100598"/>
                        </a:cubicBezTo>
                        <a:cubicBezTo>
                          <a:pt x="97872" y="101317"/>
                          <a:pt x="97021" y="101317"/>
                          <a:pt x="97021" y="101317"/>
                        </a:cubicBezTo>
                        <a:cubicBezTo>
                          <a:pt x="97021" y="101317"/>
                          <a:pt x="97872" y="103473"/>
                          <a:pt x="97872" y="103473"/>
                        </a:cubicBezTo>
                        <a:cubicBezTo>
                          <a:pt x="98723" y="104191"/>
                          <a:pt x="98723" y="103473"/>
                          <a:pt x="98723" y="103473"/>
                        </a:cubicBezTo>
                        <a:cubicBezTo>
                          <a:pt x="98723" y="103473"/>
                          <a:pt x="99574" y="104191"/>
                          <a:pt x="100425" y="104910"/>
                        </a:cubicBezTo>
                        <a:cubicBezTo>
                          <a:pt x="100425" y="105628"/>
                          <a:pt x="101276" y="105628"/>
                          <a:pt x="101276" y="105628"/>
                        </a:cubicBezTo>
                        <a:cubicBezTo>
                          <a:pt x="102127" y="105628"/>
                          <a:pt x="102127" y="105628"/>
                          <a:pt x="102127" y="105628"/>
                        </a:cubicBezTo>
                        <a:cubicBezTo>
                          <a:pt x="102127" y="105628"/>
                          <a:pt x="102978" y="105628"/>
                          <a:pt x="102978" y="106347"/>
                        </a:cubicBezTo>
                        <a:cubicBezTo>
                          <a:pt x="103829" y="106347"/>
                          <a:pt x="104680" y="106347"/>
                          <a:pt x="105531" y="106347"/>
                        </a:cubicBezTo>
                        <a:cubicBezTo>
                          <a:pt x="105531" y="106347"/>
                          <a:pt x="106382" y="106347"/>
                          <a:pt x="106382" y="105628"/>
                        </a:cubicBezTo>
                        <a:cubicBezTo>
                          <a:pt x="106382" y="105628"/>
                          <a:pt x="107234" y="105628"/>
                          <a:pt x="108085" y="105628"/>
                        </a:cubicBezTo>
                        <a:cubicBezTo>
                          <a:pt x="108085" y="104910"/>
                          <a:pt x="108085" y="104191"/>
                          <a:pt x="108085" y="104191"/>
                        </a:cubicBezTo>
                        <a:cubicBezTo>
                          <a:pt x="108085" y="104191"/>
                          <a:pt x="108085" y="104191"/>
                          <a:pt x="108085" y="104191"/>
                        </a:cubicBezTo>
                        <a:close/>
                        <a:moveTo>
                          <a:pt x="108085" y="107784"/>
                        </a:moveTo>
                        <a:cubicBezTo>
                          <a:pt x="108085" y="107784"/>
                          <a:pt x="108085" y="107784"/>
                          <a:pt x="108085" y="107784"/>
                        </a:cubicBezTo>
                        <a:cubicBezTo>
                          <a:pt x="107234" y="108502"/>
                          <a:pt x="107234" y="108502"/>
                          <a:pt x="107234" y="108502"/>
                        </a:cubicBezTo>
                        <a:cubicBezTo>
                          <a:pt x="108085" y="108502"/>
                          <a:pt x="108085" y="108502"/>
                          <a:pt x="108085" y="108502"/>
                        </a:cubicBezTo>
                        <a:cubicBezTo>
                          <a:pt x="108085" y="108502"/>
                          <a:pt x="109787" y="109221"/>
                          <a:pt x="109787" y="109221"/>
                        </a:cubicBezTo>
                        <a:cubicBezTo>
                          <a:pt x="110638" y="109221"/>
                          <a:pt x="110638" y="109221"/>
                          <a:pt x="110638" y="109221"/>
                        </a:cubicBezTo>
                        <a:cubicBezTo>
                          <a:pt x="111489" y="108502"/>
                          <a:pt x="111489" y="108502"/>
                          <a:pt x="111489" y="108502"/>
                        </a:cubicBezTo>
                        <a:cubicBezTo>
                          <a:pt x="112340" y="107065"/>
                          <a:pt x="112340" y="107065"/>
                          <a:pt x="112340" y="107065"/>
                        </a:cubicBezTo>
                        <a:cubicBezTo>
                          <a:pt x="114893" y="106347"/>
                          <a:pt x="114893" y="106347"/>
                          <a:pt x="114893" y="106347"/>
                        </a:cubicBezTo>
                        <a:cubicBezTo>
                          <a:pt x="114893" y="106347"/>
                          <a:pt x="117446" y="106347"/>
                          <a:pt x="117446" y="106347"/>
                        </a:cubicBezTo>
                        <a:cubicBezTo>
                          <a:pt x="117446" y="106347"/>
                          <a:pt x="118297" y="105628"/>
                          <a:pt x="118297" y="105628"/>
                        </a:cubicBezTo>
                        <a:cubicBezTo>
                          <a:pt x="118297" y="104910"/>
                          <a:pt x="118297" y="104910"/>
                          <a:pt x="118297" y="104910"/>
                        </a:cubicBezTo>
                        <a:cubicBezTo>
                          <a:pt x="116595" y="103473"/>
                          <a:pt x="116595" y="103473"/>
                          <a:pt x="116595" y="103473"/>
                        </a:cubicBezTo>
                        <a:cubicBezTo>
                          <a:pt x="114893" y="103473"/>
                          <a:pt x="114893" y="103473"/>
                          <a:pt x="114893" y="103473"/>
                        </a:cubicBezTo>
                        <a:cubicBezTo>
                          <a:pt x="114893" y="103473"/>
                          <a:pt x="113191" y="103473"/>
                          <a:pt x="112340" y="103473"/>
                        </a:cubicBezTo>
                        <a:cubicBezTo>
                          <a:pt x="112340" y="103473"/>
                          <a:pt x="111489" y="103473"/>
                          <a:pt x="111489" y="103473"/>
                        </a:cubicBezTo>
                        <a:cubicBezTo>
                          <a:pt x="111489" y="103473"/>
                          <a:pt x="111489" y="104191"/>
                          <a:pt x="111489" y="104910"/>
                        </a:cubicBezTo>
                        <a:cubicBezTo>
                          <a:pt x="110638" y="105628"/>
                          <a:pt x="110638" y="105628"/>
                          <a:pt x="109787" y="105628"/>
                        </a:cubicBezTo>
                        <a:cubicBezTo>
                          <a:pt x="109787" y="105628"/>
                          <a:pt x="108936" y="105628"/>
                          <a:pt x="108936" y="105628"/>
                        </a:cubicBezTo>
                        <a:cubicBezTo>
                          <a:pt x="108085" y="107784"/>
                          <a:pt x="108085" y="107784"/>
                          <a:pt x="108085" y="107784"/>
                        </a:cubicBezTo>
                        <a:close/>
                        <a:moveTo>
                          <a:pt x="98723" y="116407"/>
                        </a:moveTo>
                        <a:cubicBezTo>
                          <a:pt x="98723" y="116407"/>
                          <a:pt x="98723" y="116407"/>
                          <a:pt x="98723" y="116407"/>
                        </a:cubicBezTo>
                        <a:cubicBezTo>
                          <a:pt x="99574" y="116407"/>
                          <a:pt x="99574" y="116407"/>
                          <a:pt x="99574" y="116407"/>
                        </a:cubicBezTo>
                        <a:cubicBezTo>
                          <a:pt x="100425" y="115688"/>
                          <a:pt x="100425" y="115688"/>
                          <a:pt x="100425" y="115688"/>
                        </a:cubicBezTo>
                        <a:cubicBezTo>
                          <a:pt x="99574" y="114251"/>
                          <a:pt x="99574" y="114251"/>
                          <a:pt x="99574" y="114251"/>
                        </a:cubicBezTo>
                        <a:cubicBezTo>
                          <a:pt x="98723" y="113532"/>
                          <a:pt x="98723" y="113532"/>
                          <a:pt x="98723" y="113532"/>
                        </a:cubicBezTo>
                        <a:cubicBezTo>
                          <a:pt x="97872" y="111377"/>
                          <a:pt x="97872" y="111377"/>
                          <a:pt x="97872" y="111377"/>
                        </a:cubicBezTo>
                        <a:cubicBezTo>
                          <a:pt x="96170" y="109940"/>
                          <a:pt x="96170" y="109940"/>
                          <a:pt x="96170" y="109940"/>
                        </a:cubicBezTo>
                        <a:cubicBezTo>
                          <a:pt x="95319" y="109221"/>
                          <a:pt x="95319" y="109221"/>
                          <a:pt x="95319" y="109221"/>
                        </a:cubicBezTo>
                        <a:cubicBezTo>
                          <a:pt x="94468" y="110658"/>
                          <a:pt x="94468" y="110658"/>
                          <a:pt x="94468" y="110658"/>
                        </a:cubicBezTo>
                        <a:cubicBezTo>
                          <a:pt x="93617" y="111377"/>
                          <a:pt x="93617" y="111377"/>
                          <a:pt x="93617" y="111377"/>
                        </a:cubicBezTo>
                        <a:cubicBezTo>
                          <a:pt x="92765" y="112095"/>
                          <a:pt x="92765" y="112095"/>
                          <a:pt x="92765" y="112095"/>
                        </a:cubicBezTo>
                        <a:cubicBezTo>
                          <a:pt x="92765" y="112095"/>
                          <a:pt x="90212" y="111377"/>
                          <a:pt x="89361" y="110658"/>
                        </a:cubicBezTo>
                        <a:cubicBezTo>
                          <a:pt x="87659" y="109940"/>
                          <a:pt x="87659" y="109940"/>
                          <a:pt x="87659" y="109940"/>
                        </a:cubicBezTo>
                        <a:cubicBezTo>
                          <a:pt x="87659" y="109940"/>
                          <a:pt x="86808" y="109940"/>
                          <a:pt x="85957" y="109221"/>
                        </a:cubicBezTo>
                        <a:cubicBezTo>
                          <a:pt x="85957" y="109221"/>
                          <a:pt x="85106" y="108502"/>
                          <a:pt x="85106" y="108502"/>
                        </a:cubicBezTo>
                        <a:cubicBezTo>
                          <a:pt x="85106" y="108502"/>
                          <a:pt x="85106" y="107784"/>
                          <a:pt x="84255" y="107784"/>
                        </a:cubicBezTo>
                        <a:cubicBezTo>
                          <a:pt x="84255" y="107065"/>
                          <a:pt x="83404" y="107784"/>
                          <a:pt x="82553" y="107784"/>
                        </a:cubicBezTo>
                        <a:cubicBezTo>
                          <a:pt x="80851" y="107784"/>
                          <a:pt x="80851" y="107784"/>
                          <a:pt x="80000" y="107784"/>
                        </a:cubicBezTo>
                        <a:cubicBezTo>
                          <a:pt x="80000" y="108502"/>
                          <a:pt x="79148" y="108502"/>
                          <a:pt x="79148" y="108502"/>
                        </a:cubicBezTo>
                        <a:cubicBezTo>
                          <a:pt x="78297" y="109221"/>
                          <a:pt x="79148" y="110658"/>
                          <a:pt x="79148" y="110658"/>
                        </a:cubicBezTo>
                        <a:cubicBezTo>
                          <a:pt x="79148" y="111377"/>
                          <a:pt x="79148" y="111377"/>
                          <a:pt x="79148" y="111377"/>
                        </a:cubicBezTo>
                        <a:cubicBezTo>
                          <a:pt x="80000" y="112814"/>
                          <a:pt x="80000" y="112814"/>
                          <a:pt x="80000" y="112814"/>
                        </a:cubicBezTo>
                        <a:cubicBezTo>
                          <a:pt x="78297" y="112814"/>
                          <a:pt x="78297" y="112814"/>
                          <a:pt x="78297" y="112814"/>
                        </a:cubicBezTo>
                        <a:cubicBezTo>
                          <a:pt x="77446" y="112814"/>
                          <a:pt x="77446" y="112814"/>
                          <a:pt x="77446" y="112814"/>
                        </a:cubicBezTo>
                        <a:cubicBezTo>
                          <a:pt x="78297" y="114251"/>
                          <a:pt x="78297" y="114251"/>
                          <a:pt x="78297" y="114251"/>
                        </a:cubicBezTo>
                        <a:cubicBezTo>
                          <a:pt x="78297" y="114251"/>
                          <a:pt x="78297" y="114970"/>
                          <a:pt x="79148" y="115688"/>
                        </a:cubicBezTo>
                        <a:cubicBezTo>
                          <a:pt x="79148" y="115688"/>
                          <a:pt x="80000" y="116407"/>
                          <a:pt x="80000" y="116407"/>
                        </a:cubicBezTo>
                        <a:cubicBezTo>
                          <a:pt x="80000" y="116407"/>
                          <a:pt x="84255" y="117125"/>
                          <a:pt x="84255" y="117125"/>
                        </a:cubicBezTo>
                        <a:cubicBezTo>
                          <a:pt x="85106" y="117125"/>
                          <a:pt x="85106" y="117125"/>
                          <a:pt x="85106" y="117125"/>
                        </a:cubicBezTo>
                        <a:cubicBezTo>
                          <a:pt x="85106" y="117125"/>
                          <a:pt x="86808" y="117844"/>
                          <a:pt x="88510" y="118562"/>
                        </a:cubicBezTo>
                        <a:cubicBezTo>
                          <a:pt x="89361" y="119281"/>
                          <a:pt x="90212" y="120000"/>
                          <a:pt x="90212" y="120000"/>
                        </a:cubicBezTo>
                        <a:cubicBezTo>
                          <a:pt x="90212" y="120000"/>
                          <a:pt x="91914" y="120000"/>
                          <a:pt x="91914" y="120000"/>
                        </a:cubicBezTo>
                        <a:cubicBezTo>
                          <a:pt x="92765" y="119281"/>
                          <a:pt x="92765" y="119281"/>
                          <a:pt x="92765" y="119281"/>
                        </a:cubicBezTo>
                        <a:cubicBezTo>
                          <a:pt x="95319" y="118562"/>
                          <a:pt x="95319" y="118562"/>
                          <a:pt x="95319" y="118562"/>
                        </a:cubicBezTo>
                        <a:cubicBezTo>
                          <a:pt x="97021" y="118562"/>
                          <a:pt x="97021" y="118562"/>
                          <a:pt x="97021" y="118562"/>
                        </a:cubicBezTo>
                        <a:cubicBezTo>
                          <a:pt x="99574" y="119281"/>
                          <a:pt x="99574" y="119281"/>
                          <a:pt x="99574" y="119281"/>
                        </a:cubicBezTo>
                        <a:cubicBezTo>
                          <a:pt x="100425" y="119281"/>
                          <a:pt x="100425" y="119281"/>
                          <a:pt x="100425" y="119281"/>
                        </a:cubicBezTo>
                        <a:cubicBezTo>
                          <a:pt x="100425" y="117844"/>
                          <a:pt x="100425" y="117844"/>
                          <a:pt x="100425" y="117844"/>
                        </a:cubicBezTo>
                        <a:cubicBezTo>
                          <a:pt x="100425" y="117125"/>
                          <a:pt x="100425" y="117125"/>
                          <a:pt x="100425" y="117125"/>
                        </a:cubicBezTo>
                        <a:cubicBezTo>
                          <a:pt x="98723" y="116407"/>
                          <a:pt x="98723" y="116407"/>
                          <a:pt x="98723" y="116407"/>
                        </a:cubicBezTo>
                        <a:close/>
                        <a:moveTo>
                          <a:pt x="65531" y="86946"/>
                        </a:moveTo>
                        <a:cubicBezTo>
                          <a:pt x="65531" y="86946"/>
                          <a:pt x="65531" y="86946"/>
                          <a:pt x="65531" y="86946"/>
                        </a:cubicBezTo>
                        <a:cubicBezTo>
                          <a:pt x="63829" y="86227"/>
                          <a:pt x="63829" y="86227"/>
                          <a:pt x="63829" y="86227"/>
                        </a:cubicBezTo>
                        <a:cubicBezTo>
                          <a:pt x="62127" y="84071"/>
                          <a:pt x="62127" y="84071"/>
                          <a:pt x="62127" y="84071"/>
                        </a:cubicBezTo>
                        <a:cubicBezTo>
                          <a:pt x="59574" y="83353"/>
                          <a:pt x="59574" y="83353"/>
                          <a:pt x="59574" y="83353"/>
                        </a:cubicBezTo>
                        <a:cubicBezTo>
                          <a:pt x="59574" y="83353"/>
                          <a:pt x="58723" y="81197"/>
                          <a:pt x="58723" y="81197"/>
                        </a:cubicBezTo>
                        <a:cubicBezTo>
                          <a:pt x="57872" y="80479"/>
                          <a:pt x="57872" y="81197"/>
                          <a:pt x="57872" y="81197"/>
                        </a:cubicBezTo>
                        <a:cubicBezTo>
                          <a:pt x="57872" y="81197"/>
                          <a:pt x="57872" y="82634"/>
                          <a:pt x="57021" y="83353"/>
                        </a:cubicBezTo>
                        <a:cubicBezTo>
                          <a:pt x="56170" y="83353"/>
                          <a:pt x="55319" y="83353"/>
                          <a:pt x="55319" y="83353"/>
                        </a:cubicBezTo>
                        <a:cubicBezTo>
                          <a:pt x="53617" y="84790"/>
                          <a:pt x="53617" y="84790"/>
                          <a:pt x="53617" y="84790"/>
                        </a:cubicBezTo>
                        <a:cubicBezTo>
                          <a:pt x="53617" y="84790"/>
                          <a:pt x="51063" y="85508"/>
                          <a:pt x="50212" y="85508"/>
                        </a:cubicBezTo>
                        <a:cubicBezTo>
                          <a:pt x="50212" y="85508"/>
                          <a:pt x="49361" y="86227"/>
                          <a:pt x="49361" y="86227"/>
                        </a:cubicBezTo>
                        <a:cubicBezTo>
                          <a:pt x="44255" y="85508"/>
                          <a:pt x="44255" y="85508"/>
                          <a:pt x="44255" y="85508"/>
                        </a:cubicBezTo>
                        <a:cubicBezTo>
                          <a:pt x="42553" y="86946"/>
                          <a:pt x="42553" y="86946"/>
                          <a:pt x="42553" y="86946"/>
                        </a:cubicBezTo>
                        <a:cubicBezTo>
                          <a:pt x="42553" y="87664"/>
                          <a:pt x="42553" y="87664"/>
                          <a:pt x="42553" y="87664"/>
                        </a:cubicBezTo>
                        <a:cubicBezTo>
                          <a:pt x="43404" y="89101"/>
                          <a:pt x="43404" y="89101"/>
                          <a:pt x="43404" y="89101"/>
                        </a:cubicBezTo>
                        <a:cubicBezTo>
                          <a:pt x="44255" y="89820"/>
                          <a:pt x="44255" y="89820"/>
                          <a:pt x="44255" y="89820"/>
                        </a:cubicBezTo>
                        <a:cubicBezTo>
                          <a:pt x="45106" y="89820"/>
                          <a:pt x="45106" y="89820"/>
                          <a:pt x="45106" y="89820"/>
                        </a:cubicBezTo>
                        <a:cubicBezTo>
                          <a:pt x="45106" y="91257"/>
                          <a:pt x="45106" y="91257"/>
                          <a:pt x="45106" y="91257"/>
                        </a:cubicBezTo>
                        <a:cubicBezTo>
                          <a:pt x="45957" y="92694"/>
                          <a:pt x="45957" y="92694"/>
                          <a:pt x="45957" y="92694"/>
                        </a:cubicBezTo>
                        <a:cubicBezTo>
                          <a:pt x="45957" y="92694"/>
                          <a:pt x="46808" y="93413"/>
                          <a:pt x="47659" y="94850"/>
                        </a:cubicBezTo>
                        <a:cubicBezTo>
                          <a:pt x="48510" y="96287"/>
                          <a:pt x="47659" y="97005"/>
                          <a:pt x="47659" y="97005"/>
                        </a:cubicBezTo>
                        <a:cubicBezTo>
                          <a:pt x="50212" y="99161"/>
                          <a:pt x="50212" y="99161"/>
                          <a:pt x="50212" y="99161"/>
                        </a:cubicBezTo>
                        <a:cubicBezTo>
                          <a:pt x="51914" y="99880"/>
                          <a:pt x="51914" y="99880"/>
                          <a:pt x="51914" y="99880"/>
                        </a:cubicBezTo>
                        <a:cubicBezTo>
                          <a:pt x="51914" y="99880"/>
                          <a:pt x="52765" y="100598"/>
                          <a:pt x="53617" y="100598"/>
                        </a:cubicBezTo>
                        <a:cubicBezTo>
                          <a:pt x="53617" y="100598"/>
                          <a:pt x="53617" y="101317"/>
                          <a:pt x="53617" y="101317"/>
                        </a:cubicBezTo>
                        <a:cubicBezTo>
                          <a:pt x="53617" y="102754"/>
                          <a:pt x="53617" y="102754"/>
                          <a:pt x="53617" y="102754"/>
                        </a:cubicBezTo>
                        <a:cubicBezTo>
                          <a:pt x="54468" y="104191"/>
                          <a:pt x="54468" y="104191"/>
                          <a:pt x="54468" y="104191"/>
                        </a:cubicBezTo>
                        <a:cubicBezTo>
                          <a:pt x="55319" y="103473"/>
                          <a:pt x="55319" y="103473"/>
                          <a:pt x="55319" y="103473"/>
                        </a:cubicBezTo>
                        <a:cubicBezTo>
                          <a:pt x="56170" y="102754"/>
                          <a:pt x="56170" y="102754"/>
                          <a:pt x="56170" y="102754"/>
                        </a:cubicBezTo>
                        <a:cubicBezTo>
                          <a:pt x="60425" y="104191"/>
                          <a:pt x="60425" y="104191"/>
                          <a:pt x="60425" y="104191"/>
                        </a:cubicBezTo>
                        <a:cubicBezTo>
                          <a:pt x="60425" y="104191"/>
                          <a:pt x="63829" y="105628"/>
                          <a:pt x="64680" y="105628"/>
                        </a:cubicBezTo>
                        <a:cubicBezTo>
                          <a:pt x="64680" y="105628"/>
                          <a:pt x="66382" y="104191"/>
                          <a:pt x="66382" y="104191"/>
                        </a:cubicBezTo>
                        <a:cubicBezTo>
                          <a:pt x="67234" y="103473"/>
                          <a:pt x="69787" y="103473"/>
                          <a:pt x="69787" y="103473"/>
                        </a:cubicBezTo>
                        <a:cubicBezTo>
                          <a:pt x="70638" y="103473"/>
                          <a:pt x="70638" y="102754"/>
                          <a:pt x="70638" y="102754"/>
                        </a:cubicBezTo>
                        <a:cubicBezTo>
                          <a:pt x="70638" y="102035"/>
                          <a:pt x="71489" y="101317"/>
                          <a:pt x="71489" y="100598"/>
                        </a:cubicBezTo>
                        <a:cubicBezTo>
                          <a:pt x="71489" y="99880"/>
                          <a:pt x="72340" y="99161"/>
                          <a:pt x="72340" y="99161"/>
                        </a:cubicBezTo>
                        <a:cubicBezTo>
                          <a:pt x="72340" y="97724"/>
                          <a:pt x="72340" y="97724"/>
                          <a:pt x="72340" y="97724"/>
                        </a:cubicBezTo>
                        <a:cubicBezTo>
                          <a:pt x="71489" y="95568"/>
                          <a:pt x="71489" y="95568"/>
                          <a:pt x="71489" y="95568"/>
                        </a:cubicBezTo>
                        <a:cubicBezTo>
                          <a:pt x="72340" y="92694"/>
                          <a:pt x="72340" y="92694"/>
                          <a:pt x="72340" y="92694"/>
                        </a:cubicBezTo>
                        <a:cubicBezTo>
                          <a:pt x="70638" y="91257"/>
                          <a:pt x="70638" y="91257"/>
                          <a:pt x="70638" y="91257"/>
                        </a:cubicBezTo>
                        <a:cubicBezTo>
                          <a:pt x="69787" y="90538"/>
                          <a:pt x="69787" y="90538"/>
                          <a:pt x="69787" y="90538"/>
                        </a:cubicBezTo>
                        <a:cubicBezTo>
                          <a:pt x="69787" y="89820"/>
                          <a:pt x="69787" y="89820"/>
                          <a:pt x="69787" y="89820"/>
                        </a:cubicBezTo>
                        <a:cubicBezTo>
                          <a:pt x="69787" y="89101"/>
                          <a:pt x="69787" y="89101"/>
                          <a:pt x="69787" y="89101"/>
                        </a:cubicBezTo>
                        <a:cubicBezTo>
                          <a:pt x="71489" y="88383"/>
                          <a:pt x="71489" y="88383"/>
                          <a:pt x="71489" y="88383"/>
                        </a:cubicBezTo>
                        <a:cubicBezTo>
                          <a:pt x="71489" y="86227"/>
                          <a:pt x="71489" y="86227"/>
                          <a:pt x="71489" y="86227"/>
                        </a:cubicBezTo>
                        <a:cubicBezTo>
                          <a:pt x="74042" y="84790"/>
                          <a:pt x="74042" y="84790"/>
                          <a:pt x="74042" y="84790"/>
                        </a:cubicBezTo>
                        <a:cubicBezTo>
                          <a:pt x="74893" y="82634"/>
                          <a:pt x="74893" y="82634"/>
                          <a:pt x="74893" y="82634"/>
                        </a:cubicBezTo>
                        <a:cubicBezTo>
                          <a:pt x="74893" y="82634"/>
                          <a:pt x="71489" y="81916"/>
                          <a:pt x="70638" y="81916"/>
                        </a:cubicBezTo>
                        <a:cubicBezTo>
                          <a:pt x="68936" y="81916"/>
                          <a:pt x="69787" y="81916"/>
                          <a:pt x="69787" y="81197"/>
                        </a:cubicBezTo>
                        <a:cubicBezTo>
                          <a:pt x="69787" y="81197"/>
                          <a:pt x="68936" y="80479"/>
                          <a:pt x="68936" y="80479"/>
                        </a:cubicBezTo>
                        <a:cubicBezTo>
                          <a:pt x="68936" y="80479"/>
                          <a:pt x="67234" y="81197"/>
                          <a:pt x="67234" y="81197"/>
                        </a:cubicBezTo>
                        <a:cubicBezTo>
                          <a:pt x="66382" y="81197"/>
                          <a:pt x="66382" y="79760"/>
                          <a:pt x="66382" y="79760"/>
                        </a:cubicBezTo>
                        <a:cubicBezTo>
                          <a:pt x="66382" y="79760"/>
                          <a:pt x="64680" y="80479"/>
                          <a:pt x="64680" y="80479"/>
                        </a:cubicBezTo>
                        <a:cubicBezTo>
                          <a:pt x="63829" y="80479"/>
                          <a:pt x="62127" y="80479"/>
                          <a:pt x="62127" y="80479"/>
                        </a:cubicBezTo>
                        <a:cubicBezTo>
                          <a:pt x="62127" y="80479"/>
                          <a:pt x="62127" y="81197"/>
                          <a:pt x="62127" y="81197"/>
                        </a:cubicBezTo>
                        <a:cubicBezTo>
                          <a:pt x="61276" y="81916"/>
                          <a:pt x="62127" y="82634"/>
                          <a:pt x="62978" y="82634"/>
                        </a:cubicBezTo>
                        <a:cubicBezTo>
                          <a:pt x="62978" y="83353"/>
                          <a:pt x="63829" y="84790"/>
                          <a:pt x="63829" y="84790"/>
                        </a:cubicBezTo>
                        <a:cubicBezTo>
                          <a:pt x="64680" y="86227"/>
                          <a:pt x="64680" y="86227"/>
                          <a:pt x="64680" y="86227"/>
                        </a:cubicBezTo>
                        <a:cubicBezTo>
                          <a:pt x="65531" y="86946"/>
                          <a:pt x="65531" y="86946"/>
                          <a:pt x="65531" y="86946"/>
                        </a:cubicBezTo>
                        <a:close/>
                        <a:moveTo>
                          <a:pt x="63829" y="76886"/>
                        </a:moveTo>
                        <a:cubicBezTo>
                          <a:pt x="63829" y="76886"/>
                          <a:pt x="63829" y="76886"/>
                          <a:pt x="63829" y="76886"/>
                        </a:cubicBezTo>
                        <a:cubicBezTo>
                          <a:pt x="65531" y="76886"/>
                          <a:pt x="65531" y="76886"/>
                          <a:pt x="65531" y="76886"/>
                        </a:cubicBezTo>
                        <a:cubicBezTo>
                          <a:pt x="66382" y="75449"/>
                          <a:pt x="66382" y="75449"/>
                          <a:pt x="66382" y="75449"/>
                        </a:cubicBezTo>
                        <a:cubicBezTo>
                          <a:pt x="66382" y="75449"/>
                          <a:pt x="67234" y="74730"/>
                          <a:pt x="67234" y="74011"/>
                        </a:cubicBezTo>
                        <a:cubicBezTo>
                          <a:pt x="67234" y="74011"/>
                          <a:pt x="67234" y="73293"/>
                          <a:pt x="67234" y="73293"/>
                        </a:cubicBezTo>
                        <a:cubicBezTo>
                          <a:pt x="67234" y="71856"/>
                          <a:pt x="67234" y="71856"/>
                          <a:pt x="67234" y="71856"/>
                        </a:cubicBezTo>
                        <a:cubicBezTo>
                          <a:pt x="66382" y="71137"/>
                          <a:pt x="66382" y="71137"/>
                          <a:pt x="66382" y="71137"/>
                        </a:cubicBezTo>
                        <a:cubicBezTo>
                          <a:pt x="65531" y="69700"/>
                          <a:pt x="65531" y="69700"/>
                          <a:pt x="65531" y="69700"/>
                        </a:cubicBezTo>
                        <a:cubicBezTo>
                          <a:pt x="64680" y="67544"/>
                          <a:pt x="64680" y="67544"/>
                          <a:pt x="64680" y="67544"/>
                        </a:cubicBezTo>
                        <a:cubicBezTo>
                          <a:pt x="62978" y="67544"/>
                          <a:pt x="62978" y="67544"/>
                          <a:pt x="62978" y="67544"/>
                        </a:cubicBezTo>
                        <a:cubicBezTo>
                          <a:pt x="62978" y="67544"/>
                          <a:pt x="62978" y="68982"/>
                          <a:pt x="62978" y="68982"/>
                        </a:cubicBezTo>
                        <a:cubicBezTo>
                          <a:pt x="62978" y="69700"/>
                          <a:pt x="63829" y="70419"/>
                          <a:pt x="63829" y="70419"/>
                        </a:cubicBezTo>
                        <a:cubicBezTo>
                          <a:pt x="64680" y="71137"/>
                          <a:pt x="64680" y="71137"/>
                          <a:pt x="64680" y="71137"/>
                        </a:cubicBezTo>
                        <a:cubicBezTo>
                          <a:pt x="64680" y="71856"/>
                          <a:pt x="64680" y="71856"/>
                          <a:pt x="64680" y="71856"/>
                        </a:cubicBezTo>
                        <a:cubicBezTo>
                          <a:pt x="63829" y="72574"/>
                          <a:pt x="63829" y="72574"/>
                          <a:pt x="63829" y="72574"/>
                        </a:cubicBezTo>
                        <a:cubicBezTo>
                          <a:pt x="62978" y="74011"/>
                          <a:pt x="62978" y="74011"/>
                          <a:pt x="62978" y="74011"/>
                        </a:cubicBezTo>
                        <a:cubicBezTo>
                          <a:pt x="63829" y="75449"/>
                          <a:pt x="63829" y="75449"/>
                          <a:pt x="63829" y="75449"/>
                        </a:cubicBezTo>
                        <a:cubicBezTo>
                          <a:pt x="63829" y="76886"/>
                          <a:pt x="63829" y="76886"/>
                          <a:pt x="63829" y="76886"/>
                        </a:cubicBezTo>
                        <a:close/>
                        <a:moveTo>
                          <a:pt x="68085" y="112814"/>
                        </a:moveTo>
                        <a:cubicBezTo>
                          <a:pt x="68085" y="112814"/>
                          <a:pt x="68085" y="112814"/>
                          <a:pt x="68085" y="112814"/>
                        </a:cubicBezTo>
                        <a:cubicBezTo>
                          <a:pt x="68936" y="114970"/>
                          <a:pt x="68936" y="114970"/>
                          <a:pt x="68936" y="114970"/>
                        </a:cubicBezTo>
                        <a:cubicBezTo>
                          <a:pt x="69787" y="116407"/>
                          <a:pt x="69787" y="116407"/>
                          <a:pt x="69787" y="116407"/>
                        </a:cubicBezTo>
                        <a:cubicBezTo>
                          <a:pt x="69787" y="116407"/>
                          <a:pt x="71489" y="117125"/>
                          <a:pt x="71489" y="116407"/>
                        </a:cubicBezTo>
                        <a:cubicBezTo>
                          <a:pt x="71489" y="115688"/>
                          <a:pt x="70638" y="114970"/>
                          <a:pt x="71489" y="114251"/>
                        </a:cubicBezTo>
                        <a:cubicBezTo>
                          <a:pt x="71489" y="113532"/>
                          <a:pt x="72340" y="112095"/>
                          <a:pt x="72340" y="111377"/>
                        </a:cubicBezTo>
                        <a:cubicBezTo>
                          <a:pt x="72340" y="110658"/>
                          <a:pt x="73191" y="109940"/>
                          <a:pt x="73191" y="109221"/>
                        </a:cubicBezTo>
                        <a:cubicBezTo>
                          <a:pt x="74042" y="108502"/>
                          <a:pt x="74893" y="107065"/>
                          <a:pt x="74893" y="106347"/>
                        </a:cubicBezTo>
                        <a:cubicBezTo>
                          <a:pt x="74893" y="106347"/>
                          <a:pt x="75744" y="104910"/>
                          <a:pt x="75744" y="104191"/>
                        </a:cubicBezTo>
                        <a:cubicBezTo>
                          <a:pt x="75744" y="104191"/>
                          <a:pt x="75744" y="102035"/>
                          <a:pt x="75744" y="102035"/>
                        </a:cubicBezTo>
                        <a:cubicBezTo>
                          <a:pt x="75744" y="102035"/>
                          <a:pt x="74893" y="99880"/>
                          <a:pt x="74893" y="99880"/>
                        </a:cubicBezTo>
                        <a:cubicBezTo>
                          <a:pt x="74042" y="101317"/>
                          <a:pt x="74042" y="101317"/>
                          <a:pt x="74042" y="101317"/>
                        </a:cubicBezTo>
                        <a:cubicBezTo>
                          <a:pt x="74042" y="102754"/>
                          <a:pt x="74042" y="102754"/>
                          <a:pt x="74042" y="102754"/>
                        </a:cubicBezTo>
                        <a:cubicBezTo>
                          <a:pt x="72340" y="105628"/>
                          <a:pt x="72340" y="105628"/>
                          <a:pt x="72340" y="105628"/>
                        </a:cubicBezTo>
                        <a:cubicBezTo>
                          <a:pt x="71489" y="107065"/>
                          <a:pt x="71489" y="107065"/>
                          <a:pt x="71489" y="107065"/>
                        </a:cubicBezTo>
                        <a:cubicBezTo>
                          <a:pt x="69787" y="108502"/>
                          <a:pt x="69787" y="108502"/>
                          <a:pt x="69787" y="108502"/>
                        </a:cubicBezTo>
                        <a:cubicBezTo>
                          <a:pt x="69787" y="109221"/>
                          <a:pt x="69787" y="109221"/>
                          <a:pt x="69787" y="109221"/>
                        </a:cubicBezTo>
                        <a:cubicBezTo>
                          <a:pt x="69787" y="110658"/>
                          <a:pt x="69787" y="110658"/>
                          <a:pt x="69787" y="110658"/>
                        </a:cubicBezTo>
                        <a:cubicBezTo>
                          <a:pt x="68936" y="111377"/>
                          <a:pt x="68936" y="111377"/>
                          <a:pt x="68936" y="111377"/>
                        </a:cubicBezTo>
                        <a:cubicBezTo>
                          <a:pt x="68936" y="112095"/>
                          <a:pt x="68936" y="112095"/>
                          <a:pt x="68936" y="112095"/>
                        </a:cubicBezTo>
                        <a:cubicBezTo>
                          <a:pt x="68085" y="112814"/>
                          <a:pt x="68085" y="112814"/>
                          <a:pt x="68085" y="112814"/>
                        </a:cubicBezTo>
                        <a:close/>
                        <a:moveTo>
                          <a:pt x="63829" y="106347"/>
                        </a:moveTo>
                        <a:cubicBezTo>
                          <a:pt x="63829" y="106347"/>
                          <a:pt x="63829" y="106347"/>
                          <a:pt x="63829" y="106347"/>
                        </a:cubicBezTo>
                        <a:cubicBezTo>
                          <a:pt x="64680" y="107065"/>
                          <a:pt x="64680" y="107065"/>
                          <a:pt x="64680" y="107065"/>
                        </a:cubicBezTo>
                        <a:cubicBezTo>
                          <a:pt x="64680" y="107065"/>
                          <a:pt x="65531" y="109221"/>
                          <a:pt x="66382" y="109221"/>
                        </a:cubicBezTo>
                        <a:cubicBezTo>
                          <a:pt x="66382" y="109221"/>
                          <a:pt x="68936" y="107065"/>
                          <a:pt x="68936" y="107065"/>
                        </a:cubicBezTo>
                        <a:cubicBezTo>
                          <a:pt x="68936" y="105628"/>
                          <a:pt x="68936" y="105628"/>
                          <a:pt x="68936" y="105628"/>
                        </a:cubicBezTo>
                        <a:cubicBezTo>
                          <a:pt x="69787" y="104191"/>
                          <a:pt x="69787" y="104191"/>
                          <a:pt x="69787" y="104191"/>
                        </a:cubicBezTo>
                        <a:cubicBezTo>
                          <a:pt x="67234" y="104910"/>
                          <a:pt x="67234" y="104910"/>
                          <a:pt x="67234" y="104910"/>
                        </a:cubicBezTo>
                        <a:cubicBezTo>
                          <a:pt x="65531" y="106347"/>
                          <a:pt x="65531" y="106347"/>
                          <a:pt x="65531" y="106347"/>
                        </a:cubicBezTo>
                        <a:cubicBezTo>
                          <a:pt x="63829" y="106347"/>
                          <a:pt x="63829" y="106347"/>
                          <a:pt x="63829" y="106347"/>
                        </a:cubicBezTo>
                        <a:close/>
                        <a:moveTo>
                          <a:pt x="56170" y="107784"/>
                        </a:moveTo>
                        <a:cubicBezTo>
                          <a:pt x="56170" y="107784"/>
                          <a:pt x="56170" y="107784"/>
                          <a:pt x="56170" y="107784"/>
                        </a:cubicBezTo>
                        <a:cubicBezTo>
                          <a:pt x="56170" y="107784"/>
                          <a:pt x="57021" y="109940"/>
                          <a:pt x="57021" y="109940"/>
                        </a:cubicBezTo>
                        <a:cubicBezTo>
                          <a:pt x="57872" y="109940"/>
                          <a:pt x="58723" y="110658"/>
                          <a:pt x="58723" y="110658"/>
                        </a:cubicBezTo>
                        <a:cubicBezTo>
                          <a:pt x="60425" y="112095"/>
                          <a:pt x="60425" y="112095"/>
                          <a:pt x="60425" y="112095"/>
                        </a:cubicBezTo>
                        <a:cubicBezTo>
                          <a:pt x="60425" y="112095"/>
                          <a:pt x="60425" y="112814"/>
                          <a:pt x="61276" y="112814"/>
                        </a:cubicBezTo>
                        <a:cubicBezTo>
                          <a:pt x="61276" y="112814"/>
                          <a:pt x="62978" y="112095"/>
                          <a:pt x="62978" y="112095"/>
                        </a:cubicBezTo>
                        <a:cubicBezTo>
                          <a:pt x="63829" y="110658"/>
                          <a:pt x="63829" y="110658"/>
                          <a:pt x="63829" y="110658"/>
                        </a:cubicBezTo>
                        <a:cubicBezTo>
                          <a:pt x="63829" y="110658"/>
                          <a:pt x="62127" y="110658"/>
                          <a:pt x="62127" y="110658"/>
                        </a:cubicBezTo>
                        <a:cubicBezTo>
                          <a:pt x="61276" y="110658"/>
                          <a:pt x="60425" y="109221"/>
                          <a:pt x="60425" y="109221"/>
                        </a:cubicBezTo>
                        <a:cubicBezTo>
                          <a:pt x="60425" y="109221"/>
                          <a:pt x="59574" y="109221"/>
                          <a:pt x="59574" y="109221"/>
                        </a:cubicBezTo>
                        <a:cubicBezTo>
                          <a:pt x="58723" y="109221"/>
                          <a:pt x="57021" y="107784"/>
                          <a:pt x="57021" y="107784"/>
                        </a:cubicBezTo>
                        <a:cubicBezTo>
                          <a:pt x="56170" y="107784"/>
                          <a:pt x="56170" y="107784"/>
                          <a:pt x="56170" y="107784"/>
                        </a:cubicBezTo>
                        <a:close/>
                        <a:moveTo>
                          <a:pt x="42553" y="105628"/>
                        </a:moveTo>
                        <a:cubicBezTo>
                          <a:pt x="42553" y="105628"/>
                          <a:pt x="42553" y="105628"/>
                          <a:pt x="42553" y="105628"/>
                        </a:cubicBezTo>
                        <a:cubicBezTo>
                          <a:pt x="44255" y="106347"/>
                          <a:pt x="44255" y="106347"/>
                          <a:pt x="44255" y="106347"/>
                        </a:cubicBezTo>
                        <a:cubicBezTo>
                          <a:pt x="45106" y="107065"/>
                          <a:pt x="45106" y="107065"/>
                          <a:pt x="45106" y="107065"/>
                        </a:cubicBezTo>
                        <a:cubicBezTo>
                          <a:pt x="46808" y="107784"/>
                          <a:pt x="46808" y="107784"/>
                          <a:pt x="46808" y="107784"/>
                        </a:cubicBezTo>
                        <a:cubicBezTo>
                          <a:pt x="45106" y="109221"/>
                          <a:pt x="45106" y="109221"/>
                          <a:pt x="45106" y="109221"/>
                        </a:cubicBezTo>
                        <a:cubicBezTo>
                          <a:pt x="45106" y="109221"/>
                          <a:pt x="45957" y="110658"/>
                          <a:pt x="46808" y="109940"/>
                        </a:cubicBezTo>
                        <a:cubicBezTo>
                          <a:pt x="47659" y="109940"/>
                          <a:pt x="47659" y="109940"/>
                          <a:pt x="47659" y="109940"/>
                        </a:cubicBezTo>
                        <a:cubicBezTo>
                          <a:pt x="47659" y="109940"/>
                          <a:pt x="49361" y="110658"/>
                          <a:pt x="49361" y="110658"/>
                        </a:cubicBezTo>
                        <a:cubicBezTo>
                          <a:pt x="50212" y="111377"/>
                          <a:pt x="51063" y="111377"/>
                          <a:pt x="51914" y="111377"/>
                        </a:cubicBezTo>
                        <a:cubicBezTo>
                          <a:pt x="52765" y="111377"/>
                          <a:pt x="52765" y="110658"/>
                          <a:pt x="52765" y="110658"/>
                        </a:cubicBezTo>
                        <a:cubicBezTo>
                          <a:pt x="52765" y="109940"/>
                          <a:pt x="52765" y="109221"/>
                          <a:pt x="52765" y="109221"/>
                        </a:cubicBezTo>
                        <a:cubicBezTo>
                          <a:pt x="51914" y="107784"/>
                          <a:pt x="51914" y="107784"/>
                          <a:pt x="51914" y="107784"/>
                        </a:cubicBezTo>
                        <a:cubicBezTo>
                          <a:pt x="51063" y="106347"/>
                          <a:pt x="51063" y="106347"/>
                          <a:pt x="51063" y="106347"/>
                        </a:cubicBezTo>
                        <a:cubicBezTo>
                          <a:pt x="47659" y="105628"/>
                          <a:pt x="47659" y="105628"/>
                          <a:pt x="47659" y="105628"/>
                        </a:cubicBezTo>
                        <a:cubicBezTo>
                          <a:pt x="45957" y="104191"/>
                          <a:pt x="45957" y="104191"/>
                          <a:pt x="45957" y="104191"/>
                        </a:cubicBezTo>
                        <a:cubicBezTo>
                          <a:pt x="43404" y="103473"/>
                          <a:pt x="43404" y="103473"/>
                          <a:pt x="43404" y="103473"/>
                        </a:cubicBezTo>
                        <a:cubicBezTo>
                          <a:pt x="42553" y="103473"/>
                          <a:pt x="42553" y="103473"/>
                          <a:pt x="42553" y="103473"/>
                        </a:cubicBezTo>
                        <a:cubicBezTo>
                          <a:pt x="42553" y="105628"/>
                          <a:pt x="42553" y="105628"/>
                          <a:pt x="42553" y="105628"/>
                        </a:cubicBezTo>
                        <a:close/>
                        <a:moveTo>
                          <a:pt x="70638" y="17964"/>
                        </a:moveTo>
                        <a:cubicBezTo>
                          <a:pt x="70638" y="17964"/>
                          <a:pt x="70638" y="17964"/>
                          <a:pt x="70638" y="17964"/>
                        </a:cubicBezTo>
                        <a:cubicBezTo>
                          <a:pt x="70638" y="18682"/>
                          <a:pt x="70638" y="18682"/>
                          <a:pt x="70638" y="18682"/>
                        </a:cubicBezTo>
                        <a:cubicBezTo>
                          <a:pt x="70638" y="18682"/>
                          <a:pt x="71489" y="18682"/>
                          <a:pt x="71489" y="18682"/>
                        </a:cubicBezTo>
                        <a:cubicBezTo>
                          <a:pt x="71489" y="18682"/>
                          <a:pt x="72340" y="18682"/>
                          <a:pt x="72340" y="18682"/>
                        </a:cubicBezTo>
                        <a:cubicBezTo>
                          <a:pt x="72340" y="18682"/>
                          <a:pt x="74042" y="19401"/>
                          <a:pt x="74042" y="19401"/>
                        </a:cubicBezTo>
                        <a:cubicBezTo>
                          <a:pt x="74042" y="20119"/>
                          <a:pt x="74893" y="19401"/>
                          <a:pt x="74893" y="19401"/>
                        </a:cubicBezTo>
                        <a:cubicBezTo>
                          <a:pt x="75744" y="19401"/>
                          <a:pt x="75744" y="18682"/>
                          <a:pt x="75744" y="17964"/>
                        </a:cubicBezTo>
                        <a:cubicBezTo>
                          <a:pt x="75744" y="17964"/>
                          <a:pt x="76595" y="17245"/>
                          <a:pt x="76595" y="17245"/>
                        </a:cubicBezTo>
                        <a:cubicBezTo>
                          <a:pt x="76595" y="17245"/>
                          <a:pt x="79148" y="15808"/>
                          <a:pt x="79148" y="15808"/>
                        </a:cubicBezTo>
                        <a:cubicBezTo>
                          <a:pt x="79148" y="15089"/>
                          <a:pt x="77446" y="15089"/>
                          <a:pt x="77446" y="15089"/>
                        </a:cubicBezTo>
                        <a:cubicBezTo>
                          <a:pt x="77446" y="15089"/>
                          <a:pt x="74893" y="15808"/>
                          <a:pt x="74893" y="15808"/>
                        </a:cubicBezTo>
                        <a:cubicBezTo>
                          <a:pt x="74893" y="15808"/>
                          <a:pt x="72340" y="16526"/>
                          <a:pt x="72340" y="16526"/>
                        </a:cubicBezTo>
                        <a:lnTo>
                          <a:pt x="70638" y="1796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6" name="Shape 2028"/>
                  <p:cNvSpPr/>
                  <p:nvPr/>
                </p:nvSpPr>
                <p:spPr>
                  <a:xfrm>
                    <a:off x="4518028" y="2422185"/>
                    <a:ext cx="310038" cy="351588"/>
                  </a:xfrm>
                  <a:custGeom>
                    <a:avLst/>
                    <a:gdLst/>
                    <a:ahLst/>
                    <a:cxnLst/>
                    <a:rect l="0" t="0" r="0" b="0"/>
                    <a:pathLst>
                      <a:path w="120000" h="120000" extrusionOk="0">
                        <a:moveTo>
                          <a:pt x="63529" y="26415"/>
                        </a:moveTo>
                        <a:cubicBezTo>
                          <a:pt x="62647" y="24905"/>
                          <a:pt x="62647" y="24905"/>
                          <a:pt x="62647" y="24905"/>
                        </a:cubicBezTo>
                        <a:cubicBezTo>
                          <a:pt x="60882" y="24905"/>
                          <a:pt x="60882" y="24905"/>
                          <a:pt x="60882" y="24905"/>
                        </a:cubicBezTo>
                        <a:cubicBezTo>
                          <a:pt x="58235" y="26415"/>
                          <a:pt x="58235" y="26415"/>
                          <a:pt x="58235" y="26415"/>
                        </a:cubicBezTo>
                        <a:cubicBezTo>
                          <a:pt x="58235" y="24905"/>
                          <a:pt x="58235" y="24905"/>
                          <a:pt x="58235" y="24905"/>
                        </a:cubicBezTo>
                        <a:cubicBezTo>
                          <a:pt x="61764" y="23396"/>
                          <a:pt x="61764" y="23396"/>
                          <a:pt x="61764" y="23396"/>
                        </a:cubicBezTo>
                        <a:cubicBezTo>
                          <a:pt x="63529" y="22641"/>
                          <a:pt x="63529" y="22641"/>
                          <a:pt x="63529" y="22641"/>
                        </a:cubicBezTo>
                        <a:cubicBezTo>
                          <a:pt x="64411" y="21132"/>
                          <a:pt x="64411" y="21132"/>
                          <a:pt x="64411" y="21132"/>
                        </a:cubicBezTo>
                        <a:cubicBezTo>
                          <a:pt x="66176" y="18867"/>
                          <a:pt x="66176" y="18867"/>
                          <a:pt x="66176" y="18867"/>
                        </a:cubicBezTo>
                        <a:cubicBezTo>
                          <a:pt x="66176" y="18867"/>
                          <a:pt x="67941" y="17358"/>
                          <a:pt x="68823" y="16603"/>
                        </a:cubicBezTo>
                        <a:cubicBezTo>
                          <a:pt x="69705" y="16603"/>
                          <a:pt x="73235" y="15094"/>
                          <a:pt x="73235" y="15094"/>
                        </a:cubicBezTo>
                        <a:cubicBezTo>
                          <a:pt x="73235" y="15094"/>
                          <a:pt x="76764" y="13584"/>
                          <a:pt x="77647" y="13584"/>
                        </a:cubicBezTo>
                        <a:cubicBezTo>
                          <a:pt x="78529" y="13584"/>
                          <a:pt x="84705" y="12830"/>
                          <a:pt x="84705" y="12830"/>
                        </a:cubicBezTo>
                        <a:cubicBezTo>
                          <a:pt x="90882" y="14339"/>
                          <a:pt x="90882" y="14339"/>
                          <a:pt x="90882" y="14339"/>
                        </a:cubicBezTo>
                        <a:cubicBezTo>
                          <a:pt x="90882" y="14339"/>
                          <a:pt x="92647" y="12830"/>
                          <a:pt x="94411" y="12830"/>
                        </a:cubicBezTo>
                        <a:cubicBezTo>
                          <a:pt x="94411" y="12830"/>
                          <a:pt x="96176" y="13584"/>
                          <a:pt x="97058" y="13584"/>
                        </a:cubicBezTo>
                        <a:cubicBezTo>
                          <a:pt x="97941" y="13584"/>
                          <a:pt x="99705" y="12830"/>
                          <a:pt x="99705" y="12830"/>
                        </a:cubicBezTo>
                        <a:cubicBezTo>
                          <a:pt x="103235" y="12830"/>
                          <a:pt x="103235" y="12830"/>
                          <a:pt x="103235" y="12830"/>
                        </a:cubicBezTo>
                        <a:cubicBezTo>
                          <a:pt x="105882" y="15849"/>
                          <a:pt x="105882" y="15849"/>
                          <a:pt x="105882" y="15849"/>
                        </a:cubicBezTo>
                        <a:cubicBezTo>
                          <a:pt x="106764" y="18867"/>
                          <a:pt x="106764" y="18867"/>
                          <a:pt x="106764" y="18867"/>
                        </a:cubicBezTo>
                        <a:cubicBezTo>
                          <a:pt x="111176" y="19622"/>
                          <a:pt x="111176" y="19622"/>
                          <a:pt x="111176" y="19622"/>
                        </a:cubicBezTo>
                        <a:cubicBezTo>
                          <a:pt x="111176" y="19622"/>
                          <a:pt x="110294" y="21132"/>
                          <a:pt x="110294" y="21886"/>
                        </a:cubicBezTo>
                        <a:cubicBezTo>
                          <a:pt x="111176" y="21886"/>
                          <a:pt x="113823" y="22641"/>
                          <a:pt x="113823" y="22641"/>
                        </a:cubicBezTo>
                        <a:cubicBezTo>
                          <a:pt x="113823" y="23396"/>
                          <a:pt x="113823" y="23396"/>
                          <a:pt x="113823" y="23396"/>
                        </a:cubicBezTo>
                        <a:cubicBezTo>
                          <a:pt x="113823" y="23396"/>
                          <a:pt x="113823" y="26415"/>
                          <a:pt x="113823" y="27169"/>
                        </a:cubicBezTo>
                        <a:cubicBezTo>
                          <a:pt x="113823" y="27924"/>
                          <a:pt x="113823" y="32452"/>
                          <a:pt x="113823" y="32452"/>
                        </a:cubicBezTo>
                        <a:cubicBezTo>
                          <a:pt x="113823" y="32452"/>
                          <a:pt x="111176" y="36981"/>
                          <a:pt x="110294" y="36981"/>
                        </a:cubicBezTo>
                        <a:cubicBezTo>
                          <a:pt x="109411" y="37735"/>
                          <a:pt x="110294" y="40754"/>
                          <a:pt x="110294" y="40754"/>
                        </a:cubicBezTo>
                        <a:cubicBezTo>
                          <a:pt x="109411" y="44528"/>
                          <a:pt x="109411" y="44528"/>
                          <a:pt x="109411" y="44528"/>
                        </a:cubicBezTo>
                        <a:cubicBezTo>
                          <a:pt x="109411" y="44528"/>
                          <a:pt x="109411" y="47547"/>
                          <a:pt x="108529" y="46792"/>
                        </a:cubicBezTo>
                        <a:cubicBezTo>
                          <a:pt x="107647" y="46792"/>
                          <a:pt x="103235" y="45283"/>
                          <a:pt x="103235" y="45283"/>
                        </a:cubicBezTo>
                        <a:cubicBezTo>
                          <a:pt x="99705" y="46037"/>
                          <a:pt x="99705" y="46037"/>
                          <a:pt x="99705" y="46037"/>
                        </a:cubicBezTo>
                        <a:cubicBezTo>
                          <a:pt x="99705" y="48301"/>
                          <a:pt x="99705" y="48301"/>
                          <a:pt x="99705" y="48301"/>
                        </a:cubicBezTo>
                        <a:cubicBezTo>
                          <a:pt x="101470" y="49056"/>
                          <a:pt x="101470" y="49056"/>
                          <a:pt x="101470" y="49056"/>
                        </a:cubicBezTo>
                        <a:cubicBezTo>
                          <a:pt x="98823" y="49056"/>
                          <a:pt x="98823" y="49056"/>
                          <a:pt x="98823" y="49056"/>
                        </a:cubicBezTo>
                        <a:cubicBezTo>
                          <a:pt x="98823" y="50566"/>
                          <a:pt x="98823" y="50566"/>
                          <a:pt x="98823" y="50566"/>
                        </a:cubicBezTo>
                        <a:cubicBezTo>
                          <a:pt x="98823" y="50566"/>
                          <a:pt x="99705" y="52075"/>
                          <a:pt x="100588" y="52830"/>
                        </a:cubicBezTo>
                        <a:cubicBezTo>
                          <a:pt x="100588" y="53584"/>
                          <a:pt x="103235" y="53584"/>
                          <a:pt x="103235" y="53584"/>
                        </a:cubicBezTo>
                        <a:cubicBezTo>
                          <a:pt x="105000" y="55094"/>
                          <a:pt x="105000" y="55094"/>
                          <a:pt x="105000" y="55094"/>
                        </a:cubicBezTo>
                        <a:cubicBezTo>
                          <a:pt x="107647" y="54339"/>
                          <a:pt x="107647" y="54339"/>
                          <a:pt x="107647" y="54339"/>
                        </a:cubicBezTo>
                        <a:cubicBezTo>
                          <a:pt x="109411" y="57358"/>
                          <a:pt x="109411" y="57358"/>
                          <a:pt x="109411" y="57358"/>
                        </a:cubicBezTo>
                        <a:cubicBezTo>
                          <a:pt x="108529" y="58867"/>
                          <a:pt x="108529" y="58867"/>
                          <a:pt x="108529" y="58867"/>
                        </a:cubicBezTo>
                        <a:cubicBezTo>
                          <a:pt x="108529" y="58867"/>
                          <a:pt x="108529" y="60377"/>
                          <a:pt x="108529" y="61132"/>
                        </a:cubicBezTo>
                        <a:cubicBezTo>
                          <a:pt x="108529" y="61886"/>
                          <a:pt x="109411" y="62641"/>
                          <a:pt x="108529" y="62641"/>
                        </a:cubicBezTo>
                        <a:cubicBezTo>
                          <a:pt x="108529" y="62641"/>
                          <a:pt x="106764" y="63396"/>
                          <a:pt x="106764" y="63396"/>
                        </a:cubicBezTo>
                        <a:cubicBezTo>
                          <a:pt x="105882" y="64905"/>
                          <a:pt x="105882" y="64905"/>
                          <a:pt x="105882" y="64905"/>
                        </a:cubicBezTo>
                        <a:cubicBezTo>
                          <a:pt x="105882" y="64905"/>
                          <a:pt x="104117" y="65660"/>
                          <a:pt x="103235" y="65660"/>
                        </a:cubicBezTo>
                        <a:cubicBezTo>
                          <a:pt x="102352" y="66415"/>
                          <a:pt x="102352" y="66415"/>
                          <a:pt x="102352" y="67169"/>
                        </a:cubicBezTo>
                        <a:cubicBezTo>
                          <a:pt x="102352" y="67169"/>
                          <a:pt x="98823" y="66415"/>
                          <a:pt x="98823" y="66415"/>
                        </a:cubicBezTo>
                        <a:cubicBezTo>
                          <a:pt x="98823" y="68679"/>
                          <a:pt x="98823" y="68679"/>
                          <a:pt x="98823" y="68679"/>
                        </a:cubicBezTo>
                        <a:cubicBezTo>
                          <a:pt x="97058" y="68679"/>
                          <a:pt x="97058" y="68679"/>
                          <a:pt x="97058" y="68679"/>
                        </a:cubicBezTo>
                        <a:cubicBezTo>
                          <a:pt x="98823" y="70943"/>
                          <a:pt x="98823" y="70943"/>
                          <a:pt x="98823" y="70943"/>
                        </a:cubicBezTo>
                        <a:cubicBezTo>
                          <a:pt x="101470" y="72452"/>
                          <a:pt x="101470" y="72452"/>
                          <a:pt x="101470" y="72452"/>
                        </a:cubicBezTo>
                        <a:cubicBezTo>
                          <a:pt x="100588" y="73207"/>
                          <a:pt x="100588" y="73207"/>
                          <a:pt x="100588" y="73207"/>
                        </a:cubicBezTo>
                        <a:cubicBezTo>
                          <a:pt x="98823" y="73962"/>
                          <a:pt x="98823" y="73962"/>
                          <a:pt x="98823" y="73962"/>
                        </a:cubicBezTo>
                        <a:cubicBezTo>
                          <a:pt x="97941" y="75471"/>
                          <a:pt x="97941" y="75471"/>
                          <a:pt x="97941" y="75471"/>
                        </a:cubicBezTo>
                        <a:cubicBezTo>
                          <a:pt x="95294" y="75471"/>
                          <a:pt x="95294" y="75471"/>
                          <a:pt x="95294" y="75471"/>
                        </a:cubicBezTo>
                        <a:cubicBezTo>
                          <a:pt x="92647" y="76226"/>
                          <a:pt x="92647" y="76226"/>
                          <a:pt x="92647" y="76226"/>
                        </a:cubicBezTo>
                        <a:cubicBezTo>
                          <a:pt x="91764" y="76226"/>
                          <a:pt x="91764" y="76226"/>
                          <a:pt x="91764" y="76226"/>
                        </a:cubicBezTo>
                        <a:cubicBezTo>
                          <a:pt x="89117" y="76226"/>
                          <a:pt x="89117" y="76226"/>
                          <a:pt x="89117" y="76226"/>
                        </a:cubicBezTo>
                        <a:cubicBezTo>
                          <a:pt x="88235" y="77735"/>
                          <a:pt x="88235" y="77735"/>
                          <a:pt x="88235" y="77735"/>
                        </a:cubicBezTo>
                        <a:cubicBezTo>
                          <a:pt x="87352" y="76226"/>
                          <a:pt x="87352" y="76226"/>
                          <a:pt x="87352" y="76226"/>
                        </a:cubicBezTo>
                        <a:cubicBezTo>
                          <a:pt x="84705" y="75471"/>
                          <a:pt x="84705" y="75471"/>
                          <a:pt x="84705" y="75471"/>
                        </a:cubicBezTo>
                        <a:cubicBezTo>
                          <a:pt x="82941" y="73962"/>
                          <a:pt x="82941" y="73962"/>
                          <a:pt x="82941" y="73962"/>
                        </a:cubicBezTo>
                        <a:cubicBezTo>
                          <a:pt x="80294" y="74716"/>
                          <a:pt x="80294" y="74716"/>
                          <a:pt x="80294" y="74716"/>
                        </a:cubicBezTo>
                        <a:cubicBezTo>
                          <a:pt x="82941" y="76226"/>
                          <a:pt x="82941" y="76226"/>
                          <a:pt x="82941" y="76226"/>
                        </a:cubicBezTo>
                        <a:cubicBezTo>
                          <a:pt x="81176" y="76226"/>
                          <a:pt x="81176" y="76226"/>
                          <a:pt x="81176" y="76226"/>
                        </a:cubicBezTo>
                        <a:cubicBezTo>
                          <a:pt x="76764" y="75471"/>
                          <a:pt x="76764" y="75471"/>
                          <a:pt x="76764" y="75471"/>
                        </a:cubicBezTo>
                        <a:cubicBezTo>
                          <a:pt x="76764" y="77735"/>
                          <a:pt x="76764" y="77735"/>
                          <a:pt x="76764" y="77735"/>
                        </a:cubicBezTo>
                        <a:cubicBezTo>
                          <a:pt x="76764" y="79245"/>
                          <a:pt x="76764" y="79245"/>
                          <a:pt x="76764" y="79245"/>
                        </a:cubicBezTo>
                        <a:cubicBezTo>
                          <a:pt x="76764" y="79245"/>
                          <a:pt x="75882" y="80000"/>
                          <a:pt x="76764" y="80000"/>
                        </a:cubicBezTo>
                        <a:cubicBezTo>
                          <a:pt x="77647" y="80000"/>
                          <a:pt x="79411" y="81509"/>
                          <a:pt x="79411" y="81509"/>
                        </a:cubicBezTo>
                        <a:cubicBezTo>
                          <a:pt x="79411" y="83018"/>
                          <a:pt x="79411" y="83018"/>
                          <a:pt x="79411" y="83018"/>
                        </a:cubicBezTo>
                        <a:cubicBezTo>
                          <a:pt x="80294" y="84528"/>
                          <a:pt x="80294" y="84528"/>
                          <a:pt x="80294" y="84528"/>
                        </a:cubicBezTo>
                        <a:cubicBezTo>
                          <a:pt x="80294" y="85283"/>
                          <a:pt x="80294" y="85283"/>
                          <a:pt x="80294" y="85283"/>
                        </a:cubicBezTo>
                        <a:cubicBezTo>
                          <a:pt x="82058" y="87547"/>
                          <a:pt x="82058" y="87547"/>
                          <a:pt x="82058" y="87547"/>
                        </a:cubicBezTo>
                        <a:cubicBezTo>
                          <a:pt x="82058" y="89811"/>
                          <a:pt x="82058" y="89811"/>
                          <a:pt x="82058" y="89811"/>
                        </a:cubicBezTo>
                        <a:cubicBezTo>
                          <a:pt x="83823" y="92075"/>
                          <a:pt x="83823" y="92075"/>
                          <a:pt x="83823" y="92075"/>
                        </a:cubicBezTo>
                        <a:cubicBezTo>
                          <a:pt x="82941" y="94339"/>
                          <a:pt x="82941" y="94339"/>
                          <a:pt x="82941" y="94339"/>
                        </a:cubicBezTo>
                        <a:cubicBezTo>
                          <a:pt x="82941" y="94339"/>
                          <a:pt x="83823" y="95849"/>
                          <a:pt x="82941" y="96603"/>
                        </a:cubicBezTo>
                        <a:cubicBezTo>
                          <a:pt x="82941" y="96603"/>
                          <a:pt x="81176" y="98113"/>
                          <a:pt x="81176" y="98113"/>
                        </a:cubicBezTo>
                        <a:cubicBezTo>
                          <a:pt x="80294" y="99622"/>
                          <a:pt x="80294" y="99622"/>
                          <a:pt x="80294" y="99622"/>
                        </a:cubicBezTo>
                        <a:cubicBezTo>
                          <a:pt x="78529" y="100377"/>
                          <a:pt x="78529" y="100377"/>
                          <a:pt x="78529" y="100377"/>
                        </a:cubicBezTo>
                        <a:cubicBezTo>
                          <a:pt x="78529" y="101886"/>
                          <a:pt x="78529" y="101886"/>
                          <a:pt x="78529" y="101886"/>
                        </a:cubicBezTo>
                        <a:cubicBezTo>
                          <a:pt x="78529" y="101886"/>
                          <a:pt x="78529" y="104150"/>
                          <a:pt x="79411" y="104150"/>
                        </a:cubicBezTo>
                        <a:cubicBezTo>
                          <a:pt x="79411" y="104150"/>
                          <a:pt x="81176" y="102641"/>
                          <a:pt x="81176" y="102641"/>
                        </a:cubicBezTo>
                        <a:cubicBezTo>
                          <a:pt x="81176" y="102641"/>
                          <a:pt x="82941" y="104150"/>
                          <a:pt x="82058" y="104905"/>
                        </a:cubicBezTo>
                        <a:cubicBezTo>
                          <a:pt x="82058" y="104905"/>
                          <a:pt x="78529" y="104905"/>
                          <a:pt x="78529" y="104905"/>
                        </a:cubicBezTo>
                        <a:cubicBezTo>
                          <a:pt x="76764" y="104905"/>
                          <a:pt x="76764" y="104905"/>
                          <a:pt x="76764" y="104905"/>
                        </a:cubicBezTo>
                        <a:cubicBezTo>
                          <a:pt x="76764" y="104905"/>
                          <a:pt x="75882" y="106415"/>
                          <a:pt x="75000" y="106415"/>
                        </a:cubicBezTo>
                        <a:cubicBezTo>
                          <a:pt x="75000" y="107169"/>
                          <a:pt x="75000" y="107924"/>
                          <a:pt x="75000" y="107924"/>
                        </a:cubicBezTo>
                        <a:cubicBezTo>
                          <a:pt x="73235" y="106415"/>
                          <a:pt x="73235" y="106415"/>
                          <a:pt x="73235" y="106415"/>
                        </a:cubicBezTo>
                        <a:cubicBezTo>
                          <a:pt x="72352" y="107169"/>
                          <a:pt x="72352" y="107169"/>
                          <a:pt x="72352" y="107169"/>
                        </a:cubicBezTo>
                        <a:cubicBezTo>
                          <a:pt x="73235" y="108679"/>
                          <a:pt x="73235" y="108679"/>
                          <a:pt x="73235" y="108679"/>
                        </a:cubicBezTo>
                        <a:cubicBezTo>
                          <a:pt x="73235" y="110188"/>
                          <a:pt x="73235" y="110188"/>
                          <a:pt x="73235" y="110188"/>
                        </a:cubicBezTo>
                        <a:cubicBezTo>
                          <a:pt x="73235" y="110188"/>
                          <a:pt x="75000" y="110188"/>
                          <a:pt x="75000" y="110188"/>
                        </a:cubicBezTo>
                        <a:cubicBezTo>
                          <a:pt x="75000" y="110188"/>
                          <a:pt x="76764" y="110943"/>
                          <a:pt x="76764" y="110943"/>
                        </a:cubicBezTo>
                        <a:cubicBezTo>
                          <a:pt x="76764" y="110943"/>
                          <a:pt x="75882" y="111698"/>
                          <a:pt x="76764" y="111698"/>
                        </a:cubicBezTo>
                        <a:cubicBezTo>
                          <a:pt x="76764" y="112452"/>
                          <a:pt x="76764" y="112452"/>
                          <a:pt x="77647" y="112452"/>
                        </a:cubicBezTo>
                        <a:cubicBezTo>
                          <a:pt x="78529" y="113207"/>
                          <a:pt x="78529" y="113207"/>
                          <a:pt x="78529" y="113207"/>
                        </a:cubicBezTo>
                        <a:cubicBezTo>
                          <a:pt x="78529" y="113207"/>
                          <a:pt x="78529" y="114716"/>
                          <a:pt x="78529" y="115471"/>
                        </a:cubicBezTo>
                        <a:cubicBezTo>
                          <a:pt x="77647" y="115471"/>
                          <a:pt x="77647" y="116226"/>
                          <a:pt x="77647" y="116226"/>
                        </a:cubicBezTo>
                        <a:cubicBezTo>
                          <a:pt x="76764" y="116226"/>
                          <a:pt x="76764" y="116226"/>
                          <a:pt x="76764" y="116226"/>
                        </a:cubicBezTo>
                        <a:cubicBezTo>
                          <a:pt x="75882" y="116981"/>
                          <a:pt x="75882" y="117735"/>
                          <a:pt x="75882" y="117735"/>
                        </a:cubicBezTo>
                        <a:cubicBezTo>
                          <a:pt x="75882" y="117735"/>
                          <a:pt x="75000" y="117735"/>
                          <a:pt x="75000" y="117735"/>
                        </a:cubicBezTo>
                        <a:cubicBezTo>
                          <a:pt x="75000" y="118490"/>
                          <a:pt x="75882" y="119245"/>
                          <a:pt x="75882" y="120000"/>
                        </a:cubicBezTo>
                        <a:cubicBezTo>
                          <a:pt x="75882" y="120000"/>
                          <a:pt x="75882" y="120000"/>
                          <a:pt x="75000" y="120000"/>
                        </a:cubicBezTo>
                        <a:cubicBezTo>
                          <a:pt x="75000" y="120000"/>
                          <a:pt x="75000" y="120000"/>
                          <a:pt x="75000" y="120000"/>
                        </a:cubicBezTo>
                        <a:cubicBezTo>
                          <a:pt x="75000" y="120000"/>
                          <a:pt x="73235" y="118490"/>
                          <a:pt x="73235" y="118490"/>
                        </a:cubicBezTo>
                        <a:cubicBezTo>
                          <a:pt x="72352" y="118490"/>
                          <a:pt x="71470" y="119245"/>
                          <a:pt x="69705" y="119245"/>
                        </a:cubicBezTo>
                        <a:cubicBezTo>
                          <a:pt x="68823" y="118490"/>
                          <a:pt x="68823" y="118490"/>
                          <a:pt x="68823" y="118490"/>
                        </a:cubicBezTo>
                        <a:cubicBezTo>
                          <a:pt x="65294" y="119245"/>
                          <a:pt x="65294" y="119245"/>
                          <a:pt x="65294" y="119245"/>
                        </a:cubicBezTo>
                        <a:cubicBezTo>
                          <a:pt x="65294" y="117735"/>
                          <a:pt x="65294" y="117735"/>
                          <a:pt x="65294" y="117735"/>
                        </a:cubicBezTo>
                        <a:cubicBezTo>
                          <a:pt x="64411" y="116226"/>
                          <a:pt x="64411" y="116226"/>
                          <a:pt x="64411" y="116226"/>
                        </a:cubicBezTo>
                        <a:cubicBezTo>
                          <a:pt x="64411" y="116226"/>
                          <a:pt x="64411" y="114716"/>
                          <a:pt x="64411" y="113962"/>
                        </a:cubicBezTo>
                        <a:cubicBezTo>
                          <a:pt x="64411" y="113962"/>
                          <a:pt x="65294" y="113207"/>
                          <a:pt x="65294" y="113207"/>
                        </a:cubicBezTo>
                        <a:cubicBezTo>
                          <a:pt x="66176" y="113207"/>
                          <a:pt x="67058" y="111698"/>
                          <a:pt x="67058" y="111698"/>
                        </a:cubicBezTo>
                        <a:cubicBezTo>
                          <a:pt x="67058" y="111698"/>
                          <a:pt x="67941" y="110188"/>
                          <a:pt x="68823" y="109433"/>
                        </a:cubicBezTo>
                        <a:cubicBezTo>
                          <a:pt x="68823" y="109433"/>
                          <a:pt x="69705" y="107169"/>
                          <a:pt x="69705" y="107169"/>
                        </a:cubicBezTo>
                        <a:cubicBezTo>
                          <a:pt x="69705" y="106415"/>
                          <a:pt x="70588" y="105660"/>
                          <a:pt x="70588" y="105660"/>
                        </a:cubicBezTo>
                        <a:cubicBezTo>
                          <a:pt x="70588" y="105660"/>
                          <a:pt x="72352" y="104150"/>
                          <a:pt x="72352" y="103396"/>
                        </a:cubicBezTo>
                        <a:cubicBezTo>
                          <a:pt x="72352" y="102641"/>
                          <a:pt x="71470" y="102641"/>
                          <a:pt x="70588" y="102641"/>
                        </a:cubicBezTo>
                        <a:cubicBezTo>
                          <a:pt x="70588" y="102641"/>
                          <a:pt x="67941" y="101886"/>
                          <a:pt x="67058" y="101132"/>
                        </a:cubicBezTo>
                        <a:cubicBezTo>
                          <a:pt x="66176" y="101132"/>
                          <a:pt x="64411" y="100377"/>
                          <a:pt x="62647" y="100377"/>
                        </a:cubicBezTo>
                        <a:cubicBezTo>
                          <a:pt x="60882" y="99622"/>
                          <a:pt x="61764" y="99622"/>
                          <a:pt x="62647" y="98113"/>
                        </a:cubicBezTo>
                        <a:cubicBezTo>
                          <a:pt x="62647" y="97358"/>
                          <a:pt x="60882" y="97358"/>
                          <a:pt x="60882" y="96603"/>
                        </a:cubicBezTo>
                        <a:cubicBezTo>
                          <a:pt x="60882" y="96603"/>
                          <a:pt x="60000" y="97358"/>
                          <a:pt x="59117" y="98113"/>
                        </a:cubicBezTo>
                        <a:cubicBezTo>
                          <a:pt x="58235" y="98113"/>
                          <a:pt x="57352" y="97358"/>
                          <a:pt x="56470" y="97358"/>
                        </a:cubicBezTo>
                        <a:cubicBezTo>
                          <a:pt x="56470" y="97358"/>
                          <a:pt x="53823" y="97358"/>
                          <a:pt x="53823" y="97358"/>
                        </a:cubicBezTo>
                        <a:cubicBezTo>
                          <a:pt x="53823" y="97358"/>
                          <a:pt x="53823" y="96603"/>
                          <a:pt x="53823" y="95849"/>
                        </a:cubicBezTo>
                        <a:cubicBezTo>
                          <a:pt x="53823" y="95094"/>
                          <a:pt x="52941" y="95094"/>
                          <a:pt x="52941" y="95094"/>
                        </a:cubicBezTo>
                        <a:cubicBezTo>
                          <a:pt x="52941" y="95094"/>
                          <a:pt x="51176" y="95094"/>
                          <a:pt x="51176" y="94339"/>
                        </a:cubicBezTo>
                        <a:cubicBezTo>
                          <a:pt x="50294" y="94339"/>
                          <a:pt x="51176" y="94339"/>
                          <a:pt x="51176" y="93584"/>
                        </a:cubicBezTo>
                        <a:cubicBezTo>
                          <a:pt x="51176" y="92830"/>
                          <a:pt x="51176" y="93584"/>
                          <a:pt x="50294" y="93584"/>
                        </a:cubicBezTo>
                        <a:cubicBezTo>
                          <a:pt x="49411" y="93584"/>
                          <a:pt x="49411" y="91320"/>
                          <a:pt x="49411" y="91320"/>
                        </a:cubicBezTo>
                        <a:cubicBezTo>
                          <a:pt x="49411" y="91320"/>
                          <a:pt x="48529" y="89811"/>
                          <a:pt x="48529" y="89056"/>
                        </a:cubicBezTo>
                        <a:cubicBezTo>
                          <a:pt x="47647" y="87547"/>
                          <a:pt x="47647" y="89056"/>
                          <a:pt x="47647" y="89056"/>
                        </a:cubicBezTo>
                        <a:cubicBezTo>
                          <a:pt x="45882" y="91320"/>
                          <a:pt x="45882" y="91320"/>
                          <a:pt x="45882" y="91320"/>
                        </a:cubicBezTo>
                        <a:cubicBezTo>
                          <a:pt x="45882" y="91320"/>
                          <a:pt x="45000" y="91320"/>
                          <a:pt x="42352" y="90566"/>
                        </a:cubicBezTo>
                        <a:cubicBezTo>
                          <a:pt x="40588" y="89811"/>
                          <a:pt x="41470" y="89811"/>
                          <a:pt x="41470" y="89811"/>
                        </a:cubicBezTo>
                        <a:cubicBezTo>
                          <a:pt x="43235" y="88301"/>
                          <a:pt x="43235" y="88301"/>
                          <a:pt x="43235" y="88301"/>
                        </a:cubicBezTo>
                        <a:cubicBezTo>
                          <a:pt x="43235" y="88301"/>
                          <a:pt x="41470" y="87547"/>
                          <a:pt x="40588" y="87547"/>
                        </a:cubicBezTo>
                        <a:cubicBezTo>
                          <a:pt x="39705" y="86792"/>
                          <a:pt x="39705" y="86792"/>
                          <a:pt x="38823" y="88301"/>
                        </a:cubicBezTo>
                        <a:cubicBezTo>
                          <a:pt x="37941" y="89056"/>
                          <a:pt x="37941" y="89056"/>
                          <a:pt x="37058" y="89811"/>
                        </a:cubicBezTo>
                        <a:cubicBezTo>
                          <a:pt x="36176" y="90566"/>
                          <a:pt x="36176" y="90566"/>
                          <a:pt x="34411" y="90566"/>
                        </a:cubicBezTo>
                        <a:cubicBezTo>
                          <a:pt x="33529" y="90566"/>
                          <a:pt x="33529" y="89811"/>
                          <a:pt x="32647" y="89811"/>
                        </a:cubicBezTo>
                        <a:cubicBezTo>
                          <a:pt x="32647" y="89056"/>
                          <a:pt x="32647" y="89056"/>
                          <a:pt x="31764" y="88301"/>
                        </a:cubicBezTo>
                        <a:cubicBezTo>
                          <a:pt x="31764" y="87547"/>
                          <a:pt x="30882" y="87547"/>
                          <a:pt x="30882" y="87547"/>
                        </a:cubicBezTo>
                        <a:cubicBezTo>
                          <a:pt x="30882" y="87547"/>
                          <a:pt x="29117" y="88301"/>
                          <a:pt x="29117" y="89056"/>
                        </a:cubicBezTo>
                        <a:cubicBezTo>
                          <a:pt x="28235" y="89056"/>
                          <a:pt x="29117" y="89811"/>
                          <a:pt x="29117" y="90566"/>
                        </a:cubicBezTo>
                        <a:cubicBezTo>
                          <a:pt x="30000" y="91320"/>
                          <a:pt x="29117" y="92075"/>
                          <a:pt x="29117" y="92075"/>
                        </a:cubicBezTo>
                        <a:cubicBezTo>
                          <a:pt x="29117" y="92075"/>
                          <a:pt x="27352" y="92075"/>
                          <a:pt x="26470" y="92075"/>
                        </a:cubicBezTo>
                        <a:cubicBezTo>
                          <a:pt x="25588" y="92075"/>
                          <a:pt x="24705" y="92075"/>
                          <a:pt x="23823" y="91320"/>
                        </a:cubicBezTo>
                        <a:cubicBezTo>
                          <a:pt x="22058" y="90566"/>
                          <a:pt x="22941" y="92075"/>
                          <a:pt x="22941" y="92830"/>
                        </a:cubicBezTo>
                        <a:cubicBezTo>
                          <a:pt x="22941" y="92830"/>
                          <a:pt x="21176" y="94339"/>
                          <a:pt x="21176" y="94339"/>
                        </a:cubicBezTo>
                        <a:cubicBezTo>
                          <a:pt x="21176" y="94339"/>
                          <a:pt x="21176" y="94339"/>
                          <a:pt x="21176" y="94339"/>
                        </a:cubicBezTo>
                        <a:cubicBezTo>
                          <a:pt x="19411" y="94339"/>
                          <a:pt x="17647" y="93584"/>
                          <a:pt x="17647" y="93584"/>
                        </a:cubicBezTo>
                        <a:cubicBezTo>
                          <a:pt x="16764" y="94339"/>
                          <a:pt x="16764" y="94339"/>
                          <a:pt x="16764" y="94339"/>
                        </a:cubicBezTo>
                        <a:cubicBezTo>
                          <a:pt x="14117" y="93584"/>
                          <a:pt x="14117" y="93584"/>
                          <a:pt x="14117" y="93584"/>
                        </a:cubicBezTo>
                        <a:cubicBezTo>
                          <a:pt x="13235" y="93584"/>
                          <a:pt x="13235" y="93584"/>
                          <a:pt x="13235" y="93584"/>
                        </a:cubicBezTo>
                        <a:cubicBezTo>
                          <a:pt x="12352" y="91320"/>
                          <a:pt x="12352" y="91320"/>
                          <a:pt x="12352" y="91320"/>
                        </a:cubicBezTo>
                        <a:cubicBezTo>
                          <a:pt x="11470" y="91320"/>
                          <a:pt x="11470" y="91320"/>
                          <a:pt x="11470" y="91320"/>
                        </a:cubicBezTo>
                        <a:cubicBezTo>
                          <a:pt x="7941" y="89811"/>
                          <a:pt x="7941" y="89811"/>
                          <a:pt x="7941" y="89811"/>
                        </a:cubicBezTo>
                        <a:cubicBezTo>
                          <a:pt x="7058" y="89056"/>
                          <a:pt x="7058" y="89056"/>
                          <a:pt x="7058" y="89056"/>
                        </a:cubicBezTo>
                        <a:cubicBezTo>
                          <a:pt x="5294" y="89811"/>
                          <a:pt x="5294" y="89811"/>
                          <a:pt x="5294" y="89811"/>
                        </a:cubicBezTo>
                        <a:cubicBezTo>
                          <a:pt x="4411" y="90566"/>
                          <a:pt x="4411" y="90566"/>
                          <a:pt x="4411" y="90566"/>
                        </a:cubicBezTo>
                        <a:cubicBezTo>
                          <a:pt x="4411" y="90566"/>
                          <a:pt x="2647" y="91320"/>
                          <a:pt x="1764" y="91320"/>
                        </a:cubicBezTo>
                        <a:cubicBezTo>
                          <a:pt x="1764" y="90566"/>
                          <a:pt x="0" y="87547"/>
                          <a:pt x="0" y="87547"/>
                        </a:cubicBezTo>
                        <a:cubicBezTo>
                          <a:pt x="882" y="85283"/>
                          <a:pt x="882" y="85283"/>
                          <a:pt x="882" y="85283"/>
                        </a:cubicBezTo>
                        <a:cubicBezTo>
                          <a:pt x="882" y="85283"/>
                          <a:pt x="3529" y="84528"/>
                          <a:pt x="3529" y="84528"/>
                        </a:cubicBezTo>
                        <a:cubicBezTo>
                          <a:pt x="3529" y="84528"/>
                          <a:pt x="5294" y="84528"/>
                          <a:pt x="5294" y="84528"/>
                        </a:cubicBezTo>
                        <a:cubicBezTo>
                          <a:pt x="5294" y="84528"/>
                          <a:pt x="6176" y="84528"/>
                          <a:pt x="6176" y="85283"/>
                        </a:cubicBezTo>
                        <a:cubicBezTo>
                          <a:pt x="7058" y="85283"/>
                          <a:pt x="8823" y="86792"/>
                          <a:pt x="9705" y="86792"/>
                        </a:cubicBezTo>
                        <a:cubicBezTo>
                          <a:pt x="9705" y="86792"/>
                          <a:pt x="11470" y="87547"/>
                          <a:pt x="11470" y="87547"/>
                        </a:cubicBezTo>
                        <a:cubicBezTo>
                          <a:pt x="12352" y="87547"/>
                          <a:pt x="14117" y="88301"/>
                          <a:pt x="14117" y="88301"/>
                        </a:cubicBezTo>
                        <a:cubicBezTo>
                          <a:pt x="14117" y="88301"/>
                          <a:pt x="15882" y="88301"/>
                          <a:pt x="15882" y="88301"/>
                        </a:cubicBezTo>
                        <a:cubicBezTo>
                          <a:pt x="15882" y="88301"/>
                          <a:pt x="17647" y="87547"/>
                          <a:pt x="17647" y="87547"/>
                        </a:cubicBezTo>
                        <a:cubicBezTo>
                          <a:pt x="17647" y="87547"/>
                          <a:pt x="17647" y="87547"/>
                          <a:pt x="17647" y="87547"/>
                        </a:cubicBezTo>
                        <a:cubicBezTo>
                          <a:pt x="18529" y="86792"/>
                          <a:pt x="18529" y="86037"/>
                          <a:pt x="18529" y="86037"/>
                        </a:cubicBezTo>
                        <a:cubicBezTo>
                          <a:pt x="18529" y="86037"/>
                          <a:pt x="19411" y="86037"/>
                          <a:pt x="19411" y="86037"/>
                        </a:cubicBezTo>
                        <a:cubicBezTo>
                          <a:pt x="19411" y="86792"/>
                          <a:pt x="20294" y="87547"/>
                          <a:pt x="20294" y="87547"/>
                        </a:cubicBezTo>
                        <a:cubicBezTo>
                          <a:pt x="20294" y="87547"/>
                          <a:pt x="21176" y="88301"/>
                          <a:pt x="21176" y="88301"/>
                        </a:cubicBezTo>
                        <a:cubicBezTo>
                          <a:pt x="22058" y="89056"/>
                          <a:pt x="22941" y="89056"/>
                          <a:pt x="22941" y="89056"/>
                        </a:cubicBezTo>
                        <a:cubicBezTo>
                          <a:pt x="22941" y="89056"/>
                          <a:pt x="23823" y="88301"/>
                          <a:pt x="23823" y="88301"/>
                        </a:cubicBezTo>
                        <a:cubicBezTo>
                          <a:pt x="23823" y="88301"/>
                          <a:pt x="24705" y="89056"/>
                          <a:pt x="24705" y="88301"/>
                        </a:cubicBezTo>
                        <a:cubicBezTo>
                          <a:pt x="24705" y="88301"/>
                          <a:pt x="25588" y="88301"/>
                          <a:pt x="25588" y="88301"/>
                        </a:cubicBezTo>
                        <a:cubicBezTo>
                          <a:pt x="25588" y="88301"/>
                          <a:pt x="26470" y="87547"/>
                          <a:pt x="25588" y="87547"/>
                        </a:cubicBezTo>
                        <a:cubicBezTo>
                          <a:pt x="25588" y="87547"/>
                          <a:pt x="25588" y="86792"/>
                          <a:pt x="25588" y="87547"/>
                        </a:cubicBezTo>
                        <a:cubicBezTo>
                          <a:pt x="24705" y="87547"/>
                          <a:pt x="24705" y="87547"/>
                          <a:pt x="23823" y="87547"/>
                        </a:cubicBezTo>
                        <a:cubicBezTo>
                          <a:pt x="22941" y="87547"/>
                          <a:pt x="21176" y="86792"/>
                          <a:pt x="21176" y="86792"/>
                        </a:cubicBezTo>
                        <a:cubicBezTo>
                          <a:pt x="21176" y="86037"/>
                          <a:pt x="20294" y="86037"/>
                          <a:pt x="20294" y="85283"/>
                        </a:cubicBezTo>
                        <a:cubicBezTo>
                          <a:pt x="19411" y="85283"/>
                          <a:pt x="19411" y="84528"/>
                          <a:pt x="18529" y="84528"/>
                        </a:cubicBezTo>
                        <a:cubicBezTo>
                          <a:pt x="17647" y="84528"/>
                          <a:pt x="17647" y="84528"/>
                          <a:pt x="17647" y="84528"/>
                        </a:cubicBezTo>
                        <a:cubicBezTo>
                          <a:pt x="17647" y="84528"/>
                          <a:pt x="16764" y="85283"/>
                          <a:pt x="16764" y="86037"/>
                        </a:cubicBezTo>
                        <a:cubicBezTo>
                          <a:pt x="16764" y="86037"/>
                          <a:pt x="17647" y="86792"/>
                          <a:pt x="15882" y="86037"/>
                        </a:cubicBezTo>
                        <a:cubicBezTo>
                          <a:pt x="14117" y="86037"/>
                          <a:pt x="12352" y="86037"/>
                          <a:pt x="12352" y="86037"/>
                        </a:cubicBezTo>
                        <a:cubicBezTo>
                          <a:pt x="9705" y="83773"/>
                          <a:pt x="9705" y="83773"/>
                          <a:pt x="9705" y="83773"/>
                        </a:cubicBezTo>
                        <a:cubicBezTo>
                          <a:pt x="9705" y="83773"/>
                          <a:pt x="8823" y="83773"/>
                          <a:pt x="7941" y="83773"/>
                        </a:cubicBezTo>
                        <a:cubicBezTo>
                          <a:pt x="7941" y="83773"/>
                          <a:pt x="6176" y="83018"/>
                          <a:pt x="6176" y="82264"/>
                        </a:cubicBezTo>
                        <a:cubicBezTo>
                          <a:pt x="6176" y="82264"/>
                          <a:pt x="5294" y="81509"/>
                          <a:pt x="5294" y="80754"/>
                        </a:cubicBezTo>
                        <a:cubicBezTo>
                          <a:pt x="5294" y="80754"/>
                          <a:pt x="4411" y="80754"/>
                          <a:pt x="4411" y="80000"/>
                        </a:cubicBezTo>
                        <a:cubicBezTo>
                          <a:pt x="4411" y="80000"/>
                          <a:pt x="3529" y="79245"/>
                          <a:pt x="3529" y="79245"/>
                        </a:cubicBezTo>
                        <a:cubicBezTo>
                          <a:pt x="3529" y="79245"/>
                          <a:pt x="3529" y="78490"/>
                          <a:pt x="4411" y="77735"/>
                        </a:cubicBezTo>
                        <a:cubicBezTo>
                          <a:pt x="6176" y="77735"/>
                          <a:pt x="6176" y="77735"/>
                          <a:pt x="7058" y="77735"/>
                        </a:cubicBezTo>
                        <a:cubicBezTo>
                          <a:pt x="7941" y="77735"/>
                          <a:pt x="7058" y="77735"/>
                          <a:pt x="8823" y="77735"/>
                        </a:cubicBezTo>
                        <a:cubicBezTo>
                          <a:pt x="10588" y="77735"/>
                          <a:pt x="9705" y="77735"/>
                          <a:pt x="10588" y="77735"/>
                        </a:cubicBezTo>
                        <a:cubicBezTo>
                          <a:pt x="11470" y="77735"/>
                          <a:pt x="13235" y="77735"/>
                          <a:pt x="13235" y="77735"/>
                        </a:cubicBezTo>
                        <a:cubicBezTo>
                          <a:pt x="13235" y="77735"/>
                          <a:pt x="11470" y="76981"/>
                          <a:pt x="14117" y="77735"/>
                        </a:cubicBezTo>
                        <a:cubicBezTo>
                          <a:pt x="14117" y="77735"/>
                          <a:pt x="17647" y="78490"/>
                          <a:pt x="16764" y="80000"/>
                        </a:cubicBezTo>
                        <a:cubicBezTo>
                          <a:pt x="16764" y="80000"/>
                          <a:pt x="15882" y="80754"/>
                          <a:pt x="15882" y="80754"/>
                        </a:cubicBezTo>
                        <a:cubicBezTo>
                          <a:pt x="15882" y="80754"/>
                          <a:pt x="17647" y="81509"/>
                          <a:pt x="17647" y="81509"/>
                        </a:cubicBezTo>
                        <a:cubicBezTo>
                          <a:pt x="17647" y="81509"/>
                          <a:pt x="18529" y="80754"/>
                          <a:pt x="18529" y="80754"/>
                        </a:cubicBezTo>
                        <a:cubicBezTo>
                          <a:pt x="19411" y="81509"/>
                          <a:pt x="19411" y="81509"/>
                          <a:pt x="19411" y="81509"/>
                        </a:cubicBezTo>
                        <a:cubicBezTo>
                          <a:pt x="21176" y="83018"/>
                          <a:pt x="21176" y="83018"/>
                          <a:pt x="21176" y="83018"/>
                        </a:cubicBezTo>
                        <a:cubicBezTo>
                          <a:pt x="21176" y="83018"/>
                          <a:pt x="22941" y="83018"/>
                          <a:pt x="22941" y="83018"/>
                        </a:cubicBezTo>
                        <a:cubicBezTo>
                          <a:pt x="22058" y="83773"/>
                          <a:pt x="21176" y="82264"/>
                          <a:pt x="22058" y="83773"/>
                        </a:cubicBezTo>
                        <a:cubicBezTo>
                          <a:pt x="22941" y="85283"/>
                          <a:pt x="23823" y="86037"/>
                          <a:pt x="23823" y="86037"/>
                        </a:cubicBezTo>
                        <a:cubicBezTo>
                          <a:pt x="24705" y="86037"/>
                          <a:pt x="24705" y="86037"/>
                          <a:pt x="24705" y="86037"/>
                        </a:cubicBezTo>
                        <a:cubicBezTo>
                          <a:pt x="24705" y="86037"/>
                          <a:pt x="24705" y="85283"/>
                          <a:pt x="25588" y="85283"/>
                        </a:cubicBezTo>
                        <a:cubicBezTo>
                          <a:pt x="25588" y="86037"/>
                          <a:pt x="27352" y="86037"/>
                          <a:pt x="28235" y="86037"/>
                        </a:cubicBezTo>
                        <a:cubicBezTo>
                          <a:pt x="28235" y="86037"/>
                          <a:pt x="28235" y="85283"/>
                          <a:pt x="27352" y="83773"/>
                        </a:cubicBezTo>
                        <a:cubicBezTo>
                          <a:pt x="26470" y="83018"/>
                          <a:pt x="25588" y="82264"/>
                          <a:pt x="25588" y="82264"/>
                        </a:cubicBezTo>
                        <a:cubicBezTo>
                          <a:pt x="24705" y="82264"/>
                          <a:pt x="25588" y="83018"/>
                          <a:pt x="23823" y="82264"/>
                        </a:cubicBezTo>
                        <a:cubicBezTo>
                          <a:pt x="22058" y="81509"/>
                          <a:pt x="22058" y="82264"/>
                          <a:pt x="21176" y="81509"/>
                        </a:cubicBezTo>
                        <a:cubicBezTo>
                          <a:pt x="20294" y="80000"/>
                          <a:pt x="19411" y="80000"/>
                          <a:pt x="19411" y="79245"/>
                        </a:cubicBezTo>
                        <a:cubicBezTo>
                          <a:pt x="19411" y="79245"/>
                          <a:pt x="20294" y="79245"/>
                          <a:pt x="21176" y="78490"/>
                        </a:cubicBezTo>
                        <a:cubicBezTo>
                          <a:pt x="22058" y="78490"/>
                          <a:pt x="20294" y="77735"/>
                          <a:pt x="22058" y="78490"/>
                        </a:cubicBezTo>
                        <a:cubicBezTo>
                          <a:pt x="24705" y="79245"/>
                          <a:pt x="24705" y="79245"/>
                          <a:pt x="25588" y="79245"/>
                        </a:cubicBezTo>
                        <a:cubicBezTo>
                          <a:pt x="25588" y="79245"/>
                          <a:pt x="27352" y="79245"/>
                          <a:pt x="25588" y="78490"/>
                        </a:cubicBezTo>
                        <a:cubicBezTo>
                          <a:pt x="23823" y="78490"/>
                          <a:pt x="22941" y="77735"/>
                          <a:pt x="22941" y="77735"/>
                        </a:cubicBezTo>
                        <a:cubicBezTo>
                          <a:pt x="21176" y="77735"/>
                          <a:pt x="21176" y="77735"/>
                          <a:pt x="21176" y="77735"/>
                        </a:cubicBezTo>
                        <a:cubicBezTo>
                          <a:pt x="21176" y="77735"/>
                          <a:pt x="21176" y="77735"/>
                          <a:pt x="20294" y="77735"/>
                        </a:cubicBezTo>
                        <a:cubicBezTo>
                          <a:pt x="19411" y="77735"/>
                          <a:pt x="19411" y="78490"/>
                          <a:pt x="19411" y="77735"/>
                        </a:cubicBezTo>
                        <a:cubicBezTo>
                          <a:pt x="18529" y="77735"/>
                          <a:pt x="17647" y="77735"/>
                          <a:pt x="17647" y="76981"/>
                        </a:cubicBezTo>
                        <a:cubicBezTo>
                          <a:pt x="16764" y="76981"/>
                          <a:pt x="15882" y="76226"/>
                          <a:pt x="15882" y="76226"/>
                        </a:cubicBezTo>
                        <a:cubicBezTo>
                          <a:pt x="15882" y="75471"/>
                          <a:pt x="15000" y="74716"/>
                          <a:pt x="15000" y="74716"/>
                        </a:cubicBezTo>
                        <a:cubicBezTo>
                          <a:pt x="15000" y="74716"/>
                          <a:pt x="15000" y="74716"/>
                          <a:pt x="15000" y="74716"/>
                        </a:cubicBezTo>
                        <a:cubicBezTo>
                          <a:pt x="14117" y="74716"/>
                          <a:pt x="13235" y="74716"/>
                          <a:pt x="12352" y="74716"/>
                        </a:cubicBezTo>
                        <a:cubicBezTo>
                          <a:pt x="12352" y="74716"/>
                          <a:pt x="11470" y="74716"/>
                          <a:pt x="11470" y="74716"/>
                        </a:cubicBezTo>
                        <a:cubicBezTo>
                          <a:pt x="11470" y="73962"/>
                          <a:pt x="11470" y="73962"/>
                          <a:pt x="11470" y="73207"/>
                        </a:cubicBezTo>
                        <a:cubicBezTo>
                          <a:pt x="11470" y="73207"/>
                          <a:pt x="11470" y="72452"/>
                          <a:pt x="12352" y="72452"/>
                        </a:cubicBezTo>
                        <a:cubicBezTo>
                          <a:pt x="13235" y="72452"/>
                          <a:pt x="14117" y="72452"/>
                          <a:pt x="15000" y="72452"/>
                        </a:cubicBezTo>
                        <a:cubicBezTo>
                          <a:pt x="15882" y="72452"/>
                          <a:pt x="16764" y="72452"/>
                          <a:pt x="17647" y="72452"/>
                        </a:cubicBezTo>
                        <a:cubicBezTo>
                          <a:pt x="17647" y="72452"/>
                          <a:pt x="18529" y="73207"/>
                          <a:pt x="18529" y="73207"/>
                        </a:cubicBezTo>
                        <a:cubicBezTo>
                          <a:pt x="19411" y="73962"/>
                          <a:pt x="20294" y="73962"/>
                          <a:pt x="20294" y="73962"/>
                        </a:cubicBezTo>
                        <a:cubicBezTo>
                          <a:pt x="20294" y="74716"/>
                          <a:pt x="20294" y="74716"/>
                          <a:pt x="21176" y="74716"/>
                        </a:cubicBezTo>
                        <a:cubicBezTo>
                          <a:pt x="21176" y="75471"/>
                          <a:pt x="22058" y="75471"/>
                          <a:pt x="22058" y="75471"/>
                        </a:cubicBezTo>
                        <a:cubicBezTo>
                          <a:pt x="22941" y="76981"/>
                          <a:pt x="22941" y="76981"/>
                          <a:pt x="22941" y="76981"/>
                        </a:cubicBezTo>
                        <a:cubicBezTo>
                          <a:pt x="22941" y="76981"/>
                          <a:pt x="22941" y="76981"/>
                          <a:pt x="22941" y="76981"/>
                        </a:cubicBezTo>
                        <a:cubicBezTo>
                          <a:pt x="24705" y="77735"/>
                          <a:pt x="24705" y="77735"/>
                          <a:pt x="24705" y="77735"/>
                        </a:cubicBezTo>
                        <a:cubicBezTo>
                          <a:pt x="24705" y="77735"/>
                          <a:pt x="27352" y="78490"/>
                          <a:pt x="27352" y="78490"/>
                        </a:cubicBezTo>
                        <a:cubicBezTo>
                          <a:pt x="27352" y="78490"/>
                          <a:pt x="27352" y="78490"/>
                          <a:pt x="28235" y="78490"/>
                        </a:cubicBezTo>
                        <a:cubicBezTo>
                          <a:pt x="29117" y="78490"/>
                          <a:pt x="29117" y="77735"/>
                          <a:pt x="29117" y="77735"/>
                        </a:cubicBezTo>
                        <a:cubicBezTo>
                          <a:pt x="29117" y="77735"/>
                          <a:pt x="30000" y="77735"/>
                          <a:pt x="30000" y="77735"/>
                        </a:cubicBezTo>
                        <a:cubicBezTo>
                          <a:pt x="30000" y="77735"/>
                          <a:pt x="32647" y="76226"/>
                          <a:pt x="32647" y="76226"/>
                        </a:cubicBezTo>
                        <a:cubicBezTo>
                          <a:pt x="32647" y="76981"/>
                          <a:pt x="33529" y="76981"/>
                          <a:pt x="34411" y="76981"/>
                        </a:cubicBezTo>
                        <a:cubicBezTo>
                          <a:pt x="34411" y="76981"/>
                          <a:pt x="37058" y="78490"/>
                          <a:pt x="37058" y="78490"/>
                        </a:cubicBezTo>
                        <a:cubicBezTo>
                          <a:pt x="37058" y="77735"/>
                          <a:pt x="37058" y="76981"/>
                          <a:pt x="37058" y="76981"/>
                        </a:cubicBezTo>
                        <a:cubicBezTo>
                          <a:pt x="37058" y="76981"/>
                          <a:pt x="37941" y="76226"/>
                          <a:pt x="37941" y="76226"/>
                        </a:cubicBezTo>
                        <a:cubicBezTo>
                          <a:pt x="41470" y="76226"/>
                          <a:pt x="41470" y="76226"/>
                          <a:pt x="41470" y="76226"/>
                        </a:cubicBezTo>
                        <a:cubicBezTo>
                          <a:pt x="41470" y="76226"/>
                          <a:pt x="42352" y="75471"/>
                          <a:pt x="42352" y="75471"/>
                        </a:cubicBezTo>
                        <a:cubicBezTo>
                          <a:pt x="41470" y="75471"/>
                          <a:pt x="40588" y="75471"/>
                          <a:pt x="40588" y="75471"/>
                        </a:cubicBezTo>
                        <a:cubicBezTo>
                          <a:pt x="38823" y="76226"/>
                          <a:pt x="38823" y="76226"/>
                          <a:pt x="38823" y="76226"/>
                        </a:cubicBezTo>
                        <a:cubicBezTo>
                          <a:pt x="37058" y="76226"/>
                          <a:pt x="37058" y="76226"/>
                          <a:pt x="37058" y="76226"/>
                        </a:cubicBezTo>
                        <a:cubicBezTo>
                          <a:pt x="37058" y="76226"/>
                          <a:pt x="36176" y="76981"/>
                          <a:pt x="36176" y="76981"/>
                        </a:cubicBezTo>
                        <a:cubicBezTo>
                          <a:pt x="35294" y="76981"/>
                          <a:pt x="34411" y="76226"/>
                          <a:pt x="34411" y="76226"/>
                        </a:cubicBezTo>
                        <a:cubicBezTo>
                          <a:pt x="33529" y="75471"/>
                          <a:pt x="31764" y="74716"/>
                          <a:pt x="31764" y="74716"/>
                        </a:cubicBezTo>
                        <a:cubicBezTo>
                          <a:pt x="30882" y="74716"/>
                          <a:pt x="31764" y="74716"/>
                          <a:pt x="30000" y="73962"/>
                        </a:cubicBezTo>
                        <a:cubicBezTo>
                          <a:pt x="28235" y="73207"/>
                          <a:pt x="27352" y="72452"/>
                          <a:pt x="27352" y="72452"/>
                        </a:cubicBezTo>
                        <a:cubicBezTo>
                          <a:pt x="26470" y="71698"/>
                          <a:pt x="26470" y="71698"/>
                          <a:pt x="26470" y="71698"/>
                        </a:cubicBezTo>
                        <a:cubicBezTo>
                          <a:pt x="26470" y="71698"/>
                          <a:pt x="26470" y="70943"/>
                          <a:pt x="25588" y="70943"/>
                        </a:cubicBezTo>
                        <a:cubicBezTo>
                          <a:pt x="24705" y="70188"/>
                          <a:pt x="22058" y="69433"/>
                          <a:pt x="22058" y="69433"/>
                        </a:cubicBezTo>
                        <a:cubicBezTo>
                          <a:pt x="22058" y="69433"/>
                          <a:pt x="22058" y="68679"/>
                          <a:pt x="22058" y="68679"/>
                        </a:cubicBezTo>
                        <a:cubicBezTo>
                          <a:pt x="22058" y="68679"/>
                          <a:pt x="22058" y="66415"/>
                          <a:pt x="22058" y="66415"/>
                        </a:cubicBezTo>
                        <a:cubicBezTo>
                          <a:pt x="22058" y="65660"/>
                          <a:pt x="21176" y="64150"/>
                          <a:pt x="21176" y="64150"/>
                        </a:cubicBezTo>
                        <a:cubicBezTo>
                          <a:pt x="21176" y="64150"/>
                          <a:pt x="22941" y="63396"/>
                          <a:pt x="22941" y="63396"/>
                        </a:cubicBezTo>
                        <a:cubicBezTo>
                          <a:pt x="23823" y="63396"/>
                          <a:pt x="24705" y="64150"/>
                          <a:pt x="24705" y="64150"/>
                        </a:cubicBezTo>
                        <a:cubicBezTo>
                          <a:pt x="25588" y="63396"/>
                          <a:pt x="25588" y="63396"/>
                          <a:pt x="25588" y="63396"/>
                        </a:cubicBezTo>
                        <a:cubicBezTo>
                          <a:pt x="32647" y="55094"/>
                          <a:pt x="32647" y="55094"/>
                          <a:pt x="32647" y="55094"/>
                        </a:cubicBezTo>
                        <a:cubicBezTo>
                          <a:pt x="38823" y="47547"/>
                          <a:pt x="38823" y="47547"/>
                          <a:pt x="38823" y="47547"/>
                        </a:cubicBezTo>
                        <a:cubicBezTo>
                          <a:pt x="41470" y="36226"/>
                          <a:pt x="41470" y="36226"/>
                          <a:pt x="41470" y="36226"/>
                        </a:cubicBezTo>
                        <a:cubicBezTo>
                          <a:pt x="43235" y="30943"/>
                          <a:pt x="43235" y="30943"/>
                          <a:pt x="43235" y="30943"/>
                        </a:cubicBezTo>
                        <a:cubicBezTo>
                          <a:pt x="45000" y="26415"/>
                          <a:pt x="45000" y="26415"/>
                          <a:pt x="45000" y="26415"/>
                        </a:cubicBezTo>
                        <a:cubicBezTo>
                          <a:pt x="45000" y="26415"/>
                          <a:pt x="45000" y="25660"/>
                          <a:pt x="45882" y="26415"/>
                        </a:cubicBezTo>
                        <a:cubicBezTo>
                          <a:pt x="45882" y="26415"/>
                          <a:pt x="46764" y="27924"/>
                          <a:pt x="46764" y="27924"/>
                        </a:cubicBezTo>
                        <a:cubicBezTo>
                          <a:pt x="47647" y="28679"/>
                          <a:pt x="47647" y="28679"/>
                          <a:pt x="47647" y="28679"/>
                        </a:cubicBezTo>
                        <a:cubicBezTo>
                          <a:pt x="48529" y="28679"/>
                          <a:pt x="48529" y="28679"/>
                          <a:pt x="48529" y="28679"/>
                        </a:cubicBezTo>
                        <a:cubicBezTo>
                          <a:pt x="48529" y="28679"/>
                          <a:pt x="50294" y="27924"/>
                          <a:pt x="51176" y="27924"/>
                        </a:cubicBezTo>
                        <a:cubicBezTo>
                          <a:pt x="51176" y="27924"/>
                          <a:pt x="54705" y="29433"/>
                          <a:pt x="54705" y="29433"/>
                        </a:cubicBezTo>
                        <a:cubicBezTo>
                          <a:pt x="54705" y="29433"/>
                          <a:pt x="54705" y="30943"/>
                          <a:pt x="54705" y="31698"/>
                        </a:cubicBezTo>
                        <a:cubicBezTo>
                          <a:pt x="54705" y="31698"/>
                          <a:pt x="56470" y="33207"/>
                          <a:pt x="55588" y="33962"/>
                        </a:cubicBezTo>
                        <a:cubicBezTo>
                          <a:pt x="55588" y="33962"/>
                          <a:pt x="54705" y="35471"/>
                          <a:pt x="54705" y="35471"/>
                        </a:cubicBezTo>
                        <a:cubicBezTo>
                          <a:pt x="54705" y="35471"/>
                          <a:pt x="55588" y="36226"/>
                          <a:pt x="55588" y="36226"/>
                        </a:cubicBezTo>
                        <a:cubicBezTo>
                          <a:pt x="56470" y="36226"/>
                          <a:pt x="56470" y="36226"/>
                          <a:pt x="57352" y="36226"/>
                        </a:cubicBezTo>
                        <a:cubicBezTo>
                          <a:pt x="58235" y="36226"/>
                          <a:pt x="59117" y="36981"/>
                          <a:pt x="59117" y="36981"/>
                        </a:cubicBezTo>
                        <a:cubicBezTo>
                          <a:pt x="59117" y="36981"/>
                          <a:pt x="59117" y="37735"/>
                          <a:pt x="59117" y="37735"/>
                        </a:cubicBezTo>
                        <a:cubicBezTo>
                          <a:pt x="59117" y="37735"/>
                          <a:pt x="59117" y="39245"/>
                          <a:pt x="59117" y="39245"/>
                        </a:cubicBezTo>
                        <a:cubicBezTo>
                          <a:pt x="59117" y="40000"/>
                          <a:pt x="57352" y="40000"/>
                          <a:pt x="57352" y="40000"/>
                        </a:cubicBezTo>
                        <a:cubicBezTo>
                          <a:pt x="57352" y="40000"/>
                          <a:pt x="57352" y="40754"/>
                          <a:pt x="57352" y="40754"/>
                        </a:cubicBezTo>
                        <a:cubicBezTo>
                          <a:pt x="56470" y="41509"/>
                          <a:pt x="55588" y="42264"/>
                          <a:pt x="54705" y="42264"/>
                        </a:cubicBezTo>
                        <a:cubicBezTo>
                          <a:pt x="54705" y="42264"/>
                          <a:pt x="52941" y="40754"/>
                          <a:pt x="52941" y="40754"/>
                        </a:cubicBezTo>
                        <a:cubicBezTo>
                          <a:pt x="52941" y="40754"/>
                          <a:pt x="52058" y="41509"/>
                          <a:pt x="52058" y="41509"/>
                        </a:cubicBezTo>
                        <a:cubicBezTo>
                          <a:pt x="52941" y="43018"/>
                          <a:pt x="52941" y="43018"/>
                          <a:pt x="52941" y="43018"/>
                        </a:cubicBezTo>
                        <a:cubicBezTo>
                          <a:pt x="53823" y="45283"/>
                          <a:pt x="53823" y="45283"/>
                          <a:pt x="53823" y="45283"/>
                        </a:cubicBezTo>
                        <a:cubicBezTo>
                          <a:pt x="52941" y="46037"/>
                          <a:pt x="52941" y="46037"/>
                          <a:pt x="52941" y="46037"/>
                        </a:cubicBezTo>
                        <a:cubicBezTo>
                          <a:pt x="53823" y="48301"/>
                          <a:pt x="53823" y="48301"/>
                          <a:pt x="53823" y="48301"/>
                        </a:cubicBezTo>
                        <a:cubicBezTo>
                          <a:pt x="53823" y="49811"/>
                          <a:pt x="53823" y="49811"/>
                          <a:pt x="53823" y="49811"/>
                        </a:cubicBezTo>
                        <a:cubicBezTo>
                          <a:pt x="52058" y="50566"/>
                          <a:pt x="52058" y="50566"/>
                          <a:pt x="52058" y="50566"/>
                        </a:cubicBezTo>
                        <a:cubicBezTo>
                          <a:pt x="52058" y="50566"/>
                          <a:pt x="51176" y="51320"/>
                          <a:pt x="50294" y="51320"/>
                        </a:cubicBezTo>
                        <a:cubicBezTo>
                          <a:pt x="50294" y="51320"/>
                          <a:pt x="49411" y="50566"/>
                          <a:pt x="49411" y="51320"/>
                        </a:cubicBezTo>
                        <a:cubicBezTo>
                          <a:pt x="50294" y="52075"/>
                          <a:pt x="50294" y="52830"/>
                          <a:pt x="51176" y="52830"/>
                        </a:cubicBezTo>
                        <a:cubicBezTo>
                          <a:pt x="52058" y="52830"/>
                          <a:pt x="53823" y="52830"/>
                          <a:pt x="53823" y="52830"/>
                        </a:cubicBezTo>
                        <a:cubicBezTo>
                          <a:pt x="55588" y="55094"/>
                          <a:pt x="55588" y="55094"/>
                          <a:pt x="55588" y="55094"/>
                        </a:cubicBezTo>
                        <a:cubicBezTo>
                          <a:pt x="55588" y="55094"/>
                          <a:pt x="56470" y="55094"/>
                          <a:pt x="57352" y="55094"/>
                        </a:cubicBezTo>
                        <a:cubicBezTo>
                          <a:pt x="57352" y="55094"/>
                          <a:pt x="59117" y="55849"/>
                          <a:pt x="59117" y="55849"/>
                        </a:cubicBezTo>
                        <a:cubicBezTo>
                          <a:pt x="59117" y="55849"/>
                          <a:pt x="59117" y="55849"/>
                          <a:pt x="60000" y="56603"/>
                        </a:cubicBezTo>
                        <a:cubicBezTo>
                          <a:pt x="60882" y="56603"/>
                          <a:pt x="62647" y="57358"/>
                          <a:pt x="62647" y="57358"/>
                        </a:cubicBezTo>
                        <a:cubicBezTo>
                          <a:pt x="62647" y="57358"/>
                          <a:pt x="62647" y="56603"/>
                          <a:pt x="61764" y="56603"/>
                        </a:cubicBezTo>
                        <a:cubicBezTo>
                          <a:pt x="61764" y="56603"/>
                          <a:pt x="60882" y="54339"/>
                          <a:pt x="59117" y="54339"/>
                        </a:cubicBezTo>
                        <a:cubicBezTo>
                          <a:pt x="58235" y="53584"/>
                          <a:pt x="57352" y="53584"/>
                          <a:pt x="56470" y="53584"/>
                        </a:cubicBezTo>
                        <a:cubicBezTo>
                          <a:pt x="55588" y="53584"/>
                          <a:pt x="53823" y="52830"/>
                          <a:pt x="53823" y="52830"/>
                        </a:cubicBezTo>
                        <a:cubicBezTo>
                          <a:pt x="53823" y="52075"/>
                          <a:pt x="52941" y="51320"/>
                          <a:pt x="53823" y="51320"/>
                        </a:cubicBezTo>
                        <a:cubicBezTo>
                          <a:pt x="53823" y="50566"/>
                          <a:pt x="53823" y="49811"/>
                          <a:pt x="55588" y="49811"/>
                        </a:cubicBezTo>
                        <a:cubicBezTo>
                          <a:pt x="56470" y="49811"/>
                          <a:pt x="57352" y="50566"/>
                          <a:pt x="58235" y="49811"/>
                        </a:cubicBezTo>
                        <a:cubicBezTo>
                          <a:pt x="59117" y="49811"/>
                          <a:pt x="60882" y="47547"/>
                          <a:pt x="60882" y="47547"/>
                        </a:cubicBezTo>
                        <a:cubicBezTo>
                          <a:pt x="62647" y="46037"/>
                          <a:pt x="62647" y="46037"/>
                          <a:pt x="62647" y="46037"/>
                        </a:cubicBezTo>
                        <a:cubicBezTo>
                          <a:pt x="65294" y="45283"/>
                          <a:pt x="65294" y="45283"/>
                          <a:pt x="65294" y="45283"/>
                        </a:cubicBezTo>
                        <a:cubicBezTo>
                          <a:pt x="65294" y="45283"/>
                          <a:pt x="68823" y="43773"/>
                          <a:pt x="68823" y="43773"/>
                        </a:cubicBezTo>
                        <a:cubicBezTo>
                          <a:pt x="68823" y="43773"/>
                          <a:pt x="69705" y="43773"/>
                          <a:pt x="70588" y="44528"/>
                        </a:cubicBezTo>
                        <a:cubicBezTo>
                          <a:pt x="71470" y="45283"/>
                          <a:pt x="71470" y="45283"/>
                          <a:pt x="71470" y="45283"/>
                        </a:cubicBezTo>
                        <a:cubicBezTo>
                          <a:pt x="72352" y="45283"/>
                          <a:pt x="74117" y="46037"/>
                          <a:pt x="74117" y="46037"/>
                        </a:cubicBezTo>
                        <a:cubicBezTo>
                          <a:pt x="74117" y="46037"/>
                          <a:pt x="74117" y="46037"/>
                          <a:pt x="75000" y="46792"/>
                        </a:cubicBezTo>
                        <a:cubicBezTo>
                          <a:pt x="75000" y="46792"/>
                          <a:pt x="75882" y="47547"/>
                          <a:pt x="75000" y="49056"/>
                        </a:cubicBezTo>
                        <a:cubicBezTo>
                          <a:pt x="75000" y="49811"/>
                          <a:pt x="75000" y="50566"/>
                          <a:pt x="75000" y="50566"/>
                        </a:cubicBezTo>
                        <a:cubicBezTo>
                          <a:pt x="75000" y="50566"/>
                          <a:pt x="75882" y="49811"/>
                          <a:pt x="75882" y="49056"/>
                        </a:cubicBezTo>
                        <a:cubicBezTo>
                          <a:pt x="75882" y="47547"/>
                          <a:pt x="75882" y="46792"/>
                          <a:pt x="75882" y="46037"/>
                        </a:cubicBezTo>
                        <a:cubicBezTo>
                          <a:pt x="75882" y="45283"/>
                          <a:pt x="75000" y="44528"/>
                          <a:pt x="75000" y="44528"/>
                        </a:cubicBezTo>
                        <a:cubicBezTo>
                          <a:pt x="75000" y="44528"/>
                          <a:pt x="73235" y="45283"/>
                          <a:pt x="71470" y="44528"/>
                        </a:cubicBezTo>
                        <a:cubicBezTo>
                          <a:pt x="70588" y="43773"/>
                          <a:pt x="70588" y="43018"/>
                          <a:pt x="69705" y="43018"/>
                        </a:cubicBezTo>
                        <a:cubicBezTo>
                          <a:pt x="69705" y="43018"/>
                          <a:pt x="68823" y="42264"/>
                          <a:pt x="67941" y="42264"/>
                        </a:cubicBezTo>
                        <a:cubicBezTo>
                          <a:pt x="67941" y="42264"/>
                          <a:pt x="67941" y="41509"/>
                          <a:pt x="67941" y="40754"/>
                        </a:cubicBezTo>
                        <a:cubicBezTo>
                          <a:pt x="67941" y="40000"/>
                          <a:pt x="67941" y="39245"/>
                          <a:pt x="67941" y="38490"/>
                        </a:cubicBezTo>
                        <a:cubicBezTo>
                          <a:pt x="67941" y="38490"/>
                          <a:pt x="67058" y="37735"/>
                          <a:pt x="67941" y="36981"/>
                        </a:cubicBezTo>
                        <a:cubicBezTo>
                          <a:pt x="68823" y="36226"/>
                          <a:pt x="68823" y="36226"/>
                          <a:pt x="69705" y="36226"/>
                        </a:cubicBezTo>
                        <a:cubicBezTo>
                          <a:pt x="69705" y="35471"/>
                          <a:pt x="71470" y="34716"/>
                          <a:pt x="70588" y="34716"/>
                        </a:cubicBezTo>
                        <a:cubicBezTo>
                          <a:pt x="70588" y="33962"/>
                          <a:pt x="69705" y="33962"/>
                          <a:pt x="68823" y="33962"/>
                        </a:cubicBezTo>
                        <a:cubicBezTo>
                          <a:pt x="67941" y="33962"/>
                          <a:pt x="68823" y="34716"/>
                          <a:pt x="67941" y="34716"/>
                        </a:cubicBezTo>
                        <a:cubicBezTo>
                          <a:pt x="66176" y="34716"/>
                          <a:pt x="66176" y="33962"/>
                          <a:pt x="65294" y="33207"/>
                        </a:cubicBezTo>
                        <a:cubicBezTo>
                          <a:pt x="65294" y="32452"/>
                          <a:pt x="65294" y="32452"/>
                          <a:pt x="64411" y="33207"/>
                        </a:cubicBezTo>
                        <a:cubicBezTo>
                          <a:pt x="63529" y="33207"/>
                          <a:pt x="62647" y="32452"/>
                          <a:pt x="62647" y="32452"/>
                        </a:cubicBezTo>
                        <a:cubicBezTo>
                          <a:pt x="62647" y="32452"/>
                          <a:pt x="61764" y="31698"/>
                          <a:pt x="62647" y="30943"/>
                        </a:cubicBezTo>
                        <a:cubicBezTo>
                          <a:pt x="62647" y="30943"/>
                          <a:pt x="63529" y="29433"/>
                          <a:pt x="63529" y="29433"/>
                        </a:cubicBezTo>
                        <a:cubicBezTo>
                          <a:pt x="63529" y="29433"/>
                          <a:pt x="63529" y="27169"/>
                          <a:pt x="63529" y="27169"/>
                        </a:cubicBezTo>
                        <a:cubicBezTo>
                          <a:pt x="63529" y="26415"/>
                          <a:pt x="63529" y="26415"/>
                          <a:pt x="63529" y="26415"/>
                        </a:cubicBezTo>
                        <a:close/>
                        <a:moveTo>
                          <a:pt x="112058" y="754"/>
                        </a:moveTo>
                        <a:cubicBezTo>
                          <a:pt x="112058" y="754"/>
                          <a:pt x="112058" y="754"/>
                          <a:pt x="112058" y="754"/>
                        </a:cubicBezTo>
                        <a:cubicBezTo>
                          <a:pt x="112058" y="754"/>
                          <a:pt x="112058" y="0"/>
                          <a:pt x="112941" y="0"/>
                        </a:cubicBezTo>
                        <a:cubicBezTo>
                          <a:pt x="113823" y="0"/>
                          <a:pt x="113823" y="0"/>
                          <a:pt x="114705" y="0"/>
                        </a:cubicBezTo>
                        <a:cubicBezTo>
                          <a:pt x="114705" y="0"/>
                          <a:pt x="116470" y="0"/>
                          <a:pt x="116470" y="0"/>
                        </a:cubicBezTo>
                        <a:cubicBezTo>
                          <a:pt x="116470" y="0"/>
                          <a:pt x="117352" y="0"/>
                          <a:pt x="118235" y="0"/>
                        </a:cubicBezTo>
                        <a:cubicBezTo>
                          <a:pt x="118235" y="0"/>
                          <a:pt x="119117" y="0"/>
                          <a:pt x="119117" y="0"/>
                        </a:cubicBezTo>
                        <a:cubicBezTo>
                          <a:pt x="120000" y="0"/>
                          <a:pt x="119117" y="754"/>
                          <a:pt x="119117" y="754"/>
                        </a:cubicBezTo>
                        <a:cubicBezTo>
                          <a:pt x="117352" y="754"/>
                          <a:pt x="117352" y="754"/>
                          <a:pt x="117352" y="754"/>
                        </a:cubicBezTo>
                        <a:cubicBezTo>
                          <a:pt x="117352" y="754"/>
                          <a:pt x="116470" y="754"/>
                          <a:pt x="115588" y="754"/>
                        </a:cubicBezTo>
                        <a:cubicBezTo>
                          <a:pt x="115588" y="1509"/>
                          <a:pt x="114705" y="1509"/>
                          <a:pt x="114705" y="1509"/>
                        </a:cubicBezTo>
                        <a:cubicBezTo>
                          <a:pt x="114705" y="1509"/>
                          <a:pt x="113823" y="1509"/>
                          <a:pt x="113823" y="1509"/>
                        </a:cubicBezTo>
                        <a:cubicBezTo>
                          <a:pt x="112941" y="1509"/>
                          <a:pt x="112941" y="754"/>
                          <a:pt x="112941" y="1509"/>
                        </a:cubicBezTo>
                        <a:cubicBezTo>
                          <a:pt x="112058" y="1509"/>
                          <a:pt x="112058" y="754"/>
                          <a:pt x="112058" y="754"/>
                        </a:cubicBezTo>
                        <a:close/>
                        <a:moveTo>
                          <a:pt x="104117" y="4528"/>
                        </a:moveTo>
                        <a:cubicBezTo>
                          <a:pt x="104117" y="4528"/>
                          <a:pt x="104117" y="4528"/>
                          <a:pt x="104117" y="4528"/>
                        </a:cubicBezTo>
                        <a:cubicBezTo>
                          <a:pt x="104117" y="4528"/>
                          <a:pt x="104117" y="3773"/>
                          <a:pt x="105000" y="3773"/>
                        </a:cubicBezTo>
                        <a:cubicBezTo>
                          <a:pt x="105000" y="3773"/>
                          <a:pt x="105000" y="3018"/>
                          <a:pt x="105882" y="3773"/>
                        </a:cubicBezTo>
                        <a:cubicBezTo>
                          <a:pt x="105882" y="3773"/>
                          <a:pt x="105882" y="5283"/>
                          <a:pt x="105882" y="5283"/>
                        </a:cubicBezTo>
                        <a:cubicBezTo>
                          <a:pt x="105000" y="5283"/>
                          <a:pt x="105000" y="5283"/>
                          <a:pt x="104117" y="5283"/>
                        </a:cubicBezTo>
                        <a:cubicBezTo>
                          <a:pt x="104117" y="5283"/>
                          <a:pt x="104117" y="4528"/>
                          <a:pt x="104117" y="4528"/>
                        </a:cubicBezTo>
                        <a:close/>
                        <a:moveTo>
                          <a:pt x="98823" y="6792"/>
                        </a:moveTo>
                        <a:cubicBezTo>
                          <a:pt x="98823" y="6792"/>
                          <a:pt x="98823" y="6792"/>
                          <a:pt x="98823" y="6792"/>
                        </a:cubicBezTo>
                        <a:cubicBezTo>
                          <a:pt x="98823" y="6792"/>
                          <a:pt x="97941" y="6037"/>
                          <a:pt x="97941" y="6037"/>
                        </a:cubicBezTo>
                        <a:cubicBezTo>
                          <a:pt x="97941" y="6037"/>
                          <a:pt x="97941" y="5283"/>
                          <a:pt x="98823" y="5283"/>
                        </a:cubicBezTo>
                        <a:cubicBezTo>
                          <a:pt x="98823" y="5283"/>
                          <a:pt x="99705" y="5283"/>
                          <a:pt x="99705" y="5283"/>
                        </a:cubicBezTo>
                        <a:cubicBezTo>
                          <a:pt x="100588" y="5283"/>
                          <a:pt x="100588" y="5283"/>
                          <a:pt x="100588" y="5283"/>
                        </a:cubicBezTo>
                        <a:cubicBezTo>
                          <a:pt x="100588" y="5283"/>
                          <a:pt x="101470" y="4528"/>
                          <a:pt x="101470" y="4528"/>
                        </a:cubicBezTo>
                        <a:cubicBezTo>
                          <a:pt x="101470" y="4528"/>
                          <a:pt x="102352" y="6037"/>
                          <a:pt x="102352" y="6037"/>
                        </a:cubicBezTo>
                        <a:cubicBezTo>
                          <a:pt x="102352" y="6037"/>
                          <a:pt x="102352" y="6037"/>
                          <a:pt x="101470" y="6037"/>
                        </a:cubicBezTo>
                        <a:cubicBezTo>
                          <a:pt x="101470" y="6037"/>
                          <a:pt x="100588" y="6792"/>
                          <a:pt x="100588" y="6792"/>
                        </a:cubicBezTo>
                        <a:cubicBezTo>
                          <a:pt x="99705" y="7547"/>
                          <a:pt x="99705" y="7547"/>
                          <a:pt x="99705" y="7547"/>
                        </a:cubicBezTo>
                        <a:cubicBezTo>
                          <a:pt x="98823" y="6792"/>
                          <a:pt x="98823" y="6792"/>
                          <a:pt x="98823" y="6792"/>
                        </a:cubicBezTo>
                        <a:close/>
                        <a:moveTo>
                          <a:pt x="95294" y="9056"/>
                        </a:moveTo>
                        <a:cubicBezTo>
                          <a:pt x="95294" y="9056"/>
                          <a:pt x="95294" y="9056"/>
                          <a:pt x="95294" y="9056"/>
                        </a:cubicBezTo>
                        <a:cubicBezTo>
                          <a:pt x="95294" y="8301"/>
                          <a:pt x="94411" y="8301"/>
                          <a:pt x="94411" y="8301"/>
                        </a:cubicBezTo>
                        <a:cubicBezTo>
                          <a:pt x="94411" y="8301"/>
                          <a:pt x="93529" y="7547"/>
                          <a:pt x="93529" y="7547"/>
                        </a:cubicBezTo>
                        <a:cubicBezTo>
                          <a:pt x="93529" y="7547"/>
                          <a:pt x="93529" y="6792"/>
                          <a:pt x="94411" y="6792"/>
                        </a:cubicBezTo>
                        <a:cubicBezTo>
                          <a:pt x="94411" y="6792"/>
                          <a:pt x="94411" y="6792"/>
                          <a:pt x="94411" y="7547"/>
                        </a:cubicBezTo>
                        <a:cubicBezTo>
                          <a:pt x="95294" y="7547"/>
                          <a:pt x="95294" y="8301"/>
                          <a:pt x="95294" y="8301"/>
                        </a:cubicBezTo>
                        <a:cubicBezTo>
                          <a:pt x="95294" y="9056"/>
                          <a:pt x="95294" y="9056"/>
                          <a:pt x="95294" y="9056"/>
                        </a:cubicBezTo>
                        <a:close/>
                        <a:moveTo>
                          <a:pt x="84705" y="9056"/>
                        </a:moveTo>
                        <a:cubicBezTo>
                          <a:pt x="84705" y="9056"/>
                          <a:pt x="84705" y="9056"/>
                          <a:pt x="84705" y="9056"/>
                        </a:cubicBezTo>
                        <a:cubicBezTo>
                          <a:pt x="84705" y="9056"/>
                          <a:pt x="84705" y="9056"/>
                          <a:pt x="85588" y="9056"/>
                        </a:cubicBezTo>
                        <a:cubicBezTo>
                          <a:pt x="86470" y="8301"/>
                          <a:pt x="86470" y="7547"/>
                          <a:pt x="87352" y="8301"/>
                        </a:cubicBezTo>
                        <a:cubicBezTo>
                          <a:pt x="88235" y="8301"/>
                          <a:pt x="90000" y="9056"/>
                          <a:pt x="90000" y="9056"/>
                        </a:cubicBezTo>
                        <a:cubicBezTo>
                          <a:pt x="90000" y="9056"/>
                          <a:pt x="90000" y="8301"/>
                          <a:pt x="90000" y="8301"/>
                        </a:cubicBezTo>
                        <a:cubicBezTo>
                          <a:pt x="90882" y="8301"/>
                          <a:pt x="90882" y="9056"/>
                          <a:pt x="90882" y="9056"/>
                        </a:cubicBezTo>
                        <a:cubicBezTo>
                          <a:pt x="90882" y="9056"/>
                          <a:pt x="90000" y="9056"/>
                          <a:pt x="90000" y="9056"/>
                        </a:cubicBezTo>
                        <a:cubicBezTo>
                          <a:pt x="89117" y="9811"/>
                          <a:pt x="89117" y="9811"/>
                          <a:pt x="88235" y="9811"/>
                        </a:cubicBezTo>
                        <a:cubicBezTo>
                          <a:pt x="87352" y="9811"/>
                          <a:pt x="87352" y="9056"/>
                          <a:pt x="86470" y="9811"/>
                        </a:cubicBezTo>
                        <a:cubicBezTo>
                          <a:pt x="86470" y="9811"/>
                          <a:pt x="86470" y="10566"/>
                          <a:pt x="85588" y="10566"/>
                        </a:cubicBezTo>
                        <a:cubicBezTo>
                          <a:pt x="85588" y="10566"/>
                          <a:pt x="84705" y="10566"/>
                          <a:pt x="84705" y="10566"/>
                        </a:cubicBezTo>
                        <a:cubicBezTo>
                          <a:pt x="84705" y="9811"/>
                          <a:pt x="84705" y="9056"/>
                          <a:pt x="84705" y="9056"/>
                        </a:cubicBezTo>
                        <a:close/>
                        <a:moveTo>
                          <a:pt x="82058" y="9811"/>
                        </a:moveTo>
                        <a:cubicBezTo>
                          <a:pt x="82058" y="9811"/>
                          <a:pt x="82058" y="9811"/>
                          <a:pt x="82058" y="9811"/>
                        </a:cubicBezTo>
                        <a:cubicBezTo>
                          <a:pt x="82058" y="9811"/>
                          <a:pt x="82058" y="9056"/>
                          <a:pt x="82941" y="9811"/>
                        </a:cubicBezTo>
                        <a:cubicBezTo>
                          <a:pt x="82941" y="9811"/>
                          <a:pt x="82941" y="9056"/>
                          <a:pt x="82941" y="9811"/>
                        </a:cubicBezTo>
                        <a:cubicBezTo>
                          <a:pt x="83823" y="10566"/>
                          <a:pt x="83823" y="11320"/>
                          <a:pt x="82941" y="11320"/>
                        </a:cubicBezTo>
                        <a:cubicBezTo>
                          <a:pt x="82058" y="10566"/>
                          <a:pt x="82058" y="9811"/>
                          <a:pt x="82058" y="9811"/>
                        </a:cubicBezTo>
                        <a:close/>
                        <a:moveTo>
                          <a:pt x="71470" y="9811"/>
                        </a:moveTo>
                        <a:cubicBezTo>
                          <a:pt x="71470" y="9811"/>
                          <a:pt x="71470" y="9811"/>
                          <a:pt x="71470" y="9811"/>
                        </a:cubicBezTo>
                        <a:cubicBezTo>
                          <a:pt x="71470" y="9811"/>
                          <a:pt x="71470" y="9056"/>
                          <a:pt x="72352" y="9056"/>
                        </a:cubicBezTo>
                        <a:cubicBezTo>
                          <a:pt x="72352" y="9056"/>
                          <a:pt x="72352" y="9056"/>
                          <a:pt x="73235" y="9056"/>
                        </a:cubicBezTo>
                        <a:cubicBezTo>
                          <a:pt x="73235" y="9811"/>
                          <a:pt x="74117" y="9811"/>
                          <a:pt x="74117" y="9811"/>
                        </a:cubicBezTo>
                        <a:cubicBezTo>
                          <a:pt x="75000" y="9811"/>
                          <a:pt x="75000" y="9811"/>
                          <a:pt x="75000" y="9811"/>
                        </a:cubicBezTo>
                        <a:cubicBezTo>
                          <a:pt x="75882" y="9811"/>
                          <a:pt x="75882" y="9056"/>
                          <a:pt x="76764" y="9811"/>
                        </a:cubicBezTo>
                        <a:cubicBezTo>
                          <a:pt x="77647" y="9811"/>
                          <a:pt x="77647" y="9811"/>
                          <a:pt x="78529" y="9811"/>
                        </a:cubicBezTo>
                        <a:cubicBezTo>
                          <a:pt x="78529" y="9811"/>
                          <a:pt x="80294" y="9811"/>
                          <a:pt x="80294" y="9811"/>
                        </a:cubicBezTo>
                        <a:cubicBezTo>
                          <a:pt x="80294" y="9811"/>
                          <a:pt x="80294" y="10566"/>
                          <a:pt x="80294" y="10566"/>
                        </a:cubicBezTo>
                        <a:cubicBezTo>
                          <a:pt x="79411" y="10566"/>
                          <a:pt x="79411" y="10566"/>
                          <a:pt x="78529" y="10566"/>
                        </a:cubicBezTo>
                        <a:cubicBezTo>
                          <a:pt x="78529" y="10566"/>
                          <a:pt x="79411" y="10566"/>
                          <a:pt x="77647" y="10566"/>
                        </a:cubicBezTo>
                        <a:cubicBezTo>
                          <a:pt x="76764" y="10566"/>
                          <a:pt x="76764" y="10566"/>
                          <a:pt x="75882" y="10566"/>
                        </a:cubicBezTo>
                        <a:cubicBezTo>
                          <a:pt x="75882" y="10566"/>
                          <a:pt x="75882" y="10566"/>
                          <a:pt x="75000" y="10566"/>
                        </a:cubicBezTo>
                        <a:cubicBezTo>
                          <a:pt x="75000" y="10566"/>
                          <a:pt x="75000" y="10566"/>
                          <a:pt x="75000" y="10566"/>
                        </a:cubicBezTo>
                        <a:cubicBezTo>
                          <a:pt x="74117" y="10566"/>
                          <a:pt x="76764" y="9811"/>
                          <a:pt x="74117" y="10566"/>
                        </a:cubicBezTo>
                        <a:cubicBezTo>
                          <a:pt x="71470" y="11320"/>
                          <a:pt x="71470" y="11320"/>
                          <a:pt x="71470" y="11320"/>
                        </a:cubicBezTo>
                        <a:cubicBezTo>
                          <a:pt x="71470" y="11320"/>
                          <a:pt x="71470" y="10566"/>
                          <a:pt x="71470" y="10566"/>
                        </a:cubicBezTo>
                        <a:cubicBezTo>
                          <a:pt x="71470" y="10566"/>
                          <a:pt x="71470" y="9811"/>
                          <a:pt x="71470" y="9811"/>
                        </a:cubicBezTo>
                        <a:close/>
                        <a:moveTo>
                          <a:pt x="60000" y="12075"/>
                        </a:moveTo>
                        <a:cubicBezTo>
                          <a:pt x="60000" y="12075"/>
                          <a:pt x="60000" y="12075"/>
                          <a:pt x="60000" y="12075"/>
                        </a:cubicBezTo>
                        <a:cubicBezTo>
                          <a:pt x="60882" y="12075"/>
                          <a:pt x="60882" y="12075"/>
                          <a:pt x="60882" y="12075"/>
                        </a:cubicBezTo>
                        <a:cubicBezTo>
                          <a:pt x="60882" y="12075"/>
                          <a:pt x="62647" y="12075"/>
                          <a:pt x="62647" y="11320"/>
                        </a:cubicBezTo>
                        <a:cubicBezTo>
                          <a:pt x="63529" y="11320"/>
                          <a:pt x="63529" y="11320"/>
                          <a:pt x="63529" y="11320"/>
                        </a:cubicBezTo>
                        <a:cubicBezTo>
                          <a:pt x="63529" y="11320"/>
                          <a:pt x="65294" y="10566"/>
                          <a:pt x="65294" y="10566"/>
                        </a:cubicBezTo>
                        <a:cubicBezTo>
                          <a:pt x="66176" y="10566"/>
                          <a:pt x="67058" y="9811"/>
                          <a:pt x="67058" y="9811"/>
                        </a:cubicBezTo>
                        <a:cubicBezTo>
                          <a:pt x="67058" y="9811"/>
                          <a:pt x="68823" y="10566"/>
                          <a:pt x="68823" y="10566"/>
                        </a:cubicBezTo>
                        <a:cubicBezTo>
                          <a:pt x="69705" y="10566"/>
                          <a:pt x="69705" y="9811"/>
                          <a:pt x="69705" y="9811"/>
                        </a:cubicBezTo>
                        <a:cubicBezTo>
                          <a:pt x="67941" y="9056"/>
                          <a:pt x="67941" y="9056"/>
                          <a:pt x="67941" y="9056"/>
                        </a:cubicBezTo>
                        <a:cubicBezTo>
                          <a:pt x="64411" y="9811"/>
                          <a:pt x="64411" y="9811"/>
                          <a:pt x="64411" y="9811"/>
                        </a:cubicBezTo>
                        <a:cubicBezTo>
                          <a:pt x="64411" y="9811"/>
                          <a:pt x="61764" y="10566"/>
                          <a:pt x="60882" y="10566"/>
                        </a:cubicBezTo>
                        <a:cubicBezTo>
                          <a:pt x="60000" y="9811"/>
                          <a:pt x="59117" y="10566"/>
                          <a:pt x="59117" y="10566"/>
                        </a:cubicBezTo>
                        <a:cubicBezTo>
                          <a:pt x="58235" y="11320"/>
                          <a:pt x="58235" y="11320"/>
                          <a:pt x="58235" y="11320"/>
                        </a:cubicBezTo>
                        <a:cubicBezTo>
                          <a:pt x="58235" y="11320"/>
                          <a:pt x="59117" y="12075"/>
                          <a:pt x="59117" y="12075"/>
                        </a:cubicBezTo>
                        <a:cubicBezTo>
                          <a:pt x="59117" y="12830"/>
                          <a:pt x="60000" y="12075"/>
                          <a:pt x="60000" y="12075"/>
                        </a:cubicBezTo>
                        <a:close/>
                        <a:moveTo>
                          <a:pt x="49411" y="16603"/>
                        </a:moveTo>
                        <a:cubicBezTo>
                          <a:pt x="49411" y="16603"/>
                          <a:pt x="49411" y="16603"/>
                          <a:pt x="49411" y="16603"/>
                        </a:cubicBezTo>
                        <a:cubicBezTo>
                          <a:pt x="49411" y="16603"/>
                          <a:pt x="49411" y="16603"/>
                          <a:pt x="49411" y="16603"/>
                        </a:cubicBezTo>
                        <a:cubicBezTo>
                          <a:pt x="50294" y="17358"/>
                          <a:pt x="50294" y="17358"/>
                          <a:pt x="50294" y="17358"/>
                        </a:cubicBezTo>
                        <a:cubicBezTo>
                          <a:pt x="50294" y="17358"/>
                          <a:pt x="51176" y="16603"/>
                          <a:pt x="51176" y="16603"/>
                        </a:cubicBezTo>
                        <a:cubicBezTo>
                          <a:pt x="51176" y="15849"/>
                          <a:pt x="52058" y="15849"/>
                          <a:pt x="52058" y="15849"/>
                        </a:cubicBezTo>
                        <a:cubicBezTo>
                          <a:pt x="52058" y="15849"/>
                          <a:pt x="52941" y="15094"/>
                          <a:pt x="53823" y="15094"/>
                        </a:cubicBezTo>
                        <a:cubicBezTo>
                          <a:pt x="53823" y="15094"/>
                          <a:pt x="55588" y="14339"/>
                          <a:pt x="55588" y="14339"/>
                        </a:cubicBezTo>
                        <a:cubicBezTo>
                          <a:pt x="55588" y="13584"/>
                          <a:pt x="55588" y="13584"/>
                          <a:pt x="55588" y="13584"/>
                        </a:cubicBezTo>
                        <a:cubicBezTo>
                          <a:pt x="55588" y="13584"/>
                          <a:pt x="52941" y="13584"/>
                          <a:pt x="52941" y="13584"/>
                        </a:cubicBezTo>
                        <a:cubicBezTo>
                          <a:pt x="52941" y="13584"/>
                          <a:pt x="51176" y="15094"/>
                          <a:pt x="51176" y="15094"/>
                        </a:cubicBezTo>
                        <a:cubicBezTo>
                          <a:pt x="51176" y="15094"/>
                          <a:pt x="49411" y="16603"/>
                          <a:pt x="49411" y="16603"/>
                        </a:cubicBezTo>
                        <a:close/>
                        <a:moveTo>
                          <a:pt x="48529" y="24150"/>
                        </a:moveTo>
                        <a:cubicBezTo>
                          <a:pt x="48529" y="24150"/>
                          <a:pt x="48529" y="24150"/>
                          <a:pt x="48529" y="24150"/>
                        </a:cubicBezTo>
                        <a:cubicBezTo>
                          <a:pt x="48529" y="24150"/>
                          <a:pt x="50294" y="22641"/>
                          <a:pt x="50294" y="21886"/>
                        </a:cubicBezTo>
                        <a:cubicBezTo>
                          <a:pt x="50294" y="21886"/>
                          <a:pt x="50294" y="20377"/>
                          <a:pt x="50294" y="20377"/>
                        </a:cubicBezTo>
                        <a:cubicBezTo>
                          <a:pt x="50294" y="18867"/>
                          <a:pt x="50294" y="18867"/>
                          <a:pt x="50294" y="18867"/>
                        </a:cubicBezTo>
                        <a:cubicBezTo>
                          <a:pt x="48529" y="17358"/>
                          <a:pt x="48529" y="17358"/>
                          <a:pt x="48529" y="17358"/>
                        </a:cubicBezTo>
                        <a:cubicBezTo>
                          <a:pt x="48529" y="17358"/>
                          <a:pt x="47647" y="18867"/>
                          <a:pt x="47647" y="18867"/>
                        </a:cubicBezTo>
                        <a:cubicBezTo>
                          <a:pt x="47647" y="19622"/>
                          <a:pt x="46764" y="19622"/>
                          <a:pt x="45882" y="20377"/>
                        </a:cubicBezTo>
                        <a:cubicBezTo>
                          <a:pt x="45000" y="21132"/>
                          <a:pt x="45000" y="21886"/>
                          <a:pt x="45000" y="22641"/>
                        </a:cubicBezTo>
                        <a:cubicBezTo>
                          <a:pt x="45000" y="22641"/>
                          <a:pt x="44117" y="23396"/>
                          <a:pt x="44117" y="24150"/>
                        </a:cubicBezTo>
                        <a:cubicBezTo>
                          <a:pt x="44117" y="24905"/>
                          <a:pt x="45000" y="24905"/>
                          <a:pt x="45882" y="24905"/>
                        </a:cubicBezTo>
                        <a:cubicBezTo>
                          <a:pt x="46764" y="24905"/>
                          <a:pt x="45882" y="24905"/>
                          <a:pt x="45882" y="24905"/>
                        </a:cubicBezTo>
                        <a:cubicBezTo>
                          <a:pt x="48529" y="24150"/>
                          <a:pt x="48529" y="24150"/>
                          <a:pt x="48529" y="24150"/>
                        </a:cubicBezTo>
                        <a:close/>
                        <a:moveTo>
                          <a:pt x="18529" y="70943"/>
                        </a:moveTo>
                        <a:cubicBezTo>
                          <a:pt x="18529" y="70943"/>
                          <a:pt x="18529" y="70943"/>
                          <a:pt x="18529" y="70943"/>
                        </a:cubicBezTo>
                        <a:cubicBezTo>
                          <a:pt x="18529" y="70943"/>
                          <a:pt x="18529" y="70943"/>
                          <a:pt x="19411" y="70943"/>
                        </a:cubicBezTo>
                        <a:cubicBezTo>
                          <a:pt x="19411" y="70943"/>
                          <a:pt x="19411" y="70188"/>
                          <a:pt x="19411" y="70188"/>
                        </a:cubicBezTo>
                        <a:cubicBezTo>
                          <a:pt x="20294" y="70188"/>
                          <a:pt x="20294" y="70943"/>
                          <a:pt x="20294" y="70943"/>
                        </a:cubicBezTo>
                        <a:cubicBezTo>
                          <a:pt x="21176" y="70943"/>
                          <a:pt x="21176" y="71698"/>
                          <a:pt x="21176" y="71698"/>
                        </a:cubicBezTo>
                        <a:cubicBezTo>
                          <a:pt x="22058" y="73207"/>
                          <a:pt x="22058" y="73207"/>
                          <a:pt x="22058" y="73207"/>
                        </a:cubicBezTo>
                        <a:cubicBezTo>
                          <a:pt x="22058" y="73207"/>
                          <a:pt x="22058" y="73962"/>
                          <a:pt x="22058" y="73962"/>
                        </a:cubicBezTo>
                        <a:cubicBezTo>
                          <a:pt x="22058" y="74716"/>
                          <a:pt x="22058" y="74716"/>
                          <a:pt x="22058" y="74716"/>
                        </a:cubicBezTo>
                        <a:cubicBezTo>
                          <a:pt x="22058" y="74716"/>
                          <a:pt x="22941" y="74716"/>
                          <a:pt x="23823" y="74716"/>
                        </a:cubicBezTo>
                        <a:cubicBezTo>
                          <a:pt x="23823" y="74716"/>
                          <a:pt x="23823" y="75471"/>
                          <a:pt x="24705" y="75471"/>
                        </a:cubicBezTo>
                        <a:cubicBezTo>
                          <a:pt x="25588" y="76226"/>
                          <a:pt x="25588" y="76226"/>
                          <a:pt x="25588" y="76226"/>
                        </a:cubicBezTo>
                        <a:cubicBezTo>
                          <a:pt x="26470" y="76981"/>
                          <a:pt x="26470" y="76981"/>
                          <a:pt x="27352" y="77735"/>
                        </a:cubicBezTo>
                        <a:cubicBezTo>
                          <a:pt x="28235" y="77735"/>
                          <a:pt x="28235" y="77735"/>
                          <a:pt x="29117" y="77735"/>
                        </a:cubicBezTo>
                        <a:cubicBezTo>
                          <a:pt x="29117" y="76981"/>
                          <a:pt x="29117" y="76981"/>
                          <a:pt x="30000" y="76981"/>
                        </a:cubicBezTo>
                        <a:cubicBezTo>
                          <a:pt x="30000" y="76981"/>
                          <a:pt x="30000" y="76981"/>
                          <a:pt x="30882" y="76981"/>
                        </a:cubicBezTo>
                        <a:cubicBezTo>
                          <a:pt x="30882" y="76226"/>
                          <a:pt x="30000" y="76226"/>
                          <a:pt x="30000" y="76226"/>
                        </a:cubicBezTo>
                        <a:cubicBezTo>
                          <a:pt x="30000" y="76226"/>
                          <a:pt x="29117" y="75471"/>
                          <a:pt x="28235" y="74716"/>
                        </a:cubicBezTo>
                        <a:cubicBezTo>
                          <a:pt x="28235" y="74716"/>
                          <a:pt x="28235" y="74716"/>
                          <a:pt x="28235" y="73962"/>
                        </a:cubicBezTo>
                        <a:cubicBezTo>
                          <a:pt x="28235" y="73962"/>
                          <a:pt x="28235" y="73962"/>
                          <a:pt x="27352" y="73207"/>
                        </a:cubicBezTo>
                        <a:cubicBezTo>
                          <a:pt x="26470" y="73207"/>
                          <a:pt x="26470" y="73207"/>
                          <a:pt x="26470" y="73207"/>
                        </a:cubicBezTo>
                        <a:cubicBezTo>
                          <a:pt x="25588" y="72452"/>
                          <a:pt x="25588" y="71698"/>
                          <a:pt x="25588" y="71698"/>
                        </a:cubicBezTo>
                        <a:cubicBezTo>
                          <a:pt x="25588" y="71698"/>
                          <a:pt x="23823" y="71698"/>
                          <a:pt x="23823" y="70943"/>
                        </a:cubicBezTo>
                        <a:cubicBezTo>
                          <a:pt x="23823" y="70943"/>
                          <a:pt x="22941" y="70943"/>
                          <a:pt x="22941" y="70943"/>
                        </a:cubicBezTo>
                        <a:cubicBezTo>
                          <a:pt x="22941" y="70943"/>
                          <a:pt x="21176" y="70188"/>
                          <a:pt x="21176" y="69433"/>
                        </a:cubicBezTo>
                        <a:cubicBezTo>
                          <a:pt x="21176" y="69433"/>
                          <a:pt x="21176" y="68679"/>
                          <a:pt x="21176" y="68679"/>
                        </a:cubicBezTo>
                        <a:cubicBezTo>
                          <a:pt x="21176" y="68679"/>
                          <a:pt x="20294" y="68679"/>
                          <a:pt x="19411" y="68679"/>
                        </a:cubicBezTo>
                        <a:cubicBezTo>
                          <a:pt x="18529" y="69433"/>
                          <a:pt x="17647" y="69433"/>
                          <a:pt x="17647" y="69433"/>
                        </a:cubicBezTo>
                        <a:cubicBezTo>
                          <a:pt x="16764" y="69433"/>
                          <a:pt x="16764" y="70188"/>
                          <a:pt x="16764" y="70188"/>
                        </a:cubicBezTo>
                        <a:cubicBezTo>
                          <a:pt x="16764" y="70188"/>
                          <a:pt x="16764" y="70943"/>
                          <a:pt x="17647" y="70943"/>
                        </a:cubicBezTo>
                        <a:cubicBezTo>
                          <a:pt x="17647" y="71698"/>
                          <a:pt x="18529" y="70943"/>
                          <a:pt x="18529" y="70943"/>
                        </a:cubicBezTo>
                        <a:close/>
                        <a:moveTo>
                          <a:pt x="62647" y="56603"/>
                        </a:moveTo>
                        <a:cubicBezTo>
                          <a:pt x="62647" y="56603"/>
                          <a:pt x="62647" y="56603"/>
                          <a:pt x="62647" y="56603"/>
                        </a:cubicBezTo>
                        <a:cubicBezTo>
                          <a:pt x="62647" y="57358"/>
                          <a:pt x="62647" y="57358"/>
                          <a:pt x="62647" y="57358"/>
                        </a:cubicBezTo>
                        <a:cubicBezTo>
                          <a:pt x="62647" y="57358"/>
                          <a:pt x="62647" y="57358"/>
                          <a:pt x="63529" y="57358"/>
                        </a:cubicBezTo>
                        <a:cubicBezTo>
                          <a:pt x="63529" y="56603"/>
                          <a:pt x="63529" y="57358"/>
                          <a:pt x="64411" y="57358"/>
                        </a:cubicBezTo>
                        <a:cubicBezTo>
                          <a:pt x="64411" y="57358"/>
                          <a:pt x="64411" y="57358"/>
                          <a:pt x="64411" y="57358"/>
                        </a:cubicBezTo>
                        <a:cubicBezTo>
                          <a:pt x="65294" y="57358"/>
                          <a:pt x="66176" y="55849"/>
                          <a:pt x="66176" y="55849"/>
                        </a:cubicBezTo>
                        <a:cubicBezTo>
                          <a:pt x="66176" y="55849"/>
                          <a:pt x="66176" y="55849"/>
                          <a:pt x="67058" y="55849"/>
                        </a:cubicBezTo>
                        <a:cubicBezTo>
                          <a:pt x="67058" y="55849"/>
                          <a:pt x="67941" y="55849"/>
                          <a:pt x="67941" y="55094"/>
                        </a:cubicBezTo>
                        <a:cubicBezTo>
                          <a:pt x="67941" y="55094"/>
                          <a:pt x="67941" y="55094"/>
                          <a:pt x="68823" y="55094"/>
                        </a:cubicBezTo>
                        <a:cubicBezTo>
                          <a:pt x="68823" y="54339"/>
                          <a:pt x="68823" y="54339"/>
                          <a:pt x="68823" y="54339"/>
                        </a:cubicBezTo>
                        <a:cubicBezTo>
                          <a:pt x="69705" y="53584"/>
                          <a:pt x="70588" y="53584"/>
                          <a:pt x="70588" y="53584"/>
                        </a:cubicBezTo>
                        <a:cubicBezTo>
                          <a:pt x="71470" y="52830"/>
                          <a:pt x="71470" y="52830"/>
                          <a:pt x="71470" y="52075"/>
                        </a:cubicBezTo>
                        <a:cubicBezTo>
                          <a:pt x="71470" y="52075"/>
                          <a:pt x="70588" y="52075"/>
                          <a:pt x="70588" y="52830"/>
                        </a:cubicBezTo>
                        <a:cubicBezTo>
                          <a:pt x="69705" y="52830"/>
                          <a:pt x="68823" y="52830"/>
                          <a:pt x="68823" y="52830"/>
                        </a:cubicBezTo>
                        <a:cubicBezTo>
                          <a:pt x="68823" y="53584"/>
                          <a:pt x="67941" y="53584"/>
                          <a:pt x="67941" y="53584"/>
                        </a:cubicBezTo>
                        <a:cubicBezTo>
                          <a:pt x="67058" y="53584"/>
                          <a:pt x="66176" y="54339"/>
                          <a:pt x="65294" y="54339"/>
                        </a:cubicBezTo>
                        <a:cubicBezTo>
                          <a:pt x="65294" y="54339"/>
                          <a:pt x="65294" y="55094"/>
                          <a:pt x="64411" y="55849"/>
                        </a:cubicBezTo>
                        <a:cubicBezTo>
                          <a:pt x="64411" y="55849"/>
                          <a:pt x="64411" y="55849"/>
                          <a:pt x="64411" y="56603"/>
                        </a:cubicBezTo>
                        <a:cubicBezTo>
                          <a:pt x="63529" y="56603"/>
                          <a:pt x="62647" y="56603"/>
                          <a:pt x="62647" y="5660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7" name="Shape 2030"/>
                  <p:cNvSpPr/>
                  <p:nvPr/>
                </p:nvSpPr>
                <p:spPr>
                  <a:xfrm>
                    <a:off x="5550394" y="2957025"/>
                    <a:ext cx="547516" cy="376093"/>
                  </a:xfrm>
                  <a:custGeom>
                    <a:avLst/>
                    <a:gdLst/>
                    <a:ahLst/>
                    <a:cxnLst/>
                    <a:rect l="0" t="0" r="0" b="0"/>
                    <a:pathLst>
                      <a:path w="120000" h="120000" extrusionOk="0">
                        <a:moveTo>
                          <a:pt x="14000" y="43058"/>
                        </a:moveTo>
                        <a:cubicBezTo>
                          <a:pt x="14000" y="43058"/>
                          <a:pt x="14000" y="43058"/>
                          <a:pt x="14000" y="43058"/>
                        </a:cubicBezTo>
                        <a:cubicBezTo>
                          <a:pt x="14000" y="43058"/>
                          <a:pt x="14000" y="43058"/>
                          <a:pt x="14000" y="43058"/>
                        </a:cubicBezTo>
                        <a:cubicBezTo>
                          <a:pt x="14000" y="42352"/>
                          <a:pt x="14000" y="42352"/>
                          <a:pt x="14000" y="42352"/>
                        </a:cubicBezTo>
                        <a:cubicBezTo>
                          <a:pt x="14000" y="40941"/>
                          <a:pt x="14000" y="40941"/>
                          <a:pt x="14000" y="40941"/>
                        </a:cubicBezTo>
                        <a:cubicBezTo>
                          <a:pt x="15500" y="38117"/>
                          <a:pt x="15500" y="38117"/>
                          <a:pt x="15500" y="38117"/>
                        </a:cubicBezTo>
                        <a:cubicBezTo>
                          <a:pt x="15500" y="34588"/>
                          <a:pt x="15500" y="34588"/>
                          <a:pt x="15500" y="34588"/>
                        </a:cubicBezTo>
                        <a:cubicBezTo>
                          <a:pt x="19500" y="35294"/>
                          <a:pt x="19500" y="35294"/>
                          <a:pt x="19500" y="35294"/>
                        </a:cubicBezTo>
                        <a:cubicBezTo>
                          <a:pt x="22000" y="38823"/>
                          <a:pt x="22000" y="38823"/>
                          <a:pt x="22000" y="38823"/>
                        </a:cubicBezTo>
                        <a:cubicBezTo>
                          <a:pt x="25500" y="41647"/>
                          <a:pt x="25500" y="41647"/>
                          <a:pt x="25500" y="41647"/>
                        </a:cubicBezTo>
                        <a:cubicBezTo>
                          <a:pt x="27500" y="43058"/>
                          <a:pt x="27500" y="43058"/>
                          <a:pt x="27500" y="43058"/>
                        </a:cubicBezTo>
                        <a:cubicBezTo>
                          <a:pt x="32000" y="41647"/>
                          <a:pt x="32000" y="41647"/>
                          <a:pt x="32000" y="41647"/>
                        </a:cubicBezTo>
                        <a:cubicBezTo>
                          <a:pt x="40500" y="40941"/>
                          <a:pt x="40500" y="40941"/>
                          <a:pt x="40500" y="40941"/>
                        </a:cubicBezTo>
                        <a:cubicBezTo>
                          <a:pt x="40500" y="40941"/>
                          <a:pt x="45000" y="40235"/>
                          <a:pt x="45500" y="39529"/>
                        </a:cubicBezTo>
                        <a:cubicBezTo>
                          <a:pt x="46000" y="38823"/>
                          <a:pt x="49000" y="38117"/>
                          <a:pt x="48000" y="36705"/>
                        </a:cubicBezTo>
                        <a:cubicBezTo>
                          <a:pt x="47000" y="36000"/>
                          <a:pt x="45000" y="33882"/>
                          <a:pt x="45000" y="33882"/>
                        </a:cubicBezTo>
                        <a:cubicBezTo>
                          <a:pt x="45000" y="32470"/>
                          <a:pt x="45000" y="32470"/>
                          <a:pt x="45000" y="32470"/>
                        </a:cubicBezTo>
                        <a:cubicBezTo>
                          <a:pt x="47500" y="28941"/>
                          <a:pt x="47500" y="28941"/>
                          <a:pt x="47500" y="28941"/>
                        </a:cubicBezTo>
                        <a:cubicBezTo>
                          <a:pt x="52000" y="26823"/>
                          <a:pt x="52000" y="26823"/>
                          <a:pt x="52000" y="26823"/>
                        </a:cubicBezTo>
                        <a:cubicBezTo>
                          <a:pt x="55500" y="26117"/>
                          <a:pt x="55500" y="26117"/>
                          <a:pt x="55500" y="26117"/>
                        </a:cubicBezTo>
                        <a:cubicBezTo>
                          <a:pt x="57500" y="25411"/>
                          <a:pt x="57500" y="25411"/>
                          <a:pt x="57500" y="25411"/>
                        </a:cubicBezTo>
                        <a:cubicBezTo>
                          <a:pt x="58500" y="21176"/>
                          <a:pt x="58500" y="21176"/>
                          <a:pt x="58500" y="21176"/>
                        </a:cubicBezTo>
                        <a:cubicBezTo>
                          <a:pt x="61500" y="20470"/>
                          <a:pt x="61500" y="20470"/>
                          <a:pt x="61500" y="20470"/>
                        </a:cubicBezTo>
                        <a:cubicBezTo>
                          <a:pt x="63500" y="21176"/>
                          <a:pt x="63500" y="21176"/>
                          <a:pt x="63500" y="21176"/>
                        </a:cubicBezTo>
                        <a:cubicBezTo>
                          <a:pt x="66500" y="21176"/>
                          <a:pt x="66500" y="21176"/>
                          <a:pt x="66500" y="21176"/>
                        </a:cubicBezTo>
                        <a:cubicBezTo>
                          <a:pt x="68000" y="18352"/>
                          <a:pt x="68000" y="18352"/>
                          <a:pt x="68000" y="18352"/>
                        </a:cubicBezTo>
                        <a:cubicBezTo>
                          <a:pt x="69500" y="16941"/>
                          <a:pt x="69500" y="16941"/>
                          <a:pt x="69500" y="16941"/>
                        </a:cubicBezTo>
                        <a:cubicBezTo>
                          <a:pt x="71500" y="15529"/>
                          <a:pt x="71500" y="15529"/>
                          <a:pt x="71500" y="15529"/>
                        </a:cubicBezTo>
                        <a:cubicBezTo>
                          <a:pt x="73000" y="11294"/>
                          <a:pt x="73000" y="11294"/>
                          <a:pt x="73000" y="11294"/>
                        </a:cubicBezTo>
                        <a:cubicBezTo>
                          <a:pt x="74000" y="6352"/>
                          <a:pt x="74000" y="6352"/>
                          <a:pt x="74000" y="6352"/>
                        </a:cubicBezTo>
                        <a:cubicBezTo>
                          <a:pt x="74500" y="4235"/>
                          <a:pt x="74500" y="4235"/>
                          <a:pt x="74500" y="4235"/>
                        </a:cubicBezTo>
                        <a:cubicBezTo>
                          <a:pt x="81500" y="1411"/>
                          <a:pt x="81500" y="1411"/>
                          <a:pt x="81500" y="1411"/>
                        </a:cubicBezTo>
                        <a:cubicBezTo>
                          <a:pt x="84000" y="3529"/>
                          <a:pt x="84000" y="3529"/>
                          <a:pt x="84000" y="3529"/>
                        </a:cubicBezTo>
                        <a:cubicBezTo>
                          <a:pt x="87500" y="2823"/>
                          <a:pt x="87500" y="2823"/>
                          <a:pt x="87500" y="2823"/>
                        </a:cubicBezTo>
                        <a:cubicBezTo>
                          <a:pt x="90000" y="0"/>
                          <a:pt x="90000" y="0"/>
                          <a:pt x="90000" y="0"/>
                        </a:cubicBezTo>
                        <a:cubicBezTo>
                          <a:pt x="93000" y="705"/>
                          <a:pt x="93000" y="705"/>
                          <a:pt x="93000" y="705"/>
                        </a:cubicBezTo>
                        <a:cubicBezTo>
                          <a:pt x="97000" y="6352"/>
                          <a:pt x="97000" y="6352"/>
                          <a:pt x="97000" y="6352"/>
                        </a:cubicBezTo>
                        <a:cubicBezTo>
                          <a:pt x="101000" y="6352"/>
                          <a:pt x="101000" y="6352"/>
                          <a:pt x="101000" y="6352"/>
                        </a:cubicBezTo>
                        <a:cubicBezTo>
                          <a:pt x="103500" y="4235"/>
                          <a:pt x="103500" y="4235"/>
                          <a:pt x="103500" y="4235"/>
                        </a:cubicBezTo>
                        <a:cubicBezTo>
                          <a:pt x="106000" y="2823"/>
                          <a:pt x="106000" y="2823"/>
                          <a:pt x="106000" y="2823"/>
                        </a:cubicBezTo>
                        <a:cubicBezTo>
                          <a:pt x="107500" y="4941"/>
                          <a:pt x="107500" y="4941"/>
                          <a:pt x="107500" y="4941"/>
                        </a:cubicBezTo>
                        <a:cubicBezTo>
                          <a:pt x="109000" y="7764"/>
                          <a:pt x="109000" y="7764"/>
                          <a:pt x="109000" y="7764"/>
                        </a:cubicBezTo>
                        <a:cubicBezTo>
                          <a:pt x="111500" y="7058"/>
                          <a:pt x="111500" y="7058"/>
                          <a:pt x="111500" y="7058"/>
                        </a:cubicBezTo>
                        <a:cubicBezTo>
                          <a:pt x="113000" y="9882"/>
                          <a:pt x="113000" y="9882"/>
                          <a:pt x="113000" y="9882"/>
                        </a:cubicBezTo>
                        <a:cubicBezTo>
                          <a:pt x="114500" y="12000"/>
                          <a:pt x="114500" y="12000"/>
                          <a:pt x="114500" y="12000"/>
                        </a:cubicBezTo>
                        <a:cubicBezTo>
                          <a:pt x="117000" y="11294"/>
                          <a:pt x="117000" y="11294"/>
                          <a:pt x="117000" y="11294"/>
                        </a:cubicBezTo>
                        <a:cubicBezTo>
                          <a:pt x="119500" y="13411"/>
                          <a:pt x="119500" y="13411"/>
                          <a:pt x="119500" y="13411"/>
                        </a:cubicBezTo>
                        <a:cubicBezTo>
                          <a:pt x="119000" y="16235"/>
                          <a:pt x="119000" y="16235"/>
                          <a:pt x="119000" y="16235"/>
                        </a:cubicBezTo>
                        <a:cubicBezTo>
                          <a:pt x="120000" y="19764"/>
                          <a:pt x="120000" y="19764"/>
                          <a:pt x="120000" y="19764"/>
                        </a:cubicBezTo>
                        <a:cubicBezTo>
                          <a:pt x="118500" y="21882"/>
                          <a:pt x="118500" y="21882"/>
                          <a:pt x="118500" y="21882"/>
                        </a:cubicBezTo>
                        <a:cubicBezTo>
                          <a:pt x="118500" y="21882"/>
                          <a:pt x="118000" y="23294"/>
                          <a:pt x="117000" y="23294"/>
                        </a:cubicBezTo>
                        <a:cubicBezTo>
                          <a:pt x="116500" y="24000"/>
                          <a:pt x="115500" y="24705"/>
                          <a:pt x="115500" y="24705"/>
                        </a:cubicBezTo>
                        <a:cubicBezTo>
                          <a:pt x="114000" y="26823"/>
                          <a:pt x="114000" y="26823"/>
                          <a:pt x="114000" y="26823"/>
                        </a:cubicBezTo>
                        <a:cubicBezTo>
                          <a:pt x="112000" y="27529"/>
                          <a:pt x="112000" y="27529"/>
                          <a:pt x="112000" y="27529"/>
                        </a:cubicBezTo>
                        <a:cubicBezTo>
                          <a:pt x="110500" y="28235"/>
                          <a:pt x="110500" y="28235"/>
                          <a:pt x="110500" y="28235"/>
                        </a:cubicBezTo>
                        <a:cubicBezTo>
                          <a:pt x="109500" y="29647"/>
                          <a:pt x="109500" y="29647"/>
                          <a:pt x="109500" y="29647"/>
                        </a:cubicBezTo>
                        <a:cubicBezTo>
                          <a:pt x="108500" y="33882"/>
                          <a:pt x="108500" y="33882"/>
                          <a:pt x="108500" y="33882"/>
                        </a:cubicBezTo>
                        <a:cubicBezTo>
                          <a:pt x="107000" y="36000"/>
                          <a:pt x="107000" y="36000"/>
                          <a:pt x="107000" y="36000"/>
                        </a:cubicBezTo>
                        <a:cubicBezTo>
                          <a:pt x="106500" y="39529"/>
                          <a:pt x="106500" y="39529"/>
                          <a:pt x="106500" y="39529"/>
                        </a:cubicBezTo>
                        <a:cubicBezTo>
                          <a:pt x="106500" y="39529"/>
                          <a:pt x="107500" y="43058"/>
                          <a:pt x="106500" y="43764"/>
                        </a:cubicBezTo>
                        <a:cubicBezTo>
                          <a:pt x="106000" y="43764"/>
                          <a:pt x="105500" y="44470"/>
                          <a:pt x="105500" y="44470"/>
                        </a:cubicBezTo>
                        <a:cubicBezTo>
                          <a:pt x="105000" y="50117"/>
                          <a:pt x="105000" y="50117"/>
                          <a:pt x="105000" y="50117"/>
                        </a:cubicBezTo>
                        <a:cubicBezTo>
                          <a:pt x="103000" y="52941"/>
                          <a:pt x="103000" y="52941"/>
                          <a:pt x="103000" y="52941"/>
                        </a:cubicBezTo>
                        <a:cubicBezTo>
                          <a:pt x="102500" y="58588"/>
                          <a:pt x="102500" y="58588"/>
                          <a:pt x="102500" y="58588"/>
                        </a:cubicBezTo>
                        <a:cubicBezTo>
                          <a:pt x="102500" y="58588"/>
                          <a:pt x="103500" y="61411"/>
                          <a:pt x="102000" y="61411"/>
                        </a:cubicBezTo>
                        <a:cubicBezTo>
                          <a:pt x="101000" y="62117"/>
                          <a:pt x="100500" y="63529"/>
                          <a:pt x="100500" y="63529"/>
                        </a:cubicBezTo>
                        <a:cubicBezTo>
                          <a:pt x="100500" y="68470"/>
                          <a:pt x="100500" y="68470"/>
                          <a:pt x="100500" y="68470"/>
                        </a:cubicBezTo>
                        <a:cubicBezTo>
                          <a:pt x="99000" y="72000"/>
                          <a:pt x="99000" y="72000"/>
                          <a:pt x="99000" y="72000"/>
                        </a:cubicBezTo>
                        <a:cubicBezTo>
                          <a:pt x="99500" y="74823"/>
                          <a:pt x="99500" y="74823"/>
                          <a:pt x="99500" y="74823"/>
                        </a:cubicBezTo>
                        <a:cubicBezTo>
                          <a:pt x="98500" y="76941"/>
                          <a:pt x="98500" y="76941"/>
                          <a:pt x="98500" y="76941"/>
                        </a:cubicBezTo>
                        <a:cubicBezTo>
                          <a:pt x="99000" y="80470"/>
                          <a:pt x="99000" y="80470"/>
                          <a:pt x="99000" y="80470"/>
                        </a:cubicBezTo>
                        <a:cubicBezTo>
                          <a:pt x="98000" y="82588"/>
                          <a:pt x="98000" y="82588"/>
                          <a:pt x="98000" y="82588"/>
                        </a:cubicBezTo>
                        <a:cubicBezTo>
                          <a:pt x="97500" y="83294"/>
                          <a:pt x="97500" y="83294"/>
                          <a:pt x="97500" y="83294"/>
                        </a:cubicBezTo>
                        <a:cubicBezTo>
                          <a:pt x="97000" y="85411"/>
                          <a:pt x="97000" y="85411"/>
                          <a:pt x="97000" y="85411"/>
                        </a:cubicBezTo>
                        <a:cubicBezTo>
                          <a:pt x="96000" y="88941"/>
                          <a:pt x="96000" y="88941"/>
                          <a:pt x="96000" y="88941"/>
                        </a:cubicBezTo>
                        <a:cubicBezTo>
                          <a:pt x="92000" y="93882"/>
                          <a:pt x="92000" y="93882"/>
                          <a:pt x="92000" y="93882"/>
                        </a:cubicBezTo>
                        <a:cubicBezTo>
                          <a:pt x="90000" y="93176"/>
                          <a:pt x="90000" y="93176"/>
                          <a:pt x="90000" y="93176"/>
                        </a:cubicBezTo>
                        <a:cubicBezTo>
                          <a:pt x="88500" y="95294"/>
                          <a:pt x="88500" y="95294"/>
                          <a:pt x="88500" y="95294"/>
                        </a:cubicBezTo>
                        <a:cubicBezTo>
                          <a:pt x="88500" y="95294"/>
                          <a:pt x="89000" y="95294"/>
                          <a:pt x="88000" y="96705"/>
                        </a:cubicBezTo>
                        <a:cubicBezTo>
                          <a:pt x="87000" y="97411"/>
                          <a:pt x="85000" y="98117"/>
                          <a:pt x="85000" y="98117"/>
                        </a:cubicBezTo>
                        <a:cubicBezTo>
                          <a:pt x="84000" y="98117"/>
                          <a:pt x="84000" y="98117"/>
                          <a:pt x="84000" y="98117"/>
                        </a:cubicBezTo>
                        <a:cubicBezTo>
                          <a:pt x="80500" y="98117"/>
                          <a:pt x="80500" y="98117"/>
                          <a:pt x="80500" y="98117"/>
                        </a:cubicBezTo>
                        <a:cubicBezTo>
                          <a:pt x="80500" y="98117"/>
                          <a:pt x="80000" y="97411"/>
                          <a:pt x="79500" y="98117"/>
                        </a:cubicBezTo>
                        <a:cubicBezTo>
                          <a:pt x="79000" y="98117"/>
                          <a:pt x="76500" y="98117"/>
                          <a:pt x="76500" y="98117"/>
                        </a:cubicBezTo>
                        <a:cubicBezTo>
                          <a:pt x="76500" y="98117"/>
                          <a:pt x="75500" y="97411"/>
                          <a:pt x="75000" y="97411"/>
                        </a:cubicBezTo>
                        <a:cubicBezTo>
                          <a:pt x="74500" y="97411"/>
                          <a:pt x="71500" y="98117"/>
                          <a:pt x="71500" y="98117"/>
                        </a:cubicBezTo>
                        <a:cubicBezTo>
                          <a:pt x="69500" y="99529"/>
                          <a:pt x="69500" y="99529"/>
                          <a:pt x="69500" y="99529"/>
                        </a:cubicBezTo>
                        <a:cubicBezTo>
                          <a:pt x="69500" y="99529"/>
                          <a:pt x="69000" y="98117"/>
                          <a:pt x="68500" y="98823"/>
                        </a:cubicBezTo>
                        <a:cubicBezTo>
                          <a:pt x="67500" y="98823"/>
                          <a:pt x="65000" y="100235"/>
                          <a:pt x="65000" y="100235"/>
                        </a:cubicBezTo>
                        <a:cubicBezTo>
                          <a:pt x="65000" y="100235"/>
                          <a:pt x="66000" y="101647"/>
                          <a:pt x="65000" y="101647"/>
                        </a:cubicBezTo>
                        <a:cubicBezTo>
                          <a:pt x="64500" y="101647"/>
                          <a:pt x="63000" y="104470"/>
                          <a:pt x="63000" y="104470"/>
                        </a:cubicBezTo>
                        <a:cubicBezTo>
                          <a:pt x="62000" y="105176"/>
                          <a:pt x="62000" y="105176"/>
                          <a:pt x="62000" y="105176"/>
                        </a:cubicBezTo>
                        <a:cubicBezTo>
                          <a:pt x="61500" y="107294"/>
                          <a:pt x="61500" y="107294"/>
                          <a:pt x="61500" y="107294"/>
                        </a:cubicBezTo>
                        <a:cubicBezTo>
                          <a:pt x="61500" y="107294"/>
                          <a:pt x="61000" y="107294"/>
                          <a:pt x="60000" y="107294"/>
                        </a:cubicBezTo>
                        <a:cubicBezTo>
                          <a:pt x="59500" y="107294"/>
                          <a:pt x="58000" y="108000"/>
                          <a:pt x="58000" y="108000"/>
                        </a:cubicBezTo>
                        <a:cubicBezTo>
                          <a:pt x="57500" y="107294"/>
                          <a:pt x="57500" y="107294"/>
                          <a:pt x="57500" y="107294"/>
                        </a:cubicBezTo>
                        <a:cubicBezTo>
                          <a:pt x="55500" y="111529"/>
                          <a:pt x="55500" y="111529"/>
                          <a:pt x="55500" y="111529"/>
                        </a:cubicBezTo>
                        <a:cubicBezTo>
                          <a:pt x="53500" y="112941"/>
                          <a:pt x="53500" y="112941"/>
                          <a:pt x="53500" y="112941"/>
                        </a:cubicBezTo>
                        <a:cubicBezTo>
                          <a:pt x="52500" y="112235"/>
                          <a:pt x="52500" y="112235"/>
                          <a:pt x="52500" y="112235"/>
                        </a:cubicBezTo>
                        <a:cubicBezTo>
                          <a:pt x="51500" y="115764"/>
                          <a:pt x="51500" y="115764"/>
                          <a:pt x="51500" y="115764"/>
                        </a:cubicBezTo>
                        <a:cubicBezTo>
                          <a:pt x="51500" y="115764"/>
                          <a:pt x="50000" y="116470"/>
                          <a:pt x="50000" y="117176"/>
                        </a:cubicBezTo>
                        <a:cubicBezTo>
                          <a:pt x="49500" y="117882"/>
                          <a:pt x="47000" y="117882"/>
                          <a:pt x="47000" y="117882"/>
                        </a:cubicBezTo>
                        <a:cubicBezTo>
                          <a:pt x="45000" y="117882"/>
                          <a:pt x="45000" y="117882"/>
                          <a:pt x="45000" y="117882"/>
                        </a:cubicBezTo>
                        <a:cubicBezTo>
                          <a:pt x="41500" y="119294"/>
                          <a:pt x="41500" y="119294"/>
                          <a:pt x="41500" y="119294"/>
                        </a:cubicBezTo>
                        <a:cubicBezTo>
                          <a:pt x="41500" y="119294"/>
                          <a:pt x="40500" y="120000"/>
                          <a:pt x="40000" y="120000"/>
                        </a:cubicBezTo>
                        <a:cubicBezTo>
                          <a:pt x="39500" y="120000"/>
                          <a:pt x="37000" y="119294"/>
                          <a:pt x="37000" y="119294"/>
                        </a:cubicBezTo>
                        <a:cubicBezTo>
                          <a:pt x="35500" y="120000"/>
                          <a:pt x="35500" y="120000"/>
                          <a:pt x="35500" y="120000"/>
                        </a:cubicBezTo>
                        <a:cubicBezTo>
                          <a:pt x="32000" y="118588"/>
                          <a:pt x="32000" y="118588"/>
                          <a:pt x="32000" y="118588"/>
                        </a:cubicBezTo>
                        <a:cubicBezTo>
                          <a:pt x="31000" y="116470"/>
                          <a:pt x="31000" y="116470"/>
                          <a:pt x="31000" y="116470"/>
                        </a:cubicBezTo>
                        <a:cubicBezTo>
                          <a:pt x="28000" y="115764"/>
                          <a:pt x="28000" y="115764"/>
                          <a:pt x="28000" y="115764"/>
                        </a:cubicBezTo>
                        <a:cubicBezTo>
                          <a:pt x="27500" y="114352"/>
                          <a:pt x="27500" y="114352"/>
                          <a:pt x="27500" y="114352"/>
                        </a:cubicBezTo>
                        <a:cubicBezTo>
                          <a:pt x="25500" y="114352"/>
                          <a:pt x="25500" y="114352"/>
                          <a:pt x="25500" y="114352"/>
                        </a:cubicBezTo>
                        <a:cubicBezTo>
                          <a:pt x="23500" y="111529"/>
                          <a:pt x="23500" y="111529"/>
                          <a:pt x="23500" y="111529"/>
                        </a:cubicBezTo>
                        <a:cubicBezTo>
                          <a:pt x="21000" y="107294"/>
                          <a:pt x="21000" y="107294"/>
                          <a:pt x="21000" y="107294"/>
                        </a:cubicBezTo>
                        <a:cubicBezTo>
                          <a:pt x="16000" y="105176"/>
                          <a:pt x="16000" y="105176"/>
                          <a:pt x="16000" y="105176"/>
                        </a:cubicBezTo>
                        <a:cubicBezTo>
                          <a:pt x="14500" y="102352"/>
                          <a:pt x="14500" y="102352"/>
                          <a:pt x="14500" y="102352"/>
                        </a:cubicBezTo>
                        <a:cubicBezTo>
                          <a:pt x="13000" y="100941"/>
                          <a:pt x="13000" y="100941"/>
                          <a:pt x="13000" y="100941"/>
                        </a:cubicBezTo>
                        <a:cubicBezTo>
                          <a:pt x="11000" y="98823"/>
                          <a:pt x="11000" y="98823"/>
                          <a:pt x="11000" y="98823"/>
                        </a:cubicBezTo>
                        <a:cubicBezTo>
                          <a:pt x="9000" y="96705"/>
                          <a:pt x="9000" y="96705"/>
                          <a:pt x="9000" y="96705"/>
                        </a:cubicBezTo>
                        <a:cubicBezTo>
                          <a:pt x="8000" y="95294"/>
                          <a:pt x="8000" y="95294"/>
                          <a:pt x="8000" y="95294"/>
                        </a:cubicBezTo>
                        <a:cubicBezTo>
                          <a:pt x="5000" y="89647"/>
                          <a:pt x="5000" y="89647"/>
                          <a:pt x="5000" y="89647"/>
                        </a:cubicBezTo>
                        <a:cubicBezTo>
                          <a:pt x="5000" y="88235"/>
                          <a:pt x="5000" y="88235"/>
                          <a:pt x="5000" y="88235"/>
                        </a:cubicBezTo>
                        <a:cubicBezTo>
                          <a:pt x="3500" y="85411"/>
                          <a:pt x="3500" y="85411"/>
                          <a:pt x="3500" y="85411"/>
                        </a:cubicBezTo>
                        <a:cubicBezTo>
                          <a:pt x="3000" y="82588"/>
                          <a:pt x="3000" y="82588"/>
                          <a:pt x="3000" y="82588"/>
                        </a:cubicBezTo>
                        <a:cubicBezTo>
                          <a:pt x="2000" y="81176"/>
                          <a:pt x="2000" y="81176"/>
                          <a:pt x="2000" y="81176"/>
                        </a:cubicBezTo>
                        <a:cubicBezTo>
                          <a:pt x="0" y="82588"/>
                          <a:pt x="0" y="82588"/>
                          <a:pt x="0" y="82588"/>
                        </a:cubicBezTo>
                        <a:cubicBezTo>
                          <a:pt x="0" y="82588"/>
                          <a:pt x="0" y="82588"/>
                          <a:pt x="0" y="82588"/>
                        </a:cubicBezTo>
                        <a:cubicBezTo>
                          <a:pt x="0" y="81882"/>
                          <a:pt x="0" y="81882"/>
                          <a:pt x="0" y="81882"/>
                        </a:cubicBezTo>
                        <a:cubicBezTo>
                          <a:pt x="1500" y="76941"/>
                          <a:pt x="1500" y="76941"/>
                          <a:pt x="1500" y="76941"/>
                        </a:cubicBezTo>
                        <a:cubicBezTo>
                          <a:pt x="3000" y="76235"/>
                          <a:pt x="3000" y="76235"/>
                          <a:pt x="3000" y="76235"/>
                        </a:cubicBezTo>
                        <a:cubicBezTo>
                          <a:pt x="4500" y="72705"/>
                          <a:pt x="4500" y="72705"/>
                          <a:pt x="4500" y="72705"/>
                        </a:cubicBezTo>
                        <a:cubicBezTo>
                          <a:pt x="4000" y="68470"/>
                          <a:pt x="4000" y="68470"/>
                          <a:pt x="4000" y="68470"/>
                        </a:cubicBezTo>
                        <a:cubicBezTo>
                          <a:pt x="4000" y="67058"/>
                          <a:pt x="4000" y="67058"/>
                          <a:pt x="4000" y="67058"/>
                        </a:cubicBezTo>
                        <a:cubicBezTo>
                          <a:pt x="2500" y="62823"/>
                          <a:pt x="2500" y="62823"/>
                          <a:pt x="2500" y="62823"/>
                        </a:cubicBezTo>
                        <a:cubicBezTo>
                          <a:pt x="2500" y="62823"/>
                          <a:pt x="3000" y="62117"/>
                          <a:pt x="3500" y="62117"/>
                        </a:cubicBezTo>
                        <a:cubicBezTo>
                          <a:pt x="4000" y="62117"/>
                          <a:pt x="5500" y="60705"/>
                          <a:pt x="5500" y="60705"/>
                        </a:cubicBezTo>
                        <a:cubicBezTo>
                          <a:pt x="8500" y="57882"/>
                          <a:pt x="8500" y="57882"/>
                          <a:pt x="8500" y="57882"/>
                        </a:cubicBezTo>
                        <a:cubicBezTo>
                          <a:pt x="6000" y="52235"/>
                          <a:pt x="6000" y="52235"/>
                          <a:pt x="6000" y="52235"/>
                        </a:cubicBezTo>
                        <a:cubicBezTo>
                          <a:pt x="5000" y="52235"/>
                          <a:pt x="5000" y="52235"/>
                          <a:pt x="5000" y="52235"/>
                        </a:cubicBezTo>
                        <a:cubicBezTo>
                          <a:pt x="2000" y="50823"/>
                          <a:pt x="2000" y="50823"/>
                          <a:pt x="2000" y="50823"/>
                        </a:cubicBezTo>
                        <a:cubicBezTo>
                          <a:pt x="4000" y="48705"/>
                          <a:pt x="4000" y="48705"/>
                          <a:pt x="4000" y="48705"/>
                        </a:cubicBezTo>
                        <a:cubicBezTo>
                          <a:pt x="5000" y="47294"/>
                          <a:pt x="5000" y="47294"/>
                          <a:pt x="5000" y="47294"/>
                        </a:cubicBezTo>
                        <a:cubicBezTo>
                          <a:pt x="9000" y="49411"/>
                          <a:pt x="9000" y="49411"/>
                          <a:pt x="9000" y="49411"/>
                        </a:cubicBezTo>
                        <a:cubicBezTo>
                          <a:pt x="9000" y="49411"/>
                          <a:pt x="10500" y="50117"/>
                          <a:pt x="10000" y="49411"/>
                        </a:cubicBezTo>
                        <a:cubicBezTo>
                          <a:pt x="10000" y="47294"/>
                          <a:pt x="10500" y="48705"/>
                          <a:pt x="10500" y="48705"/>
                        </a:cubicBezTo>
                        <a:cubicBezTo>
                          <a:pt x="11000" y="50117"/>
                          <a:pt x="12500" y="48705"/>
                          <a:pt x="13500" y="48705"/>
                        </a:cubicBezTo>
                        <a:cubicBezTo>
                          <a:pt x="15000" y="48000"/>
                          <a:pt x="14000" y="46588"/>
                          <a:pt x="13500" y="45176"/>
                        </a:cubicBezTo>
                        <a:cubicBezTo>
                          <a:pt x="13500" y="44470"/>
                          <a:pt x="13500" y="43764"/>
                          <a:pt x="14000" y="4305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8" name="Shape 2031"/>
                  <p:cNvSpPr/>
                  <p:nvPr/>
                </p:nvSpPr>
                <p:spPr>
                  <a:xfrm>
                    <a:off x="5991266" y="1973644"/>
                    <a:ext cx="656360" cy="596634"/>
                  </a:xfrm>
                  <a:custGeom>
                    <a:avLst/>
                    <a:gdLst/>
                    <a:ahLst/>
                    <a:cxnLst/>
                    <a:rect l="0" t="0" r="0" b="0"/>
                    <a:pathLst>
                      <a:path w="120000" h="120000" extrusionOk="0">
                        <a:moveTo>
                          <a:pt x="33750" y="29333"/>
                        </a:moveTo>
                        <a:cubicBezTo>
                          <a:pt x="33333" y="27111"/>
                          <a:pt x="33333" y="27111"/>
                          <a:pt x="33333" y="27111"/>
                        </a:cubicBezTo>
                        <a:cubicBezTo>
                          <a:pt x="35000" y="26222"/>
                          <a:pt x="35000" y="26222"/>
                          <a:pt x="35000" y="26222"/>
                        </a:cubicBezTo>
                        <a:cubicBezTo>
                          <a:pt x="34583" y="24444"/>
                          <a:pt x="34583" y="24444"/>
                          <a:pt x="34583" y="24444"/>
                        </a:cubicBezTo>
                        <a:cubicBezTo>
                          <a:pt x="31666" y="24888"/>
                          <a:pt x="31666" y="24888"/>
                          <a:pt x="31666" y="24888"/>
                        </a:cubicBezTo>
                        <a:cubicBezTo>
                          <a:pt x="30416" y="24444"/>
                          <a:pt x="30416" y="24444"/>
                          <a:pt x="30416" y="24444"/>
                        </a:cubicBezTo>
                        <a:cubicBezTo>
                          <a:pt x="30416" y="22222"/>
                          <a:pt x="30416" y="22222"/>
                          <a:pt x="30416" y="22222"/>
                        </a:cubicBezTo>
                        <a:cubicBezTo>
                          <a:pt x="31250" y="20000"/>
                          <a:pt x="31250" y="20000"/>
                          <a:pt x="31250" y="20000"/>
                        </a:cubicBezTo>
                        <a:cubicBezTo>
                          <a:pt x="30833" y="16000"/>
                          <a:pt x="30833" y="16000"/>
                          <a:pt x="30833" y="16000"/>
                        </a:cubicBezTo>
                        <a:cubicBezTo>
                          <a:pt x="30833" y="16000"/>
                          <a:pt x="30000" y="16000"/>
                          <a:pt x="31250" y="15111"/>
                        </a:cubicBezTo>
                        <a:cubicBezTo>
                          <a:pt x="32916" y="14666"/>
                          <a:pt x="33750" y="14666"/>
                          <a:pt x="33750" y="14666"/>
                        </a:cubicBezTo>
                        <a:cubicBezTo>
                          <a:pt x="34166" y="12000"/>
                          <a:pt x="34166" y="12000"/>
                          <a:pt x="34166" y="12000"/>
                        </a:cubicBezTo>
                        <a:cubicBezTo>
                          <a:pt x="35416" y="10666"/>
                          <a:pt x="35416" y="10666"/>
                          <a:pt x="35416" y="10666"/>
                        </a:cubicBezTo>
                        <a:cubicBezTo>
                          <a:pt x="35416" y="10666"/>
                          <a:pt x="35000" y="10666"/>
                          <a:pt x="36666" y="10666"/>
                        </a:cubicBezTo>
                        <a:cubicBezTo>
                          <a:pt x="38333" y="10666"/>
                          <a:pt x="38750" y="10666"/>
                          <a:pt x="38750" y="10666"/>
                        </a:cubicBezTo>
                        <a:cubicBezTo>
                          <a:pt x="42083" y="10666"/>
                          <a:pt x="42083" y="10666"/>
                          <a:pt x="42083" y="10666"/>
                        </a:cubicBezTo>
                        <a:cubicBezTo>
                          <a:pt x="42916" y="9333"/>
                          <a:pt x="42916" y="9333"/>
                          <a:pt x="42916" y="9333"/>
                        </a:cubicBezTo>
                        <a:cubicBezTo>
                          <a:pt x="42083" y="7111"/>
                          <a:pt x="42083" y="7111"/>
                          <a:pt x="42083" y="7111"/>
                        </a:cubicBezTo>
                        <a:cubicBezTo>
                          <a:pt x="44166" y="4888"/>
                          <a:pt x="44166" y="4888"/>
                          <a:pt x="44166" y="4888"/>
                        </a:cubicBezTo>
                        <a:cubicBezTo>
                          <a:pt x="44583" y="1777"/>
                          <a:pt x="44583" y="1777"/>
                          <a:pt x="44583" y="1777"/>
                        </a:cubicBezTo>
                        <a:cubicBezTo>
                          <a:pt x="46666" y="444"/>
                          <a:pt x="46666" y="444"/>
                          <a:pt x="46666" y="444"/>
                        </a:cubicBezTo>
                        <a:cubicBezTo>
                          <a:pt x="46666" y="444"/>
                          <a:pt x="47916" y="1777"/>
                          <a:pt x="48333" y="1777"/>
                        </a:cubicBezTo>
                        <a:cubicBezTo>
                          <a:pt x="48750" y="1777"/>
                          <a:pt x="49166" y="2222"/>
                          <a:pt x="49583" y="1777"/>
                        </a:cubicBezTo>
                        <a:cubicBezTo>
                          <a:pt x="50000" y="1777"/>
                          <a:pt x="50416" y="888"/>
                          <a:pt x="50416" y="888"/>
                        </a:cubicBezTo>
                        <a:cubicBezTo>
                          <a:pt x="52500" y="0"/>
                          <a:pt x="52500" y="0"/>
                          <a:pt x="52500" y="0"/>
                        </a:cubicBezTo>
                        <a:cubicBezTo>
                          <a:pt x="53750" y="444"/>
                          <a:pt x="53750" y="444"/>
                          <a:pt x="53750" y="444"/>
                        </a:cubicBezTo>
                        <a:cubicBezTo>
                          <a:pt x="54583" y="2222"/>
                          <a:pt x="54583" y="2222"/>
                          <a:pt x="54583" y="2222"/>
                        </a:cubicBezTo>
                        <a:cubicBezTo>
                          <a:pt x="56666" y="2222"/>
                          <a:pt x="56666" y="2222"/>
                          <a:pt x="56666" y="2222"/>
                        </a:cubicBezTo>
                        <a:cubicBezTo>
                          <a:pt x="57083" y="1333"/>
                          <a:pt x="57083" y="1333"/>
                          <a:pt x="57083" y="1333"/>
                        </a:cubicBezTo>
                        <a:cubicBezTo>
                          <a:pt x="60000" y="444"/>
                          <a:pt x="60000" y="444"/>
                          <a:pt x="60000" y="444"/>
                        </a:cubicBezTo>
                        <a:cubicBezTo>
                          <a:pt x="63333" y="444"/>
                          <a:pt x="63333" y="444"/>
                          <a:pt x="63333" y="444"/>
                        </a:cubicBezTo>
                        <a:cubicBezTo>
                          <a:pt x="63750" y="3111"/>
                          <a:pt x="63750" y="3111"/>
                          <a:pt x="63750" y="3111"/>
                        </a:cubicBezTo>
                        <a:cubicBezTo>
                          <a:pt x="63750" y="4444"/>
                          <a:pt x="63750" y="4444"/>
                          <a:pt x="63750" y="4444"/>
                        </a:cubicBezTo>
                        <a:cubicBezTo>
                          <a:pt x="63750" y="4444"/>
                          <a:pt x="64583" y="5777"/>
                          <a:pt x="65416" y="5333"/>
                        </a:cubicBezTo>
                        <a:cubicBezTo>
                          <a:pt x="65833" y="5333"/>
                          <a:pt x="67500" y="4888"/>
                          <a:pt x="67916" y="4000"/>
                        </a:cubicBezTo>
                        <a:cubicBezTo>
                          <a:pt x="67916" y="3111"/>
                          <a:pt x="68333" y="2222"/>
                          <a:pt x="69166" y="1777"/>
                        </a:cubicBezTo>
                        <a:cubicBezTo>
                          <a:pt x="70000" y="1777"/>
                          <a:pt x="69583" y="1333"/>
                          <a:pt x="70833" y="888"/>
                        </a:cubicBezTo>
                        <a:cubicBezTo>
                          <a:pt x="72500" y="444"/>
                          <a:pt x="73750" y="0"/>
                          <a:pt x="73750" y="0"/>
                        </a:cubicBezTo>
                        <a:cubicBezTo>
                          <a:pt x="77500" y="888"/>
                          <a:pt x="77500" y="888"/>
                          <a:pt x="77500" y="888"/>
                        </a:cubicBezTo>
                        <a:cubicBezTo>
                          <a:pt x="78750" y="2222"/>
                          <a:pt x="78750" y="2222"/>
                          <a:pt x="78750" y="2222"/>
                        </a:cubicBezTo>
                        <a:cubicBezTo>
                          <a:pt x="80000" y="3111"/>
                          <a:pt x="80000" y="3111"/>
                          <a:pt x="80000" y="3111"/>
                        </a:cubicBezTo>
                        <a:cubicBezTo>
                          <a:pt x="81250" y="2666"/>
                          <a:pt x="81250" y="2666"/>
                          <a:pt x="81250" y="2666"/>
                        </a:cubicBezTo>
                        <a:cubicBezTo>
                          <a:pt x="81666" y="3555"/>
                          <a:pt x="81666" y="3555"/>
                          <a:pt x="81666" y="3555"/>
                        </a:cubicBezTo>
                        <a:cubicBezTo>
                          <a:pt x="83333" y="2666"/>
                          <a:pt x="83333" y="2666"/>
                          <a:pt x="83333" y="2666"/>
                        </a:cubicBezTo>
                        <a:cubicBezTo>
                          <a:pt x="84166" y="4444"/>
                          <a:pt x="84166" y="4444"/>
                          <a:pt x="84166" y="4444"/>
                        </a:cubicBezTo>
                        <a:cubicBezTo>
                          <a:pt x="84166" y="8000"/>
                          <a:pt x="84166" y="8000"/>
                          <a:pt x="84166" y="8000"/>
                        </a:cubicBezTo>
                        <a:cubicBezTo>
                          <a:pt x="84166" y="9333"/>
                          <a:pt x="84166" y="9333"/>
                          <a:pt x="84166" y="9333"/>
                        </a:cubicBezTo>
                        <a:cubicBezTo>
                          <a:pt x="84166" y="10666"/>
                          <a:pt x="84166" y="10666"/>
                          <a:pt x="84166" y="10666"/>
                        </a:cubicBezTo>
                        <a:cubicBezTo>
                          <a:pt x="86666" y="12444"/>
                          <a:pt x="86666" y="12444"/>
                          <a:pt x="86666" y="12444"/>
                        </a:cubicBezTo>
                        <a:cubicBezTo>
                          <a:pt x="87916" y="13777"/>
                          <a:pt x="87916" y="13777"/>
                          <a:pt x="87916" y="13777"/>
                        </a:cubicBezTo>
                        <a:cubicBezTo>
                          <a:pt x="87500" y="16000"/>
                          <a:pt x="87500" y="16000"/>
                          <a:pt x="87500" y="16000"/>
                        </a:cubicBezTo>
                        <a:cubicBezTo>
                          <a:pt x="87500" y="17333"/>
                          <a:pt x="87500" y="17333"/>
                          <a:pt x="87500" y="17333"/>
                        </a:cubicBezTo>
                        <a:cubicBezTo>
                          <a:pt x="86250" y="20888"/>
                          <a:pt x="86250" y="20888"/>
                          <a:pt x="86250" y="20888"/>
                        </a:cubicBezTo>
                        <a:cubicBezTo>
                          <a:pt x="89166" y="21777"/>
                          <a:pt x="89166" y="21777"/>
                          <a:pt x="89166" y="21777"/>
                        </a:cubicBezTo>
                        <a:cubicBezTo>
                          <a:pt x="90833" y="23555"/>
                          <a:pt x="90833" y="23555"/>
                          <a:pt x="90833" y="23555"/>
                        </a:cubicBezTo>
                        <a:cubicBezTo>
                          <a:pt x="92500" y="23555"/>
                          <a:pt x="92500" y="23555"/>
                          <a:pt x="92500" y="23555"/>
                        </a:cubicBezTo>
                        <a:cubicBezTo>
                          <a:pt x="92500" y="25777"/>
                          <a:pt x="92500" y="25777"/>
                          <a:pt x="92500" y="25777"/>
                        </a:cubicBezTo>
                        <a:cubicBezTo>
                          <a:pt x="92500" y="25777"/>
                          <a:pt x="91666" y="27111"/>
                          <a:pt x="92916" y="27111"/>
                        </a:cubicBezTo>
                        <a:cubicBezTo>
                          <a:pt x="94166" y="27555"/>
                          <a:pt x="94583" y="27555"/>
                          <a:pt x="94583" y="27555"/>
                        </a:cubicBezTo>
                        <a:cubicBezTo>
                          <a:pt x="95000" y="28888"/>
                          <a:pt x="95000" y="28888"/>
                          <a:pt x="95000" y="28888"/>
                        </a:cubicBezTo>
                        <a:cubicBezTo>
                          <a:pt x="97083" y="32000"/>
                          <a:pt x="97083" y="32000"/>
                          <a:pt x="97083" y="32000"/>
                        </a:cubicBezTo>
                        <a:cubicBezTo>
                          <a:pt x="101666" y="32888"/>
                          <a:pt x="101666" y="32888"/>
                          <a:pt x="101666" y="32888"/>
                        </a:cubicBezTo>
                        <a:cubicBezTo>
                          <a:pt x="103750" y="33777"/>
                          <a:pt x="103750" y="33777"/>
                          <a:pt x="103750" y="33777"/>
                        </a:cubicBezTo>
                        <a:cubicBezTo>
                          <a:pt x="104583" y="35555"/>
                          <a:pt x="104583" y="35555"/>
                          <a:pt x="104583" y="35555"/>
                        </a:cubicBezTo>
                        <a:cubicBezTo>
                          <a:pt x="105000" y="39555"/>
                          <a:pt x="105000" y="39555"/>
                          <a:pt x="105000" y="39555"/>
                        </a:cubicBezTo>
                        <a:cubicBezTo>
                          <a:pt x="107083" y="39555"/>
                          <a:pt x="107083" y="39555"/>
                          <a:pt x="107083" y="39555"/>
                        </a:cubicBezTo>
                        <a:cubicBezTo>
                          <a:pt x="108333" y="38222"/>
                          <a:pt x="108333" y="38222"/>
                          <a:pt x="108333" y="38222"/>
                        </a:cubicBezTo>
                        <a:cubicBezTo>
                          <a:pt x="109583" y="37777"/>
                          <a:pt x="109583" y="37777"/>
                          <a:pt x="109583" y="37777"/>
                        </a:cubicBezTo>
                        <a:cubicBezTo>
                          <a:pt x="111250" y="38222"/>
                          <a:pt x="111250" y="38222"/>
                          <a:pt x="111250" y="38222"/>
                        </a:cubicBezTo>
                        <a:cubicBezTo>
                          <a:pt x="113333" y="38666"/>
                          <a:pt x="113333" y="38666"/>
                          <a:pt x="113333" y="38666"/>
                        </a:cubicBezTo>
                        <a:cubicBezTo>
                          <a:pt x="115416" y="38666"/>
                          <a:pt x="115416" y="38666"/>
                          <a:pt x="115416" y="38666"/>
                        </a:cubicBezTo>
                        <a:cubicBezTo>
                          <a:pt x="114583" y="40888"/>
                          <a:pt x="114583" y="40888"/>
                          <a:pt x="114583" y="40888"/>
                        </a:cubicBezTo>
                        <a:cubicBezTo>
                          <a:pt x="116250" y="42222"/>
                          <a:pt x="116250" y="42222"/>
                          <a:pt x="116250" y="42222"/>
                        </a:cubicBezTo>
                        <a:cubicBezTo>
                          <a:pt x="117916" y="42666"/>
                          <a:pt x="117916" y="42666"/>
                          <a:pt x="117916" y="42666"/>
                        </a:cubicBezTo>
                        <a:cubicBezTo>
                          <a:pt x="120000" y="43555"/>
                          <a:pt x="120000" y="43555"/>
                          <a:pt x="120000" y="43555"/>
                        </a:cubicBezTo>
                        <a:cubicBezTo>
                          <a:pt x="120000" y="46222"/>
                          <a:pt x="120000" y="46222"/>
                          <a:pt x="120000" y="46222"/>
                        </a:cubicBezTo>
                        <a:cubicBezTo>
                          <a:pt x="119166" y="47555"/>
                          <a:pt x="119166" y="47555"/>
                          <a:pt x="119166" y="47555"/>
                        </a:cubicBezTo>
                        <a:cubicBezTo>
                          <a:pt x="117500" y="48000"/>
                          <a:pt x="117500" y="48000"/>
                          <a:pt x="117500" y="48000"/>
                        </a:cubicBezTo>
                        <a:cubicBezTo>
                          <a:pt x="117500" y="48000"/>
                          <a:pt x="118333" y="50222"/>
                          <a:pt x="117500" y="50666"/>
                        </a:cubicBezTo>
                        <a:cubicBezTo>
                          <a:pt x="117083" y="51111"/>
                          <a:pt x="114166" y="53777"/>
                          <a:pt x="114166" y="53777"/>
                        </a:cubicBezTo>
                        <a:cubicBezTo>
                          <a:pt x="111250" y="54666"/>
                          <a:pt x="111250" y="54666"/>
                          <a:pt x="111250" y="54666"/>
                        </a:cubicBezTo>
                        <a:cubicBezTo>
                          <a:pt x="108750" y="53777"/>
                          <a:pt x="108750" y="53777"/>
                          <a:pt x="108750" y="53777"/>
                        </a:cubicBezTo>
                        <a:cubicBezTo>
                          <a:pt x="108750" y="53777"/>
                          <a:pt x="108333" y="53333"/>
                          <a:pt x="106666" y="53777"/>
                        </a:cubicBezTo>
                        <a:cubicBezTo>
                          <a:pt x="105000" y="54666"/>
                          <a:pt x="105000" y="55111"/>
                          <a:pt x="105000" y="55111"/>
                        </a:cubicBezTo>
                        <a:cubicBezTo>
                          <a:pt x="104166" y="58222"/>
                          <a:pt x="104166" y="58222"/>
                          <a:pt x="104166" y="58222"/>
                        </a:cubicBezTo>
                        <a:cubicBezTo>
                          <a:pt x="104166" y="59555"/>
                          <a:pt x="104166" y="59555"/>
                          <a:pt x="104166" y="59555"/>
                        </a:cubicBezTo>
                        <a:cubicBezTo>
                          <a:pt x="105833" y="60888"/>
                          <a:pt x="105833" y="60888"/>
                          <a:pt x="105833" y="60888"/>
                        </a:cubicBezTo>
                        <a:cubicBezTo>
                          <a:pt x="107916" y="61333"/>
                          <a:pt x="107916" y="61333"/>
                          <a:pt x="107916" y="61333"/>
                        </a:cubicBezTo>
                        <a:cubicBezTo>
                          <a:pt x="109166" y="63111"/>
                          <a:pt x="109166" y="63111"/>
                          <a:pt x="109166" y="63111"/>
                        </a:cubicBezTo>
                        <a:cubicBezTo>
                          <a:pt x="110000" y="64444"/>
                          <a:pt x="110000" y="64444"/>
                          <a:pt x="110000" y="64444"/>
                        </a:cubicBezTo>
                        <a:cubicBezTo>
                          <a:pt x="109166" y="66222"/>
                          <a:pt x="109166" y="66222"/>
                          <a:pt x="109166" y="66222"/>
                        </a:cubicBezTo>
                        <a:cubicBezTo>
                          <a:pt x="110000" y="67111"/>
                          <a:pt x="110000" y="67111"/>
                          <a:pt x="110000" y="67111"/>
                        </a:cubicBezTo>
                        <a:cubicBezTo>
                          <a:pt x="111666" y="68000"/>
                          <a:pt x="111666" y="68000"/>
                          <a:pt x="111666" y="68000"/>
                        </a:cubicBezTo>
                        <a:cubicBezTo>
                          <a:pt x="110833" y="68888"/>
                          <a:pt x="110833" y="68888"/>
                          <a:pt x="110833" y="68888"/>
                        </a:cubicBezTo>
                        <a:cubicBezTo>
                          <a:pt x="112083" y="71555"/>
                          <a:pt x="112083" y="71555"/>
                          <a:pt x="112083" y="71555"/>
                        </a:cubicBezTo>
                        <a:cubicBezTo>
                          <a:pt x="112916" y="72888"/>
                          <a:pt x="112916" y="72888"/>
                          <a:pt x="112916" y="72888"/>
                        </a:cubicBezTo>
                        <a:cubicBezTo>
                          <a:pt x="112083" y="73777"/>
                          <a:pt x="112083" y="73777"/>
                          <a:pt x="112083" y="73777"/>
                        </a:cubicBezTo>
                        <a:cubicBezTo>
                          <a:pt x="113333" y="74222"/>
                          <a:pt x="113333" y="74222"/>
                          <a:pt x="113333" y="74222"/>
                        </a:cubicBezTo>
                        <a:cubicBezTo>
                          <a:pt x="115000" y="74222"/>
                          <a:pt x="115000" y="74222"/>
                          <a:pt x="115000" y="74222"/>
                        </a:cubicBezTo>
                        <a:cubicBezTo>
                          <a:pt x="115000" y="75555"/>
                          <a:pt x="115000" y="75555"/>
                          <a:pt x="115000" y="75555"/>
                        </a:cubicBezTo>
                        <a:cubicBezTo>
                          <a:pt x="117916" y="77333"/>
                          <a:pt x="117916" y="77333"/>
                          <a:pt x="117916" y="77333"/>
                        </a:cubicBezTo>
                        <a:cubicBezTo>
                          <a:pt x="117083" y="77333"/>
                          <a:pt x="117083" y="77333"/>
                          <a:pt x="117083" y="77333"/>
                        </a:cubicBezTo>
                        <a:cubicBezTo>
                          <a:pt x="113750" y="78222"/>
                          <a:pt x="113750" y="78222"/>
                          <a:pt x="113750" y="78222"/>
                        </a:cubicBezTo>
                        <a:cubicBezTo>
                          <a:pt x="112083" y="80888"/>
                          <a:pt x="112083" y="80888"/>
                          <a:pt x="112083" y="80888"/>
                        </a:cubicBezTo>
                        <a:cubicBezTo>
                          <a:pt x="107083" y="80888"/>
                          <a:pt x="107083" y="80888"/>
                          <a:pt x="107083" y="80888"/>
                        </a:cubicBezTo>
                        <a:cubicBezTo>
                          <a:pt x="106250" y="86222"/>
                          <a:pt x="106250" y="86222"/>
                          <a:pt x="106250" y="86222"/>
                        </a:cubicBezTo>
                        <a:cubicBezTo>
                          <a:pt x="105000" y="89777"/>
                          <a:pt x="105000" y="89777"/>
                          <a:pt x="105000" y="89777"/>
                        </a:cubicBezTo>
                        <a:cubicBezTo>
                          <a:pt x="103750" y="93777"/>
                          <a:pt x="103750" y="93777"/>
                          <a:pt x="103750" y="93777"/>
                        </a:cubicBezTo>
                        <a:cubicBezTo>
                          <a:pt x="104583" y="96000"/>
                          <a:pt x="104583" y="96000"/>
                          <a:pt x="104583" y="96000"/>
                        </a:cubicBezTo>
                        <a:cubicBezTo>
                          <a:pt x="105833" y="99111"/>
                          <a:pt x="105833" y="99111"/>
                          <a:pt x="105833" y="99111"/>
                        </a:cubicBezTo>
                        <a:cubicBezTo>
                          <a:pt x="108333" y="102222"/>
                          <a:pt x="108333" y="102222"/>
                          <a:pt x="108333" y="102222"/>
                        </a:cubicBezTo>
                        <a:cubicBezTo>
                          <a:pt x="108333" y="102222"/>
                          <a:pt x="108333" y="102222"/>
                          <a:pt x="108333" y="102222"/>
                        </a:cubicBezTo>
                        <a:cubicBezTo>
                          <a:pt x="105833" y="103111"/>
                          <a:pt x="105833" y="103111"/>
                          <a:pt x="105833" y="103111"/>
                        </a:cubicBezTo>
                        <a:cubicBezTo>
                          <a:pt x="104166" y="103555"/>
                          <a:pt x="104166" y="103555"/>
                          <a:pt x="104166" y="103555"/>
                        </a:cubicBezTo>
                        <a:cubicBezTo>
                          <a:pt x="102500" y="100888"/>
                          <a:pt x="102500" y="100888"/>
                          <a:pt x="102500" y="100888"/>
                        </a:cubicBezTo>
                        <a:cubicBezTo>
                          <a:pt x="100000" y="100000"/>
                          <a:pt x="100000" y="100000"/>
                          <a:pt x="100000" y="100000"/>
                        </a:cubicBezTo>
                        <a:cubicBezTo>
                          <a:pt x="97083" y="101333"/>
                          <a:pt x="97083" y="101333"/>
                          <a:pt x="97083" y="101333"/>
                        </a:cubicBezTo>
                        <a:cubicBezTo>
                          <a:pt x="94166" y="102222"/>
                          <a:pt x="94166" y="102222"/>
                          <a:pt x="94166" y="102222"/>
                        </a:cubicBezTo>
                        <a:cubicBezTo>
                          <a:pt x="93333" y="102222"/>
                          <a:pt x="93333" y="102222"/>
                          <a:pt x="93333" y="102222"/>
                        </a:cubicBezTo>
                        <a:cubicBezTo>
                          <a:pt x="92500" y="104000"/>
                          <a:pt x="92500" y="104000"/>
                          <a:pt x="92500" y="104000"/>
                        </a:cubicBezTo>
                        <a:cubicBezTo>
                          <a:pt x="90000" y="105333"/>
                          <a:pt x="90000" y="105333"/>
                          <a:pt x="90000" y="105333"/>
                        </a:cubicBezTo>
                        <a:cubicBezTo>
                          <a:pt x="90000" y="105333"/>
                          <a:pt x="89166" y="104444"/>
                          <a:pt x="88750" y="104000"/>
                        </a:cubicBezTo>
                        <a:cubicBezTo>
                          <a:pt x="88333" y="103555"/>
                          <a:pt x="87083" y="102666"/>
                          <a:pt x="87083" y="102666"/>
                        </a:cubicBezTo>
                        <a:cubicBezTo>
                          <a:pt x="87083" y="102666"/>
                          <a:pt x="86666" y="101777"/>
                          <a:pt x="86250" y="101333"/>
                        </a:cubicBezTo>
                        <a:cubicBezTo>
                          <a:pt x="85833" y="101333"/>
                          <a:pt x="83333" y="103111"/>
                          <a:pt x="83333" y="103111"/>
                        </a:cubicBezTo>
                        <a:cubicBezTo>
                          <a:pt x="83333" y="103111"/>
                          <a:pt x="81250" y="104444"/>
                          <a:pt x="81250" y="104888"/>
                        </a:cubicBezTo>
                        <a:cubicBezTo>
                          <a:pt x="81666" y="104888"/>
                          <a:pt x="81250" y="107111"/>
                          <a:pt x="81250" y="107111"/>
                        </a:cubicBezTo>
                        <a:cubicBezTo>
                          <a:pt x="78333" y="104444"/>
                          <a:pt x="78333" y="104444"/>
                          <a:pt x="78333" y="104444"/>
                        </a:cubicBezTo>
                        <a:cubicBezTo>
                          <a:pt x="76250" y="106222"/>
                          <a:pt x="76250" y="106222"/>
                          <a:pt x="76250" y="106222"/>
                        </a:cubicBezTo>
                        <a:cubicBezTo>
                          <a:pt x="74583" y="104888"/>
                          <a:pt x="74583" y="104888"/>
                          <a:pt x="74583" y="104888"/>
                        </a:cubicBezTo>
                        <a:cubicBezTo>
                          <a:pt x="73750" y="104444"/>
                          <a:pt x="73750" y="104444"/>
                          <a:pt x="73750" y="104444"/>
                        </a:cubicBezTo>
                        <a:cubicBezTo>
                          <a:pt x="71250" y="107555"/>
                          <a:pt x="71250" y="107555"/>
                          <a:pt x="71250" y="107555"/>
                        </a:cubicBezTo>
                        <a:cubicBezTo>
                          <a:pt x="69583" y="106666"/>
                          <a:pt x="69583" y="106666"/>
                          <a:pt x="69583" y="106666"/>
                        </a:cubicBezTo>
                        <a:cubicBezTo>
                          <a:pt x="68750" y="109777"/>
                          <a:pt x="68750" y="109777"/>
                          <a:pt x="68750" y="109777"/>
                        </a:cubicBezTo>
                        <a:cubicBezTo>
                          <a:pt x="66666" y="108000"/>
                          <a:pt x="66666" y="108000"/>
                          <a:pt x="66666" y="108000"/>
                        </a:cubicBezTo>
                        <a:cubicBezTo>
                          <a:pt x="66666" y="108000"/>
                          <a:pt x="64583" y="107555"/>
                          <a:pt x="64166" y="107555"/>
                        </a:cubicBezTo>
                        <a:cubicBezTo>
                          <a:pt x="63750" y="107555"/>
                          <a:pt x="62500" y="109333"/>
                          <a:pt x="62500" y="109333"/>
                        </a:cubicBezTo>
                        <a:cubicBezTo>
                          <a:pt x="60416" y="107555"/>
                          <a:pt x="60416" y="107555"/>
                          <a:pt x="60416" y="107555"/>
                        </a:cubicBezTo>
                        <a:cubicBezTo>
                          <a:pt x="58750" y="106222"/>
                          <a:pt x="58750" y="106222"/>
                          <a:pt x="58750" y="106222"/>
                        </a:cubicBezTo>
                        <a:cubicBezTo>
                          <a:pt x="58750" y="106222"/>
                          <a:pt x="54166" y="106666"/>
                          <a:pt x="53750" y="106666"/>
                        </a:cubicBezTo>
                        <a:cubicBezTo>
                          <a:pt x="53333" y="106666"/>
                          <a:pt x="50416" y="106222"/>
                          <a:pt x="50416" y="106222"/>
                        </a:cubicBezTo>
                        <a:cubicBezTo>
                          <a:pt x="46666" y="107111"/>
                          <a:pt x="46666" y="107111"/>
                          <a:pt x="46666" y="107111"/>
                        </a:cubicBezTo>
                        <a:cubicBezTo>
                          <a:pt x="41250" y="107111"/>
                          <a:pt x="41250" y="107111"/>
                          <a:pt x="41250" y="107111"/>
                        </a:cubicBezTo>
                        <a:cubicBezTo>
                          <a:pt x="36250" y="107555"/>
                          <a:pt x="36250" y="107555"/>
                          <a:pt x="36250" y="107555"/>
                        </a:cubicBezTo>
                        <a:cubicBezTo>
                          <a:pt x="32500" y="107555"/>
                          <a:pt x="32500" y="107555"/>
                          <a:pt x="32500" y="107555"/>
                        </a:cubicBezTo>
                        <a:cubicBezTo>
                          <a:pt x="29583" y="109777"/>
                          <a:pt x="29583" y="109777"/>
                          <a:pt x="29583" y="109777"/>
                        </a:cubicBezTo>
                        <a:cubicBezTo>
                          <a:pt x="26666" y="110222"/>
                          <a:pt x="26666" y="110222"/>
                          <a:pt x="26666" y="110222"/>
                        </a:cubicBezTo>
                        <a:cubicBezTo>
                          <a:pt x="23333" y="110666"/>
                          <a:pt x="23333" y="110666"/>
                          <a:pt x="23333" y="110666"/>
                        </a:cubicBezTo>
                        <a:cubicBezTo>
                          <a:pt x="22916" y="110666"/>
                          <a:pt x="22916" y="110666"/>
                          <a:pt x="22916" y="110666"/>
                        </a:cubicBezTo>
                        <a:cubicBezTo>
                          <a:pt x="22500" y="111111"/>
                          <a:pt x="22500" y="111111"/>
                          <a:pt x="22500" y="111111"/>
                        </a:cubicBezTo>
                        <a:cubicBezTo>
                          <a:pt x="21250" y="112000"/>
                          <a:pt x="21250" y="112000"/>
                          <a:pt x="21250" y="112000"/>
                        </a:cubicBezTo>
                        <a:cubicBezTo>
                          <a:pt x="21250" y="112444"/>
                          <a:pt x="21250" y="112444"/>
                          <a:pt x="21250" y="112444"/>
                        </a:cubicBezTo>
                        <a:cubicBezTo>
                          <a:pt x="20416" y="113333"/>
                          <a:pt x="20416" y="113333"/>
                          <a:pt x="20416" y="113333"/>
                        </a:cubicBezTo>
                        <a:cubicBezTo>
                          <a:pt x="20000" y="115555"/>
                          <a:pt x="20000" y="115555"/>
                          <a:pt x="20000" y="115555"/>
                        </a:cubicBezTo>
                        <a:cubicBezTo>
                          <a:pt x="19583" y="116444"/>
                          <a:pt x="18750" y="117333"/>
                          <a:pt x="18333" y="118222"/>
                        </a:cubicBezTo>
                        <a:cubicBezTo>
                          <a:pt x="18333" y="118222"/>
                          <a:pt x="18333" y="118222"/>
                          <a:pt x="18333" y="118222"/>
                        </a:cubicBezTo>
                        <a:cubicBezTo>
                          <a:pt x="18333" y="118222"/>
                          <a:pt x="17083" y="117777"/>
                          <a:pt x="17083" y="118666"/>
                        </a:cubicBezTo>
                        <a:cubicBezTo>
                          <a:pt x="17083" y="119111"/>
                          <a:pt x="17083" y="119111"/>
                          <a:pt x="17083" y="119111"/>
                        </a:cubicBezTo>
                        <a:cubicBezTo>
                          <a:pt x="15833" y="119555"/>
                          <a:pt x="13750" y="118666"/>
                          <a:pt x="13750" y="118666"/>
                        </a:cubicBezTo>
                        <a:cubicBezTo>
                          <a:pt x="11250" y="120000"/>
                          <a:pt x="11250" y="120000"/>
                          <a:pt x="11250" y="120000"/>
                        </a:cubicBezTo>
                        <a:cubicBezTo>
                          <a:pt x="11250" y="120000"/>
                          <a:pt x="11250" y="120000"/>
                          <a:pt x="11250" y="120000"/>
                        </a:cubicBezTo>
                        <a:cubicBezTo>
                          <a:pt x="11250" y="119555"/>
                          <a:pt x="10416" y="117777"/>
                          <a:pt x="10416" y="117777"/>
                        </a:cubicBezTo>
                        <a:cubicBezTo>
                          <a:pt x="10416" y="117777"/>
                          <a:pt x="10833" y="114666"/>
                          <a:pt x="10833" y="114666"/>
                        </a:cubicBezTo>
                        <a:cubicBezTo>
                          <a:pt x="10833" y="114222"/>
                          <a:pt x="10416" y="110666"/>
                          <a:pt x="10416" y="110666"/>
                        </a:cubicBezTo>
                        <a:cubicBezTo>
                          <a:pt x="10416" y="108888"/>
                          <a:pt x="10416" y="108888"/>
                          <a:pt x="10416" y="108888"/>
                        </a:cubicBezTo>
                        <a:cubicBezTo>
                          <a:pt x="7916" y="107111"/>
                          <a:pt x="7916" y="107111"/>
                          <a:pt x="7916" y="107111"/>
                        </a:cubicBezTo>
                        <a:cubicBezTo>
                          <a:pt x="7916" y="107111"/>
                          <a:pt x="5000" y="106666"/>
                          <a:pt x="4166" y="106666"/>
                        </a:cubicBezTo>
                        <a:cubicBezTo>
                          <a:pt x="3750" y="106666"/>
                          <a:pt x="3333" y="105333"/>
                          <a:pt x="3333" y="105333"/>
                        </a:cubicBezTo>
                        <a:cubicBezTo>
                          <a:pt x="3750" y="104000"/>
                          <a:pt x="3750" y="104000"/>
                          <a:pt x="3750" y="104000"/>
                        </a:cubicBezTo>
                        <a:cubicBezTo>
                          <a:pt x="5000" y="100000"/>
                          <a:pt x="5000" y="100000"/>
                          <a:pt x="5000" y="100000"/>
                        </a:cubicBezTo>
                        <a:cubicBezTo>
                          <a:pt x="7083" y="96888"/>
                          <a:pt x="7083" y="96888"/>
                          <a:pt x="7083" y="96888"/>
                        </a:cubicBezTo>
                        <a:cubicBezTo>
                          <a:pt x="8750" y="96000"/>
                          <a:pt x="8750" y="96000"/>
                          <a:pt x="8750" y="96000"/>
                        </a:cubicBezTo>
                        <a:cubicBezTo>
                          <a:pt x="8750" y="96000"/>
                          <a:pt x="10416" y="93333"/>
                          <a:pt x="10833" y="92888"/>
                        </a:cubicBezTo>
                        <a:cubicBezTo>
                          <a:pt x="11250" y="92888"/>
                          <a:pt x="10833" y="90666"/>
                          <a:pt x="10416" y="90666"/>
                        </a:cubicBezTo>
                        <a:cubicBezTo>
                          <a:pt x="10416" y="90222"/>
                          <a:pt x="10416" y="88888"/>
                          <a:pt x="10416" y="88444"/>
                        </a:cubicBezTo>
                        <a:cubicBezTo>
                          <a:pt x="10416" y="87555"/>
                          <a:pt x="9166" y="86222"/>
                          <a:pt x="9166" y="86222"/>
                        </a:cubicBezTo>
                        <a:cubicBezTo>
                          <a:pt x="8750" y="82666"/>
                          <a:pt x="8750" y="82666"/>
                          <a:pt x="8750" y="82666"/>
                        </a:cubicBezTo>
                        <a:cubicBezTo>
                          <a:pt x="7916" y="81777"/>
                          <a:pt x="7916" y="81777"/>
                          <a:pt x="7916" y="81777"/>
                        </a:cubicBezTo>
                        <a:cubicBezTo>
                          <a:pt x="7916" y="81333"/>
                          <a:pt x="7916" y="81333"/>
                          <a:pt x="7916" y="81333"/>
                        </a:cubicBezTo>
                        <a:cubicBezTo>
                          <a:pt x="5416" y="77777"/>
                          <a:pt x="5416" y="77777"/>
                          <a:pt x="5416" y="77777"/>
                        </a:cubicBezTo>
                        <a:cubicBezTo>
                          <a:pt x="3333" y="72888"/>
                          <a:pt x="3333" y="72888"/>
                          <a:pt x="3333" y="72888"/>
                        </a:cubicBezTo>
                        <a:cubicBezTo>
                          <a:pt x="3333" y="72888"/>
                          <a:pt x="833" y="68444"/>
                          <a:pt x="416" y="66666"/>
                        </a:cubicBezTo>
                        <a:cubicBezTo>
                          <a:pt x="0" y="65333"/>
                          <a:pt x="0" y="65333"/>
                          <a:pt x="0" y="65333"/>
                        </a:cubicBezTo>
                        <a:cubicBezTo>
                          <a:pt x="3750" y="64444"/>
                          <a:pt x="3750" y="64444"/>
                          <a:pt x="3750" y="64444"/>
                        </a:cubicBezTo>
                        <a:cubicBezTo>
                          <a:pt x="7916" y="62666"/>
                          <a:pt x="7916" y="62666"/>
                          <a:pt x="7916" y="62666"/>
                        </a:cubicBezTo>
                        <a:cubicBezTo>
                          <a:pt x="10416" y="63111"/>
                          <a:pt x="10416" y="63111"/>
                          <a:pt x="10416" y="63111"/>
                        </a:cubicBezTo>
                        <a:cubicBezTo>
                          <a:pt x="13333" y="62666"/>
                          <a:pt x="13333" y="62666"/>
                          <a:pt x="13333" y="62666"/>
                        </a:cubicBezTo>
                        <a:cubicBezTo>
                          <a:pt x="15000" y="60444"/>
                          <a:pt x="15000" y="60444"/>
                          <a:pt x="15000" y="60444"/>
                        </a:cubicBezTo>
                        <a:cubicBezTo>
                          <a:pt x="17083" y="60444"/>
                          <a:pt x="17083" y="60444"/>
                          <a:pt x="17083" y="60444"/>
                        </a:cubicBezTo>
                        <a:cubicBezTo>
                          <a:pt x="16250" y="57333"/>
                          <a:pt x="16250" y="57333"/>
                          <a:pt x="16250" y="57333"/>
                        </a:cubicBezTo>
                        <a:cubicBezTo>
                          <a:pt x="16250" y="57333"/>
                          <a:pt x="16666" y="56000"/>
                          <a:pt x="17083" y="56444"/>
                        </a:cubicBezTo>
                        <a:cubicBezTo>
                          <a:pt x="17916" y="56444"/>
                          <a:pt x="19583" y="56444"/>
                          <a:pt x="19583" y="56444"/>
                        </a:cubicBezTo>
                        <a:cubicBezTo>
                          <a:pt x="20416" y="54666"/>
                          <a:pt x="20416" y="54666"/>
                          <a:pt x="20416" y="54666"/>
                        </a:cubicBezTo>
                        <a:cubicBezTo>
                          <a:pt x="20416" y="53777"/>
                          <a:pt x="20416" y="53777"/>
                          <a:pt x="20416" y="53777"/>
                        </a:cubicBezTo>
                        <a:cubicBezTo>
                          <a:pt x="23333" y="52888"/>
                          <a:pt x="23333" y="52888"/>
                          <a:pt x="23333" y="52888"/>
                        </a:cubicBezTo>
                        <a:cubicBezTo>
                          <a:pt x="24583" y="51555"/>
                          <a:pt x="24583" y="51555"/>
                          <a:pt x="24583" y="51555"/>
                        </a:cubicBezTo>
                        <a:cubicBezTo>
                          <a:pt x="25416" y="52444"/>
                          <a:pt x="25416" y="52444"/>
                          <a:pt x="25416" y="52444"/>
                        </a:cubicBezTo>
                        <a:cubicBezTo>
                          <a:pt x="25000" y="54222"/>
                          <a:pt x="25000" y="54222"/>
                          <a:pt x="25000" y="54222"/>
                        </a:cubicBezTo>
                        <a:cubicBezTo>
                          <a:pt x="27083" y="53777"/>
                          <a:pt x="27083" y="53777"/>
                          <a:pt x="27083" y="53777"/>
                        </a:cubicBezTo>
                        <a:cubicBezTo>
                          <a:pt x="27916" y="51111"/>
                          <a:pt x="27916" y="51111"/>
                          <a:pt x="27916" y="51111"/>
                        </a:cubicBezTo>
                        <a:cubicBezTo>
                          <a:pt x="27083" y="50666"/>
                          <a:pt x="27083" y="50666"/>
                          <a:pt x="27083" y="50666"/>
                        </a:cubicBezTo>
                        <a:cubicBezTo>
                          <a:pt x="25000" y="49777"/>
                          <a:pt x="25000" y="49777"/>
                          <a:pt x="25000" y="49777"/>
                        </a:cubicBezTo>
                        <a:cubicBezTo>
                          <a:pt x="25000" y="49777"/>
                          <a:pt x="24166" y="50222"/>
                          <a:pt x="24166" y="49333"/>
                        </a:cubicBezTo>
                        <a:cubicBezTo>
                          <a:pt x="24583" y="48000"/>
                          <a:pt x="25416" y="45777"/>
                          <a:pt x="25416" y="45777"/>
                        </a:cubicBezTo>
                        <a:cubicBezTo>
                          <a:pt x="25000" y="43111"/>
                          <a:pt x="25000" y="43111"/>
                          <a:pt x="25000" y="43111"/>
                        </a:cubicBezTo>
                        <a:cubicBezTo>
                          <a:pt x="24583" y="40000"/>
                          <a:pt x="24583" y="40000"/>
                          <a:pt x="24583" y="40000"/>
                        </a:cubicBezTo>
                        <a:cubicBezTo>
                          <a:pt x="25000" y="38222"/>
                          <a:pt x="25000" y="38222"/>
                          <a:pt x="25000" y="38222"/>
                        </a:cubicBezTo>
                        <a:cubicBezTo>
                          <a:pt x="25000" y="36444"/>
                          <a:pt x="25000" y="36444"/>
                          <a:pt x="25000" y="36444"/>
                        </a:cubicBezTo>
                        <a:cubicBezTo>
                          <a:pt x="25833" y="34666"/>
                          <a:pt x="25833" y="34666"/>
                          <a:pt x="25833" y="34666"/>
                        </a:cubicBezTo>
                        <a:cubicBezTo>
                          <a:pt x="29166" y="33333"/>
                          <a:pt x="29166" y="33333"/>
                          <a:pt x="29166" y="33333"/>
                        </a:cubicBezTo>
                        <a:cubicBezTo>
                          <a:pt x="29166" y="30222"/>
                          <a:pt x="29166" y="30222"/>
                          <a:pt x="29166" y="30222"/>
                        </a:cubicBezTo>
                        <a:cubicBezTo>
                          <a:pt x="30416" y="28888"/>
                          <a:pt x="30416" y="28888"/>
                          <a:pt x="30416" y="28888"/>
                        </a:cubicBezTo>
                        <a:lnTo>
                          <a:pt x="33750" y="29333"/>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49" name="Shape 2032"/>
                  <p:cNvSpPr/>
                  <p:nvPr/>
                </p:nvSpPr>
                <p:spPr>
                  <a:xfrm>
                    <a:off x="6376066" y="2862203"/>
                    <a:ext cx="354016" cy="336671"/>
                  </a:xfrm>
                  <a:custGeom>
                    <a:avLst/>
                    <a:gdLst/>
                    <a:ahLst/>
                    <a:cxnLst/>
                    <a:rect l="0" t="0" r="0" b="0"/>
                    <a:pathLst>
                      <a:path w="120000" h="120000" extrusionOk="0">
                        <a:moveTo>
                          <a:pt x="76645" y="120000"/>
                        </a:moveTo>
                        <a:cubicBezTo>
                          <a:pt x="77419" y="116842"/>
                          <a:pt x="77419" y="116842"/>
                          <a:pt x="77419" y="116842"/>
                        </a:cubicBezTo>
                        <a:cubicBezTo>
                          <a:pt x="77419" y="116842"/>
                          <a:pt x="79741" y="116052"/>
                          <a:pt x="80516" y="116052"/>
                        </a:cubicBezTo>
                        <a:cubicBezTo>
                          <a:pt x="81290" y="115263"/>
                          <a:pt x="82064" y="116052"/>
                          <a:pt x="82838" y="115263"/>
                        </a:cubicBezTo>
                        <a:cubicBezTo>
                          <a:pt x="83612" y="115263"/>
                          <a:pt x="85161" y="114473"/>
                          <a:pt x="85161" y="114473"/>
                        </a:cubicBezTo>
                        <a:cubicBezTo>
                          <a:pt x="84387" y="114473"/>
                          <a:pt x="84387" y="114473"/>
                          <a:pt x="84387" y="114473"/>
                        </a:cubicBezTo>
                        <a:cubicBezTo>
                          <a:pt x="84387" y="112894"/>
                          <a:pt x="84387" y="112894"/>
                          <a:pt x="84387" y="112894"/>
                        </a:cubicBezTo>
                        <a:cubicBezTo>
                          <a:pt x="85161" y="111315"/>
                          <a:pt x="85161" y="111315"/>
                          <a:pt x="85161" y="111315"/>
                        </a:cubicBezTo>
                        <a:cubicBezTo>
                          <a:pt x="82064" y="109736"/>
                          <a:pt x="82064" y="109736"/>
                          <a:pt x="82064" y="109736"/>
                        </a:cubicBezTo>
                        <a:cubicBezTo>
                          <a:pt x="82838" y="108157"/>
                          <a:pt x="82838" y="108157"/>
                          <a:pt x="82838" y="108157"/>
                        </a:cubicBezTo>
                        <a:cubicBezTo>
                          <a:pt x="82838" y="108157"/>
                          <a:pt x="82064" y="106578"/>
                          <a:pt x="82838" y="106578"/>
                        </a:cubicBezTo>
                        <a:cubicBezTo>
                          <a:pt x="83612" y="106578"/>
                          <a:pt x="83612" y="104210"/>
                          <a:pt x="83612" y="104210"/>
                        </a:cubicBezTo>
                        <a:cubicBezTo>
                          <a:pt x="84387" y="102631"/>
                          <a:pt x="84387" y="102631"/>
                          <a:pt x="84387" y="102631"/>
                        </a:cubicBezTo>
                        <a:cubicBezTo>
                          <a:pt x="85935" y="102631"/>
                          <a:pt x="85935" y="102631"/>
                          <a:pt x="85935" y="102631"/>
                        </a:cubicBezTo>
                        <a:cubicBezTo>
                          <a:pt x="85935" y="102631"/>
                          <a:pt x="85935" y="101052"/>
                          <a:pt x="86709" y="100263"/>
                        </a:cubicBezTo>
                        <a:cubicBezTo>
                          <a:pt x="86709" y="100263"/>
                          <a:pt x="87483" y="99473"/>
                          <a:pt x="87483" y="99473"/>
                        </a:cubicBezTo>
                        <a:cubicBezTo>
                          <a:pt x="86709" y="97105"/>
                          <a:pt x="86709" y="97105"/>
                          <a:pt x="86709" y="97105"/>
                        </a:cubicBezTo>
                        <a:cubicBezTo>
                          <a:pt x="86709" y="97105"/>
                          <a:pt x="85161" y="94736"/>
                          <a:pt x="85935" y="94736"/>
                        </a:cubicBezTo>
                        <a:cubicBezTo>
                          <a:pt x="86709" y="94736"/>
                          <a:pt x="87483" y="93947"/>
                          <a:pt x="87483" y="93947"/>
                        </a:cubicBezTo>
                        <a:cubicBezTo>
                          <a:pt x="87483" y="93947"/>
                          <a:pt x="89806" y="91578"/>
                          <a:pt x="90580" y="91578"/>
                        </a:cubicBezTo>
                        <a:cubicBezTo>
                          <a:pt x="90580" y="91578"/>
                          <a:pt x="92129" y="90000"/>
                          <a:pt x="92129" y="89210"/>
                        </a:cubicBezTo>
                        <a:cubicBezTo>
                          <a:pt x="91354" y="88421"/>
                          <a:pt x="90580" y="87631"/>
                          <a:pt x="90580" y="87631"/>
                        </a:cubicBezTo>
                        <a:cubicBezTo>
                          <a:pt x="91354" y="84473"/>
                          <a:pt x="91354" y="84473"/>
                          <a:pt x="91354" y="84473"/>
                        </a:cubicBezTo>
                        <a:cubicBezTo>
                          <a:pt x="91354" y="84473"/>
                          <a:pt x="92129" y="82894"/>
                          <a:pt x="91354" y="82894"/>
                        </a:cubicBezTo>
                        <a:cubicBezTo>
                          <a:pt x="90580" y="82105"/>
                          <a:pt x="89032" y="82105"/>
                          <a:pt x="89032" y="82105"/>
                        </a:cubicBezTo>
                        <a:cubicBezTo>
                          <a:pt x="87483" y="80526"/>
                          <a:pt x="87483" y="80526"/>
                          <a:pt x="87483" y="80526"/>
                        </a:cubicBezTo>
                        <a:cubicBezTo>
                          <a:pt x="87483" y="78157"/>
                          <a:pt x="87483" y="78157"/>
                          <a:pt x="87483" y="78157"/>
                        </a:cubicBezTo>
                        <a:cubicBezTo>
                          <a:pt x="85935" y="75789"/>
                          <a:pt x="85935" y="75789"/>
                          <a:pt x="85935" y="75789"/>
                        </a:cubicBezTo>
                        <a:cubicBezTo>
                          <a:pt x="85935" y="75789"/>
                          <a:pt x="85935" y="74210"/>
                          <a:pt x="85935" y="73421"/>
                        </a:cubicBezTo>
                        <a:cubicBezTo>
                          <a:pt x="86709" y="73421"/>
                          <a:pt x="88258" y="70263"/>
                          <a:pt x="88258" y="69473"/>
                        </a:cubicBezTo>
                        <a:cubicBezTo>
                          <a:pt x="89032" y="69473"/>
                          <a:pt x="92129" y="66315"/>
                          <a:pt x="92129" y="66315"/>
                        </a:cubicBezTo>
                        <a:cubicBezTo>
                          <a:pt x="93677" y="70263"/>
                          <a:pt x="93677" y="70263"/>
                          <a:pt x="93677" y="70263"/>
                        </a:cubicBezTo>
                        <a:cubicBezTo>
                          <a:pt x="93677" y="73421"/>
                          <a:pt x="93677" y="73421"/>
                          <a:pt x="93677" y="73421"/>
                        </a:cubicBezTo>
                        <a:cubicBezTo>
                          <a:pt x="93677" y="73421"/>
                          <a:pt x="92903" y="75000"/>
                          <a:pt x="93677" y="75000"/>
                        </a:cubicBezTo>
                        <a:cubicBezTo>
                          <a:pt x="95225" y="74210"/>
                          <a:pt x="95225" y="72631"/>
                          <a:pt x="95225" y="72631"/>
                        </a:cubicBezTo>
                        <a:cubicBezTo>
                          <a:pt x="96000" y="71842"/>
                          <a:pt x="96000" y="71842"/>
                          <a:pt x="96000" y="71842"/>
                        </a:cubicBezTo>
                        <a:cubicBezTo>
                          <a:pt x="96000" y="71842"/>
                          <a:pt x="94451" y="69473"/>
                          <a:pt x="95225" y="69473"/>
                        </a:cubicBezTo>
                        <a:cubicBezTo>
                          <a:pt x="96000" y="69473"/>
                          <a:pt x="96000" y="67894"/>
                          <a:pt x="96000" y="69473"/>
                        </a:cubicBezTo>
                        <a:cubicBezTo>
                          <a:pt x="96774" y="70263"/>
                          <a:pt x="96774" y="71842"/>
                          <a:pt x="97548" y="71052"/>
                        </a:cubicBezTo>
                        <a:cubicBezTo>
                          <a:pt x="99096" y="71052"/>
                          <a:pt x="99096" y="71842"/>
                          <a:pt x="99096" y="71052"/>
                        </a:cubicBezTo>
                        <a:cubicBezTo>
                          <a:pt x="99870" y="70263"/>
                          <a:pt x="99870" y="69473"/>
                          <a:pt x="99870" y="69473"/>
                        </a:cubicBezTo>
                        <a:cubicBezTo>
                          <a:pt x="100645" y="68684"/>
                          <a:pt x="100645" y="68684"/>
                          <a:pt x="100645" y="68684"/>
                        </a:cubicBezTo>
                        <a:cubicBezTo>
                          <a:pt x="100645" y="68684"/>
                          <a:pt x="100645" y="70263"/>
                          <a:pt x="101419" y="70263"/>
                        </a:cubicBezTo>
                        <a:cubicBezTo>
                          <a:pt x="102193" y="70263"/>
                          <a:pt x="103741" y="70263"/>
                          <a:pt x="103741" y="70263"/>
                        </a:cubicBezTo>
                        <a:cubicBezTo>
                          <a:pt x="105290" y="71052"/>
                          <a:pt x="105290" y="71052"/>
                          <a:pt x="105290" y="71052"/>
                        </a:cubicBezTo>
                        <a:cubicBezTo>
                          <a:pt x="105290" y="71052"/>
                          <a:pt x="106064" y="71052"/>
                          <a:pt x="106064" y="70263"/>
                        </a:cubicBezTo>
                        <a:cubicBezTo>
                          <a:pt x="106064" y="69473"/>
                          <a:pt x="106064" y="68684"/>
                          <a:pt x="106064" y="68684"/>
                        </a:cubicBezTo>
                        <a:cubicBezTo>
                          <a:pt x="107612" y="67894"/>
                          <a:pt x="107612" y="67894"/>
                          <a:pt x="107612" y="67894"/>
                        </a:cubicBezTo>
                        <a:cubicBezTo>
                          <a:pt x="107612" y="65526"/>
                          <a:pt x="107612" y="65526"/>
                          <a:pt x="107612" y="65526"/>
                        </a:cubicBezTo>
                        <a:cubicBezTo>
                          <a:pt x="110709" y="67894"/>
                          <a:pt x="110709" y="67894"/>
                          <a:pt x="110709" y="67894"/>
                        </a:cubicBezTo>
                        <a:cubicBezTo>
                          <a:pt x="111483" y="70263"/>
                          <a:pt x="111483" y="70263"/>
                          <a:pt x="111483" y="70263"/>
                        </a:cubicBezTo>
                        <a:cubicBezTo>
                          <a:pt x="113032" y="69473"/>
                          <a:pt x="113032" y="69473"/>
                          <a:pt x="113032" y="69473"/>
                        </a:cubicBezTo>
                        <a:cubicBezTo>
                          <a:pt x="113806" y="67105"/>
                          <a:pt x="113806" y="67105"/>
                          <a:pt x="113806" y="67105"/>
                        </a:cubicBezTo>
                        <a:cubicBezTo>
                          <a:pt x="113806" y="67105"/>
                          <a:pt x="116129" y="67105"/>
                          <a:pt x="116903" y="66315"/>
                        </a:cubicBezTo>
                        <a:cubicBezTo>
                          <a:pt x="117677" y="66315"/>
                          <a:pt x="120000" y="65526"/>
                          <a:pt x="120000" y="65526"/>
                        </a:cubicBezTo>
                        <a:cubicBezTo>
                          <a:pt x="120000" y="64736"/>
                          <a:pt x="118451" y="63947"/>
                          <a:pt x="117677" y="64736"/>
                        </a:cubicBezTo>
                        <a:cubicBezTo>
                          <a:pt x="116903" y="64736"/>
                          <a:pt x="115354" y="65526"/>
                          <a:pt x="114580" y="64736"/>
                        </a:cubicBezTo>
                        <a:cubicBezTo>
                          <a:pt x="114580" y="63947"/>
                          <a:pt x="113032" y="62368"/>
                          <a:pt x="113032" y="62368"/>
                        </a:cubicBezTo>
                        <a:cubicBezTo>
                          <a:pt x="111483" y="62368"/>
                          <a:pt x="111483" y="62368"/>
                          <a:pt x="111483" y="62368"/>
                        </a:cubicBezTo>
                        <a:cubicBezTo>
                          <a:pt x="111483" y="62368"/>
                          <a:pt x="109935" y="61578"/>
                          <a:pt x="110709" y="60789"/>
                        </a:cubicBezTo>
                        <a:cubicBezTo>
                          <a:pt x="111483" y="60000"/>
                          <a:pt x="112258" y="60000"/>
                          <a:pt x="112258" y="60000"/>
                        </a:cubicBezTo>
                        <a:cubicBezTo>
                          <a:pt x="112258" y="60000"/>
                          <a:pt x="111483" y="58421"/>
                          <a:pt x="111483" y="57631"/>
                        </a:cubicBezTo>
                        <a:cubicBezTo>
                          <a:pt x="111483" y="56842"/>
                          <a:pt x="111483" y="55263"/>
                          <a:pt x="110709" y="54473"/>
                        </a:cubicBezTo>
                        <a:cubicBezTo>
                          <a:pt x="110709" y="54473"/>
                          <a:pt x="109161" y="51315"/>
                          <a:pt x="109161" y="51315"/>
                        </a:cubicBezTo>
                        <a:cubicBezTo>
                          <a:pt x="109161" y="49736"/>
                          <a:pt x="109161" y="49736"/>
                          <a:pt x="109161" y="49736"/>
                        </a:cubicBezTo>
                        <a:cubicBezTo>
                          <a:pt x="107612" y="50526"/>
                          <a:pt x="107612" y="50526"/>
                          <a:pt x="107612" y="50526"/>
                        </a:cubicBezTo>
                        <a:cubicBezTo>
                          <a:pt x="106064" y="48947"/>
                          <a:pt x="106064" y="48947"/>
                          <a:pt x="106064" y="48947"/>
                        </a:cubicBezTo>
                        <a:cubicBezTo>
                          <a:pt x="106064" y="48947"/>
                          <a:pt x="104516" y="48947"/>
                          <a:pt x="104516" y="49736"/>
                        </a:cubicBezTo>
                        <a:cubicBezTo>
                          <a:pt x="103741" y="49736"/>
                          <a:pt x="102967" y="48947"/>
                          <a:pt x="102967" y="48947"/>
                        </a:cubicBezTo>
                        <a:cubicBezTo>
                          <a:pt x="101419" y="48947"/>
                          <a:pt x="101419" y="48947"/>
                          <a:pt x="101419" y="48947"/>
                        </a:cubicBezTo>
                        <a:cubicBezTo>
                          <a:pt x="101419" y="48947"/>
                          <a:pt x="101419" y="48947"/>
                          <a:pt x="99870" y="48947"/>
                        </a:cubicBezTo>
                        <a:cubicBezTo>
                          <a:pt x="99096" y="48947"/>
                          <a:pt x="97548" y="48157"/>
                          <a:pt x="96774" y="48157"/>
                        </a:cubicBezTo>
                        <a:cubicBezTo>
                          <a:pt x="96774" y="47368"/>
                          <a:pt x="96774" y="46578"/>
                          <a:pt x="96774" y="46578"/>
                        </a:cubicBezTo>
                        <a:cubicBezTo>
                          <a:pt x="97548" y="45789"/>
                          <a:pt x="97548" y="45000"/>
                          <a:pt x="97548" y="45000"/>
                        </a:cubicBezTo>
                        <a:cubicBezTo>
                          <a:pt x="97548" y="45000"/>
                          <a:pt x="97548" y="42631"/>
                          <a:pt x="96774" y="42631"/>
                        </a:cubicBezTo>
                        <a:cubicBezTo>
                          <a:pt x="96000" y="42631"/>
                          <a:pt x="94451" y="42631"/>
                          <a:pt x="94451" y="42631"/>
                        </a:cubicBezTo>
                        <a:cubicBezTo>
                          <a:pt x="92903" y="41842"/>
                          <a:pt x="92903" y="41842"/>
                          <a:pt x="92903" y="41842"/>
                        </a:cubicBezTo>
                        <a:cubicBezTo>
                          <a:pt x="95225" y="41052"/>
                          <a:pt x="95225" y="41052"/>
                          <a:pt x="95225" y="41052"/>
                        </a:cubicBezTo>
                        <a:cubicBezTo>
                          <a:pt x="94451" y="39473"/>
                          <a:pt x="94451" y="39473"/>
                          <a:pt x="94451" y="39473"/>
                        </a:cubicBezTo>
                        <a:cubicBezTo>
                          <a:pt x="94451" y="39473"/>
                          <a:pt x="94451" y="37894"/>
                          <a:pt x="94451" y="37894"/>
                        </a:cubicBezTo>
                        <a:cubicBezTo>
                          <a:pt x="94451" y="37105"/>
                          <a:pt x="93677" y="36315"/>
                          <a:pt x="93677" y="36315"/>
                        </a:cubicBezTo>
                        <a:cubicBezTo>
                          <a:pt x="93677" y="33157"/>
                          <a:pt x="93677" y="33157"/>
                          <a:pt x="93677" y="33157"/>
                        </a:cubicBezTo>
                        <a:cubicBezTo>
                          <a:pt x="92129" y="33157"/>
                          <a:pt x="92129" y="33157"/>
                          <a:pt x="92129" y="33157"/>
                        </a:cubicBezTo>
                        <a:cubicBezTo>
                          <a:pt x="90580" y="32368"/>
                          <a:pt x="90580" y="32368"/>
                          <a:pt x="90580" y="32368"/>
                        </a:cubicBezTo>
                        <a:cubicBezTo>
                          <a:pt x="89806" y="34736"/>
                          <a:pt x="89806" y="34736"/>
                          <a:pt x="89806" y="34736"/>
                        </a:cubicBezTo>
                        <a:cubicBezTo>
                          <a:pt x="88258" y="35526"/>
                          <a:pt x="88258" y="35526"/>
                          <a:pt x="88258" y="35526"/>
                        </a:cubicBezTo>
                        <a:cubicBezTo>
                          <a:pt x="87483" y="33157"/>
                          <a:pt x="87483" y="33157"/>
                          <a:pt x="87483" y="33157"/>
                        </a:cubicBezTo>
                        <a:cubicBezTo>
                          <a:pt x="85935" y="32368"/>
                          <a:pt x="85935" y="32368"/>
                          <a:pt x="85935" y="32368"/>
                        </a:cubicBezTo>
                        <a:cubicBezTo>
                          <a:pt x="85161" y="32368"/>
                          <a:pt x="85161" y="32368"/>
                          <a:pt x="85161" y="32368"/>
                        </a:cubicBezTo>
                        <a:cubicBezTo>
                          <a:pt x="83612" y="30000"/>
                          <a:pt x="83612" y="30000"/>
                          <a:pt x="83612" y="30000"/>
                        </a:cubicBezTo>
                        <a:cubicBezTo>
                          <a:pt x="82064" y="30000"/>
                          <a:pt x="82064" y="30000"/>
                          <a:pt x="82064" y="30000"/>
                        </a:cubicBezTo>
                        <a:cubicBezTo>
                          <a:pt x="82064" y="30000"/>
                          <a:pt x="81290" y="32368"/>
                          <a:pt x="80516" y="30789"/>
                        </a:cubicBezTo>
                        <a:cubicBezTo>
                          <a:pt x="79741" y="30000"/>
                          <a:pt x="79741" y="27631"/>
                          <a:pt x="79741" y="27631"/>
                        </a:cubicBezTo>
                        <a:cubicBezTo>
                          <a:pt x="78967" y="26842"/>
                          <a:pt x="78967" y="26842"/>
                          <a:pt x="78967" y="26842"/>
                        </a:cubicBezTo>
                        <a:cubicBezTo>
                          <a:pt x="79741" y="25263"/>
                          <a:pt x="79741" y="25263"/>
                          <a:pt x="79741" y="25263"/>
                        </a:cubicBezTo>
                        <a:cubicBezTo>
                          <a:pt x="79741" y="22894"/>
                          <a:pt x="79741" y="22894"/>
                          <a:pt x="79741" y="22894"/>
                        </a:cubicBezTo>
                        <a:cubicBezTo>
                          <a:pt x="79741" y="22894"/>
                          <a:pt x="78967" y="21315"/>
                          <a:pt x="78967" y="21315"/>
                        </a:cubicBezTo>
                        <a:cubicBezTo>
                          <a:pt x="78967" y="20526"/>
                          <a:pt x="78193" y="18947"/>
                          <a:pt x="78193" y="18947"/>
                        </a:cubicBezTo>
                        <a:cubicBezTo>
                          <a:pt x="78967" y="17368"/>
                          <a:pt x="78967" y="17368"/>
                          <a:pt x="78967" y="17368"/>
                        </a:cubicBezTo>
                        <a:cubicBezTo>
                          <a:pt x="77419" y="16578"/>
                          <a:pt x="77419" y="16578"/>
                          <a:pt x="77419" y="16578"/>
                        </a:cubicBezTo>
                        <a:cubicBezTo>
                          <a:pt x="77419" y="14210"/>
                          <a:pt x="77419" y="14210"/>
                          <a:pt x="77419" y="14210"/>
                        </a:cubicBezTo>
                        <a:cubicBezTo>
                          <a:pt x="77419" y="13421"/>
                          <a:pt x="77419" y="13421"/>
                          <a:pt x="77419" y="13421"/>
                        </a:cubicBezTo>
                        <a:cubicBezTo>
                          <a:pt x="75096" y="12631"/>
                          <a:pt x="75096" y="12631"/>
                          <a:pt x="75096" y="12631"/>
                        </a:cubicBezTo>
                        <a:cubicBezTo>
                          <a:pt x="75096" y="12631"/>
                          <a:pt x="75096" y="11842"/>
                          <a:pt x="74322" y="11052"/>
                        </a:cubicBezTo>
                        <a:cubicBezTo>
                          <a:pt x="74322" y="11052"/>
                          <a:pt x="72774" y="9473"/>
                          <a:pt x="72774" y="9473"/>
                        </a:cubicBezTo>
                        <a:cubicBezTo>
                          <a:pt x="72774" y="9473"/>
                          <a:pt x="72000" y="9473"/>
                          <a:pt x="72000" y="10263"/>
                        </a:cubicBezTo>
                        <a:cubicBezTo>
                          <a:pt x="71225" y="11052"/>
                          <a:pt x="71225" y="12631"/>
                          <a:pt x="70451" y="12631"/>
                        </a:cubicBezTo>
                        <a:cubicBezTo>
                          <a:pt x="70451" y="12631"/>
                          <a:pt x="71225" y="12631"/>
                          <a:pt x="68903" y="12631"/>
                        </a:cubicBezTo>
                        <a:cubicBezTo>
                          <a:pt x="67354" y="11842"/>
                          <a:pt x="67354" y="11842"/>
                          <a:pt x="66580" y="11052"/>
                        </a:cubicBezTo>
                        <a:cubicBezTo>
                          <a:pt x="65806" y="11052"/>
                          <a:pt x="64258" y="9473"/>
                          <a:pt x="64258" y="9473"/>
                        </a:cubicBezTo>
                        <a:cubicBezTo>
                          <a:pt x="63483" y="6315"/>
                          <a:pt x="63483" y="6315"/>
                          <a:pt x="63483" y="6315"/>
                        </a:cubicBezTo>
                        <a:cubicBezTo>
                          <a:pt x="61935" y="6315"/>
                          <a:pt x="61935" y="6315"/>
                          <a:pt x="61935" y="6315"/>
                        </a:cubicBezTo>
                        <a:cubicBezTo>
                          <a:pt x="61935" y="6315"/>
                          <a:pt x="64258" y="7105"/>
                          <a:pt x="61161" y="7105"/>
                        </a:cubicBezTo>
                        <a:cubicBezTo>
                          <a:pt x="58064" y="7105"/>
                          <a:pt x="54967" y="7105"/>
                          <a:pt x="54967" y="7105"/>
                        </a:cubicBezTo>
                        <a:cubicBezTo>
                          <a:pt x="54193" y="8684"/>
                          <a:pt x="54193" y="8684"/>
                          <a:pt x="54193" y="8684"/>
                        </a:cubicBezTo>
                        <a:cubicBezTo>
                          <a:pt x="54193" y="8684"/>
                          <a:pt x="53419" y="10263"/>
                          <a:pt x="53419" y="11052"/>
                        </a:cubicBezTo>
                        <a:cubicBezTo>
                          <a:pt x="53419" y="11052"/>
                          <a:pt x="54193" y="11842"/>
                          <a:pt x="53419" y="11052"/>
                        </a:cubicBezTo>
                        <a:cubicBezTo>
                          <a:pt x="53419" y="10263"/>
                          <a:pt x="52645" y="10263"/>
                          <a:pt x="52645" y="9473"/>
                        </a:cubicBezTo>
                        <a:cubicBezTo>
                          <a:pt x="52645" y="9473"/>
                          <a:pt x="52645" y="8684"/>
                          <a:pt x="52645" y="8684"/>
                        </a:cubicBezTo>
                        <a:cubicBezTo>
                          <a:pt x="52645" y="7894"/>
                          <a:pt x="51096" y="7105"/>
                          <a:pt x="51096" y="7105"/>
                        </a:cubicBezTo>
                        <a:cubicBezTo>
                          <a:pt x="50322" y="8684"/>
                          <a:pt x="50322" y="8684"/>
                          <a:pt x="50322" y="8684"/>
                        </a:cubicBezTo>
                        <a:cubicBezTo>
                          <a:pt x="50322" y="8684"/>
                          <a:pt x="51096" y="9473"/>
                          <a:pt x="49548" y="9473"/>
                        </a:cubicBezTo>
                        <a:cubicBezTo>
                          <a:pt x="48774" y="10263"/>
                          <a:pt x="48774" y="10263"/>
                          <a:pt x="48774" y="10263"/>
                        </a:cubicBezTo>
                        <a:cubicBezTo>
                          <a:pt x="48774" y="9473"/>
                          <a:pt x="49548" y="8684"/>
                          <a:pt x="49548" y="8684"/>
                        </a:cubicBezTo>
                        <a:cubicBezTo>
                          <a:pt x="49548" y="8684"/>
                          <a:pt x="50322" y="7105"/>
                          <a:pt x="50322" y="7105"/>
                        </a:cubicBezTo>
                        <a:cubicBezTo>
                          <a:pt x="50322" y="7105"/>
                          <a:pt x="50322" y="5526"/>
                          <a:pt x="49548" y="5526"/>
                        </a:cubicBezTo>
                        <a:cubicBezTo>
                          <a:pt x="49548" y="5526"/>
                          <a:pt x="48000" y="5526"/>
                          <a:pt x="47225" y="5526"/>
                        </a:cubicBezTo>
                        <a:cubicBezTo>
                          <a:pt x="47225" y="5526"/>
                          <a:pt x="46451" y="6315"/>
                          <a:pt x="46451" y="6315"/>
                        </a:cubicBezTo>
                        <a:cubicBezTo>
                          <a:pt x="46451" y="6315"/>
                          <a:pt x="47225" y="7105"/>
                          <a:pt x="46451" y="7105"/>
                        </a:cubicBezTo>
                        <a:cubicBezTo>
                          <a:pt x="46451" y="7105"/>
                          <a:pt x="45677" y="7105"/>
                          <a:pt x="45677" y="7894"/>
                        </a:cubicBezTo>
                        <a:cubicBezTo>
                          <a:pt x="44903" y="7894"/>
                          <a:pt x="44903" y="6315"/>
                          <a:pt x="44903" y="6315"/>
                        </a:cubicBezTo>
                        <a:cubicBezTo>
                          <a:pt x="44903" y="6315"/>
                          <a:pt x="44129" y="5526"/>
                          <a:pt x="44129" y="5526"/>
                        </a:cubicBezTo>
                        <a:cubicBezTo>
                          <a:pt x="44129" y="6315"/>
                          <a:pt x="43354" y="7894"/>
                          <a:pt x="43354" y="7894"/>
                        </a:cubicBezTo>
                        <a:cubicBezTo>
                          <a:pt x="42580" y="7894"/>
                          <a:pt x="42580" y="7894"/>
                          <a:pt x="42580" y="7105"/>
                        </a:cubicBezTo>
                        <a:cubicBezTo>
                          <a:pt x="41806" y="7105"/>
                          <a:pt x="41806" y="5526"/>
                          <a:pt x="41806" y="5526"/>
                        </a:cubicBezTo>
                        <a:cubicBezTo>
                          <a:pt x="41032" y="4736"/>
                          <a:pt x="41032" y="4736"/>
                          <a:pt x="41032" y="4736"/>
                        </a:cubicBezTo>
                        <a:cubicBezTo>
                          <a:pt x="41032" y="4736"/>
                          <a:pt x="38709" y="4736"/>
                          <a:pt x="37935" y="4736"/>
                        </a:cubicBezTo>
                        <a:cubicBezTo>
                          <a:pt x="37935" y="4736"/>
                          <a:pt x="36387" y="4736"/>
                          <a:pt x="36387" y="3947"/>
                        </a:cubicBezTo>
                        <a:cubicBezTo>
                          <a:pt x="35612" y="3157"/>
                          <a:pt x="34838" y="3157"/>
                          <a:pt x="34838" y="3157"/>
                        </a:cubicBezTo>
                        <a:cubicBezTo>
                          <a:pt x="34838" y="3157"/>
                          <a:pt x="34838" y="3157"/>
                          <a:pt x="34064" y="2368"/>
                        </a:cubicBezTo>
                        <a:cubicBezTo>
                          <a:pt x="33290" y="2368"/>
                          <a:pt x="33290" y="2368"/>
                          <a:pt x="32516" y="2368"/>
                        </a:cubicBezTo>
                        <a:cubicBezTo>
                          <a:pt x="31741" y="1578"/>
                          <a:pt x="32516" y="1578"/>
                          <a:pt x="30967" y="1578"/>
                        </a:cubicBezTo>
                        <a:cubicBezTo>
                          <a:pt x="29419" y="1578"/>
                          <a:pt x="29419" y="3157"/>
                          <a:pt x="28645" y="2368"/>
                        </a:cubicBezTo>
                        <a:cubicBezTo>
                          <a:pt x="27096" y="2368"/>
                          <a:pt x="27096" y="2368"/>
                          <a:pt x="27096" y="2368"/>
                        </a:cubicBezTo>
                        <a:cubicBezTo>
                          <a:pt x="26322" y="1578"/>
                          <a:pt x="26322" y="1578"/>
                          <a:pt x="26322" y="1578"/>
                        </a:cubicBezTo>
                        <a:cubicBezTo>
                          <a:pt x="26322" y="789"/>
                          <a:pt x="25548" y="0"/>
                          <a:pt x="25548" y="789"/>
                        </a:cubicBezTo>
                        <a:cubicBezTo>
                          <a:pt x="25548" y="2368"/>
                          <a:pt x="25548" y="1578"/>
                          <a:pt x="24774" y="2368"/>
                        </a:cubicBezTo>
                        <a:cubicBezTo>
                          <a:pt x="24774" y="3157"/>
                          <a:pt x="23225" y="3947"/>
                          <a:pt x="23225" y="3947"/>
                        </a:cubicBezTo>
                        <a:cubicBezTo>
                          <a:pt x="23225" y="3947"/>
                          <a:pt x="22451" y="3947"/>
                          <a:pt x="22451" y="4736"/>
                        </a:cubicBezTo>
                        <a:cubicBezTo>
                          <a:pt x="22451" y="4736"/>
                          <a:pt x="21677" y="5526"/>
                          <a:pt x="21677" y="5526"/>
                        </a:cubicBezTo>
                        <a:cubicBezTo>
                          <a:pt x="21677" y="5526"/>
                          <a:pt x="21677" y="4736"/>
                          <a:pt x="20903" y="4736"/>
                        </a:cubicBezTo>
                        <a:cubicBezTo>
                          <a:pt x="20903" y="4736"/>
                          <a:pt x="20903" y="4736"/>
                          <a:pt x="20903" y="4736"/>
                        </a:cubicBezTo>
                        <a:cubicBezTo>
                          <a:pt x="20903" y="4736"/>
                          <a:pt x="19354" y="4736"/>
                          <a:pt x="19354" y="5526"/>
                        </a:cubicBezTo>
                        <a:cubicBezTo>
                          <a:pt x="19354" y="5526"/>
                          <a:pt x="19354" y="6315"/>
                          <a:pt x="19354" y="7105"/>
                        </a:cubicBezTo>
                        <a:cubicBezTo>
                          <a:pt x="19354" y="7105"/>
                          <a:pt x="18580" y="7894"/>
                          <a:pt x="18580" y="7894"/>
                        </a:cubicBezTo>
                        <a:cubicBezTo>
                          <a:pt x="17032" y="8684"/>
                          <a:pt x="17032" y="8684"/>
                          <a:pt x="17032" y="8684"/>
                        </a:cubicBezTo>
                        <a:cubicBezTo>
                          <a:pt x="17032" y="8684"/>
                          <a:pt x="17032" y="8684"/>
                          <a:pt x="16258" y="8684"/>
                        </a:cubicBezTo>
                        <a:cubicBezTo>
                          <a:pt x="15483" y="8684"/>
                          <a:pt x="13935" y="8684"/>
                          <a:pt x="13935" y="8684"/>
                        </a:cubicBezTo>
                        <a:cubicBezTo>
                          <a:pt x="13161" y="8684"/>
                          <a:pt x="12387" y="8684"/>
                          <a:pt x="12387" y="8684"/>
                        </a:cubicBezTo>
                        <a:cubicBezTo>
                          <a:pt x="12387" y="9473"/>
                          <a:pt x="12387" y="9473"/>
                          <a:pt x="12387" y="9473"/>
                        </a:cubicBezTo>
                        <a:cubicBezTo>
                          <a:pt x="11612" y="10263"/>
                          <a:pt x="11612" y="10263"/>
                          <a:pt x="11612" y="10263"/>
                        </a:cubicBezTo>
                        <a:cubicBezTo>
                          <a:pt x="11612" y="10263"/>
                          <a:pt x="10838" y="11842"/>
                          <a:pt x="10064" y="11052"/>
                        </a:cubicBezTo>
                        <a:cubicBezTo>
                          <a:pt x="10064" y="11052"/>
                          <a:pt x="9290" y="11052"/>
                          <a:pt x="9290" y="11052"/>
                        </a:cubicBezTo>
                        <a:cubicBezTo>
                          <a:pt x="7741" y="10263"/>
                          <a:pt x="7741" y="10263"/>
                          <a:pt x="7741" y="10263"/>
                        </a:cubicBezTo>
                        <a:cubicBezTo>
                          <a:pt x="7741" y="10263"/>
                          <a:pt x="6967" y="11052"/>
                          <a:pt x="6967" y="11052"/>
                        </a:cubicBezTo>
                        <a:cubicBezTo>
                          <a:pt x="6967" y="11052"/>
                          <a:pt x="6193" y="11052"/>
                          <a:pt x="6193" y="11052"/>
                        </a:cubicBezTo>
                        <a:cubicBezTo>
                          <a:pt x="6193" y="11052"/>
                          <a:pt x="6193" y="11052"/>
                          <a:pt x="6193" y="11052"/>
                        </a:cubicBezTo>
                        <a:cubicBezTo>
                          <a:pt x="6193" y="11052"/>
                          <a:pt x="6193" y="11842"/>
                          <a:pt x="6967" y="12631"/>
                        </a:cubicBezTo>
                        <a:cubicBezTo>
                          <a:pt x="6967" y="12631"/>
                          <a:pt x="6967" y="13421"/>
                          <a:pt x="6967" y="14210"/>
                        </a:cubicBezTo>
                        <a:cubicBezTo>
                          <a:pt x="6967" y="14210"/>
                          <a:pt x="6193" y="15000"/>
                          <a:pt x="6193" y="15000"/>
                        </a:cubicBezTo>
                        <a:cubicBezTo>
                          <a:pt x="5419" y="15000"/>
                          <a:pt x="4645" y="14210"/>
                          <a:pt x="4645" y="14210"/>
                        </a:cubicBezTo>
                        <a:cubicBezTo>
                          <a:pt x="4645" y="14210"/>
                          <a:pt x="4645" y="13421"/>
                          <a:pt x="3870" y="13421"/>
                        </a:cubicBezTo>
                        <a:cubicBezTo>
                          <a:pt x="3870" y="14210"/>
                          <a:pt x="1548" y="15000"/>
                          <a:pt x="1548" y="15000"/>
                        </a:cubicBezTo>
                        <a:cubicBezTo>
                          <a:pt x="1548" y="16578"/>
                          <a:pt x="1548" y="16578"/>
                          <a:pt x="1548" y="16578"/>
                        </a:cubicBezTo>
                        <a:cubicBezTo>
                          <a:pt x="0" y="17368"/>
                          <a:pt x="0" y="17368"/>
                          <a:pt x="0" y="17368"/>
                        </a:cubicBezTo>
                        <a:cubicBezTo>
                          <a:pt x="3870" y="17368"/>
                          <a:pt x="3870" y="17368"/>
                          <a:pt x="3870" y="17368"/>
                        </a:cubicBezTo>
                        <a:cubicBezTo>
                          <a:pt x="4645" y="17368"/>
                          <a:pt x="4645" y="17368"/>
                          <a:pt x="4645" y="17368"/>
                        </a:cubicBezTo>
                        <a:cubicBezTo>
                          <a:pt x="6193" y="17368"/>
                          <a:pt x="6193" y="17368"/>
                          <a:pt x="6193" y="17368"/>
                        </a:cubicBezTo>
                        <a:cubicBezTo>
                          <a:pt x="6967" y="16578"/>
                          <a:pt x="6967" y="16578"/>
                          <a:pt x="6967" y="16578"/>
                        </a:cubicBezTo>
                        <a:cubicBezTo>
                          <a:pt x="6967" y="16578"/>
                          <a:pt x="7741" y="16578"/>
                          <a:pt x="7741" y="17368"/>
                        </a:cubicBezTo>
                        <a:cubicBezTo>
                          <a:pt x="7741" y="17368"/>
                          <a:pt x="9290" y="18157"/>
                          <a:pt x="9290" y="18157"/>
                        </a:cubicBezTo>
                        <a:cubicBezTo>
                          <a:pt x="9290" y="18157"/>
                          <a:pt x="9290" y="18157"/>
                          <a:pt x="9290" y="18157"/>
                        </a:cubicBezTo>
                        <a:cubicBezTo>
                          <a:pt x="11612" y="17368"/>
                          <a:pt x="11612" y="17368"/>
                          <a:pt x="11612" y="17368"/>
                        </a:cubicBezTo>
                        <a:cubicBezTo>
                          <a:pt x="11612" y="18157"/>
                          <a:pt x="11612" y="18157"/>
                          <a:pt x="11612" y="18157"/>
                        </a:cubicBezTo>
                        <a:cubicBezTo>
                          <a:pt x="11612" y="18157"/>
                          <a:pt x="11612" y="18947"/>
                          <a:pt x="12387" y="18947"/>
                        </a:cubicBezTo>
                        <a:cubicBezTo>
                          <a:pt x="13161" y="18947"/>
                          <a:pt x="13161" y="18947"/>
                          <a:pt x="13161" y="18947"/>
                        </a:cubicBezTo>
                        <a:cubicBezTo>
                          <a:pt x="13161" y="20526"/>
                          <a:pt x="13161" y="20526"/>
                          <a:pt x="13161" y="20526"/>
                        </a:cubicBezTo>
                        <a:cubicBezTo>
                          <a:pt x="14709" y="20526"/>
                          <a:pt x="14709" y="20526"/>
                          <a:pt x="14709" y="20526"/>
                        </a:cubicBezTo>
                        <a:cubicBezTo>
                          <a:pt x="14709" y="20526"/>
                          <a:pt x="15483" y="20526"/>
                          <a:pt x="15483" y="20526"/>
                        </a:cubicBezTo>
                        <a:cubicBezTo>
                          <a:pt x="15483" y="20526"/>
                          <a:pt x="15483" y="21315"/>
                          <a:pt x="15483" y="21315"/>
                        </a:cubicBezTo>
                        <a:cubicBezTo>
                          <a:pt x="15483" y="21315"/>
                          <a:pt x="16258" y="22105"/>
                          <a:pt x="17032" y="22894"/>
                        </a:cubicBezTo>
                        <a:cubicBezTo>
                          <a:pt x="17032" y="22894"/>
                          <a:pt x="17806" y="23684"/>
                          <a:pt x="17806" y="23684"/>
                        </a:cubicBezTo>
                        <a:cubicBezTo>
                          <a:pt x="18580" y="24473"/>
                          <a:pt x="18580" y="24473"/>
                          <a:pt x="18580" y="24473"/>
                        </a:cubicBezTo>
                        <a:cubicBezTo>
                          <a:pt x="19354" y="25263"/>
                          <a:pt x="19354" y="25263"/>
                          <a:pt x="19354" y="25263"/>
                        </a:cubicBezTo>
                        <a:cubicBezTo>
                          <a:pt x="20129" y="26052"/>
                          <a:pt x="20129" y="26052"/>
                          <a:pt x="20129" y="26052"/>
                        </a:cubicBezTo>
                        <a:cubicBezTo>
                          <a:pt x="20129" y="26052"/>
                          <a:pt x="20129" y="26052"/>
                          <a:pt x="20129" y="26052"/>
                        </a:cubicBezTo>
                        <a:cubicBezTo>
                          <a:pt x="20129" y="26842"/>
                          <a:pt x="20129" y="27631"/>
                          <a:pt x="20903" y="27631"/>
                        </a:cubicBezTo>
                        <a:cubicBezTo>
                          <a:pt x="20903" y="27631"/>
                          <a:pt x="20903" y="27631"/>
                          <a:pt x="21677" y="27631"/>
                        </a:cubicBezTo>
                        <a:cubicBezTo>
                          <a:pt x="21677" y="27631"/>
                          <a:pt x="21677" y="27631"/>
                          <a:pt x="21677" y="28421"/>
                        </a:cubicBezTo>
                        <a:cubicBezTo>
                          <a:pt x="21677" y="28421"/>
                          <a:pt x="21677" y="28421"/>
                          <a:pt x="22451" y="29210"/>
                        </a:cubicBezTo>
                        <a:cubicBezTo>
                          <a:pt x="22451" y="29210"/>
                          <a:pt x="23225" y="30000"/>
                          <a:pt x="23225" y="30000"/>
                        </a:cubicBezTo>
                        <a:cubicBezTo>
                          <a:pt x="23225" y="30000"/>
                          <a:pt x="23225" y="30000"/>
                          <a:pt x="23225" y="30789"/>
                        </a:cubicBezTo>
                        <a:cubicBezTo>
                          <a:pt x="23225" y="31578"/>
                          <a:pt x="24000" y="32368"/>
                          <a:pt x="24000" y="32368"/>
                        </a:cubicBezTo>
                        <a:cubicBezTo>
                          <a:pt x="24000" y="33157"/>
                          <a:pt x="24774" y="33157"/>
                          <a:pt x="24774" y="33157"/>
                        </a:cubicBezTo>
                        <a:cubicBezTo>
                          <a:pt x="24774" y="33157"/>
                          <a:pt x="24774" y="33157"/>
                          <a:pt x="24774" y="33157"/>
                        </a:cubicBezTo>
                        <a:cubicBezTo>
                          <a:pt x="24774" y="33157"/>
                          <a:pt x="25548" y="33157"/>
                          <a:pt x="25548" y="33947"/>
                        </a:cubicBezTo>
                        <a:cubicBezTo>
                          <a:pt x="25548" y="34736"/>
                          <a:pt x="24774" y="35526"/>
                          <a:pt x="25548" y="35526"/>
                        </a:cubicBezTo>
                        <a:cubicBezTo>
                          <a:pt x="25548" y="35526"/>
                          <a:pt x="26322" y="37105"/>
                          <a:pt x="27096" y="37105"/>
                        </a:cubicBezTo>
                        <a:cubicBezTo>
                          <a:pt x="27870" y="37105"/>
                          <a:pt x="27870" y="37105"/>
                          <a:pt x="27870" y="37105"/>
                        </a:cubicBezTo>
                        <a:cubicBezTo>
                          <a:pt x="28645" y="37105"/>
                          <a:pt x="28645" y="38684"/>
                          <a:pt x="29419" y="38684"/>
                        </a:cubicBezTo>
                        <a:cubicBezTo>
                          <a:pt x="29419" y="39473"/>
                          <a:pt x="29419" y="39473"/>
                          <a:pt x="30193" y="39473"/>
                        </a:cubicBezTo>
                        <a:cubicBezTo>
                          <a:pt x="30967" y="39473"/>
                          <a:pt x="30967" y="39473"/>
                          <a:pt x="30967" y="39473"/>
                        </a:cubicBezTo>
                        <a:cubicBezTo>
                          <a:pt x="30967" y="39473"/>
                          <a:pt x="30967" y="39473"/>
                          <a:pt x="30967" y="40263"/>
                        </a:cubicBezTo>
                        <a:cubicBezTo>
                          <a:pt x="31741" y="40263"/>
                          <a:pt x="33290" y="41842"/>
                          <a:pt x="33290" y="41842"/>
                        </a:cubicBezTo>
                        <a:cubicBezTo>
                          <a:pt x="33290" y="41842"/>
                          <a:pt x="34064" y="42631"/>
                          <a:pt x="34064" y="42631"/>
                        </a:cubicBezTo>
                        <a:cubicBezTo>
                          <a:pt x="34064" y="42631"/>
                          <a:pt x="34838" y="42631"/>
                          <a:pt x="35612" y="42631"/>
                        </a:cubicBezTo>
                        <a:cubicBezTo>
                          <a:pt x="35612" y="42631"/>
                          <a:pt x="36387" y="42631"/>
                          <a:pt x="36387" y="43421"/>
                        </a:cubicBezTo>
                        <a:cubicBezTo>
                          <a:pt x="36387" y="44210"/>
                          <a:pt x="37161" y="44210"/>
                          <a:pt x="37161" y="45000"/>
                        </a:cubicBezTo>
                        <a:cubicBezTo>
                          <a:pt x="37161" y="45789"/>
                          <a:pt x="37935" y="45789"/>
                          <a:pt x="37935" y="46578"/>
                        </a:cubicBezTo>
                        <a:cubicBezTo>
                          <a:pt x="37935" y="46578"/>
                          <a:pt x="38709" y="48157"/>
                          <a:pt x="38709" y="48157"/>
                        </a:cubicBezTo>
                        <a:cubicBezTo>
                          <a:pt x="43354" y="49736"/>
                          <a:pt x="43354" y="49736"/>
                          <a:pt x="43354" y="49736"/>
                        </a:cubicBezTo>
                        <a:cubicBezTo>
                          <a:pt x="44129" y="51315"/>
                          <a:pt x="44129" y="51315"/>
                          <a:pt x="44129" y="51315"/>
                        </a:cubicBezTo>
                        <a:cubicBezTo>
                          <a:pt x="44129" y="51315"/>
                          <a:pt x="44903" y="52894"/>
                          <a:pt x="44903" y="52894"/>
                        </a:cubicBezTo>
                        <a:cubicBezTo>
                          <a:pt x="45677" y="53684"/>
                          <a:pt x="46451" y="53684"/>
                          <a:pt x="46451" y="53684"/>
                        </a:cubicBezTo>
                        <a:cubicBezTo>
                          <a:pt x="48774" y="56052"/>
                          <a:pt x="48774" y="56052"/>
                          <a:pt x="48774" y="56052"/>
                        </a:cubicBezTo>
                        <a:cubicBezTo>
                          <a:pt x="51096" y="56842"/>
                          <a:pt x="51096" y="56842"/>
                          <a:pt x="51096" y="56842"/>
                        </a:cubicBezTo>
                        <a:cubicBezTo>
                          <a:pt x="51096" y="56842"/>
                          <a:pt x="52645" y="57631"/>
                          <a:pt x="53419" y="57631"/>
                        </a:cubicBezTo>
                        <a:cubicBezTo>
                          <a:pt x="53419" y="57631"/>
                          <a:pt x="54967" y="58421"/>
                          <a:pt x="55741" y="58421"/>
                        </a:cubicBezTo>
                        <a:cubicBezTo>
                          <a:pt x="55741" y="59210"/>
                          <a:pt x="56516" y="61578"/>
                          <a:pt x="56516" y="61578"/>
                        </a:cubicBezTo>
                        <a:cubicBezTo>
                          <a:pt x="57290" y="61578"/>
                          <a:pt x="58838" y="63157"/>
                          <a:pt x="58838" y="64736"/>
                        </a:cubicBezTo>
                        <a:cubicBezTo>
                          <a:pt x="59612" y="65526"/>
                          <a:pt x="59612" y="65526"/>
                          <a:pt x="59612" y="67105"/>
                        </a:cubicBezTo>
                        <a:cubicBezTo>
                          <a:pt x="60387" y="67894"/>
                          <a:pt x="61935" y="69473"/>
                          <a:pt x="61935" y="69473"/>
                        </a:cubicBezTo>
                        <a:cubicBezTo>
                          <a:pt x="61935" y="69473"/>
                          <a:pt x="61935" y="69473"/>
                          <a:pt x="62709" y="71052"/>
                        </a:cubicBezTo>
                        <a:cubicBezTo>
                          <a:pt x="63483" y="71842"/>
                          <a:pt x="64258" y="72631"/>
                          <a:pt x="64258" y="73421"/>
                        </a:cubicBezTo>
                        <a:cubicBezTo>
                          <a:pt x="64258" y="73421"/>
                          <a:pt x="64258" y="73421"/>
                          <a:pt x="64258" y="74210"/>
                        </a:cubicBezTo>
                        <a:cubicBezTo>
                          <a:pt x="64258" y="74210"/>
                          <a:pt x="64258" y="75000"/>
                          <a:pt x="64258" y="75000"/>
                        </a:cubicBezTo>
                        <a:cubicBezTo>
                          <a:pt x="64258" y="75000"/>
                          <a:pt x="65032" y="76578"/>
                          <a:pt x="65032" y="77368"/>
                        </a:cubicBezTo>
                        <a:cubicBezTo>
                          <a:pt x="65032" y="77368"/>
                          <a:pt x="65806" y="78947"/>
                          <a:pt x="65806" y="78947"/>
                        </a:cubicBezTo>
                        <a:cubicBezTo>
                          <a:pt x="65806" y="79736"/>
                          <a:pt x="65806" y="79736"/>
                          <a:pt x="65806" y="79736"/>
                        </a:cubicBezTo>
                        <a:cubicBezTo>
                          <a:pt x="66580" y="82105"/>
                          <a:pt x="66580" y="82105"/>
                          <a:pt x="66580" y="82105"/>
                        </a:cubicBezTo>
                        <a:cubicBezTo>
                          <a:pt x="65806" y="83684"/>
                          <a:pt x="65806" y="83684"/>
                          <a:pt x="65806" y="83684"/>
                        </a:cubicBezTo>
                        <a:cubicBezTo>
                          <a:pt x="65806" y="83684"/>
                          <a:pt x="65032" y="84473"/>
                          <a:pt x="65806" y="84473"/>
                        </a:cubicBezTo>
                        <a:cubicBezTo>
                          <a:pt x="66580" y="84473"/>
                          <a:pt x="67354" y="85263"/>
                          <a:pt x="66580" y="86052"/>
                        </a:cubicBezTo>
                        <a:cubicBezTo>
                          <a:pt x="66580" y="86052"/>
                          <a:pt x="65806" y="87631"/>
                          <a:pt x="65806" y="87631"/>
                        </a:cubicBezTo>
                        <a:cubicBezTo>
                          <a:pt x="65806" y="88421"/>
                          <a:pt x="65806" y="88421"/>
                          <a:pt x="65806" y="88421"/>
                        </a:cubicBezTo>
                        <a:cubicBezTo>
                          <a:pt x="65032" y="90000"/>
                          <a:pt x="65032" y="90000"/>
                          <a:pt x="65032" y="90000"/>
                        </a:cubicBezTo>
                        <a:cubicBezTo>
                          <a:pt x="65032" y="90000"/>
                          <a:pt x="66580" y="90789"/>
                          <a:pt x="66580" y="90789"/>
                        </a:cubicBezTo>
                        <a:cubicBezTo>
                          <a:pt x="66580" y="91578"/>
                          <a:pt x="67354" y="92368"/>
                          <a:pt x="66580" y="93157"/>
                        </a:cubicBezTo>
                        <a:cubicBezTo>
                          <a:pt x="66580" y="93157"/>
                          <a:pt x="66580" y="94736"/>
                          <a:pt x="66580" y="94736"/>
                        </a:cubicBezTo>
                        <a:cubicBezTo>
                          <a:pt x="66580" y="94736"/>
                          <a:pt x="66580" y="96315"/>
                          <a:pt x="66580" y="96315"/>
                        </a:cubicBezTo>
                        <a:cubicBezTo>
                          <a:pt x="66580" y="96315"/>
                          <a:pt x="68129" y="97105"/>
                          <a:pt x="67354" y="97894"/>
                        </a:cubicBezTo>
                        <a:cubicBezTo>
                          <a:pt x="67354" y="97894"/>
                          <a:pt x="67354" y="98684"/>
                          <a:pt x="67354" y="99473"/>
                        </a:cubicBezTo>
                        <a:cubicBezTo>
                          <a:pt x="68129" y="101052"/>
                          <a:pt x="69677" y="103421"/>
                          <a:pt x="69677" y="103421"/>
                        </a:cubicBezTo>
                        <a:cubicBezTo>
                          <a:pt x="69677" y="103421"/>
                          <a:pt x="70451" y="105000"/>
                          <a:pt x="70451" y="105000"/>
                        </a:cubicBezTo>
                        <a:cubicBezTo>
                          <a:pt x="70451" y="105789"/>
                          <a:pt x="69677" y="105789"/>
                          <a:pt x="70451" y="106578"/>
                        </a:cubicBezTo>
                        <a:cubicBezTo>
                          <a:pt x="70451" y="106578"/>
                          <a:pt x="69677" y="107368"/>
                          <a:pt x="70451" y="107368"/>
                        </a:cubicBezTo>
                        <a:cubicBezTo>
                          <a:pt x="71225" y="108157"/>
                          <a:pt x="72000" y="109736"/>
                          <a:pt x="72000" y="109736"/>
                        </a:cubicBezTo>
                        <a:cubicBezTo>
                          <a:pt x="72000" y="109736"/>
                          <a:pt x="72000" y="109736"/>
                          <a:pt x="72774" y="110526"/>
                        </a:cubicBezTo>
                        <a:cubicBezTo>
                          <a:pt x="72774" y="111315"/>
                          <a:pt x="72774" y="112894"/>
                          <a:pt x="72774" y="112894"/>
                        </a:cubicBezTo>
                        <a:cubicBezTo>
                          <a:pt x="72774" y="113684"/>
                          <a:pt x="73548" y="113684"/>
                          <a:pt x="72774" y="113684"/>
                        </a:cubicBezTo>
                        <a:cubicBezTo>
                          <a:pt x="72774" y="113684"/>
                          <a:pt x="72000" y="114473"/>
                          <a:pt x="72000" y="114473"/>
                        </a:cubicBezTo>
                        <a:cubicBezTo>
                          <a:pt x="71225" y="116052"/>
                          <a:pt x="71225" y="116052"/>
                          <a:pt x="71225" y="116052"/>
                        </a:cubicBezTo>
                        <a:cubicBezTo>
                          <a:pt x="71225" y="116052"/>
                          <a:pt x="72000" y="116842"/>
                          <a:pt x="72774" y="116842"/>
                        </a:cubicBezTo>
                        <a:cubicBezTo>
                          <a:pt x="72774" y="116842"/>
                          <a:pt x="73548" y="116842"/>
                          <a:pt x="73548" y="116842"/>
                        </a:cubicBezTo>
                        <a:cubicBezTo>
                          <a:pt x="75096" y="118421"/>
                          <a:pt x="75096" y="118421"/>
                          <a:pt x="75096" y="118421"/>
                        </a:cubicBezTo>
                        <a:cubicBezTo>
                          <a:pt x="75096" y="120000"/>
                          <a:pt x="75096" y="120000"/>
                          <a:pt x="75096" y="120000"/>
                        </a:cubicBezTo>
                        <a:lnTo>
                          <a:pt x="76645" y="1200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0" name="Shape 2033"/>
                  <p:cNvSpPr/>
                  <p:nvPr/>
                </p:nvSpPr>
                <p:spPr>
                  <a:xfrm>
                    <a:off x="4446566" y="2676821"/>
                    <a:ext cx="294647" cy="240785"/>
                  </a:xfrm>
                  <a:custGeom>
                    <a:avLst/>
                    <a:gdLst/>
                    <a:ahLst/>
                    <a:cxnLst/>
                    <a:rect l="0" t="0" r="0" b="0"/>
                    <a:pathLst>
                      <a:path w="120000" h="120000" extrusionOk="0">
                        <a:moveTo>
                          <a:pt x="930" y="19816"/>
                        </a:moveTo>
                        <a:cubicBezTo>
                          <a:pt x="930" y="19816"/>
                          <a:pt x="19534" y="6605"/>
                          <a:pt x="19534" y="6605"/>
                        </a:cubicBezTo>
                        <a:cubicBezTo>
                          <a:pt x="25116" y="5504"/>
                          <a:pt x="25116" y="5504"/>
                          <a:pt x="25116" y="5504"/>
                        </a:cubicBezTo>
                        <a:cubicBezTo>
                          <a:pt x="27906" y="5504"/>
                          <a:pt x="27906" y="5504"/>
                          <a:pt x="27906" y="5504"/>
                        </a:cubicBezTo>
                        <a:cubicBezTo>
                          <a:pt x="28837" y="4403"/>
                          <a:pt x="28837" y="4403"/>
                          <a:pt x="28837" y="4403"/>
                        </a:cubicBezTo>
                        <a:cubicBezTo>
                          <a:pt x="28837" y="4403"/>
                          <a:pt x="29767" y="7706"/>
                          <a:pt x="30697" y="7706"/>
                        </a:cubicBezTo>
                        <a:cubicBezTo>
                          <a:pt x="30697" y="7706"/>
                          <a:pt x="32558" y="9908"/>
                          <a:pt x="32558" y="8807"/>
                        </a:cubicBezTo>
                        <a:cubicBezTo>
                          <a:pt x="33488" y="7706"/>
                          <a:pt x="33488" y="6605"/>
                          <a:pt x="34418" y="6605"/>
                        </a:cubicBezTo>
                        <a:cubicBezTo>
                          <a:pt x="34418" y="5504"/>
                          <a:pt x="35348" y="4403"/>
                          <a:pt x="37209" y="5504"/>
                        </a:cubicBezTo>
                        <a:cubicBezTo>
                          <a:pt x="38139" y="6605"/>
                          <a:pt x="38139" y="11009"/>
                          <a:pt x="38139" y="11009"/>
                        </a:cubicBezTo>
                        <a:cubicBezTo>
                          <a:pt x="45581" y="13211"/>
                          <a:pt x="40930" y="14311"/>
                          <a:pt x="51162" y="11009"/>
                        </a:cubicBezTo>
                        <a:cubicBezTo>
                          <a:pt x="51162" y="11009"/>
                          <a:pt x="53023" y="8807"/>
                          <a:pt x="53023" y="8807"/>
                        </a:cubicBezTo>
                        <a:cubicBezTo>
                          <a:pt x="53023" y="7706"/>
                          <a:pt x="52093" y="5504"/>
                          <a:pt x="53953" y="6605"/>
                        </a:cubicBezTo>
                        <a:cubicBezTo>
                          <a:pt x="54883" y="7706"/>
                          <a:pt x="55813" y="7706"/>
                          <a:pt x="56744" y="7706"/>
                        </a:cubicBezTo>
                        <a:cubicBezTo>
                          <a:pt x="57674" y="7706"/>
                          <a:pt x="59534" y="7706"/>
                          <a:pt x="59534" y="7706"/>
                        </a:cubicBezTo>
                        <a:cubicBezTo>
                          <a:pt x="59534" y="7706"/>
                          <a:pt x="60465" y="6605"/>
                          <a:pt x="59534" y="5504"/>
                        </a:cubicBezTo>
                        <a:cubicBezTo>
                          <a:pt x="59534" y="4403"/>
                          <a:pt x="58604" y="3302"/>
                          <a:pt x="59534" y="3302"/>
                        </a:cubicBezTo>
                        <a:cubicBezTo>
                          <a:pt x="59534" y="2201"/>
                          <a:pt x="61395" y="1100"/>
                          <a:pt x="61395" y="1100"/>
                        </a:cubicBezTo>
                        <a:cubicBezTo>
                          <a:pt x="61395" y="1100"/>
                          <a:pt x="62325" y="1100"/>
                          <a:pt x="62325" y="2201"/>
                        </a:cubicBezTo>
                        <a:cubicBezTo>
                          <a:pt x="63255" y="3302"/>
                          <a:pt x="63255" y="3302"/>
                          <a:pt x="63255" y="4403"/>
                        </a:cubicBezTo>
                        <a:cubicBezTo>
                          <a:pt x="64186" y="4403"/>
                          <a:pt x="64186" y="5504"/>
                          <a:pt x="65116" y="5504"/>
                        </a:cubicBezTo>
                        <a:cubicBezTo>
                          <a:pt x="66976" y="5504"/>
                          <a:pt x="66976" y="5504"/>
                          <a:pt x="67906" y="4403"/>
                        </a:cubicBezTo>
                        <a:cubicBezTo>
                          <a:pt x="68837" y="3302"/>
                          <a:pt x="68837" y="3302"/>
                          <a:pt x="69767" y="2201"/>
                        </a:cubicBezTo>
                        <a:cubicBezTo>
                          <a:pt x="70697" y="0"/>
                          <a:pt x="70697" y="0"/>
                          <a:pt x="71627" y="1100"/>
                        </a:cubicBezTo>
                        <a:cubicBezTo>
                          <a:pt x="72558" y="1100"/>
                          <a:pt x="74418" y="2201"/>
                          <a:pt x="74418" y="2201"/>
                        </a:cubicBezTo>
                        <a:cubicBezTo>
                          <a:pt x="72558" y="4403"/>
                          <a:pt x="72558" y="4403"/>
                          <a:pt x="72558" y="4403"/>
                        </a:cubicBezTo>
                        <a:cubicBezTo>
                          <a:pt x="72558" y="4403"/>
                          <a:pt x="71627" y="4403"/>
                          <a:pt x="73488" y="5504"/>
                        </a:cubicBezTo>
                        <a:cubicBezTo>
                          <a:pt x="76279" y="6605"/>
                          <a:pt x="77209" y="6605"/>
                          <a:pt x="77209" y="6605"/>
                        </a:cubicBezTo>
                        <a:cubicBezTo>
                          <a:pt x="79069" y="3302"/>
                          <a:pt x="79069" y="3302"/>
                          <a:pt x="79069" y="3302"/>
                        </a:cubicBezTo>
                        <a:cubicBezTo>
                          <a:pt x="79069" y="3302"/>
                          <a:pt x="79069" y="1100"/>
                          <a:pt x="80000" y="3302"/>
                        </a:cubicBezTo>
                        <a:cubicBezTo>
                          <a:pt x="80000" y="4403"/>
                          <a:pt x="80930" y="6605"/>
                          <a:pt x="80930" y="6605"/>
                        </a:cubicBezTo>
                        <a:cubicBezTo>
                          <a:pt x="80930" y="6605"/>
                          <a:pt x="80930" y="9908"/>
                          <a:pt x="81860" y="9908"/>
                        </a:cubicBezTo>
                        <a:cubicBezTo>
                          <a:pt x="82790" y="9908"/>
                          <a:pt x="82790" y="8807"/>
                          <a:pt x="82790" y="9908"/>
                        </a:cubicBezTo>
                        <a:cubicBezTo>
                          <a:pt x="82790" y="11009"/>
                          <a:pt x="81860" y="11009"/>
                          <a:pt x="82790" y="11009"/>
                        </a:cubicBezTo>
                        <a:cubicBezTo>
                          <a:pt x="82790" y="12110"/>
                          <a:pt x="84651" y="12110"/>
                          <a:pt x="84651" y="12110"/>
                        </a:cubicBezTo>
                        <a:cubicBezTo>
                          <a:pt x="84651" y="12110"/>
                          <a:pt x="85581" y="12110"/>
                          <a:pt x="85581" y="13211"/>
                        </a:cubicBezTo>
                        <a:cubicBezTo>
                          <a:pt x="85581" y="14311"/>
                          <a:pt x="85581" y="15412"/>
                          <a:pt x="85581" y="15412"/>
                        </a:cubicBezTo>
                        <a:cubicBezTo>
                          <a:pt x="85581" y="15412"/>
                          <a:pt x="88372" y="15412"/>
                          <a:pt x="88372" y="15412"/>
                        </a:cubicBezTo>
                        <a:cubicBezTo>
                          <a:pt x="89302" y="15412"/>
                          <a:pt x="90232" y="16513"/>
                          <a:pt x="91162" y="16513"/>
                        </a:cubicBezTo>
                        <a:cubicBezTo>
                          <a:pt x="92093" y="15412"/>
                          <a:pt x="93023" y="14311"/>
                          <a:pt x="93023" y="14311"/>
                        </a:cubicBezTo>
                        <a:cubicBezTo>
                          <a:pt x="93023" y="15412"/>
                          <a:pt x="94883" y="15412"/>
                          <a:pt x="94883" y="16513"/>
                        </a:cubicBezTo>
                        <a:cubicBezTo>
                          <a:pt x="93953" y="18715"/>
                          <a:pt x="93023" y="18715"/>
                          <a:pt x="94883" y="19816"/>
                        </a:cubicBezTo>
                        <a:cubicBezTo>
                          <a:pt x="96744" y="19816"/>
                          <a:pt x="98604" y="20917"/>
                          <a:pt x="99534" y="20917"/>
                        </a:cubicBezTo>
                        <a:cubicBezTo>
                          <a:pt x="100465" y="22018"/>
                          <a:pt x="103255" y="23119"/>
                          <a:pt x="103255" y="23119"/>
                        </a:cubicBezTo>
                        <a:cubicBezTo>
                          <a:pt x="104186" y="23119"/>
                          <a:pt x="105116" y="23119"/>
                          <a:pt x="105116" y="24220"/>
                        </a:cubicBezTo>
                        <a:cubicBezTo>
                          <a:pt x="105116" y="25321"/>
                          <a:pt x="103255" y="27522"/>
                          <a:pt x="103255" y="27522"/>
                        </a:cubicBezTo>
                        <a:cubicBezTo>
                          <a:pt x="103255" y="27522"/>
                          <a:pt x="102325" y="28623"/>
                          <a:pt x="102325" y="29724"/>
                        </a:cubicBezTo>
                        <a:cubicBezTo>
                          <a:pt x="102325" y="29724"/>
                          <a:pt x="101395" y="33027"/>
                          <a:pt x="101395" y="33027"/>
                        </a:cubicBezTo>
                        <a:cubicBezTo>
                          <a:pt x="100465" y="34128"/>
                          <a:pt x="99534" y="36330"/>
                          <a:pt x="99534" y="36330"/>
                        </a:cubicBezTo>
                        <a:cubicBezTo>
                          <a:pt x="99534" y="36330"/>
                          <a:pt x="98604" y="38532"/>
                          <a:pt x="97674" y="38532"/>
                        </a:cubicBezTo>
                        <a:cubicBezTo>
                          <a:pt x="97674" y="38532"/>
                          <a:pt x="96744" y="39633"/>
                          <a:pt x="96744" y="39633"/>
                        </a:cubicBezTo>
                        <a:cubicBezTo>
                          <a:pt x="96744" y="40733"/>
                          <a:pt x="96744" y="42935"/>
                          <a:pt x="96744" y="42935"/>
                        </a:cubicBezTo>
                        <a:cubicBezTo>
                          <a:pt x="97674" y="45137"/>
                          <a:pt x="97674" y="45137"/>
                          <a:pt x="97674" y="45137"/>
                        </a:cubicBezTo>
                        <a:cubicBezTo>
                          <a:pt x="97674" y="47339"/>
                          <a:pt x="97674" y="47339"/>
                          <a:pt x="97674" y="47339"/>
                        </a:cubicBezTo>
                        <a:cubicBezTo>
                          <a:pt x="101395" y="46238"/>
                          <a:pt x="101395" y="46238"/>
                          <a:pt x="101395" y="46238"/>
                        </a:cubicBezTo>
                        <a:cubicBezTo>
                          <a:pt x="101395" y="46238"/>
                          <a:pt x="101395" y="46238"/>
                          <a:pt x="102325" y="47339"/>
                        </a:cubicBezTo>
                        <a:cubicBezTo>
                          <a:pt x="104186" y="47339"/>
                          <a:pt x="105116" y="46238"/>
                          <a:pt x="106046" y="46238"/>
                        </a:cubicBezTo>
                        <a:cubicBezTo>
                          <a:pt x="106046" y="46238"/>
                          <a:pt x="107906" y="48440"/>
                          <a:pt x="107906" y="48440"/>
                        </a:cubicBezTo>
                        <a:cubicBezTo>
                          <a:pt x="107906" y="48440"/>
                          <a:pt x="108837" y="49541"/>
                          <a:pt x="108837" y="49541"/>
                        </a:cubicBezTo>
                        <a:cubicBezTo>
                          <a:pt x="109767" y="49541"/>
                          <a:pt x="111627" y="50642"/>
                          <a:pt x="111627" y="50642"/>
                        </a:cubicBezTo>
                        <a:cubicBezTo>
                          <a:pt x="111627" y="53944"/>
                          <a:pt x="111627" y="53944"/>
                          <a:pt x="111627" y="53944"/>
                        </a:cubicBezTo>
                        <a:cubicBezTo>
                          <a:pt x="111627" y="53944"/>
                          <a:pt x="113488" y="53944"/>
                          <a:pt x="113488" y="53944"/>
                        </a:cubicBezTo>
                        <a:cubicBezTo>
                          <a:pt x="114418" y="53944"/>
                          <a:pt x="115348" y="55045"/>
                          <a:pt x="115348" y="55045"/>
                        </a:cubicBezTo>
                        <a:cubicBezTo>
                          <a:pt x="115348" y="55045"/>
                          <a:pt x="115348" y="58348"/>
                          <a:pt x="114418" y="58348"/>
                        </a:cubicBezTo>
                        <a:cubicBezTo>
                          <a:pt x="114418" y="59449"/>
                          <a:pt x="113488" y="60550"/>
                          <a:pt x="113488" y="60550"/>
                        </a:cubicBezTo>
                        <a:cubicBezTo>
                          <a:pt x="113488" y="60550"/>
                          <a:pt x="114418" y="62752"/>
                          <a:pt x="115348" y="62752"/>
                        </a:cubicBezTo>
                        <a:cubicBezTo>
                          <a:pt x="115348" y="62752"/>
                          <a:pt x="117209" y="62752"/>
                          <a:pt x="117209" y="62752"/>
                        </a:cubicBezTo>
                        <a:cubicBezTo>
                          <a:pt x="118139" y="62752"/>
                          <a:pt x="119069" y="64954"/>
                          <a:pt x="119069" y="64954"/>
                        </a:cubicBezTo>
                        <a:cubicBezTo>
                          <a:pt x="119069" y="64954"/>
                          <a:pt x="120000" y="66055"/>
                          <a:pt x="120000" y="67155"/>
                        </a:cubicBezTo>
                        <a:cubicBezTo>
                          <a:pt x="120000" y="68256"/>
                          <a:pt x="119069" y="70458"/>
                          <a:pt x="119069" y="70458"/>
                        </a:cubicBezTo>
                        <a:cubicBezTo>
                          <a:pt x="119069" y="70458"/>
                          <a:pt x="119069" y="71559"/>
                          <a:pt x="119069" y="72660"/>
                        </a:cubicBezTo>
                        <a:cubicBezTo>
                          <a:pt x="119069" y="72660"/>
                          <a:pt x="118139" y="73761"/>
                          <a:pt x="118139" y="73761"/>
                        </a:cubicBezTo>
                        <a:cubicBezTo>
                          <a:pt x="116279" y="73761"/>
                          <a:pt x="116279" y="73761"/>
                          <a:pt x="116279" y="73761"/>
                        </a:cubicBezTo>
                        <a:cubicBezTo>
                          <a:pt x="116279" y="73761"/>
                          <a:pt x="116279" y="77064"/>
                          <a:pt x="115348" y="77064"/>
                        </a:cubicBezTo>
                        <a:cubicBezTo>
                          <a:pt x="115348" y="77064"/>
                          <a:pt x="114418" y="77064"/>
                          <a:pt x="114418" y="77064"/>
                        </a:cubicBezTo>
                        <a:cubicBezTo>
                          <a:pt x="113488" y="77064"/>
                          <a:pt x="112558" y="78165"/>
                          <a:pt x="112558" y="78165"/>
                        </a:cubicBezTo>
                        <a:cubicBezTo>
                          <a:pt x="112558" y="79266"/>
                          <a:pt x="112558" y="79266"/>
                          <a:pt x="112558" y="79266"/>
                        </a:cubicBezTo>
                        <a:cubicBezTo>
                          <a:pt x="111627" y="81467"/>
                          <a:pt x="111627" y="81467"/>
                          <a:pt x="111627" y="81467"/>
                        </a:cubicBezTo>
                        <a:cubicBezTo>
                          <a:pt x="111627" y="81467"/>
                          <a:pt x="111627" y="81467"/>
                          <a:pt x="110697" y="81467"/>
                        </a:cubicBezTo>
                        <a:cubicBezTo>
                          <a:pt x="110697" y="81467"/>
                          <a:pt x="110697" y="81467"/>
                          <a:pt x="109767" y="81467"/>
                        </a:cubicBezTo>
                        <a:cubicBezTo>
                          <a:pt x="109767" y="82568"/>
                          <a:pt x="108837" y="82568"/>
                          <a:pt x="108837" y="82568"/>
                        </a:cubicBezTo>
                        <a:cubicBezTo>
                          <a:pt x="108837" y="82568"/>
                          <a:pt x="107906" y="81467"/>
                          <a:pt x="106976" y="81467"/>
                        </a:cubicBezTo>
                        <a:cubicBezTo>
                          <a:pt x="106976" y="81467"/>
                          <a:pt x="106046" y="81467"/>
                          <a:pt x="106046" y="82568"/>
                        </a:cubicBezTo>
                        <a:cubicBezTo>
                          <a:pt x="105116" y="83669"/>
                          <a:pt x="105116" y="84770"/>
                          <a:pt x="104186" y="84770"/>
                        </a:cubicBezTo>
                        <a:cubicBezTo>
                          <a:pt x="104186" y="84770"/>
                          <a:pt x="103255" y="85871"/>
                          <a:pt x="103255" y="85871"/>
                        </a:cubicBezTo>
                        <a:cubicBezTo>
                          <a:pt x="103255" y="85871"/>
                          <a:pt x="103255" y="88073"/>
                          <a:pt x="102325" y="88073"/>
                        </a:cubicBezTo>
                        <a:cubicBezTo>
                          <a:pt x="102325" y="89174"/>
                          <a:pt x="101395" y="90275"/>
                          <a:pt x="101395" y="90275"/>
                        </a:cubicBezTo>
                        <a:cubicBezTo>
                          <a:pt x="101395" y="90275"/>
                          <a:pt x="101395" y="91376"/>
                          <a:pt x="101395" y="91376"/>
                        </a:cubicBezTo>
                        <a:cubicBezTo>
                          <a:pt x="101395" y="92477"/>
                          <a:pt x="101395" y="93577"/>
                          <a:pt x="100465" y="94678"/>
                        </a:cubicBezTo>
                        <a:cubicBezTo>
                          <a:pt x="99534" y="94678"/>
                          <a:pt x="97674" y="96880"/>
                          <a:pt x="97674" y="96880"/>
                        </a:cubicBezTo>
                        <a:cubicBezTo>
                          <a:pt x="97674" y="96880"/>
                          <a:pt x="97674" y="96880"/>
                          <a:pt x="97674" y="97981"/>
                        </a:cubicBezTo>
                        <a:cubicBezTo>
                          <a:pt x="98604" y="97981"/>
                          <a:pt x="98604" y="99082"/>
                          <a:pt x="98604" y="99082"/>
                        </a:cubicBezTo>
                        <a:cubicBezTo>
                          <a:pt x="98604" y="101284"/>
                          <a:pt x="98604" y="101284"/>
                          <a:pt x="98604" y="101284"/>
                        </a:cubicBezTo>
                        <a:cubicBezTo>
                          <a:pt x="98604" y="101284"/>
                          <a:pt x="97674" y="102385"/>
                          <a:pt x="97674" y="103486"/>
                        </a:cubicBezTo>
                        <a:cubicBezTo>
                          <a:pt x="98604" y="103486"/>
                          <a:pt x="98604" y="103486"/>
                          <a:pt x="98604" y="103486"/>
                        </a:cubicBezTo>
                        <a:cubicBezTo>
                          <a:pt x="99534" y="105688"/>
                          <a:pt x="99534" y="105688"/>
                          <a:pt x="99534" y="105688"/>
                        </a:cubicBezTo>
                        <a:cubicBezTo>
                          <a:pt x="100465" y="107889"/>
                          <a:pt x="100465" y="107889"/>
                          <a:pt x="100465" y="107889"/>
                        </a:cubicBezTo>
                        <a:cubicBezTo>
                          <a:pt x="101395" y="107889"/>
                          <a:pt x="101395" y="107889"/>
                          <a:pt x="101395" y="107889"/>
                        </a:cubicBezTo>
                        <a:cubicBezTo>
                          <a:pt x="101395" y="107889"/>
                          <a:pt x="102325" y="110091"/>
                          <a:pt x="102325" y="111192"/>
                        </a:cubicBezTo>
                        <a:cubicBezTo>
                          <a:pt x="102325" y="111192"/>
                          <a:pt x="102325" y="113394"/>
                          <a:pt x="102325" y="113394"/>
                        </a:cubicBezTo>
                        <a:cubicBezTo>
                          <a:pt x="100465" y="115596"/>
                          <a:pt x="100465" y="115596"/>
                          <a:pt x="100465" y="115596"/>
                        </a:cubicBezTo>
                        <a:cubicBezTo>
                          <a:pt x="99534" y="117798"/>
                          <a:pt x="99534" y="117798"/>
                          <a:pt x="99534" y="117798"/>
                        </a:cubicBezTo>
                        <a:cubicBezTo>
                          <a:pt x="99534" y="117798"/>
                          <a:pt x="98604" y="117798"/>
                          <a:pt x="98604" y="117798"/>
                        </a:cubicBezTo>
                        <a:cubicBezTo>
                          <a:pt x="97674" y="117798"/>
                          <a:pt x="96744" y="117798"/>
                          <a:pt x="96744" y="117798"/>
                        </a:cubicBezTo>
                        <a:cubicBezTo>
                          <a:pt x="95813" y="118899"/>
                          <a:pt x="95813" y="118899"/>
                          <a:pt x="95813" y="118899"/>
                        </a:cubicBezTo>
                        <a:cubicBezTo>
                          <a:pt x="93953" y="118899"/>
                          <a:pt x="93953" y="118899"/>
                          <a:pt x="93953" y="118899"/>
                        </a:cubicBezTo>
                        <a:cubicBezTo>
                          <a:pt x="92093" y="120000"/>
                          <a:pt x="92093" y="120000"/>
                          <a:pt x="92093" y="120000"/>
                        </a:cubicBezTo>
                        <a:cubicBezTo>
                          <a:pt x="89302" y="120000"/>
                          <a:pt x="89302" y="120000"/>
                          <a:pt x="89302" y="120000"/>
                        </a:cubicBezTo>
                        <a:cubicBezTo>
                          <a:pt x="88372" y="117798"/>
                          <a:pt x="88372" y="117798"/>
                          <a:pt x="88372" y="117798"/>
                        </a:cubicBezTo>
                        <a:cubicBezTo>
                          <a:pt x="87441" y="115596"/>
                          <a:pt x="87441" y="115596"/>
                          <a:pt x="87441" y="115596"/>
                        </a:cubicBezTo>
                        <a:cubicBezTo>
                          <a:pt x="86511" y="114495"/>
                          <a:pt x="86511" y="114495"/>
                          <a:pt x="86511" y="114495"/>
                        </a:cubicBezTo>
                        <a:cubicBezTo>
                          <a:pt x="85581" y="114495"/>
                          <a:pt x="85581" y="114495"/>
                          <a:pt x="85581" y="114495"/>
                        </a:cubicBezTo>
                        <a:cubicBezTo>
                          <a:pt x="82790" y="113394"/>
                          <a:pt x="82790" y="113394"/>
                          <a:pt x="82790" y="113394"/>
                        </a:cubicBezTo>
                        <a:cubicBezTo>
                          <a:pt x="83720" y="111192"/>
                          <a:pt x="83720" y="111192"/>
                          <a:pt x="83720" y="111192"/>
                        </a:cubicBezTo>
                        <a:cubicBezTo>
                          <a:pt x="83720" y="111192"/>
                          <a:pt x="82790" y="108990"/>
                          <a:pt x="82790" y="108990"/>
                        </a:cubicBezTo>
                        <a:cubicBezTo>
                          <a:pt x="81860" y="108990"/>
                          <a:pt x="80930" y="108990"/>
                          <a:pt x="80930" y="108990"/>
                        </a:cubicBezTo>
                        <a:cubicBezTo>
                          <a:pt x="79069" y="106788"/>
                          <a:pt x="79069" y="106788"/>
                          <a:pt x="79069" y="106788"/>
                        </a:cubicBezTo>
                        <a:cubicBezTo>
                          <a:pt x="79069" y="106788"/>
                          <a:pt x="79069" y="105688"/>
                          <a:pt x="78139" y="104587"/>
                        </a:cubicBezTo>
                        <a:cubicBezTo>
                          <a:pt x="77209" y="104587"/>
                          <a:pt x="77209" y="103486"/>
                          <a:pt x="76279" y="103486"/>
                        </a:cubicBezTo>
                        <a:cubicBezTo>
                          <a:pt x="75348" y="103486"/>
                          <a:pt x="73488" y="103486"/>
                          <a:pt x="73488" y="103486"/>
                        </a:cubicBezTo>
                        <a:cubicBezTo>
                          <a:pt x="73488" y="103486"/>
                          <a:pt x="72558" y="101284"/>
                          <a:pt x="71627" y="101284"/>
                        </a:cubicBezTo>
                        <a:cubicBezTo>
                          <a:pt x="71627" y="101284"/>
                          <a:pt x="67906" y="101284"/>
                          <a:pt x="67906" y="101284"/>
                        </a:cubicBezTo>
                        <a:cubicBezTo>
                          <a:pt x="67906" y="101284"/>
                          <a:pt x="68837" y="97981"/>
                          <a:pt x="68837" y="97981"/>
                        </a:cubicBezTo>
                        <a:cubicBezTo>
                          <a:pt x="68837" y="96880"/>
                          <a:pt x="68837" y="93577"/>
                          <a:pt x="68837" y="93577"/>
                        </a:cubicBezTo>
                        <a:cubicBezTo>
                          <a:pt x="68837" y="92477"/>
                          <a:pt x="68837" y="92477"/>
                          <a:pt x="68837" y="92477"/>
                        </a:cubicBezTo>
                        <a:cubicBezTo>
                          <a:pt x="68837" y="92477"/>
                          <a:pt x="67906" y="91376"/>
                          <a:pt x="68837" y="89174"/>
                        </a:cubicBezTo>
                        <a:cubicBezTo>
                          <a:pt x="69767" y="86972"/>
                          <a:pt x="68837" y="88073"/>
                          <a:pt x="69767" y="85871"/>
                        </a:cubicBezTo>
                        <a:cubicBezTo>
                          <a:pt x="70697" y="82568"/>
                          <a:pt x="70697" y="81467"/>
                          <a:pt x="70697" y="81467"/>
                        </a:cubicBezTo>
                        <a:cubicBezTo>
                          <a:pt x="68837" y="80366"/>
                          <a:pt x="68837" y="80366"/>
                          <a:pt x="68837" y="80366"/>
                        </a:cubicBezTo>
                        <a:cubicBezTo>
                          <a:pt x="68837" y="80366"/>
                          <a:pt x="67906" y="79266"/>
                          <a:pt x="66976" y="80366"/>
                        </a:cubicBezTo>
                        <a:cubicBezTo>
                          <a:pt x="66976" y="82568"/>
                          <a:pt x="66046" y="82568"/>
                          <a:pt x="66046" y="82568"/>
                        </a:cubicBezTo>
                        <a:cubicBezTo>
                          <a:pt x="64186" y="85871"/>
                          <a:pt x="64186" y="85871"/>
                          <a:pt x="64186" y="85871"/>
                        </a:cubicBezTo>
                        <a:cubicBezTo>
                          <a:pt x="64186" y="89174"/>
                          <a:pt x="64186" y="89174"/>
                          <a:pt x="64186" y="89174"/>
                        </a:cubicBezTo>
                        <a:cubicBezTo>
                          <a:pt x="64186" y="89174"/>
                          <a:pt x="65116" y="90275"/>
                          <a:pt x="62325" y="90275"/>
                        </a:cubicBezTo>
                        <a:cubicBezTo>
                          <a:pt x="60465" y="90275"/>
                          <a:pt x="58604" y="90275"/>
                          <a:pt x="58604" y="90275"/>
                        </a:cubicBezTo>
                        <a:cubicBezTo>
                          <a:pt x="58604" y="90275"/>
                          <a:pt x="60465" y="92477"/>
                          <a:pt x="58604" y="92477"/>
                        </a:cubicBezTo>
                        <a:cubicBezTo>
                          <a:pt x="55813" y="92477"/>
                          <a:pt x="53023" y="92477"/>
                          <a:pt x="53023" y="92477"/>
                        </a:cubicBezTo>
                        <a:cubicBezTo>
                          <a:pt x="51162" y="90275"/>
                          <a:pt x="51162" y="90275"/>
                          <a:pt x="51162" y="90275"/>
                        </a:cubicBezTo>
                        <a:cubicBezTo>
                          <a:pt x="47441" y="91376"/>
                          <a:pt x="47441" y="91376"/>
                          <a:pt x="47441" y="91376"/>
                        </a:cubicBezTo>
                        <a:cubicBezTo>
                          <a:pt x="47441" y="91376"/>
                          <a:pt x="47441" y="90275"/>
                          <a:pt x="47441" y="88073"/>
                        </a:cubicBezTo>
                        <a:cubicBezTo>
                          <a:pt x="47441" y="86972"/>
                          <a:pt x="46511" y="84770"/>
                          <a:pt x="47441" y="84770"/>
                        </a:cubicBezTo>
                        <a:cubicBezTo>
                          <a:pt x="48372" y="84770"/>
                          <a:pt x="49302" y="83669"/>
                          <a:pt x="49302" y="83669"/>
                        </a:cubicBezTo>
                        <a:cubicBezTo>
                          <a:pt x="48372" y="80366"/>
                          <a:pt x="48372" y="80366"/>
                          <a:pt x="48372" y="80366"/>
                        </a:cubicBezTo>
                        <a:cubicBezTo>
                          <a:pt x="48372" y="80366"/>
                          <a:pt x="48372" y="80366"/>
                          <a:pt x="48372" y="80366"/>
                        </a:cubicBezTo>
                        <a:cubicBezTo>
                          <a:pt x="48372" y="80366"/>
                          <a:pt x="47441" y="80366"/>
                          <a:pt x="47441" y="79266"/>
                        </a:cubicBezTo>
                        <a:cubicBezTo>
                          <a:pt x="47441" y="78165"/>
                          <a:pt x="48372" y="75963"/>
                          <a:pt x="48372" y="75963"/>
                        </a:cubicBezTo>
                        <a:cubicBezTo>
                          <a:pt x="49302" y="74862"/>
                          <a:pt x="49302" y="72660"/>
                          <a:pt x="49302" y="72660"/>
                        </a:cubicBezTo>
                        <a:cubicBezTo>
                          <a:pt x="48372" y="72660"/>
                          <a:pt x="48372" y="72660"/>
                          <a:pt x="48372" y="72660"/>
                        </a:cubicBezTo>
                        <a:cubicBezTo>
                          <a:pt x="48372" y="72660"/>
                          <a:pt x="46511" y="73761"/>
                          <a:pt x="46511" y="71559"/>
                        </a:cubicBezTo>
                        <a:cubicBezTo>
                          <a:pt x="46511" y="70458"/>
                          <a:pt x="45581" y="68256"/>
                          <a:pt x="45581" y="68256"/>
                        </a:cubicBezTo>
                        <a:cubicBezTo>
                          <a:pt x="45581" y="68256"/>
                          <a:pt x="43720" y="67155"/>
                          <a:pt x="43720" y="67155"/>
                        </a:cubicBezTo>
                        <a:cubicBezTo>
                          <a:pt x="42790" y="67155"/>
                          <a:pt x="42790" y="67155"/>
                          <a:pt x="41860" y="68256"/>
                        </a:cubicBezTo>
                        <a:cubicBezTo>
                          <a:pt x="41860" y="68256"/>
                          <a:pt x="39069" y="67155"/>
                          <a:pt x="39069" y="67155"/>
                        </a:cubicBezTo>
                        <a:cubicBezTo>
                          <a:pt x="39069" y="67155"/>
                          <a:pt x="36279" y="67155"/>
                          <a:pt x="36279" y="67155"/>
                        </a:cubicBezTo>
                        <a:cubicBezTo>
                          <a:pt x="35348" y="67155"/>
                          <a:pt x="34418" y="69357"/>
                          <a:pt x="34418" y="69357"/>
                        </a:cubicBezTo>
                        <a:cubicBezTo>
                          <a:pt x="32558" y="66055"/>
                          <a:pt x="32558" y="66055"/>
                          <a:pt x="32558" y="66055"/>
                        </a:cubicBezTo>
                        <a:cubicBezTo>
                          <a:pt x="33488" y="62752"/>
                          <a:pt x="33488" y="62752"/>
                          <a:pt x="33488" y="62752"/>
                        </a:cubicBezTo>
                        <a:cubicBezTo>
                          <a:pt x="33488" y="62752"/>
                          <a:pt x="31627" y="60550"/>
                          <a:pt x="31627" y="59449"/>
                        </a:cubicBezTo>
                        <a:cubicBezTo>
                          <a:pt x="31627" y="59449"/>
                          <a:pt x="30697" y="57247"/>
                          <a:pt x="30697" y="57247"/>
                        </a:cubicBezTo>
                        <a:cubicBezTo>
                          <a:pt x="28837" y="57247"/>
                          <a:pt x="28837" y="57247"/>
                          <a:pt x="28837" y="57247"/>
                        </a:cubicBezTo>
                        <a:cubicBezTo>
                          <a:pt x="27906" y="56146"/>
                          <a:pt x="27906" y="56146"/>
                          <a:pt x="27906" y="56146"/>
                        </a:cubicBezTo>
                        <a:cubicBezTo>
                          <a:pt x="27906" y="56146"/>
                          <a:pt x="26046" y="56146"/>
                          <a:pt x="25116" y="56146"/>
                        </a:cubicBezTo>
                        <a:cubicBezTo>
                          <a:pt x="24186" y="56146"/>
                          <a:pt x="24186" y="56146"/>
                          <a:pt x="23255" y="56146"/>
                        </a:cubicBezTo>
                        <a:cubicBezTo>
                          <a:pt x="23255" y="56146"/>
                          <a:pt x="21395" y="53944"/>
                          <a:pt x="21395" y="53944"/>
                        </a:cubicBezTo>
                        <a:cubicBezTo>
                          <a:pt x="21395" y="52844"/>
                          <a:pt x="21395" y="51743"/>
                          <a:pt x="21395" y="50642"/>
                        </a:cubicBezTo>
                        <a:cubicBezTo>
                          <a:pt x="20465" y="49541"/>
                          <a:pt x="19534" y="47339"/>
                          <a:pt x="19534" y="46238"/>
                        </a:cubicBezTo>
                        <a:cubicBezTo>
                          <a:pt x="19534" y="46238"/>
                          <a:pt x="20465" y="44036"/>
                          <a:pt x="20465" y="44036"/>
                        </a:cubicBezTo>
                        <a:cubicBezTo>
                          <a:pt x="19534" y="42935"/>
                          <a:pt x="17674" y="40733"/>
                          <a:pt x="17674" y="40733"/>
                        </a:cubicBezTo>
                        <a:cubicBezTo>
                          <a:pt x="16744" y="38532"/>
                          <a:pt x="16744" y="38532"/>
                          <a:pt x="16744" y="38532"/>
                        </a:cubicBezTo>
                        <a:cubicBezTo>
                          <a:pt x="16744" y="38532"/>
                          <a:pt x="13953" y="40733"/>
                          <a:pt x="13023" y="40733"/>
                        </a:cubicBezTo>
                        <a:cubicBezTo>
                          <a:pt x="12093" y="40733"/>
                          <a:pt x="10232" y="39633"/>
                          <a:pt x="10232" y="40733"/>
                        </a:cubicBezTo>
                        <a:cubicBezTo>
                          <a:pt x="10232" y="40733"/>
                          <a:pt x="11162" y="42935"/>
                          <a:pt x="10232" y="42935"/>
                        </a:cubicBezTo>
                        <a:cubicBezTo>
                          <a:pt x="9302" y="42935"/>
                          <a:pt x="7441" y="42935"/>
                          <a:pt x="6511" y="41834"/>
                        </a:cubicBezTo>
                        <a:cubicBezTo>
                          <a:pt x="5581" y="40733"/>
                          <a:pt x="5581" y="39633"/>
                          <a:pt x="5581" y="38532"/>
                        </a:cubicBezTo>
                        <a:cubicBezTo>
                          <a:pt x="4651" y="38532"/>
                          <a:pt x="4651" y="36330"/>
                          <a:pt x="3720" y="36330"/>
                        </a:cubicBezTo>
                        <a:cubicBezTo>
                          <a:pt x="2790" y="36330"/>
                          <a:pt x="1860" y="36330"/>
                          <a:pt x="1860" y="35229"/>
                        </a:cubicBezTo>
                        <a:cubicBezTo>
                          <a:pt x="1860" y="35229"/>
                          <a:pt x="1860" y="31926"/>
                          <a:pt x="1860" y="31926"/>
                        </a:cubicBezTo>
                        <a:cubicBezTo>
                          <a:pt x="1860" y="29724"/>
                          <a:pt x="1860" y="29724"/>
                          <a:pt x="1860" y="29724"/>
                        </a:cubicBezTo>
                        <a:cubicBezTo>
                          <a:pt x="1860" y="29724"/>
                          <a:pt x="1860" y="26422"/>
                          <a:pt x="930" y="26422"/>
                        </a:cubicBezTo>
                        <a:cubicBezTo>
                          <a:pt x="930" y="25321"/>
                          <a:pt x="0" y="24220"/>
                          <a:pt x="0" y="24220"/>
                        </a:cubicBezTo>
                        <a:cubicBezTo>
                          <a:pt x="0" y="20917"/>
                          <a:pt x="0" y="20917"/>
                          <a:pt x="0" y="20917"/>
                        </a:cubicBezTo>
                        <a:lnTo>
                          <a:pt x="930" y="19816"/>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1" name="Shape 2034"/>
                  <p:cNvSpPr/>
                  <p:nvPr/>
                </p:nvSpPr>
                <p:spPr>
                  <a:xfrm>
                    <a:off x="5187582" y="2730091"/>
                    <a:ext cx="547516" cy="294054"/>
                  </a:xfrm>
                  <a:custGeom>
                    <a:avLst/>
                    <a:gdLst/>
                    <a:ahLst/>
                    <a:cxnLst/>
                    <a:rect l="0" t="0" r="0" b="0"/>
                    <a:pathLst>
                      <a:path w="120000" h="120000" extrusionOk="0">
                        <a:moveTo>
                          <a:pt x="21500" y="24360"/>
                        </a:moveTo>
                        <a:cubicBezTo>
                          <a:pt x="22000" y="24360"/>
                          <a:pt x="25000" y="19849"/>
                          <a:pt x="25000" y="19849"/>
                        </a:cubicBezTo>
                        <a:cubicBezTo>
                          <a:pt x="28000" y="18045"/>
                          <a:pt x="28000" y="18045"/>
                          <a:pt x="28000" y="18045"/>
                        </a:cubicBezTo>
                        <a:cubicBezTo>
                          <a:pt x="29000" y="16240"/>
                          <a:pt x="29000" y="16240"/>
                          <a:pt x="29000" y="16240"/>
                        </a:cubicBezTo>
                        <a:cubicBezTo>
                          <a:pt x="30000" y="12631"/>
                          <a:pt x="30000" y="12631"/>
                          <a:pt x="30000" y="12631"/>
                        </a:cubicBezTo>
                        <a:cubicBezTo>
                          <a:pt x="30000" y="12631"/>
                          <a:pt x="29500" y="10827"/>
                          <a:pt x="31000" y="10827"/>
                        </a:cubicBezTo>
                        <a:cubicBezTo>
                          <a:pt x="32500" y="10827"/>
                          <a:pt x="37000" y="9022"/>
                          <a:pt x="37000" y="9022"/>
                        </a:cubicBezTo>
                        <a:cubicBezTo>
                          <a:pt x="37500" y="7218"/>
                          <a:pt x="37500" y="7218"/>
                          <a:pt x="37500" y="7218"/>
                        </a:cubicBezTo>
                        <a:cubicBezTo>
                          <a:pt x="36500" y="4511"/>
                          <a:pt x="36500" y="4511"/>
                          <a:pt x="36500" y="4511"/>
                        </a:cubicBezTo>
                        <a:cubicBezTo>
                          <a:pt x="36500" y="4511"/>
                          <a:pt x="36500" y="902"/>
                          <a:pt x="36500" y="902"/>
                        </a:cubicBezTo>
                        <a:cubicBezTo>
                          <a:pt x="37000" y="0"/>
                          <a:pt x="39000" y="0"/>
                          <a:pt x="40000" y="0"/>
                        </a:cubicBezTo>
                        <a:cubicBezTo>
                          <a:pt x="41000" y="902"/>
                          <a:pt x="42000" y="1804"/>
                          <a:pt x="42500" y="2706"/>
                        </a:cubicBezTo>
                        <a:cubicBezTo>
                          <a:pt x="42500" y="3609"/>
                          <a:pt x="42500" y="2706"/>
                          <a:pt x="42500" y="4511"/>
                        </a:cubicBezTo>
                        <a:cubicBezTo>
                          <a:pt x="42500" y="6315"/>
                          <a:pt x="42500" y="8120"/>
                          <a:pt x="42500" y="8120"/>
                        </a:cubicBezTo>
                        <a:cubicBezTo>
                          <a:pt x="42500" y="8120"/>
                          <a:pt x="43000" y="9022"/>
                          <a:pt x="43500" y="9924"/>
                        </a:cubicBezTo>
                        <a:cubicBezTo>
                          <a:pt x="44500" y="9924"/>
                          <a:pt x="45500" y="11729"/>
                          <a:pt x="45500" y="10827"/>
                        </a:cubicBezTo>
                        <a:cubicBezTo>
                          <a:pt x="45500" y="10827"/>
                          <a:pt x="46000" y="9924"/>
                          <a:pt x="46500" y="9022"/>
                        </a:cubicBezTo>
                        <a:cubicBezTo>
                          <a:pt x="46500" y="9022"/>
                          <a:pt x="46500" y="9022"/>
                          <a:pt x="46500" y="9022"/>
                        </a:cubicBezTo>
                        <a:cubicBezTo>
                          <a:pt x="46500" y="10827"/>
                          <a:pt x="47000" y="9924"/>
                          <a:pt x="47500" y="9924"/>
                        </a:cubicBezTo>
                        <a:cubicBezTo>
                          <a:pt x="48000" y="9924"/>
                          <a:pt x="50000" y="8120"/>
                          <a:pt x="50000" y="8120"/>
                        </a:cubicBezTo>
                        <a:cubicBezTo>
                          <a:pt x="50000" y="8120"/>
                          <a:pt x="49500" y="5413"/>
                          <a:pt x="49500" y="5413"/>
                        </a:cubicBezTo>
                        <a:cubicBezTo>
                          <a:pt x="49500" y="4511"/>
                          <a:pt x="49500" y="3609"/>
                          <a:pt x="49500" y="2706"/>
                        </a:cubicBezTo>
                        <a:cubicBezTo>
                          <a:pt x="50000" y="1804"/>
                          <a:pt x="50000" y="1804"/>
                          <a:pt x="50000" y="1804"/>
                        </a:cubicBezTo>
                        <a:cubicBezTo>
                          <a:pt x="50500" y="1804"/>
                          <a:pt x="51500" y="2706"/>
                          <a:pt x="51500" y="2706"/>
                        </a:cubicBezTo>
                        <a:cubicBezTo>
                          <a:pt x="51500" y="2706"/>
                          <a:pt x="52500" y="3609"/>
                          <a:pt x="53000" y="3609"/>
                        </a:cubicBezTo>
                        <a:cubicBezTo>
                          <a:pt x="54000" y="3609"/>
                          <a:pt x="53500" y="5413"/>
                          <a:pt x="53500" y="5413"/>
                        </a:cubicBezTo>
                        <a:cubicBezTo>
                          <a:pt x="53500" y="5413"/>
                          <a:pt x="54000" y="8120"/>
                          <a:pt x="55000" y="9022"/>
                        </a:cubicBezTo>
                        <a:cubicBezTo>
                          <a:pt x="56000" y="9924"/>
                          <a:pt x="56000" y="10827"/>
                          <a:pt x="56000" y="11729"/>
                        </a:cubicBezTo>
                        <a:cubicBezTo>
                          <a:pt x="56500" y="11729"/>
                          <a:pt x="57500" y="11729"/>
                          <a:pt x="57500" y="11729"/>
                        </a:cubicBezTo>
                        <a:cubicBezTo>
                          <a:pt x="59000" y="10827"/>
                          <a:pt x="59000" y="10827"/>
                          <a:pt x="59000" y="10827"/>
                        </a:cubicBezTo>
                        <a:cubicBezTo>
                          <a:pt x="59000" y="10827"/>
                          <a:pt x="60000" y="11729"/>
                          <a:pt x="60500" y="13533"/>
                        </a:cubicBezTo>
                        <a:cubicBezTo>
                          <a:pt x="60500" y="14436"/>
                          <a:pt x="62000" y="14436"/>
                          <a:pt x="62500" y="13533"/>
                        </a:cubicBezTo>
                        <a:cubicBezTo>
                          <a:pt x="63000" y="13533"/>
                          <a:pt x="63000" y="13533"/>
                          <a:pt x="63000" y="13533"/>
                        </a:cubicBezTo>
                        <a:cubicBezTo>
                          <a:pt x="63500" y="14436"/>
                          <a:pt x="63500" y="14436"/>
                          <a:pt x="63500" y="14436"/>
                        </a:cubicBezTo>
                        <a:cubicBezTo>
                          <a:pt x="63500" y="14436"/>
                          <a:pt x="64500" y="18045"/>
                          <a:pt x="66000" y="15338"/>
                        </a:cubicBezTo>
                        <a:cubicBezTo>
                          <a:pt x="67500" y="12631"/>
                          <a:pt x="66500" y="15338"/>
                          <a:pt x="66500" y="15338"/>
                        </a:cubicBezTo>
                        <a:cubicBezTo>
                          <a:pt x="66500" y="15338"/>
                          <a:pt x="67500" y="18045"/>
                          <a:pt x="68000" y="18045"/>
                        </a:cubicBezTo>
                        <a:cubicBezTo>
                          <a:pt x="69000" y="18045"/>
                          <a:pt x="69000" y="18045"/>
                          <a:pt x="69000" y="18045"/>
                        </a:cubicBezTo>
                        <a:cubicBezTo>
                          <a:pt x="71000" y="16240"/>
                          <a:pt x="71000" y="16240"/>
                          <a:pt x="71000" y="16240"/>
                        </a:cubicBezTo>
                        <a:cubicBezTo>
                          <a:pt x="72500" y="15338"/>
                          <a:pt x="72500" y="15338"/>
                          <a:pt x="72500" y="15338"/>
                        </a:cubicBezTo>
                        <a:cubicBezTo>
                          <a:pt x="72500" y="15338"/>
                          <a:pt x="74000" y="15338"/>
                          <a:pt x="73500" y="19849"/>
                        </a:cubicBezTo>
                        <a:cubicBezTo>
                          <a:pt x="73500" y="23458"/>
                          <a:pt x="73000" y="22556"/>
                          <a:pt x="73000" y="22556"/>
                        </a:cubicBezTo>
                        <a:cubicBezTo>
                          <a:pt x="72000" y="25263"/>
                          <a:pt x="72000" y="25263"/>
                          <a:pt x="72000" y="25263"/>
                        </a:cubicBezTo>
                        <a:cubicBezTo>
                          <a:pt x="72000" y="27969"/>
                          <a:pt x="72000" y="27969"/>
                          <a:pt x="72000" y="27969"/>
                        </a:cubicBezTo>
                        <a:cubicBezTo>
                          <a:pt x="72000" y="27969"/>
                          <a:pt x="72500" y="27969"/>
                          <a:pt x="73000" y="27969"/>
                        </a:cubicBezTo>
                        <a:cubicBezTo>
                          <a:pt x="73500" y="27969"/>
                          <a:pt x="74000" y="31578"/>
                          <a:pt x="74000" y="31578"/>
                        </a:cubicBezTo>
                        <a:cubicBezTo>
                          <a:pt x="75500" y="32481"/>
                          <a:pt x="75500" y="32481"/>
                          <a:pt x="75500" y="32481"/>
                        </a:cubicBezTo>
                        <a:cubicBezTo>
                          <a:pt x="75500" y="32481"/>
                          <a:pt x="76000" y="33383"/>
                          <a:pt x="77000" y="34285"/>
                        </a:cubicBezTo>
                        <a:cubicBezTo>
                          <a:pt x="77500" y="35187"/>
                          <a:pt x="78000" y="36992"/>
                          <a:pt x="78000" y="36992"/>
                        </a:cubicBezTo>
                        <a:cubicBezTo>
                          <a:pt x="78000" y="36992"/>
                          <a:pt x="78500" y="40601"/>
                          <a:pt x="79000" y="41503"/>
                        </a:cubicBezTo>
                        <a:cubicBezTo>
                          <a:pt x="79000" y="43308"/>
                          <a:pt x="82000" y="39699"/>
                          <a:pt x="82000" y="39699"/>
                        </a:cubicBezTo>
                        <a:cubicBezTo>
                          <a:pt x="82500" y="35187"/>
                          <a:pt x="82500" y="35187"/>
                          <a:pt x="82500" y="35187"/>
                        </a:cubicBezTo>
                        <a:cubicBezTo>
                          <a:pt x="85500" y="33383"/>
                          <a:pt x="85500" y="33383"/>
                          <a:pt x="85500" y="33383"/>
                        </a:cubicBezTo>
                        <a:cubicBezTo>
                          <a:pt x="84500" y="27969"/>
                          <a:pt x="84500" y="27969"/>
                          <a:pt x="84500" y="27969"/>
                        </a:cubicBezTo>
                        <a:cubicBezTo>
                          <a:pt x="83500" y="24360"/>
                          <a:pt x="83500" y="24360"/>
                          <a:pt x="83500" y="24360"/>
                        </a:cubicBezTo>
                        <a:cubicBezTo>
                          <a:pt x="83500" y="24360"/>
                          <a:pt x="85500" y="25263"/>
                          <a:pt x="86000" y="24360"/>
                        </a:cubicBezTo>
                        <a:cubicBezTo>
                          <a:pt x="86500" y="24360"/>
                          <a:pt x="88000" y="25263"/>
                          <a:pt x="88000" y="25263"/>
                        </a:cubicBezTo>
                        <a:cubicBezTo>
                          <a:pt x="93500" y="29774"/>
                          <a:pt x="93500" y="29774"/>
                          <a:pt x="93500" y="29774"/>
                        </a:cubicBezTo>
                        <a:cubicBezTo>
                          <a:pt x="93500" y="29774"/>
                          <a:pt x="95000" y="28872"/>
                          <a:pt x="96000" y="28872"/>
                        </a:cubicBezTo>
                        <a:cubicBezTo>
                          <a:pt x="97000" y="27969"/>
                          <a:pt x="97000" y="26165"/>
                          <a:pt x="97000" y="26165"/>
                        </a:cubicBezTo>
                        <a:cubicBezTo>
                          <a:pt x="97000" y="26165"/>
                          <a:pt x="97500" y="27067"/>
                          <a:pt x="98500" y="28872"/>
                        </a:cubicBezTo>
                        <a:cubicBezTo>
                          <a:pt x="99000" y="31578"/>
                          <a:pt x="98000" y="30676"/>
                          <a:pt x="98000" y="31578"/>
                        </a:cubicBezTo>
                        <a:cubicBezTo>
                          <a:pt x="97500" y="32481"/>
                          <a:pt x="96500" y="35187"/>
                          <a:pt x="96500" y="35187"/>
                        </a:cubicBezTo>
                        <a:cubicBezTo>
                          <a:pt x="96500" y="35187"/>
                          <a:pt x="97000" y="36992"/>
                          <a:pt x="98000" y="36992"/>
                        </a:cubicBezTo>
                        <a:cubicBezTo>
                          <a:pt x="98500" y="36992"/>
                          <a:pt x="98000" y="37894"/>
                          <a:pt x="99000" y="39699"/>
                        </a:cubicBezTo>
                        <a:cubicBezTo>
                          <a:pt x="99500" y="40601"/>
                          <a:pt x="101500" y="41503"/>
                          <a:pt x="101500" y="41503"/>
                        </a:cubicBezTo>
                        <a:cubicBezTo>
                          <a:pt x="103000" y="41503"/>
                          <a:pt x="103000" y="41503"/>
                          <a:pt x="103000" y="41503"/>
                        </a:cubicBezTo>
                        <a:cubicBezTo>
                          <a:pt x="104500" y="38796"/>
                          <a:pt x="104500" y="38796"/>
                          <a:pt x="104500" y="38796"/>
                        </a:cubicBezTo>
                        <a:cubicBezTo>
                          <a:pt x="104500" y="38796"/>
                          <a:pt x="106000" y="39699"/>
                          <a:pt x="106500" y="40601"/>
                        </a:cubicBezTo>
                        <a:cubicBezTo>
                          <a:pt x="107000" y="41503"/>
                          <a:pt x="109500" y="43308"/>
                          <a:pt x="109500" y="43308"/>
                        </a:cubicBezTo>
                        <a:cubicBezTo>
                          <a:pt x="113500" y="41503"/>
                          <a:pt x="113500" y="41503"/>
                          <a:pt x="113500" y="41503"/>
                        </a:cubicBezTo>
                        <a:cubicBezTo>
                          <a:pt x="114000" y="48721"/>
                          <a:pt x="114000" y="48721"/>
                          <a:pt x="114000" y="48721"/>
                        </a:cubicBezTo>
                        <a:cubicBezTo>
                          <a:pt x="114000" y="48721"/>
                          <a:pt x="115000" y="48721"/>
                          <a:pt x="116000" y="51428"/>
                        </a:cubicBezTo>
                        <a:cubicBezTo>
                          <a:pt x="117000" y="53233"/>
                          <a:pt x="116500" y="51428"/>
                          <a:pt x="116500" y="51428"/>
                        </a:cubicBezTo>
                        <a:cubicBezTo>
                          <a:pt x="116500" y="51428"/>
                          <a:pt x="118500" y="53233"/>
                          <a:pt x="118500" y="54135"/>
                        </a:cubicBezTo>
                        <a:cubicBezTo>
                          <a:pt x="118500" y="55939"/>
                          <a:pt x="119000" y="57744"/>
                          <a:pt x="119000" y="57744"/>
                        </a:cubicBezTo>
                        <a:cubicBezTo>
                          <a:pt x="120000" y="61353"/>
                          <a:pt x="120000" y="61353"/>
                          <a:pt x="120000" y="61353"/>
                        </a:cubicBezTo>
                        <a:cubicBezTo>
                          <a:pt x="119500" y="61353"/>
                          <a:pt x="118500" y="61353"/>
                          <a:pt x="118000" y="61353"/>
                        </a:cubicBezTo>
                        <a:cubicBezTo>
                          <a:pt x="118000" y="61353"/>
                          <a:pt x="117500" y="62255"/>
                          <a:pt x="117000" y="62255"/>
                        </a:cubicBezTo>
                        <a:cubicBezTo>
                          <a:pt x="116500" y="62255"/>
                          <a:pt x="116000" y="62255"/>
                          <a:pt x="116000" y="62255"/>
                        </a:cubicBezTo>
                        <a:cubicBezTo>
                          <a:pt x="114500" y="63157"/>
                          <a:pt x="114500" y="63157"/>
                          <a:pt x="114500" y="63157"/>
                        </a:cubicBezTo>
                        <a:cubicBezTo>
                          <a:pt x="113500" y="64962"/>
                          <a:pt x="113500" y="64962"/>
                          <a:pt x="113500" y="64962"/>
                        </a:cubicBezTo>
                        <a:cubicBezTo>
                          <a:pt x="112500" y="66766"/>
                          <a:pt x="112500" y="66766"/>
                          <a:pt x="112500" y="66766"/>
                        </a:cubicBezTo>
                        <a:cubicBezTo>
                          <a:pt x="111500" y="70375"/>
                          <a:pt x="111500" y="70375"/>
                          <a:pt x="111500" y="70375"/>
                        </a:cubicBezTo>
                        <a:cubicBezTo>
                          <a:pt x="111500" y="72180"/>
                          <a:pt x="111500" y="72180"/>
                          <a:pt x="111500" y="72180"/>
                        </a:cubicBezTo>
                        <a:cubicBezTo>
                          <a:pt x="110000" y="74887"/>
                          <a:pt x="110000" y="74887"/>
                          <a:pt x="110000" y="74887"/>
                        </a:cubicBezTo>
                        <a:cubicBezTo>
                          <a:pt x="110000" y="74887"/>
                          <a:pt x="108500" y="76691"/>
                          <a:pt x="108000" y="76691"/>
                        </a:cubicBezTo>
                        <a:cubicBezTo>
                          <a:pt x="107500" y="76691"/>
                          <a:pt x="107500" y="80300"/>
                          <a:pt x="107500" y="80300"/>
                        </a:cubicBezTo>
                        <a:cubicBezTo>
                          <a:pt x="108000" y="83007"/>
                          <a:pt x="108000" y="83007"/>
                          <a:pt x="108000" y="83007"/>
                        </a:cubicBezTo>
                        <a:cubicBezTo>
                          <a:pt x="107500" y="87518"/>
                          <a:pt x="107500" y="87518"/>
                          <a:pt x="107500" y="87518"/>
                        </a:cubicBezTo>
                        <a:cubicBezTo>
                          <a:pt x="105000" y="89323"/>
                          <a:pt x="105000" y="89323"/>
                          <a:pt x="105000" y="89323"/>
                        </a:cubicBezTo>
                        <a:cubicBezTo>
                          <a:pt x="104500" y="92030"/>
                          <a:pt x="104500" y="92030"/>
                          <a:pt x="104500" y="92030"/>
                        </a:cubicBezTo>
                        <a:cubicBezTo>
                          <a:pt x="104000" y="93834"/>
                          <a:pt x="104000" y="93834"/>
                          <a:pt x="104000" y="93834"/>
                        </a:cubicBezTo>
                        <a:cubicBezTo>
                          <a:pt x="104000" y="93834"/>
                          <a:pt x="103000" y="94736"/>
                          <a:pt x="103000" y="94736"/>
                        </a:cubicBezTo>
                        <a:cubicBezTo>
                          <a:pt x="102500" y="93834"/>
                          <a:pt x="102500" y="96541"/>
                          <a:pt x="102500" y="96541"/>
                        </a:cubicBezTo>
                        <a:cubicBezTo>
                          <a:pt x="101500" y="98345"/>
                          <a:pt x="101500" y="98345"/>
                          <a:pt x="101500" y="98345"/>
                        </a:cubicBezTo>
                        <a:cubicBezTo>
                          <a:pt x="101000" y="98345"/>
                          <a:pt x="101000" y="98345"/>
                          <a:pt x="101000" y="98345"/>
                        </a:cubicBezTo>
                        <a:cubicBezTo>
                          <a:pt x="100000" y="99248"/>
                          <a:pt x="100000" y="99248"/>
                          <a:pt x="100000" y="99248"/>
                        </a:cubicBezTo>
                        <a:cubicBezTo>
                          <a:pt x="100000" y="99248"/>
                          <a:pt x="99500" y="100150"/>
                          <a:pt x="99000" y="100150"/>
                        </a:cubicBezTo>
                        <a:cubicBezTo>
                          <a:pt x="99000" y="101052"/>
                          <a:pt x="98500" y="100150"/>
                          <a:pt x="98500" y="100150"/>
                        </a:cubicBezTo>
                        <a:cubicBezTo>
                          <a:pt x="98500" y="100150"/>
                          <a:pt x="97500" y="99248"/>
                          <a:pt x="97000" y="99248"/>
                        </a:cubicBezTo>
                        <a:cubicBezTo>
                          <a:pt x="97000" y="99248"/>
                          <a:pt x="97000" y="100150"/>
                          <a:pt x="96500" y="100150"/>
                        </a:cubicBezTo>
                        <a:cubicBezTo>
                          <a:pt x="96500" y="100150"/>
                          <a:pt x="96500" y="100150"/>
                          <a:pt x="96000" y="101052"/>
                        </a:cubicBezTo>
                        <a:cubicBezTo>
                          <a:pt x="96000" y="101052"/>
                          <a:pt x="95500" y="100150"/>
                          <a:pt x="95000" y="100150"/>
                        </a:cubicBezTo>
                        <a:cubicBezTo>
                          <a:pt x="94500" y="100150"/>
                          <a:pt x="94500" y="99248"/>
                          <a:pt x="94500" y="99248"/>
                        </a:cubicBezTo>
                        <a:cubicBezTo>
                          <a:pt x="94000" y="99248"/>
                          <a:pt x="93500" y="99248"/>
                          <a:pt x="93500" y="99248"/>
                        </a:cubicBezTo>
                        <a:cubicBezTo>
                          <a:pt x="93000" y="99248"/>
                          <a:pt x="92500" y="99248"/>
                          <a:pt x="92500" y="99248"/>
                        </a:cubicBezTo>
                        <a:cubicBezTo>
                          <a:pt x="92500" y="99248"/>
                          <a:pt x="92000" y="100150"/>
                          <a:pt x="92000" y="100150"/>
                        </a:cubicBezTo>
                        <a:cubicBezTo>
                          <a:pt x="91000" y="101052"/>
                          <a:pt x="91000" y="101052"/>
                          <a:pt x="91000" y="101052"/>
                        </a:cubicBezTo>
                        <a:cubicBezTo>
                          <a:pt x="91000" y="101052"/>
                          <a:pt x="91000" y="101954"/>
                          <a:pt x="91000" y="102857"/>
                        </a:cubicBezTo>
                        <a:cubicBezTo>
                          <a:pt x="91000" y="102857"/>
                          <a:pt x="91000" y="103759"/>
                          <a:pt x="90500" y="103759"/>
                        </a:cubicBezTo>
                        <a:cubicBezTo>
                          <a:pt x="90500" y="103759"/>
                          <a:pt x="90000" y="105563"/>
                          <a:pt x="90000" y="105563"/>
                        </a:cubicBezTo>
                        <a:cubicBezTo>
                          <a:pt x="90000" y="105563"/>
                          <a:pt x="90000" y="108270"/>
                          <a:pt x="89500" y="108270"/>
                        </a:cubicBezTo>
                        <a:cubicBezTo>
                          <a:pt x="89500" y="108270"/>
                          <a:pt x="89500" y="109172"/>
                          <a:pt x="89500" y="109172"/>
                        </a:cubicBezTo>
                        <a:cubicBezTo>
                          <a:pt x="89500" y="110977"/>
                          <a:pt x="89500" y="110977"/>
                          <a:pt x="89500" y="110977"/>
                        </a:cubicBezTo>
                        <a:cubicBezTo>
                          <a:pt x="89500" y="111879"/>
                          <a:pt x="89500" y="111879"/>
                          <a:pt x="89500" y="111879"/>
                        </a:cubicBezTo>
                        <a:cubicBezTo>
                          <a:pt x="88500" y="110977"/>
                          <a:pt x="88500" y="110977"/>
                          <a:pt x="88500" y="110977"/>
                        </a:cubicBezTo>
                        <a:cubicBezTo>
                          <a:pt x="87500" y="105563"/>
                          <a:pt x="87500" y="105563"/>
                          <a:pt x="87500" y="105563"/>
                        </a:cubicBezTo>
                        <a:cubicBezTo>
                          <a:pt x="87500" y="105563"/>
                          <a:pt x="86000" y="106466"/>
                          <a:pt x="84500" y="106466"/>
                        </a:cubicBezTo>
                        <a:cubicBezTo>
                          <a:pt x="83000" y="105563"/>
                          <a:pt x="82000" y="103759"/>
                          <a:pt x="81500" y="103759"/>
                        </a:cubicBezTo>
                        <a:cubicBezTo>
                          <a:pt x="81500" y="102857"/>
                          <a:pt x="79500" y="103759"/>
                          <a:pt x="79500" y="103759"/>
                        </a:cubicBezTo>
                        <a:cubicBezTo>
                          <a:pt x="79000" y="107368"/>
                          <a:pt x="79000" y="107368"/>
                          <a:pt x="79000" y="107368"/>
                        </a:cubicBezTo>
                        <a:cubicBezTo>
                          <a:pt x="73500" y="106466"/>
                          <a:pt x="73500" y="106466"/>
                          <a:pt x="73500" y="106466"/>
                        </a:cubicBezTo>
                        <a:cubicBezTo>
                          <a:pt x="71500" y="104661"/>
                          <a:pt x="71500" y="104661"/>
                          <a:pt x="71500" y="104661"/>
                        </a:cubicBezTo>
                        <a:cubicBezTo>
                          <a:pt x="68000" y="101954"/>
                          <a:pt x="68000" y="101954"/>
                          <a:pt x="68000" y="101954"/>
                        </a:cubicBezTo>
                        <a:cubicBezTo>
                          <a:pt x="67000" y="101052"/>
                          <a:pt x="67000" y="101052"/>
                          <a:pt x="67000" y="101052"/>
                        </a:cubicBezTo>
                        <a:cubicBezTo>
                          <a:pt x="67000" y="101052"/>
                          <a:pt x="65000" y="101052"/>
                          <a:pt x="64500" y="101052"/>
                        </a:cubicBezTo>
                        <a:cubicBezTo>
                          <a:pt x="64000" y="101052"/>
                          <a:pt x="62000" y="100150"/>
                          <a:pt x="62000" y="100150"/>
                        </a:cubicBezTo>
                        <a:cubicBezTo>
                          <a:pt x="62000" y="100150"/>
                          <a:pt x="60000" y="99248"/>
                          <a:pt x="59500" y="99248"/>
                        </a:cubicBezTo>
                        <a:cubicBezTo>
                          <a:pt x="59000" y="99248"/>
                          <a:pt x="58000" y="99248"/>
                          <a:pt x="58000" y="99248"/>
                        </a:cubicBezTo>
                        <a:cubicBezTo>
                          <a:pt x="55500" y="98345"/>
                          <a:pt x="55500" y="98345"/>
                          <a:pt x="55500" y="98345"/>
                        </a:cubicBezTo>
                        <a:cubicBezTo>
                          <a:pt x="55500" y="98345"/>
                          <a:pt x="54000" y="96541"/>
                          <a:pt x="53000" y="97443"/>
                        </a:cubicBezTo>
                        <a:cubicBezTo>
                          <a:pt x="52500" y="97443"/>
                          <a:pt x="53000" y="100150"/>
                          <a:pt x="53000" y="100150"/>
                        </a:cubicBezTo>
                        <a:cubicBezTo>
                          <a:pt x="53000" y="100150"/>
                          <a:pt x="52500" y="104661"/>
                          <a:pt x="53000" y="105563"/>
                        </a:cubicBezTo>
                        <a:cubicBezTo>
                          <a:pt x="53000" y="107368"/>
                          <a:pt x="52000" y="109172"/>
                          <a:pt x="52000" y="109172"/>
                        </a:cubicBezTo>
                        <a:cubicBezTo>
                          <a:pt x="50500" y="110075"/>
                          <a:pt x="50500" y="110075"/>
                          <a:pt x="50500" y="110075"/>
                        </a:cubicBezTo>
                        <a:cubicBezTo>
                          <a:pt x="50500" y="110075"/>
                          <a:pt x="49500" y="112781"/>
                          <a:pt x="49000" y="112781"/>
                        </a:cubicBezTo>
                        <a:cubicBezTo>
                          <a:pt x="48500" y="112781"/>
                          <a:pt x="48500" y="118195"/>
                          <a:pt x="48500" y="118195"/>
                        </a:cubicBezTo>
                        <a:cubicBezTo>
                          <a:pt x="46500" y="119097"/>
                          <a:pt x="46500" y="119097"/>
                          <a:pt x="46500" y="119097"/>
                        </a:cubicBezTo>
                        <a:cubicBezTo>
                          <a:pt x="44500" y="116390"/>
                          <a:pt x="44500" y="116390"/>
                          <a:pt x="44500" y="116390"/>
                        </a:cubicBezTo>
                        <a:cubicBezTo>
                          <a:pt x="43000" y="118195"/>
                          <a:pt x="43000" y="118195"/>
                          <a:pt x="43000" y="118195"/>
                        </a:cubicBezTo>
                        <a:cubicBezTo>
                          <a:pt x="42500" y="120000"/>
                          <a:pt x="42500" y="120000"/>
                          <a:pt x="42500" y="120000"/>
                        </a:cubicBezTo>
                        <a:cubicBezTo>
                          <a:pt x="42500" y="120000"/>
                          <a:pt x="40000" y="119097"/>
                          <a:pt x="40000" y="119097"/>
                        </a:cubicBezTo>
                        <a:cubicBezTo>
                          <a:pt x="39500" y="119097"/>
                          <a:pt x="37000" y="118195"/>
                          <a:pt x="37000" y="118195"/>
                        </a:cubicBezTo>
                        <a:cubicBezTo>
                          <a:pt x="37000" y="118195"/>
                          <a:pt x="35500" y="115488"/>
                          <a:pt x="35000" y="114586"/>
                        </a:cubicBezTo>
                        <a:cubicBezTo>
                          <a:pt x="34500" y="113684"/>
                          <a:pt x="32500" y="111879"/>
                          <a:pt x="32000" y="110977"/>
                        </a:cubicBezTo>
                        <a:cubicBezTo>
                          <a:pt x="31500" y="110977"/>
                          <a:pt x="31500" y="110075"/>
                          <a:pt x="31500" y="110075"/>
                        </a:cubicBezTo>
                        <a:cubicBezTo>
                          <a:pt x="30500" y="108270"/>
                          <a:pt x="31000" y="108270"/>
                          <a:pt x="30000" y="107368"/>
                        </a:cubicBezTo>
                        <a:cubicBezTo>
                          <a:pt x="29000" y="106466"/>
                          <a:pt x="28000" y="106466"/>
                          <a:pt x="28000" y="105563"/>
                        </a:cubicBezTo>
                        <a:cubicBezTo>
                          <a:pt x="28000" y="104661"/>
                          <a:pt x="28500" y="102857"/>
                          <a:pt x="27500" y="102857"/>
                        </a:cubicBezTo>
                        <a:cubicBezTo>
                          <a:pt x="26000" y="103759"/>
                          <a:pt x="25500" y="104661"/>
                          <a:pt x="25000" y="103759"/>
                        </a:cubicBezTo>
                        <a:cubicBezTo>
                          <a:pt x="24000" y="101954"/>
                          <a:pt x="24000" y="101954"/>
                          <a:pt x="23500" y="100150"/>
                        </a:cubicBezTo>
                        <a:cubicBezTo>
                          <a:pt x="23500" y="98345"/>
                          <a:pt x="23500" y="96541"/>
                          <a:pt x="22500" y="96541"/>
                        </a:cubicBezTo>
                        <a:cubicBezTo>
                          <a:pt x="21500" y="96541"/>
                          <a:pt x="21000" y="95639"/>
                          <a:pt x="21000" y="95639"/>
                        </a:cubicBezTo>
                        <a:cubicBezTo>
                          <a:pt x="21000" y="95639"/>
                          <a:pt x="20500" y="96541"/>
                          <a:pt x="20000" y="94736"/>
                        </a:cubicBezTo>
                        <a:cubicBezTo>
                          <a:pt x="19500" y="92030"/>
                          <a:pt x="21000" y="93834"/>
                          <a:pt x="19500" y="90225"/>
                        </a:cubicBezTo>
                        <a:cubicBezTo>
                          <a:pt x="17500" y="87518"/>
                          <a:pt x="18000" y="88421"/>
                          <a:pt x="17000" y="86616"/>
                        </a:cubicBezTo>
                        <a:cubicBezTo>
                          <a:pt x="16000" y="84812"/>
                          <a:pt x="13000" y="86616"/>
                          <a:pt x="13000" y="86616"/>
                        </a:cubicBezTo>
                        <a:cubicBezTo>
                          <a:pt x="13000" y="86616"/>
                          <a:pt x="13000" y="85714"/>
                          <a:pt x="12000" y="83909"/>
                        </a:cubicBezTo>
                        <a:cubicBezTo>
                          <a:pt x="11000" y="82105"/>
                          <a:pt x="11500" y="83007"/>
                          <a:pt x="10500" y="81203"/>
                        </a:cubicBezTo>
                        <a:cubicBezTo>
                          <a:pt x="9500" y="78496"/>
                          <a:pt x="9500" y="79398"/>
                          <a:pt x="9500" y="76691"/>
                        </a:cubicBezTo>
                        <a:cubicBezTo>
                          <a:pt x="9000" y="73984"/>
                          <a:pt x="9500" y="73082"/>
                          <a:pt x="8500" y="71278"/>
                        </a:cubicBezTo>
                        <a:cubicBezTo>
                          <a:pt x="7500" y="69473"/>
                          <a:pt x="7000" y="67669"/>
                          <a:pt x="7000" y="67669"/>
                        </a:cubicBezTo>
                        <a:cubicBezTo>
                          <a:pt x="7000" y="67669"/>
                          <a:pt x="6000" y="65864"/>
                          <a:pt x="7000" y="63157"/>
                        </a:cubicBezTo>
                        <a:cubicBezTo>
                          <a:pt x="8000" y="61353"/>
                          <a:pt x="8000" y="61353"/>
                          <a:pt x="8000" y="59548"/>
                        </a:cubicBezTo>
                        <a:cubicBezTo>
                          <a:pt x="8000" y="58646"/>
                          <a:pt x="8500" y="56842"/>
                          <a:pt x="7000" y="55037"/>
                        </a:cubicBezTo>
                        <a:cubicBezTo>
                          <a:pt x="5500" y="53233"/>
                          <a:pt x="5500" y="53233"/>
                          <a:pt x="4000" y="51428"/>
                        </a:cubicBezTo>
                        <a:cubicBezTo>
                          <a:pt x="3000" y="50526"/>
                          <a:pt x="2500" y="50526"/>
                          <a:pt x="2000" y="49624"/>
                        </a:cubicBezTo>
                        <a:cubicBezTo>
                          <a:pt x="1500" y="48721"/>
                          <a:pt x="500" y="42406"/>
                          <a:pt x="500" y="42406"/>
                        </a:cubicBezTo>
                        <a:cubicBezTo>
                          <a:pt x="0" y="39699"/>
                          <a:pt x="0" y="39699"/>
                          <a:pt x="0" y="39699"/>
                        </a:cubicBezTo>
                        <a:cubicBezTo>
                          <a:pt x="2500" y="39699"/>
                          <a:pt x="2500" y="39699"/>
                          <a:pt x="2500" y="39699"/>
                        </a:cubicBezTo>
                        <a:cubicBezTo>
                          <a:pt x="3000" y="43308"/>
                          <a:pt x="3000" y="43308"/>
                          <a:pt x="3000" y="43308"/>
                        </a:cubicBezTo>
                        <a:cubicBezTo>
                          <a:pt x="3500" y="46015"/>
                          <a:pt x="3500" y="46015"/>
                          <a:pt x="3500" y="46015"/>
                        </a:cubicBezTo>
                        <a:cubicBezTo>
                          <a:pt x="5000" y="40601"/>
                          <a:pt x="5000" y="40601"/>
                          <a:pt x="5000" y="40601"/>
                        </a:cubicBezTo>
                        <a:cubicBezTo>
                          <a:pt x="7000" y="36090"/>
                          <a:pt x="7000" y="36090"/>
                          <a:pt x="7000" y="36090"/>
                        </a:cubicBezTo>
                        <a:cubicBezTo>
                          <a:pt x="7000" y="36090"/>
                          <a:pt x="7000" y="36090"/>
                          <a:pt x="8500" y="36090"/>
                        </a:cubicBezTo>
                        <a:cubicBezTo>
                          <a:pt x="9500" y="36090"/>
                          <a:pt x="11000" y="34285"/>
                          <a:pt x="11500" y="34285"/>
                        </a:cubicBezTo>
                        <a:cubicBezTo>
                          <a:pt x="12500" y="34285"/>
                          <a:pt x="14000" y="35187"/>
                          <a:pt x="14500" y="35187"/>
                        </a:cubicBezTo>
                        <a:cubicBezTo>
                          <a:pt x="15500" y="34285"/>
                          <a:pt x="16000" y="34285"/>
                          <a:pt x="16000" y="32481"/>
                        </a:cubicBezTo>
                        <a:cubicBezTo>
                          <a:pt x="16500" y="31578"/>
                          <a:pt x="15500" y="29774"/>
                          <a:pt x="17500" y="28872"/>
                        </a:cubicBezTo>
                        <a:cubicBezTo>
                          <a:pt x="19000" y="27067"/>
                          <a:pt x="19500" y="27067"/>
                          <a:pt x="19500" y="27067"/>
                        </a:cubicBezTo>
                        <a:lnTo>
                          <a:pt x="21500" y="2436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2" name="Shape 2036"/>
                  <p:cNvSpPr/>
                  <p:nvPr/>
                </p:nvSpPr>
                <p:spPr>
                  <a:xfrm>
                    <a:off x="5769180" y="1991757"/>
                    <a:ext cx="413385" cy="308971"/>
                  </a:xfrm>
                  <a:custGeom>
                    <a:avLst/>
                    <a:gdLst/>
                    <a:ahLst/>
                    <a:cxnLst/>
                    <a:rect l="0" t="0" r="0" b="0"/>
                    <a:pathLst>
                      <a:path w="120000" h="120000" extrusionOk="0">
                        <a:moveTo>
                          <a:pt x="11933" y="22285"/>
                        </a:moveTo>
                        <a:cubicBezTo>
                          <a:pt x="15911" y="18857"/>
                          <a:pt x="15911" y="18857"/>
                          <a:pt x="15911" y="18857"/>
                        </a:cubicBezTo>
                        <a:cubicBezTo>
                          <a:pt x="17900" y="16285"/>
                          <a:pt x="17900" y="16285"/>
                          <a:pt x="17900" y="16285"/>
                        </a:cubicBezTo>
                        <a:cubicBezTo>
                          <a:pt x="22541" y="17142"/>
                          <a:pt x="22541" y="17142"/>
                          <a:pt x="22541" y="17142"/>
                        </a:cubicBezTo>
                        <a:cubicBezTo>
                          <a:pt x="22541" y="17142"/>
                          <a:pt x="25856" y="15428"/>
                          <a:pt x="26519" y="15428"/>
                        </a:cubicBezTo>
                        <a:cubicBezTo>
                          <a:pt x="27182" y="15428"/>
                          <a:pt x="31823" y="14571"/>
                          <a:pt x="31823" y="14571"/>
                        </a:cubicBezTo>
                        <a:cubicBezTo>
                          <a:pt x="34475" y="12000"/>
                          <a:pt x="34475" y="12000"/>
                          <a:pt x="34475" y="12000"/>
                        </a:cubicBezTo>
                        <a:cubicBezTo>
                          <a:pt x="34475" y="12000"/>
                          <a:pt x="36464" y="12857"/>
                          <a:pt x="36464" y="13714"/>
                        </a:cubicBezTo>
                        <a:cubicBezTo>
                          <a:pt x="37127" y="14571"/>
                          <a:pt x="39116" y="17142"/>
                          <a:pt x="39779" y="17142"/>
                        </a:cubicBezTo>
                        <a:cubicBezTo>
                          <a:pt x="40441" y="16285"/>
                          <a:pt x="41104" y="12857"/>
                          <a:pt x="41104" y="12857"/>
                        </a:cubicBezTo>
                        <a:cubicBezTo>
                          <a:pt x="45082" y="12000"/>
                          <a:pt x="45082" y="12000"/>
                          <a:pt x="45082" y="12000"/>
                        </a:cubicBezTo>
                        <a:cubicBezTo>
                          <a:pt x="48397" y="11142"/>
                          <a:pt x="48397" y="11142"/>
                          <a:pt x="48397" y="11142"/>
                        </a:cubicBezTo>
                        <a:cubicBezTo>
                          <a:pt x="48397" y="11142"/>
                          <a:pt x="48397" y="10285"/>
                          <a:pt x="49060" y="10285"/>
                        </a:cubicBezTo>
                        <a:cubicBezTo>
                          <a:pt x="49723" y="11142"/>
                          <a:pt x="53701" y="11142"/>
                          <a:pt x="53701" y="11142"/>
                        </a:cubicBezTo>
                        <a:cubicBezTo>
                          <a:pt x="57679" y="11142"/>
                          <a:pt x="57679" y="11142"/>
                          <a:pt x="57679" y="11142"/>
                        </a:cubicBezTo>
                        <a:cubicBezTo>
                          <a:pt x="57679" y="11142"/>
                          <a:pt x="60331" y="12857"/>
                          <a:pt x="60994" y="12857"/>
                        </a:cubicBezTo>
                        <a:cubicBezTo>
                          <a:pt x="60994" y="12000"/>
                          <a:pt x="62983" y="8571"/>
                          <a:pt x="62983" y="8571"/>
                        </a:cubicBezTo>
                        <a:cubicBezTo>
                          <a:pt x="66961" y="10285"/>
                          <a:pt x="66961" y="10285"/>
                          <a:pt x="66961" y="10285"/>
                        </a:cubicBezTo>
                        <a:cubicBezTo>
                          <a:pt x="67624" y="6857"/>
                          <a:pt x="67624" y="6857"/>
                          <a:pt x="67624" y="6857"/>
                        </a:cubicBezTo>
                        <a:cubicBezTo>
                          <a:pt x="67624" y="6857"/>
                          <a:pt x="69613" y="2571"/>
                          <a:pt x="69613" y="2571"/>
                        </a:cubicBezTo>
                        <a:cubicBezTo>
                          <a:pt x="70276" y="2571"/>
                          <a:pt x="72928" y="0"/>
                          <a:pt x="72928" y="0"/>
                        </a:cubicBezTo>
                        <a:cubicBezTo>
                          <a:pt x="74254" y="5142"/>
                          <a:pt x="74254" y="5142"/>
                          <a:pt x="74254" y="5142"/>
                        </a:cubicBezTo>
                        <a:cubicBezTo>
                          <a:pt x="76906" y="7714"/>
                          <a:pt x="76906" y="7714"/>
                          <a:pt x="76906" y="7714"/>
                        </a:cubicBezTo>
                        <a:cubicBezTo>
                          <a:pt x="77569" y="8571"/>
                          <a:pt x="77569" y="8571"/>
                          <a:pt x="77569" y="8571"/>
                        </a:cubicBezTo>
                        <a:cubicBezTo>
                          <a:pt x="80220" y="11142"/>
                          <a:pt x="80220" y="11142"/>
                          <a:pt x="80220" y="11142"/>
                        </a:cubicBezTo>
                        <a:cubicBezTo>
                          <a:pt x="84861" y="9428"/>
                          <a:pt x="84861" y="9428"/>
                          <a:pt x="84861" y="9428"/>
                        </a:cubicBezTo>
                        <a:cubicBezTo>
                          <a:pt x="87513" y="8571"/>
                          <a:pt x="87513" y="8571"/>
                          <a:pt x="87513" y="8571"/>
                        </a:cubicBezTo>
                        <a:cubicBezTo>
                          <a:pt x="89502" y="8571"/>
                          <a:pt x="89502" y="8571"/>
                          <a:pt x="89502" y="8571"/>
                        </a:cubicBezTo>
                        <a:cubicBezTo>
                          <a:pt x="90165" y="10285"/>
                          <a:pt x="90165" y="10285"/>
                          <a:pt x="90165" y="10285"/>
                        </a:cubicBezTo>
                        <a:cubicBezTo>
                          <a:pt x="92154" y="12000"/>
                          <a:pt x="92154" y="12000"/>
                          <a:pt x="92154" y="12000"/>
                        </a:cubicBezTo>
                        <a:cubicBezTo>
                          <a:pt x="95469" y="12000"/>
                          <a:pt x="95469" y="12000"/>
                          <a:pt x="95469" y="12000"/>
                        </a:cubicBezTo>
                        <a:cubicBezTo>
                          <a:pt x="96795" y="14571"/>
                          <a:pt x="96795" y="14571"/>
                          <a:pt x="96795" y="14571"/>
                        </a:cubicBezTo>
                        <a:cubicBezTo>
                          <a:pt x="99447" y="15428"/>
                          <a:pt x="99447" y="15428"/>
                          <a:pt x="99447" y="15428"/>
                        </a:cubicBezTo>
                        <a:cubicBezTo>
                          <a:pt x="101436" y="18857"/>
                          <a:pt x="101436" y="18857"/>
                          <a:pt x="101436" y="18857"/>
                        </a:cubicBezTo>
                        <a:cubicBezTo>
                          <a:pt x="103425" y="19714"/>
                          <a:pt x="103425" y="19714"/>
                          <a:pt x="103425" y="19714"/>
                        </a:cubicBezTo>
                        <a:cubicBezTo>
                          <a:pt x="104751" y="23142"/>
                          <a:pt x="104751" y="23142"/>
                          <a:pt x="104751" y="23142"/>
                        </a:cubicBezTo>
                        <a:cubicBezTo>
                          <a:pt x="107403" y="23142"/>
                          <a:pt x="107403" y="23142"/>
                          <a:pt x="107403" y="23142"/>
                        </a:cubicBezTo>
                        <a:cubicBezTo>
                          <a:pt x="110718" y="24000"/>
                          <a:pt x="110718" y="24000"/>
                          <a:pt x="110718" y="24000"/>
                        </a:cubicBezTo>
                        <a:cubicBezTo>
                          <a:pt x="112707" y="24000"/>
                          <a:pt x="112707" y="24000"/>
                          <a:pt x="112707" y="24000"/>
                        </a:cubicBezTo>
                        <a:cubicBezTo>
                          <a:pt x="112707" y="24000"/>
                          <a:pt x="112707" y="24000"/>
                          <a:pt x="112707" y="24000"/>
                        </a:cubicBezTo>
                        <a:cubicBezTo>
                          <a:pt x="113370" y="24000"/>
                          <a:pt x="113370" y="24000"/>
                          <a:pt x="113370" y="24000"/>
                        </a:cubicBezTo>
                        <a:cubicBezTo>
                          <a:pt x="114033" y="31714"/>
                          <a:pt x="114033" y="31714"/>
                          <a:pt x="114033" y="31714"/>
                        </a:cubicBezTo>
                        <a:cubicBezTo>
                          <a:pt x="112707" y="36000"/>
                          <a:pt x="112707" y="36000"/>
                          <a:pt x="112707" y="36000"/>
                        </a:cubicBezTo>
                        <a:cubicBezTo>
                          <a:pt x="112707" y="40285"/>
                          <a:pt x="112707" y="40285"/>
                          <a:pt x="112707" y="40285"/>
                        </a:cubicBezTo>
                        <a:cubicBezTo>
                          <a:pt x="114696" y="41142"/>
                          <a:pt x="114696" y="41142"/>
                          <a:pt x="114696" y="41142"/>
                        </a:cubicBezTo>
                        <a:cubicBezTo>
                          <a:pt x="119337" y="40285"/>
                          <a:pt x="119337" y="40285"/>
                          <a:pt x="119337" y="40285"/>
                        </a:cubicBezTo>
                        <a:cubicBezTo>
                          <a:pt x="120000" y="43714"/>
                          <a:pt x="120000" y="43714"/>
                          <a:pt x="120000" y="43714"/>
                        </a:cubicBezTo>
                        <a:cubicBezTo>
                          <a:pt x="117348" y="45428"/>
                          <a:pt x="117348" y="45428"/>
                          <a:pt x="117348" y="45428"/>
                        </a:cubicBezTo>
                        <a:cubicBezTo>
                          <a:pt x="118011" y="49714"/>
                          <a:pt x="118011" y="49714"/>
                          <a:pt x="118011" y="49714"/>
                        </a:cubicBezTo>
                        <a:cubicBezTo>
                          <a:pt x="112707" y="48857"/>
                          <a:pt x="112707" y="48857"/>
                          <a:pt x="112707" y="48857"/>
                        </a:cubicBezTo>
                        <a:cubicBezTo>
                          <a:pt x="110718" y="51428"/>
                          <a:pt x="110718" y="51428"/>
                          <a:pt x="110718" y="51428"/>
                        </a:cubicBezTo>
                        <a:cubicBezTo>
                          <a:pt x="110718" y="57428"/>
                          <a:pt x="110718" y="57428"/>
                          <a:pt x="110718" y="57428"/>
                        </a:cubicBezTo>
                        <a:cubicBezTo>
                          <a:pt x="105414" y="60000"/>
                          <a:pt x="105414" y="60000"/>
                          <a:pt x="105414" y="60000"/>
                        </a:cubicBezTo>
                        <a:cubicBezTo>
                          <a:pt x="104088" y="63428"/>
                          <a:pt x="104088" y="63428"/>
                          <a:pt x="104088" y="63428"/>
                        </a:cubicBezTo>
                        <a:cubicBezTo>
                          <a:pt x="104088" y="66857"/>
                          <a:pt x="104088" y="66857"/>
                          <a:pt x="104088" y="66857"/>
                        </a:cubicBezTo>
                        <a:cubicBezTo>
                          <a:pt x="103425" y="70285"/>
                          <a:pt x="103425" y="70285"/>
                          <a:pt x="103425" y="70285"/>
                        </a:cubicBezTo>
                        <a:cubicBezTo>
                          <a:pt x="104088" y="76285"/>
                          <a:pt x="104088" y="76285"/>
                          <a:pt x="104088" y="76285"/>
                        </a:cubicBezTo>
                        <a:cubicBezTo>
                          <a:pt x="104751" y="81428"/>
                          <a:pt x="104751" y="81428"/>
                          <a:pt x="104751" y="81428"/>
                        </a:cubicBezTo>
                        <a:cubicBezTo>
                          <a:pt x="104751" y="81428"/>
                          <a:pt x="103425" y="85714"/>
                          <a:pt x="102762" y="88285"/>
                        </a:cubicBezTo>
                        <a:cubicBezTo>
                          <a:pt x="102762" y="90000"/>
                          <a:pt x="104088" y="89142"/>
                          <a:pt x="104088" y="89142"/>
                        </a:cubicBezTo>
                        <a:cubicBezTo>
                          <a:pt x="107403" y="90857"/>
                          <a:pt x="107403" y="90857"/>
                          <a:pt x="107403" y="90857"/>
                        </a:cubicBezTo>
                        <a:cubicBezTo>
                          <a:pt x="108729" y="91714"/>
                          <a:pt x="108729" y="91714"/>
                          <a:pt x="108729" y="91714"/>
                        </a:cubicBezTo>
                        <a:cubicBezTo>
                          <a:pt x="107403" y="96857"/>
                          <a:pt x="107403" y="96857"/>
                          <a:pt x="107403" y="96857"/>
                        </a:cubicBezTo>
                        <a:cubicBezTo>
                          <a:pt x="104088" y="97714"/>
                          <a:pt x="104088" y="97714"/>
                          <a:pt x="104088" y="97714"/>
                        </a:cubicBezTo>
                        <a:cubicBezTo>
                          <a:pt x="104751" y="94285"/>
                          <a:pt x="104751" y="94285"/>
                          <a:pt x="104751" y="94285"/>
                        </a:cubicBezTo>
                        <a:cubicBezTo>
                          <a:pt x="103425" y="92571"/>
                          <a:pt x="103425" y="92571"/>
                          <a:pt x="103425" y="92571"/>
                        </a:cubicBezTo>
                        <a:cubicBezTo>
                          <a:pt x="101436" y="95142"/>
                          <a:pt x="101436" y="95142"/>
                          <a:pt x="101436" y="95142"/>
                        </a:cubicBezTo>
                        <a:cubicBezTo>
                          <a:pt x="96795" y="96857"/>
                          <a:pt x="96795" y="96857"/>
                          <a:pt x="96795" y="96857"/>
                        </a:cubicBezTo>
                        <a:cubicBezTo>
                          <a:pt x="96795" y="98571"/>
                          <a:pt x="96795" y="98571"/>
                          <a:pt x="96795" y="98571"/>
                        </a:cubicBezTo>
                        <a:cubicBezTo>
                          <a:pt x="95469" y="102000"/>
                          <a:pt x="95469" y="102000"/>
                          <a:pt x="95469" y="102000"/>
                        </a:cubicBezTo>
                        <a:cubicBezTo>
                          <a:pt x="95469" y="102000"/>
                          <a:pt x="92817" y="102000"/>
                          <a:pt x="91491" y="102000"/>
                        </a:cubicBezTo>
                        <a:cubicBezTo>
                          <a:pt x="90828" y="101142"/>
                          <a:pt x="90165" y="103714"/>
                          <a:pt x="90165" y="103714"/>
                        </a:cubicBezTo>
                        <a:cubicBezTo>
                          <a:pt x="91491" y="109714"/>
                          <a:pt x="91491" y="109714"/>
                          <a:pt x="91491" y="109714"/>
                        </a:cubicBezTo>
                        <a:cubicBezTo>
                          <a:pt x="88176" y="109714"/>
                          <a:pt x="88176" y="109714"/>
                          <a:pt x="88176" y="109714"/>
                        </a:cubicBezTo>
                        <a:cubicBezTo>
                          <a:pt x="85524" y="114000"/>
                          <a:pt x="85524" y="114000"/>
                          <a:pt x="85524" y="114000"/>
                        </a:cubicBezTo>
                        <a:cubicBezTo>
                          <a:pt x="80883" y="114857"/>
                          <a:pt x="80883" y="114857"/>
                          <a:pt x="80883" y="114857"/>
                        </a:cubicBezTo>
                        <a:cubicBezTo>
                          <a:pt x="76906" y="114000"/>
                          <a:pt x="76906" y="114000"/>
                          <a:pt x="76906" y="114000"/>
                        </a:cubicBezTo>
                        <a:cubicBezTo>
                          <a:pt x="70276" y="117428"/>
                          <a:pt x="70276" y="117428"/>
                          <a:pt x="70276" y="117428"/>
                        </a:cubicBezTo>
                        <a:cubicBezTo>
                          <a:pt x="64309" y="119142"/>
                          <a:pt x="64309" y="119142"/>
                          <a:pt x="64309" y="119142"/>
                        </a:cubicBezTo>
                        <a:cubicBezTo>
                          <a:pt x="64309" y="120000"/>
                          <a:pt x="64309" y="120000"/>
                          <a:pt x="64309" y="120000"/>
                        </a:cubicBezTo>
                        <a:cubicBezTo>
                          <a:pt x="63646" y="114857"/>
                          <a:pt x="63646" y="114857"/>
                          <a:pt x="63646" y="114857"/>
                        </a:cubicBezTo>
                        <a:cubicBezTo>
                          <a:pt x="61657" y="112285"/>
                          <a:pt x="61657" y="112285"/>
                          <a:pt x="61657" y="112285"/>
                        </a:cubicBezTo>
                        <a:cubicBezTo>
                          <a:pt x="61657" y="112285"/>
                          <a:pt x="59668" y="107142"/>
                          <a:pt x="59668" y="106285"/>
                        </a:cubicBezTo>
                        <a:cubicBezTo>
                          <a:pt x="59668" y="106285"/>
                          <a:pt x="52375" y="106285"/>
                          <a:pt x="52375" y="106285"/>
                        </a:cubicBezTo>
                        <a:cubicBezTo>
                          <a:pt x="52375" y="106285"/>
                          <a:pt x="51049" y="103714"/>
                          <a:pt x="50386" y="102000"/>
                        </a:cubicBezTo>
                        <a:cubicBezTo>
                          <a:pt x="50386" y="101142"/>
                          <a:pt x="48397" y="103714"/>
                          <a:pt x="48397" y="103714"/>
                        </a:cubicBezTo>
                        <a:cubicBezTo>
                          <a:pt x="45745" y="104571"/>
                          <a:pt x="45745" y="104571"/>
                          <a:pt x="45745" y="104571"/>
                        </a:cubicBezTo>
                        <a:cubicBezTo>
                          <a:pt x="45745" y="103714"/>
                          <a:pt x="45745" y="103714"/>
                          <a:pt x="45745" y="103714"/>
                        </a:cubicBezTo>
                        <a:cubicBezTo>
                          <a:pt x="43756" y="100285"/>
                          <a:pt x="43756" y="100285"/>
                          <a:pt x="43756" y="100285"/>
                        </a:cubicBezTo>
                        <a:cubicBezTo>
                          <a:pt x="43756" y="91714"/>
                          <a:pt x="43756" y="91714"/>
                          <a:pt x="43756" y="91714"/>
                        </a:cubicBezTo>
                        <a:cubicBezTo>
                          <a:pt x="43756" y="89142"/>
                          <a:pt x="43756" y="89142"/>
                          <a:pt x="43756" y="89142"/>
                        </a:cubicBezTo>
                        <a:cubicBezTo>
                          <a:pt x="45082" y="83142"/>
                          <a:pt x="45082" y="83142"/>
                          <a:pt x="45082" y="83142"/>
                        </a:cubicBezTo>
                        <a:cubicBezTo>
                          <a:pt x="45082" y="83142"/>
                          <a:pt x="43756" y="82285"/>
                          <a:pt x="43093" y="80571"/>
                        </a:cubicBezTo>
                        <a:cubicBezTo>
                          <a:pt x="41767" y="78857"/>
                          <a:pt x="40441" y="77142"/>
                          <a:pt x="40441" y="77142"/>
                        </a:cubicBezTo>
                        <a:cubicBezTo>
                          <a:pt x="39116" y="77142"/>
                          <a:pt x="39116" y="77142"/>
                          <a:pt x="39116" y="77142"/>
                        </a:cubicBezTo>
                        <a:cubicBezTo>
                          <a:pt x="37127" y="73714"/>
                          <a:pt x="37127" y="73714"/>
                          <a:pt x="37127" y="73714"/>
                        </a:cubicBezTo>
                        <a:cubicBezTo>
                          <a:pt x="32486" y="75428"/>
                          <a:pt x="32486" y="75428"/>
                          <a:pt x="32486" y="75428"/>
                        </a:cubicBezTo>
                        <a:cubicBezTo>
                          <a:pt x="29834" y="76285"/>
                          <a:pt x="29834" y="76285"/>
                          <a:pt x="29834" y="76285"/>
                        </a:cubicBezTo>
                        <a:cubicBezTo>
                          <a:pt x="28508" y="78000"/>
                          <a:pt x="28508" y="78000"/>
                          <a:pt x="28508" y="78000"/>
                        </a:cubicBezTo>
                        <a:cubicBezTo>
                          <a:pt x="20552" y="77142"/>
                          <a:pt x="20552" y="77142"/>
                          <a:pt x="20552" y="77142"/>
                        </a:cubicBezTo>
                        <a:cubicBezTo>
                          <a:pt x="16574" y="74571"/>
                          <a:pt x="16574" y="74571"/>
                          <a:pt x="16574" y="74571"/>
                        </a:cubicBezTo>
                        <a:cubicBezTo>
                          <a:pt x="14585" y="73714"/>
                          <a:pt x="14585" y="73714"/>
                          <a:pt x="14585" y="73714"/>
                        </a:cubicBezTo>
                        <a:cubicBezTo>
                          <a:pt x="11933" y="71142"/>
                          <a:pt x="11933" y="71142"/>
                          <a:pt x="11933" y="71142"/>
                        </a:cubicBezTo>
                        <a:cubicBezTo>
                          <a:pt x="8618" y="67714"/>
                          <a:pt x="8618" y="67714"/>
                          <a:pt x="8618" y="67714"/>
                        </a:cubicBezTo>
                        <a:cubicBezTo>
                          <a:pt x="7955" y="62571"/>
                          <a:pt x="7955" y="62571"/>
                          <a:pt x="7955" y="62571"/>
                        </a:cubicBezTo>
                        <a:cubicBezTo>
                          <a:pt x="7292" y="59142"/>
                          <a:pt x="7292" y="59142"/>
                          <a:pt x="7292" y="59142"/>
                        </a:cubicBezTo>
                        <a:cubicBezTo>
                          <a:pt x="3977" y="54857"/>
                          <a:pt x="3977" y="54857"/>
                          <a:pt x="3977" y="54857"/>
                        </a:cubicBezTo>
                        <a:cubicBezTo>
                          <a:pt x="2651" y="51428"/>
                          <a:pt x="2651" y="51428"/>
                          <a:pt x="2651" y="51428"/>
                        </a:cubicBezTo>
                        <a:cubicBezTo>
                          <a:pt x="2651" y="46285"/>
                          <a:pt x="2651" y="46285"/>
                          <a:pt x="2651" y="46285"/>
                        </a:cubicBezTo>
                        <a:cubicBezTo>
                          <a:pt x="662" y="42000"/>
                          <a:pt x="662" y="42000"/>
                          <a:pt x="662" y="42000"/>
                        </a:cubicBezTo>
                        <a:cubicBezTo>
                          <a:pt x="1325" y="37714"/>
                          <a:pt x="1325" y="37714"/>
                          <a:pt x="1325" y="37714"/>
                        </a:cubicBezTo>
                        <a:cubicBezTo>
                          <a:pt x="1325" y="37714"/>
                          <a:pt x="0" y="36857"/>
                          <a:pt x="662" y="36000"/>
                        </a:cubicBezTo>
                        <a:cubicBezTo>
                          <a:pt x="1988" y="36000"/>
                          <a:pt x="3977" y="35142"/>
                          <a:pt x="3977" y="35142"/>
                        </a:cubicBezTo>
                        <a:cubicBezTo>
                          <a:pt x="4640" y="30000"/>
                          <a:pt x="4640" y="30000"/>
                          <a:pt x="4640" y="30000"/>
                        </a:cubicBezTo>
                        <a:cubicBezTo>
                          <a:pt x="5303" y="28285"/>
                          <a:pt x="5303" y="28285"/>
                          <a:pt x="5303" y="28285"/>
                        </a:cubicBezTo>
                        <a:cubicBezTo>
                          <a:pt x="7955" y="26571"/>
                          <a:pt x="7955" y="26571"/>
                          <a:pt x="7955" y="26571"/>
                        </a:cubicBezTo>
                        <a:cubicBezTo>
                          <a:pt x="9281" y="22285"/>
                          <a:pt x="9281" y="22285"/>
                          <a:pt x="9281" y="22285"/>
                        </a:cubicBezTo>
                        <a:lnTo>
                          <a:pt x="11933" y="22285"/>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3" name="Shape 2037"/>
                  <p:cNvSpPr/>
                  <p:nvPr/>
                </p:nvSpPr>
                <p:spPr>
                  <a:xfrm>
                    <a:off x="5766982" y="1595421"/>
                    <a:ext cx="401291" cy="265289"/>
                  </a:xfrm>
                  <a:custGeom>
                    <a:avLst/>
                    <a:gdLst/>
                    <a:ahLst/>
                    <a:cxnLst/>
                    <a:rect l="0" t="0" r="0" b="0"/>
                    <a:pathLst>
                      <a:path w="120000" h="120000" extrusionOk="0">
                        <a:moveTo>
                          <a:pt x="26590" y="52000"/>
                        </a:moveTo>
                        <a:cubicBezTo>
                          <a:pt x="27272" y="50000"/>
                          <a:pt x="27272" y="50000"/>
                          <a:pt x="27272" y="50000"/>
                        </a:cubicBezTo>
                        <a:cubicBezTo>
                          <a:pt x="27954" y="48000"/>
                          <a:pt x="27954" y="48000"/>
                          <a:pt x="27954" y="48000"/>
                        </a:cubicBezTo>
                        <a:cubicBezTo>
                          <a:pt x="27954" y="45000"/>
                          <a:pt x="27954" y="45000"/>
                          <a:pt x="27954" y="45000"/>
                        </a:cubicBezTo>
                        <a:cubicBezTo>
                          <a:pt x="26590" y="45000"/>
                          <a:pt x="26590" y="45000"/>
                          <a:pt x="26590" y="45000"/>
                        </a:cubicBezTo>
                        <a:cubicBezTo>
                          <a:pt x="25909" y="42000"/>
                          <a:pt x="25909" y="42000"/>
                          <a:pt x="25909" y="42000"/>
                        </a:cubicBezTo>
                        <a:cubicBezTo>
                          <a:pt x="25909" y="42000"/>
                          <a:pt x="26590" y="41000"/>
                          <a:pt x="27272" y="41000"/>
                        </a:cubicBezTo>
                        <a:cubicBezTo>
                          <a:pt x="27272" y="40000"/>
                          <a:pt x="29318" y="40000"/>
                          <a:pt x="29318" y="40000"/>
                        </a:cubicBezTo>
                        <a:cubicBezTo>
                          <a:pt x="30681" y="38000"/>
                          <a:pt x="30681" y="38000"/>
                          <a:pt x="30681" y="38000"/>
                        </a:cubicBezTo>
                        <a:cubicBezTo>
                          <a:pt x="30681" y="38000"/>
                          <a:pt x="30000" y="36000"/>
                          <a:pt x="31363" y="36000"/>
                        </a:cubicBezTo>
                        <a:cubicBezTo>
                          <a:pt x="32045" y="36000"/>
                          <a:pt x="33409" y="36000"/>
                          <a:pt x="34090" y="36000"/>
                        </a:cubicBezTo>
                        <a:cubicBezTo>
                          <a:pt x="34772" y="36000"/>
                          <a:pt x="35454" y="35000"/>
                          <a:pt x="35454" y="35000"/>
                        </a:cubicBezTo>
                        <a:cubicBezTo>
                          <a:pt x="36818" y="35000"/>
                          <a:pt x="37500" y="36000"/>
                          <a:pt x="36818" y="35000"/>
                        </a:cubicBezTo>
                        <a:cubicBezTo>
                          <a:pt x="36818" y="35000"/>
                          <a:pt x="36818" y="34000"/>
                          <a:pt x="36136" y="33000"/>
                        </a:cubicBezTo>
                        <a:cubicBezTo>
                          <a:pt x="35454" y="32000"/>
                          <a:pt x="33409" y="30000"/>
                          <a:pt x="34772" y="29000"/>
                        </a:cubicBezTo>
                        <a:cubicBezTo>
                          <a:pt x="35454" y="28000"/>
                          <a:pt x="36136" y="28000"/>
                          <a:pt x="36818" y="29000"/>
                        </a:cubicBezTo>
                        <a:cubicBezTo>
                          <a:pt x="37500" y="29000"/>
                          <a:pt x="38181" y="31000"/>
                          <a:pt x="38181" y="31000"/>
                        </a:cubicBezTo>
                        <a:cubicBezTo>
                          <a:pt x="38181" y="27000"/>
                          <a:pt x="38181" y="27000"/>
                          <a:pt x="38181" y="27000"/>
                        </a:cubicBezTo>
                        <a:cubicBezTo>
                          <a:pt x="38181" y="27000"/>
                          <a:pt x="40227" y="27000"/>
                          <a:pt x="40909" y="26000"/>
                        </a:cubicBezTo>
                        <a:cubicBezTo>
                          <a:pt x="40909" y="25000"/>
                          <a:pt x="40227" y="23000"/>
                          <a:pt x="40227" y="23000"/>
                        </a:cubicBezTo>
                        <a:cubicBezTo>
                          <a:pt x="40227" y="23000"/>
                          <a:pt x="40227" y="23000"/>
                          <a:pt x="42272" y="23000"/>
                        </a:cubicBezTo>
                        <a:cubicBezTo>
                          <a:pt x="44318" y="22000"/>
                          <a:pt x="43636" y="22000"/>
                          <a:pt x="45000" y="22000"/>
                        </a:cubicBezTo>
                        <a:cubicBezTo>
                          <a:pt x="45681" y="22000"/>
                          <a:pt x="47727" y="22000"/>
                          <a:pt x="47727" y="22000"/>
                        </a:cubicBezTo>
                        <a:cubicBezTo>
                          <a:pt x="47727" y="22000"/>
                          <a:pt x="49090" y="21000"/>
                          <a:pt x="48409" y="20000"/>
                        </a:cubicBezTo>
                        <a:cubicBezTo>
                          <a:pt x="48409" y="19000"/>
                          <a:pt x="47045" y="17000"/>
                          <a:pt x="47045" y="17000"/>
                        </a:cubicBezTo>
                        <a:cubicBezTo>
                          <a:pt x="47045" y="17000"/>
                          <a:pt x="47727" y="14000"/>
                          <a:pt x="47727" y="15000"/>
                        </a:cubicBezTo>
                        <a:cubicBezTo>
                          <a:pt x="47727" y="17000"/>
                          <a:pt x="49772" y="19000"/>
                          <a:pt x="49772" y="19000"/>
                        </a:cubicBezTo>
                        <a:cubicBezTo>
                          <a:pt x="51136" y="17000"/>
                          <a:pt x="51136" y="17000"/>
                          <a:pt x="51136" y="17000"/>
                        </a:cubicBezTo>
                        <a:cubicBezTo>
                          <a:pt x="53181" y="16000"/>
                          <a:pt x="53181" y="16000"/>
                          <a:pt x="53181" y="16000"/>
                        </a:cubicBezTo>
                        <a:cubicBezTo>
                          <a:pt x="55227" y="15000"/>
                          <a:pt x="55227" y="15000"/>
                          <a:pt x="55227" y="15000"/>
                        </a:cubicBezTo>
                        <a:cubicBezTo>
                          <a:pt x="55227" y="15000"/>
                          <a:pt x="57272" y="15000"/>
                          <a:pt x="58636" y="15000"/>
                        </a:cubicBezTo>
                        <a:cubicBezTo>
                          <a:pt x="59318" y="15000"/>
                          <a:pt x="61363" y="14000"/>
                          <a:pt x="61363" y="14000"/>
                        </a:cubicBezTo>
                        <a:cubicBezTo>
                          <a:pt x="62045" y="12000"/>
                          <a:pt x="62045" y="12000"/>
                          <a:pt x="62045" y="12000"/>
                        </a:cubicBezTo>
                        <a:cubicBezTo>
                          <a:pt x="59318" y="8000"/>
                          <a:pt x="59318" y="8000"/>
                          <a:pt x="59318" y="8000"/>
                        </a:cubicBezTo>
                        <a:cubicBezTo>
                          <a:pt x="59318" y="8000"/>
                          <a:pt x="60681" y="5000"/>
                          <a:pt x="60681" y="6000"/>
                        </a:cubicBezTo>
                        <a:cubicBezTo>
                          <a:pt x="61363" y="7000"/>
                          <a:pt x="61363" y="9000"/>
                          <a:pt x="62045" y="9000"/>
                        </a:cubicBezTo>
                        <a:cubicBezTo>
                          <a:pt x="62727" y="9000"/>
                          <a:pt x="63409" y="10000"/>
                          <a:pt x="64090" y="9000"/>
                        </a:cubicBezTo>
                        <a:cubicBezTo>
                          <a:pt x="64090" y="8000"/>
                          <a:pt x="64090" y="5000"/>
                          <a:pt x="64090" y="5000"/>
                        </a:cubicBezTo>
                        <a:cubicBezTo>
                          <a:pt x="64090" y="5000"/>
                          <a:pt x="63409" y="4000"/>
                          <a:pt x="64090" y="4000"/>
                        </a:cubicBezTo>
                        <a:cubicBezTo>
                          <a:pt x="64772" y="5000"/>
                          <a:pt x="66136" y="7000"/>
                          <a:pt x="66136" y="7000"/>
                        </a:cubicBezTo>
                        <a:cubicBezTo>
                          <a:pt x="68181" y="7000"/>
                          <a:pt x="68181" y="7000"/>
                          <a:pt x="68181" y="7000"/>
                        </a:cubicBezTo>
                        <a:cubicBezTo>
                          <a:pt x="70227" y="4000"/>
                          <a:pt x="70227" y="4000"/>
                          <a:pt x="70227" y="4000"/>
                        </a:cubicBezTo>
                        <a:cubicBezTo>
                          <a:pt x="70909" y="6000"/>
                          <a:pt x="70909" y="6000"/>
                          <a:pt x="70909" y="6000"/>
                        </a:cubicBezTo>
                        <a:cubicBezTo>
                          <a:pt x="70909" y="6000"/>
                          <a:pt x="72272" y="5000"/>
                          <a:pt x="72954" y="5000"/>
                        </a:cubicBezTo>
                        <a:cubicBezTo>
                          <a:pt x="73636" y="5000"/>
                          <a:pt x="73636" y="4000"/>
                          <a:pt x="74318" y="4000"/>
                        </a:cubicBezTo>
                        <a:cubicBezTo>
                          <a:pt x="75000" y="4000"/>
                          <a:pt x="76363" y="5000"/>
                          <a:pt x="76363" y="5000"/>
                        </a:cubicBezTo>
                        <a:cubicBezTo>
                          <a:pt x="79772" y="6000"/>
                          <a:pt x="79772" y="6000"/>
                          <a:pt x="79772" y="6000"/>
                        </a:cubicBezTo>
                        <a:cubicBezTo>
                          <a:pt x="81136" y="3000"/>
                          <a:pt x="81136" y="3000"/>
                          <a:pt x="81136" y="3000"/>
                        </a:cubicBezTo>
                        <a:cubicBezTo>
                          <a:pt x="84545" y="5000"/>
                          <a:pt x="84545" y="5000"/>
                          <a:pt x="84545" y="5000"/>
                        </a:cubicBezTo>
                        <a:cubicBezTo>
                          <a:pt x="87272" y="7000"/>
                          <a:pt x="87272" y="7000"/>
                          <a:pt x="87272" y="7000"/>
                        </a:cubicBezTo>
                        <a:cubicBezTo>
                          <a:pt x="90681" y="7000"/>
                          <a:pt x="90681" y="7000"/>
                          <a:pt x="90681" y="7000"/>
                        </a:cubicBezTo>
                        <a:cubicBezTo>
                          <a:pt x="90681" y="7000"/>
                          <a:pt x="93409" y="5000"/>
                          <a:pt x="94090" y="5000"/>
                        </a:cubicBezTo>
                        <a:cubicBezTo>
                          <a:pt x="95454" y="4000"/>
                          <a:pt x="98181" y="4000"/>
                          <a:pt x="98181" y="4000"/>
                        </a:cubicBezTo>
                        <a:cubicBezTo>
                          <a:pt x="98181" y="4000"/>
                          <a:pt x="98863" y="4000"/>
                          <a:pt x="100227" y="4000"/>
                        </a:cubicBezTo>
                        <a:cubicBezTo>
                          <a:pt x="101590" y="3000"/>
                          <a:pt x="105000" y="3000"/>
                          <a:pt x="105000" y="3000"/>
                        </a:cubicBezTo>
                        <a:cubicBezTo>
                          <a:pt x="107045" y="0"/>
                          <a:pt x="107045" y="0"/>
                          <a:pt x="107045" y="0"/>
                        </a:cubicBezTo>
                        <a:cubicBezTo>
                          <a:pt x="110454" y="2000"/>
                          <a:pt x="110454" y="2000"/>
                          <a:pt x="110454" y="2000"/>
                        </a:cubicBezTo>
                        <a:cubicBezTo>
                          <a:pt x="110454" y="4000"/>
                          <a:pt x="110454" y="4000"/>
                          <a:pt x="110454" y="4000"/>
                        </a:cubicBezTo>
                        <a:cubicBezTo>
                          <a:pt x="107045" y="8000"/>
                          <a:pt x="107045" y="8000"/>
                          <a:pt x="107045" y="8000"/>
                        </a:cubicBezTo>
                        <a:cubicBezTo>
                          <a:pt x="107045" y="15000"/>
                          <a:pt x="107045" y="15000"/>
                          <a:pt x="107045" y="15000"/>
                        </a:cubicBezTo>
                        <a:cubicBezTo>
                          <a:pt x="106363" y="25000"/>
                          <a:pt x="104318" y="30000"/>
                          <a:pt x="103636" y="36000"/>
                        </a:cubicBezTo>
                        <a:cubicBezTo>
                          <a:pt x="102954" y="39000"/>
                          <a:pt x="101590" y="40000"/>
                          <a:pt x="103636" y="45000"/>
                        </a:cubicBezTo>
                        <a:cubicBezTo>
                          <a:pt x="105000" y="47000"/>
                          <a:pt x="105000" y="54000"/>
                          <a:pt x="107727" y="58000"/>
                        </a:cubicBezTo>
                        <a:cubicBezTo>
                          <a:pt x="109090" y="60000"/>
                          <a:pt x="107727" y="65000"/>
                          <a:pt x="109772" y="67000"/>
                        </a:cubicBezTo>
                        <a:cubicBezTo>
                          <a:pt x="109772" y="67000"/>
                          <a:pt x="109772" y="68000"/>
                          <a:pt x="110454" y="70000"/>
                        </a:cubicBezTo>
                        <a:cubicBezTo>
                          <a:pt x="111818" y="72000"/>
                          <a:pt x="111818" y="71000"/>
                          <a:pt x="112500" y="72000"/>
                        </a:cubicBezTo>
                        <a:cubicBezTo>
                          <a:pt x="112500" y="72000"/>
                          <a:pt x="113863" y="73000"/>
                          <a:pt x="114545" y="74000"/>
                        </a:cubicBezTo>
                        <a:cubicBezTo>
                          <a:pt x="115227" y="75000"/>
                          <a:pt x="115227" y="77000"/>
                          <a:pt x="115227" y="78000"/>
                        </a:cubicBezTo>
                        <a:cubicBezTo>
                          <a:pt x="115227" y="79000"/>
                          <a:pt x="115909" y="80000"/>
                          <a:pt x="115909" y="80000"/>
                        </a:cubicBezTo>
                        <a:cubicBezTo>
                          <a:pt x="115909" y="80000"/>
                          <a:pt x="116590" y="79000"/>
                          <a:pt x="116590" y="80000"/>
                        </a:cubicBezTo>
                        <a:cubicBezTo>
                          <a:pt x="116590" y="81000"/>
                          <a:pt x="115909" y="79000"/>
                          <a:pt x="116590" y="81000"/>
                        </a:cubicBezTo>
                        <a:cubicBezTo>
                          <a:pt x="117954" y="83000"/>
                          <a:pt x="120000" y="83000"/>
                          <a:pt x="120000" y="83000"/>
                        </a:cubicBezTo>
                        <a:cubicBezTo>
                          <a:pt x="119318" y="87000"/>
                          <a:pt x="119318" y="87000"/>
                          <a:pt x="119318" y="87000"/>
                        </a:cubicBezTo>
                        <a:cubicBezTo>
                          <a:pt x="117954" y="88000"/>
                          <a:pt x="117954" y="88000"/>
                          <a:pt x="117954" y="88000"/>
                        </a:cubicBezTo>
                        <a:cubicBezTo>
                          <a:pt x="117954" y="88000"/>
                          <a:pt x="114545" y="88000"/>
                          <a:pt x="114545" y="90000"/>
                        </a:cubicBezTo>
                        <a:cubicBezTo>
                          <a:pt x="114545" y="91000"/>
                          <a:pt x="114545" y="95000"/>
                          <a:pt x="114545" y="95000"/>
                        </a:cubicBezTo>
                        <a:cubicBezTo>
                          <a:pt x="112500" y="98000"/>
                          <a:pt x="112500" y="98000"/>
                          <a:pt x="112500" y="98000"/>
                        </a:cubicBezTo>
                        <a:cubicBezTo>
                          <a:pt x="112500" y="98000"/>
                          <a:pt x="113863" y="102000"/>
                          <a:pt x="113863" y="103000"/>
                        </a:cubicBezTo>
                        <a:cubicBezTo>
                          <a:pt x="113863" y="104000"/>
                          <a:pt x="114545" y="104000"/>
                          <a:pt x="114545" y="104000"/>
                        </a:cubicBezTo>
                        <a:cubicBezTo>
                          <a:pt x="112500" y="105000"/>
                          <a:pt x="112500" y="105000"/>
                          <a:pt x="112500" y="105000"/>
                        </a:cubicBezTo>
                        <a:cubicBezTo>
                          <a:pt x="109772" y="105000"/>
                          <a:pt x="109772" y="105000"/>
                          <a:pt x="109772" y="105000"/>
                        </a:cubicBezTo>
                        <a:cubicBezTo>
                          <a:pt x="104318" y="103000"/>
                          <a:pt x="104318" y="103000"/>
                          <a:pt x="104318" y="103000"/>
                        </a:cubicBezTo>
                        <a:cubicBezTo>
                          <a:pt x="102954" y="106000"/>
                          <a:pt x="102954" y="106000"/>
                          <a:pt x="102954" y="106000"/>
                        </a:cubicBezTo>
                        <a:cubicBezTo>
                          <a:pt x="101590" y="106000"/>
                          <a:pt x="101590" y="106000"/>
                          <a:pt x="101590" y="106000"/>
                        </a:cubicBezTo>
                        <a:cubicBezTo>
                          <a:pt x="101590" y="106000"/>
                          <a:pt x="100909" y="108000"/>
                          <a:pt x="99545" y="109000"/>
                        </a:cubicBezTo>
                        <a:cubicBezTo>
                          <a:pt x="98863" y="110000"/>
                          <a:pt x="98181" y="111000"/>
                          <a:pt x="97500" y="111000"/>
                        </a:cubicBezTo>
                        <a:cubicBezTo>
                          <a:pt x="96136" y="112000"/>
                          <a:pt x="94772" y="110000"/>
                          <a:pt x="94772" y="110000"/>
                        </a:cubicBezTo>
                        <a:cubicBezTo>
                          <a:pt x="92727" y="109000"/>
                          <a:pt x="92727" y="109000"/>
                          <a:pt x="92727" y="109000"/>
                        </a:cubicBezTo>
                        <a:cubicBezTo>
                          <a:pt x="90681" y="105000"/>
                          <a:pt x="90681" y="105000"/>
                          <a:pt x="90681" y="105000"/>
                        </a:cubicBezTo>
                        <a:cubicBezTo>
                          <a:pt x="84545" y="99000"/>
                          <a:pt x="84545" y="99000"/>
                          <a:pt x="84545" y="99000"/>
                        </a:cubicBezTo>
                        <a:cubicBezTo>
                          <a:pt x="81136" y="97000"/>
                          <a:pt x="81136" y="97000"/>
                          <a:pt x="81136" y="97000"/>
                        </a:cubicBezTo>
                        <a:cubicBezTo>
                          <a:pt x="78409" y="96000"/>
                          <a:pt x="78409" y="96000"/>
                          <a:pt x="78409" y="96000"/>
                        </a:cubicBezTo>
                        <a:cubicBezTo>
                          <a:pt x="75000" y="96000"/>
                          <a:pt x="75000" y="96000"/>
                          <a:pt x="75000" y="96000"/>
                        </a:cubicBezTo>
                        <a:cubicBezTo>
                          <a:pt x="72272" y="94000"/>
                          <a:pt x="72272" y="94000"/>
                          <a:pt x="72272" y="94000"/>
                        </a:cubicBezTo>
                        <a:cubicBezTo>
                          <a:pt x="69545" y="94000"/>
                          <a:pt x="69545" y="94000"/>
                          <a:pt x="69545" y="94000"/>
                        </a:cubicBezTo>
                        <a:cubicBezTo>
                          <a:pt x="66136" y="92000"/>
                          <a:pt x="66136" y="92000"/>
                          <a:pt x="66136" y="92000"/>
                        </a:cubicBezTo>
                        <a:cubicBezTo>
                          <a:pt x="63409" y="95000"/>
                          <a:pt x="63409" y="95000"/>
                          <a:pt x="63409" y="95000"/>
                        </a:cubicBezTo>
                        <a:cubicBezTo>
                          <a:pt x="60000" y="98000"/>
                          <a:pt x="60000" y="98000"/>
                          <a:pt x="60000" y="98000"/>
                        </a:cubicBezTo>
                        <a:cubicBezTo>
                          <a:pt x="56590" y="103000"/>
                          <a:pt x="56590" y="103000"/>
                          <a:pt x="56590" y="103000"/>
                        </a:cubicBezTo>
                        <a:cubicBezTo>
                          <a:pt x="56590" y="103000"/>
                          <a:pt x="54545" y="106000"/>
                          <a:pt x="53181" y="107000"/>
                        </a:cubicBezTo>
                        <a:cubicBezTo>
                          <a:pt x="52500" y="106000"/>
                          <a:pt x="52500" y="106000"/>
                          <a:pt x="52500" y="106000"/>
                        </a:cubicBezTo>
                        <a:cubicBezTo>
                          <a:pt x="52500" y="106000"/>
                          <a:pt x="52500" y="103000"/>
                          <a:pt x="53181" y="101000"/>
                        </a:cubicBezTo>
                        <a:cubicBezTo>
                          <a:pt x="53863" y="100000"/>
                          <a:pt x="53863" y="98000"/>
                          <a:pt x="53863" y="97000"/>
                        </a:cubicBezTo>
                        <a:cubicBezTo>
                          <a:pt x="53863" y="96000"/>
                          <a:pt x="53863" y="94000"/>
                          <a:pt x="53181" y="92000"/>
                        </a:cubicBezTo>
                        <a:cubicBezTo>
                          <a:pt x="53181" y="90000"/>
                          <a:pt x="52500" y="87000"/>
                          <a:pt x="52500" y="87000"/>
                        </a:cubicBezTo>
                        <a:cubicBezTo>
                          <a:pt x="54545" y="85000"/>
                          <a:pt x="54545" y="85000"/>
                          <a:pt x="54545" y="85000"/>
                        </a:cubicBezTo>
                        <a:cubicBezTo>
                          <a:pt x="53181" y="80000"/>
                          <a:pt x="53181" y="80000"/>
                          <a:pt x="53181" y="80000"/>
                        </a:cubicBezTo>
                        <a:cubicBezTo>
                          <a:pt x="51818" y="80000"/>
                          <a:pt x="51818" y="80000"/>
                          <a:pt x="51818" y="80000"/>
                        </a:cubicBezTo>
                        <a:cubicBezTo>
                          <a:pt x="49772" y="80000"/>
                          <a:pt x="49772" y="80000"/>
                          <a:pt x="49772" y="80000"/>
                        </a:cubicBezTo>
                        <a:cubicBezTo>
                          <a:pt x="48409" y="83000"/>
                          <a:pt x="48409" y="83000"/>
                          <a:pt x="48409" y="83000"/>
                        </a:cubicBezTo>
                        <a:cubicBezTo>
                          <a:pt x="48409" y="83000"/>
                          <a:pt x="49090" y="85000"/>
                          <a:pt x="49090" y="86000"/>
                        </a:cubicBezTo>
                        <a:cubicBezTo>
                          <a:pt x="48409" y="87000"/>
                          <a:pt x="47045" y="87000"/>
                          <a:pt x="47045" y="87000"/>
                        </a:cubicBezTo>
                        <a:cubicBezTo>
                          <a:pt x="46363" y="88000"/>
                          <a:pt x="46363" y="91000"/>
                          <a:pt x="46363" y="91000"/>
                        </a:cubicBezTo>
                        <a:cubicBezTo>
                          <a:pt x="43636" y="87000"/>
                          <a:pt x="43636" y="87000"/>
                          <a:pt x="43636" y="87000"/>
                        </a:cubicBezTo>
                        <a:cubicBezTo>
                          <a:pt x="43636" y="87000"/>
                          <a:pt x="42272" y="87000"/>
                          <a:pt x="41590" y="86000"/>
                        </a:cubicBezTo>
                        <a:cubicBezTo>
                          <a:pt x="40909" y="86000"/>
                          <a:pt x="39545" y="86000"/>
                          <a:pt x="39545" y="86000"/>
                        </a:cubicBezTo>
                        <a:cubicBezTo>
                          <a:pt x="39545" y="86000"/>
                          <a:pt x="39545" y="86000"/>
                          <a:pt x="38863" y="86000"/>
                        </a:cubicBezTo>
                        <a:cubicBezTo>
                          <a:pt x="37500" y="86000"/>
                          <a:pt x="37500" y="86000"/>
                          <a:pt x="36818" y="84000"/>
                        </a:cubicBezTo>
                        <a:cubicBezTo>
                          <a:pt x="36136" y="82000"/>
                          <a:pt x="34090" y="77000"/>
                          <a:pt x="34090" y="77000"/>
                        </a:cubicBezTo>
                        <a:cubicBezTo>
                          <a:pt x="34090" y="77000"/>
                          <a:pt x="33409" y="75000"/>
                          <a:pt x="32727" y="75000"/>
                        </a:cubicBezTo>
                        <a:cubicBezTo>
                          <a:pt x="32727" y="75000"/>
                          <a:pt x="32045" y="77000"/>
                          <a:pt x="32045" y="77000"/>
                        </a:cubicBezTo>
                        <a:cubicBezTo>
                          <a:pt x="31363" y="77000"/>
                          <a:pt x="31363" y="75000"/>
                          <a:pt x="31363" y="74000"/>
                        </a:cubicBezTo>
                        <a:cubicBezTo>
                          <a:pt x="31363" y="73000"/>
                          <a:pt x="31363" y="72000"/>
                          <a:pt x="31363" y="70000"/>
                        </a:cubicBezTo>
                        <a:cubicBezTo>
                          <a:pt x="31363" y="68000"/>
                          <a:pt x="30681" y="66000"/>
                          <a:pt x="31363" y="66000"/>
                        </a:cubicBezTo>
                        <a:cubicBezTo>
                          <a:pt x="31363" y="66000"/>
                          <a:pt x="32045" y="67000"/>
                          <a:pt x="32727" y="67000"/>
                        </a:cubicBezTo>
                        <a:cubicBezTo>
                          <a:pt x="33409" y="67000"/>
                          <a:pt x="33409" y="65000"/>
                          <a:pt x="33409" y="65000"/>
                        </a:cubicBezTo>
                        <a:cubicBezTo>
                          <a:pt x="34090" y="65000"/>
                          <a:pt x="34772" y="66000"/>
                          <a:pt x="34772" y="66000"/>
                        </a:cubicBezTo>
                        <a:cubicBezTo>
                          <a:pt x="35454" y="66000"/>
                          <a:pt x="36136" y="66000"/>
                          <a:pt x="36136" y="66000"/>
                        </a:cubicBezTo>
                        <a:cubicBezTo>
                          <a:pt x="36818" y="65000"/>
                          <a:pt x="36818" y="65000"/>
                          <a:pt x="36818" y="64000"/>
                        </a:cubicBezTo>
                        <a:cubicBezTo>
                          <a:pt x="36818" y="63000"/>
                          <a:pt x="36136" y="62000"/>
                          <a:pt x="36136" y="62000"/>
                        </a:cubicBezTo>
                        <a:cubicBezTo>
                          <a:pt x="35454" y="62000"/>
                          <a:pt x="31363" y="65000"/>
                          <a:pt x="31363" y="65000"/>
                        </a:cubicBezTo>
                        <a:cubicBezTo>
                          <a:pt x="28636" y="65000"/>
                          <a:pt x="28636" y="65000"/>
                          <a:pt x="28636" y="65000"/>
                        </a:cubicBezTo>
                        <a:cubicBezTo>
                          <a:pt x="30000" y="63000"/>
                          <a:pt x="30000" y="63000"/>
                          <a:pt x="30000" y="63000"/>
                        </a:cubicBezTo>
                        <a:cubicBezTo>
                          <a:pt x="28636" y="61000"/>
                          <a:pt x="28636" y="61000"/>
                          <a:pt x="28636" y="61000"/>
                        </a:cubicBezTo>
                        <a:cubicBezTo>
                          <a:pt x="28636" y="59000"/>
                          <a:pt x="28636" y="59000"/>
                          <a:pt x="28636" y="59000"/>
                        </a:cubicBezTo>
                        <a:cubicBezTo>
                          <a:pt x="27272" y="58000"/>
                          <a:pt x="27272" y="58000"/>
                          <a:pt x="27272" y="58000"/>
                        </a:cubicBezTo>
                        <a:cubicBezTo>
                          <a:pt x="27954" y="56000"/>
                          <a:pt x="27954" y="56000"/>
                          <a:pt x="27954" y="56000"/>
                        </a:cubicBezTo>
                        <a:cubicBezTo>
                          <a:pt x="29318" y="56000"/>
                          <a:pt x="29318" y="56000"/>
                          <a:pt x="29318" y="56000"/>
                        </a:cubicBezTo>
                        <a:cubicBezTo>
                          <a:pt x="30681" y="55000"/>
                          <a:pt x="30681" y="55000"/>
                          <a:pt x="30681" y="55000"/>
                        </a:cubicBezTo>
                        <a:cubicBezTo>
                          <a:pt x="30681" y="51000"/>
                          <a:pt x="30681" y="51000"/>
                          <a:pt x="30681" y="51000"/>
                        </a:cubicBezTo>
                        <a:cubicBezTo>
                          <a:pt x="29318" y="52000"/>
                          <a:pt x="29318" y="52000"/>
                          <a:pt x="29318" y="52000"/>
                        </a:cubicBezTo>
                        <a:cubicBezTo>
                          <a:pt x="30000" y="54000"/>
                          <a:pt x="30000" y="54000"/>
                          <a:pt x="30000" y="54000"/>
                        </a:cubicBezTo>
                        <a:cubicBezTo>
                          <a:pt x="27272" y="54000"/>
                          <a:pt x="27272" y="54000"/>
                          <a:pt x="27272" y="54000"/>
                        </a:cubicBezTo>
                        <a:cubicBezTo>
                          <a:pt x="26590" y="52000"/>
                          <a:pt x="26590" y="52000"/>
                          <a:pt x="26590" y="52000"/>
                        </a:cubicBezTo>
                        <a:close/>
                        <a:moveTo>
                          <a:pt x="15681" y="103000"/>
                        </a:moveTo>
                        <a:cubicBezTo>
                          <a:pt x="15681" y="103000"/>
                          <a:pt x="15681" y="103000"/>
                          <a:pt x="15681" y="103000"/>
                        </a:cubicBezTo>
                        <a:cubicBezTo>
                          <a:pt x="15681" y="103000"/>
                          <a:pt x="17045" y="103000"/>
                          <a:pt x="17045" y="103000"/>
                        </a:cubicBezTo>
                        <a:cubicBezTo>
                          <a:pt x="17045" y="103000"/>
                          <a:pt x="17727" y="104000"/>
                          <a:pt x="17045" y="104000"/>
                        </a:cubicBezTo>
                        <a:cubicBezTo>
                          <a:pt x="17045" y="105000"/>
                          <a:pt x="17727" y="105000"/>
                          <a:pt x="17045" y="105000"/>
                        </a:cubicBezTo>
                        <a:cubicBezTo>
                          <a:pt x="16363" y="105000"/>
                          <a:pt x="15000" y="106000"/>
                          <a:pt x="15000" y="105000"/>
                        </a:cubicBezTo>
                        <a:cubicBezTo>
                          <a:pt x="15000" y="105000"/>
                          <a:pt x="15681" y="104000"/>
                          <a:pt x="15681" y="104000"/>
                        </a:cubicBezTo>
                        <a:cubicBezTo>
                          <a:pt x="15681" y="103000"/>
                          <a:pt x="15681" y="103000"/>
                          <a:pt x="15681" y="103000"/>
                        </a:cubicBezTo>
                        <a:close/>
                        <a:moveTo>
                          <a:pt x="43636" y="95000"/>
                        </a:moveTo>
                        <a:cubicBezTo>
                          <a:pt x="43636" y="95000"/>
                          <a:pt x="43636" y="95000"/>
                          <a:pt x="43636" y="95000"/>
                        </a:cubicBezTo>
                        <a:cubicBezTo>
                          <a:pt x="43636" y="95000"/>
                          <a:pt x="42954" y="98000"/>
                          <a:pt x="43636" y="98000"/>
                        </a:cubicBezTo>
                        <a:cubicBezTo>
                          <a:pt x="43636" y="98000"/>
                          <a:pt x="44318" y="98000"/>
                          <a:pt x="45000" y="98000"/>
                        </a:cubicBezTo>
                        <a:cubicBezTo>
                          <a:pt x="45681" y="97000"/>
                          <a:pt x="45681" y="97000"/>
                          <a:pt x="45681" y="97000"/>
                        </a:cubicBezTo>
                        <a:cubicBezTo>
                          <a:pt x="45681" y="96000"/>
                          <a:pt x="45681" y="95000"/>
                          <a:pt x="45681" y="95000"/>
                        </a:cubicBezTo>
                        <a:cubicBezTo>
                          <a:pt x="43636" y="95000"/>
                          <a:pt x="43636" y="95000"/>
                          <a:pt x="43636" y="95000"/>
                        </a:cubicBezTo>
                        <a:close/>
                        <a:moveTo>
                          <a:pt x="6136" y="91000"/>
                        </a:moveTo>
                        <a:cubicBezTo>
                          <a:pt x="6136" y="91000"/>
                          <a:pt x="6136" y="91000"/>
                          <a:pt x="6136" y="91000"/>
                        </a:cubicBezTo>
                        <a:cubicBezTo>
                          <a:pt x="5454" y="92000"/>
                          <a:pt x="5454" y="92000"/>
                          <a:pt x="5454" y="92000"/>
                        </a:cubicBezTo>
                        <a:cubicBezTo>
                          <a:pt x="5454" y="92000"/>
                          <a:pt x="4772" y="89000"/>
                          <a:pt x="4772" y="88000"/>
                        </a:cubicBezTo>
                        <a:cubicBezTo>
                          <a:pt x="4772" y="88000"/>
                          <a:pt x="3409" y="87000"/>
                          <a:pt x="3409" y="87000"/>
                        </a:cubicBezTo>
                        <a:cubicBezTo>
                          <a:pt x="3409" y="87000"/>
                          <a:pt x="2727" y="87000"/>
                          <a:pt x="2727" y="87000"/>
                        </a:cubicBezTo>
                        <a:cubicBezTo>
                          <a:pt x="2045" y="87000"/>
                          <a:pt x="2045" y="88000"/>
                          <a:pt x="2045" y="88000"/>
                        </a:cubicBezTo>
                        <a:cubicBezTo>
                          <a:pt x="1363" y="88000"/>
                          <a:pt x="1363" y="88000"/>
                          <a:pt x="1363" y="88000"/>
                        </a:cubicBezTo>
                        <a:cubicBezTo>
                          <a:pt x="1363" y="88000"/>
                          <a:pt x="681" y="88000"/>
                          <a:pt x="681" y="88000"/>
                        </a:cubicBezTo>
                        <a:cubicBezTo>
                          <a:pt x="0" y="89000"/>
                          <a:pt x="681" y="90000"/>
                          <a:pt x="681" y="90000"/>
                        </a:cubicBezTo>
                        <a:cubicBezTo>
                          <a:pt x="681" y="90000"/>
                          <a:pt x="1363" y="90000"/>
                          <a:pt x="2045" y="91000"/>
                        </a:cubicBezTo>
                        <a:cubicBezTo>
                          <a:pt x="2727" y="91000"/>
                          <a:pt x="2727" y="91000"/>
                          <a:pt x="2727" y="91000"/>
                        </a:cubicBezTo>
                        <a:cubicBezTo>
                          <a:pt x="2727" y="91000"/>
                          <a:pt x="4090" y="93000"/>
                          <a:pt x="4772" y="94000"/>
                        </a:cubicBezTo>
                        <a:cubicBezTo>
                          <a:pt x="4772" y="94000"/>
                          <a:pt x="4772" y="95000"/>
                          <a:pt x="4772" y="95000"/>
                        </a:cubicBezTo>
                        <a:cubicBezTo>
                          <a:pt x="2727" y="97000"/>
                          <a:pt x="2727" y="97000"/>
                          <a:pt x="2727" y="97000"/>
                        </a:cubicBezTo>
                        <a:cubicBezTo>
                          <a:pt x="2727" y="97000"/>
                          <a:pt x="3409" y="98000"/>
                          <a:pt x="3409" y="98000"/>
                        </a:cubicBezTo>
                        <a:cubicBezTo>
                          <a:pt x="4090" y="98000"/>
                          <a:pt x="2727" y="99000"/>
                          <a:pt x="2727" y="99000"/>
                        </a:cubicBezTo>
                        <a:cubicBezTo>
                          <a:pt x="2727" y="99000"/>
                          <a:pt x="2727" y="101000"/>
                          <a:pt x="2727" y="101000"/>
                        </a:cubicBezTo>
                        <a:cubicBezTo>
                          <a:pt x="2727" y="101000"/>
                          <a:pt x="3409" y="102000"/>
                          <a:pt x="4772" y="102000"/>
                        </a:cubicBezTo>
                        <a:cubicBezTo>
                          <a:pt x="6136" y="103000"/>
                          <a:pt x="6136" y="102000"/>
                          <a:pt x="6136" y="102000"/>
                        </a:cubicBezTo>
                        <a:cubicBezTo>
                          <a:pt x="6818" y="103000"/>
                          <a:pt x="6818" y="103000"/>
                          <a:pt x="6818" y="103000"/>
                        </a:cubicBezTo>
                        <a:cubicBezTo>
                          <a:pt x="6818" y="104000"/>
                          <a:pt x="6818" y="104000"/>
                          <a:pt x="6818" y="104000"/>
                        </a:cubicBezTo>
                        <a:cubicBezTo>
                          <a:pt x="7500" y="105000"/>
                          <a:pt x="7500" y="105000"/>
                          <a:pt x="7500" y="105000"/>
                        </a:cubicBezTo>
                        <a:cubicBezTo>
                          <a:pt x="9545" y="106000"/>
                          <a:pt x="9545" y="106000"/>
                          <a:pt x="9545" y="106000"/>
                        </a:cubicBezTo>
                        <a:cubicBezTo>
                          <a:pt x="9545" y="107000"/>
                          <a:pt x="9545" y="107000"/>
                          <a:pt x="9545" y="107000"/>
                        </a:cubicBezTo>
                        <a:cubicBezTo>
                          <a:pt x="9545" y="110000"/>
                          <a:pt x="9545" y="110000"/>
                          <a:pt x="9545" y="110000"/>
                        </a:cubicBezTo>
                        <a:cubicBezTo>
                          <a:pt x="9545" y="110000"/>
                          <a:pt x="8863" y="110000"/>
                          <a:pt x="8181" y="110000"/>
                        </a:cubicBezTo>
                        <a:cubicBezTo>
                          <a:pt x="8181" y="111000"/>
                          <a:pt x="8181" y="112000"/>
                          <a:pt x="7500" y="112000"/>
                        </a:cubicBezTo>
                        <a:cubicBezTo>
                          <a:pt x="7500" y="112000"/>
                          <a:pt x="7500" y="114000"/>
                          <a:pt x="6818" y="115000"/>
                        </a:cubicBezTo>
                        <a:cubicBezTo>
                          <a:pt x="6818" y="116000"/>
                          <a:pt x="7500" y="117000"/>
                          <a:pt x="7500" y="118000"/>
                        </a:cubicBezTo>
                        <a:cubicBezTo>
                          <a:pt x="7500" y="120000"/>
                          <a:pt x="8181" y="119000"/>
                          <a:pt x="8863" y="119000"/>
                        </a:cubicBezTo>
                        <a:cubicBezTo>
                          <a:pt x="8863" y="119000"/>
                          <a:pt x="9545" y="118000"/>
                          <a:pt x="9545" y="118000"/>
                        </a:cubicBezTo>
                        <a:cubicBezTo>
                          <a:pt x="10227" y="118000"/>
                          <a:pt x="10909" y="116000"/>
                          <a:pt x="11590" y="115000"/>
                        </a:cubicBezTo>
                        <a:cubicBezTo>
                          <a:pt x="11590" y="114000"/>
                          <a:pt x="11590" y="113000"/>
                          <a:pt x="11590" y="113000"/>
                        </a:cubicBezTo>
                        <a:cubicBezTo>
                          <a:pt x="10909" y="112000"/>
                          <a:pt x="11590" y="110000"/>
                          <a:pt x="11590" y="110000"/>
                        </a:cubicBezTo>
                        <a:cubicBezTo>
                          <a:pt x="11590" y="109000"/>
                          <a:pt x="11590" y="109000"/>
                          <a:pt x="11590" y="109000"/>
                        </a:cubicBezTo>
                        <a:cubicBezTo>
                          <a:pt x="10909" y="105000"/>
                          <a:pt x="10909" y="105000"/>
                          <a:pt x="10909" y="105000"/>
                        </a:cubicBezTo>
                        <a:cubicBezTo>
                          <a:pt x="12272" y="101000"/>
                          <a:pt x="12272" y="101000"/>
                          <a:pt x="12272" y="101000"/>
                        </a:cubicBezTo>
                        <a:cubicBezTo>
                          <a:pt x="13636" y="101000"/>
                          <a:pt x="13636" y="101000"/>
                          <a:pt x="13636" y="101000"/>
                        </a:cubicBezTo>
                        <a:cubicBezTo>
                          <a:pt x="15681" y="99000"/>
                          <a:pt x="15681" y="99000"/>
                          <a:pt x="15681" y="99000"/>
                        </a:cubicBezTo>
                        <a:cubicBezTo>
                          <a:pt x="15681" y="99000"/>
                          <a:pt x="15681" y="99000"/>
                          <a:pt x="15681" y="99000"/>
                        </a:cubicBezTo>
                        <a:cubicBezTo>
                          <a:pt x="15681" y="99000"/>
                          <a:pt x="16363" y="99000"/>
                          <a:pt x="17045" y="98000"/>
                        </a:cubicBezTo>
                        <a:cubicBezTo>
                          <a:pt x="18409" y="98000"/>
                          <a:pt x="17727" y="99000"/>
                          <a:pt x="18409" y="99000"/>
                        </a:cubicBezTo>
                        <a:cubicBezTo>
                          <a:pt x="18409" y="100000"/>
                          <a:pt x="19090" y="100000"/>
                          <a:pt x="19772" y="100000"/>
                        </a:cubicBezTo>
                        <a:cubicBezTo>
                          <a:pt x="19772" y="100000"/>
                          <a:pt x="20454" y="98000"/>
                          <a:pt x="20454" y="98000"/>
                        </a:cubicBezTo>
                        <a:cubicBezTo>
                          <a:pt x="20454" y="97000"/>
                          <a:pt x="19772" y="97000"/>
                          <a:pt x="19772" y="97000"/>
                        </a:cubicBezTo>
                        <a:cubicBezTo>
                          <a:pt x="19090" y="95000"/>
                          <a:pt x="19090" y="95000"/>
                          <a:pt x="19090" y="95000"/>
                        </a:cubicBezTo>
                        <a:cubicBezTo>
                          <a:pt x="21136" y="94000"/>
                          <a:pt x="21136" y="94000"/>
                          <a:pt x="21136" y="94000"/>
                        </a:cubicBezTo>
                        <a:cubicBezTo>
                          <a:pt x="21818" y="93000"/>
                          <a:pt x="21818" y="93000"/>
                          <a:pt x="21818" y="93000"/>
                        </a:cubicBezTo>
                        <a:cubicBezTo>
                          <a:pt x="23181" y="91000"/>
                          <a:pt x="23181" y="91000"/>
                          <a:pt x="23181" y="91000"/>
                        </a:cubicBezTo>
                        <a:cubicBezTo>
                          <a:pt x="22500" y="89000"/>
                          <a:pt x="22500" y="89000"/>
                          <a:pt x="22500" y="89000"/>
                        </a:cubicBezTo>
                        <a:cubicBezTo>
                          <a:pt x="22500" y="89000"/>
                          <a:pt x="23863" y="89000"/>
                          <a:pt x="24545" y="89000"/>
                        </a:cubicBezTo>
                        <a:cubicBezTo>
                          <a:pt x="24545" y="89000"/>
                          <a:pt x="24545" y="88000"/>
                          <a:pt x="24545" y="88000"/>
                        </a:cubicBezTo>
                        <a:cubicBezTo>
                          <a:pt x="23863" y="86000"/>
                          <a:pt x="23863" y="86000"/>
                          <a:pt x="23863" y="86000"/>
                        </a:cubicBezTo>
                        <a:cubicBezTo>
                          <a:pt x="23863" y="86000"/>
                          <a:pt x="25227" y="86000"/>
                          <a:pt x="25909" y="85000"/>
                        </a:cubicBezTo>
                        <a:cubicBezTo>
                          <a:pt x="25909" y="85000"/>
                          <a:pt x="25227" y="84000"/>
                          <a:pt x="25227" y="84000"/>
                        </a:cubicBezTo>
                        <a:cubicBezTo>
                          <a:pt x="25227" y="83000"/>
                          <a:pt x="25909" y="82000"/>
                          <a:pt x="25909" y="82000"/>
                        </a:cubicBezTo>
                        <a:cubicBezTo>
                          <a:pt x="25909" y="82000"/>
                          <a:pt x="27272" y="84000"/>
                          <a:pt x="27954" y="84000"/>
                        </a:cubicBezTo>
                        <a:cubicBezTo>
                          <a:pt x="28636" y="85000"/>
                          <a:pt x="28636" y="84000"/>
                          <a:pt x="29318" y="84000"/>
                        </a:cubicBezTo>
                        <a:cubicBezTo>
                          <a:pt x="29318" y="83000"/>
                          <a:pt x="28636" y="82000"/>
                          <a:pt x="28636" y="82000"/>
                        </a:cubicBezTo>
                        <a:cubicBezTo>
                          <a:pt x="27954" y="81000"/>
                          <a:pt x="27954" y="81000"/>
                          <a:pt x="27954" y="81000"/>
                        </a:cubicBezTo>
                        <a:cubicBezTo>
                          <a:pt x="25909" y="80000"/>
                          <a:pt x="25909" y="80000"/>
                          <a:pt x="25909" y="80000"/>
                        </a:cubicBezTo>
                        <a:cubicBezTo>
                          <a:pt x="23181" y="78000"/>
                          <a:pt x="23181" y="78000"/>
                          <a:pt x="23181" y="78000"/>
                        </a:cubicBezTo>
                        <a:cubicBezTo>
                          <a:pt x="23181" y="78000"/>
                          <a:pt x="21136" y="78000"/>
                          <a:pt x="21136" y="77000"/>
                        </a:cubicBezTo>
                        <a:cubicBezTo>
                          <a:pt x="20454" y="77000"/>
                          <a:pt x="20454" y="77000"/>
                          <a:pt x="20454" y="77000"/>
                        </a:cubicBezTo>
                        <a:cubicBezTo>
                          <a:pt x="20454" y="77000"/>
                          <a:pt x="19090" y="77000"/>
                          <a:pt x="19090" y="77000"/>
                        </a:cubicBezTo>
                        <a:cubicBezTo>
                          <a:pt x="18409" y="77000"/>
                          <a:pt x="17727" y="78000"/>
                          <a:pt x="17045" y="79000"/>
                        </a:cubicBezTo>
                        <a:cubicBezTo>
                          <a:pt x="17045" y="79000"/>
                          <a:pt x="16363" y="80000"/>
                          <a:pt x="15681" y="80000"/>
                        </a:cubicBezTo>
                        <a:cubicBezTo>
                          <a:pt x="15681" y="80000"/>
                          <a:pt x="15000" y="78000"/>
                          <a:pt x="15000" y="78000"/>
                        </a:cubicBezTo>
                        <a:cubicBezTo>
                          <a:pt x="13636" y="78000"/>
                          <a:pt x="13636" y="78000"/>
                          <a:pt x="13636" y="78000"/>
                        </a:cubicBezTo>
                        <a:cubicBezTo>
                          <a:pt x="13636" y="78000"/>
                          <a:pt x="12954" y="80000"/>
                          <a:pt x="12954" y="81000"/>
                        </a:cubicBezTo>
                        <a:cubicBezTo>
                          <a:pt x="12954" y="81000"/>
                          <a:pt x="11590" y="81000"/>
                          <a:pt x="10909" y="81000"/>
                        </a:cubicBezTo>
                        <a:cubicBezTo>
                          <a:pt x="10227" y="82000"/>
                          <a:pt x="9545" y="82000"/>
                          <a:pt x="8863" y="83000"/>
                        </a:cubicBezTo>
                        <a:cubicBezTo>
                          <a:pt x="8181" y="83000"/>
                          <a:pt x="9545" y="84000"/>
                          <a:pt x="9545" y="84000"/>
                        </a:cubicBezTo>
                        <a:cubicBezTo>
                          <a:pt x="9545" y="86000"/>
                          <a:pt x="9545" y="86000"/>
                          <a:pt x="9545" y="86000"/>
                        </a:cubicBezTo>
                        <a:cubicBezTo>
                          <a:pt x="8181" y="86000"/>
                          <a:pt x="8181" y="86000"/>
                          <a:pt x="8181" y="86000"/>
                        </a:cubicBezTo>
                        <a:cubicBezTo>
                          <a:pt x="7500" y="85000"/>
                          <a:pt x="7500" y="85000"/>
                          <a:pt x="7500" y="85000"/>
                        </a:cubicBezTo>
                        <a:cubicBezTo>
                          <a:pt x="6136" y="87000"/>
                          <a:pt x="6136" y="87000"/>
                          <a:pt x="6136" y="87000"/>
                        </a:cubicBezTo>
                        <a:cubicBezTo>
                          <a:pt x="5454" y="89000"/>
                          <a:pt x="5454" y="89000"/>
                          <a:pt x="5454" y="89000"/>
                        </a:cubicBezTo>
                        <a:cubicBezTo>
                          <a:pt x="5454" y="89000"/>
                          <a:pt x="6136" y="91000"/>
                          <a:pt x="6136" y="91000"/>
                        </a:cubicBezTo>
                        <a:close/>
                        <a:moveTo>
                          <a:pt x="23863" y="76000"/>
                        </a:moveTo>
                        <a:cubicBezTo>
                          <a:pt x="23863" y="76000"/>
                          <a:pt x="23863" y="76000"/>
                          <a:pt x="23863" y="76000"/>
                        </a:cubicBezTo>
                        <a:cubicBezTo>
                          <a:pt x="24545" y="77000"/>
                          <a:pt x="24545" y="77000"/>
                          <a:pt x="24545" y="77000"/>
                        </a:cubicBezTo>
                        <a:cubicBezTo>
                          <a:pt x="24545" y="77000"/>
                          <a:pt x="25227" y="78000"/>
                          <a:pt x="26590" y="78000"/>
                        </a:cubicBezTo>
                        <a:cubicBezTo>
                          <a:pt x="28636" y="78000"/>
                          <a:pt x="28636" y="80000"/>
                          <a:pt x="30000" y="78000"/>
                        </a:cubicBezTo>
                        <a:cubicBezTo>
                          <a:pt x="30000" y="77000"/>
                          <a:pt x="30000" y="77000"/>
                          <a:pt x="29318" y="76000"/>
                        </a:cubicBezTo>
                        <a:cubicBezTo>
                          <a:pt x="29318" y="75000"/>
                          <a:pt x="28636" y="75000"/>
                          <a:pt x="28636" y="74000"/>
                        </a:cubicBezTo>
                        <a:cubicBezTo>
                          <a:pt x="28636" y="74000"/>
                          <a:pt x="28636" y="74000"/>
                          <a:pt x="27272" y="72000"/>
                        </a:cubicBezTo>
                        <a:cubicBezTo>
                          <a:pt x="26590" y="71000"/>
                          <a:pt x="26590" y="72000"/>
                          <a:pt x="25909" y="72000"/>
                        </a:cubicBezTo>
                        <a:cubicBezTo>
                          <a:pt x="25227" y="72000"/>
                          <a:pt x="24545" y="72000"/>
                          <a:pt x="23863" y="72000"/>
                        </a:cubicBezTo>
                        <a:cubicBezTo>
                          <a:pt x="23181" y="73000"/>
                          <a:pt x="24545" y="74000"/>
                          <a:pt x="24545" y="75000"/>
                        </a:cubicBezTo>
                        <a:cubicBezTo>
                          <a:pt x="24545" y="75000"/>
                          <a:pt x="23863" y="76000"/>
                          <a:pt x="23863" y="76000"/>
                        </a:cubicBezTo>
                        <a:close/>
                        <a:moveTo>
                          <a:pt x="15000" y="57000"/>
                        </a:moveTo>
                        <a:cubicBezTo>
                          <a:pt x="15000" y="57000"/>
                          <a:pt x="15000" y="57000"/>
                          <a:pt x="15000" y="57000"/>
                        </a:cubicBezTo>
                        <a:cubicBezTo>
                          <a:pt x="15000" y="56000"/>
                          <a:pt x="16363" y="56000"/>
                          <a:pt x="17045" y="57000"/>
                        </a:cubicBezTo>
                        <a:cubicBezTo>
                          <a:pt x="17045" y="57000"/>
                          <a:pt x="18409" y="58000"/>
                          <a:pt x="18409" y="59000"/>
                        </a:cubicBezTo>
                        <a:cubicBezTo>
                          <a:pt x="18409" y="59000"/>
                          <a:pt x="19090" y="59000"/>
                          <a:pt x="19090" y="60000"/>
                        </a:cubicBezTo>
                        <a:cubicBezTo>
                          <a:pt x="19090" y="60000"/>
                          <a:pt x="19772" y="61000"/>
                          <a:pt x="19772" y="62000"/>
                        </a:cubicBezTo>
                        <a:cubicBezTo>
                          <a:pt x="20454" y="63000"/>
                          <a:pt x="21136" y="64000"/>
                          <a:pt x="21136" y="64000"/>
                        </a:cubicBezTo>
                        <a:cubicBezTo>
                          <a:pt x="21136" y="64000"/>
                          <a:pt x="21818" y="65000"/>
                          <a:pt x="21136" y="65000"/>
                        </a:cubicBezTo>
                        <a:cubicBezTo>
                          <a:pt x="20454" y="65000"/>
                          <a:pt x="18409" y="65000"/>
                          <a:pt x="18409" y="65000"/>
                        </a:cubicBezTo>
                        <a:cubicBezTo>
                          <a:pt x="18409" y="65000"/>
                          <a:pt x="17727" y="66000"/>
                          <a:pt x="17727" y="66000"/>
                        </a:cubicBezTo>
                        <a:cubicBezTo>
                          <a:pt x="17727" y="67000"/>
                          <a:pt x="19090" y="68000"/>
                          <a:pt x="18409" y="68000"/>
                        </a:cubicBezTo>
                        <a:cubicBezTo>
                          <a:pt x="17727" y="69000"/>
                          <a:pt x="17727" y="69000"/>
                          <a:pt x="17045" y="69000"/>
                        </a:cubicBezTo>
                        <a:cubicBezTo>
                          <a:pt x="16363" y="68000"/>
                          <a:pt x="15681" y="66000"/>
                          <a:pt x="15681" y="66000"/>
                        </a:cubicBezTo>
                        <a:cubicBezTo>
                          <a:pt x="15000" y="67000"/>
                          <a:pt x="15000" y="70000"/>
                          <a:pt x="15000" y="70000"/>
                        </a:cubicBezTo>
                        <a:cubicBezTo>
                          <a:pt x="15000" y="71000"/>
                          <a:pt x="15681" y="72000"/>
                          <a:pt x="15000" y="73000"/>
                        </a:cubicBezTo>
                        <a:cubicBezTo>
                          <a:pt x="15000" y="73000"/>
                          <a:pt x="12954" y="74000"/>
                          <a:pt x="12954" y="74000"/>
                        </a:cubicBezTo>
                        <a:cubicBezTo>
                          <a:pt x="12954" y="74000"/>
                          <a:pt x="12272" y="74000"/>
                          <a:pt x="12272" y="74000"/>
                        </a:cubicBezTo>
                        <a:cubicBezTo>
                          <a:pt x="11590" y="74000"/>
                          <a:pt x="10227" y="72000"/>
                          <a:pt x="9545" y="71000"/>
                        </a:cubicBezTo>
                        <a:cubicBezTo>
                          <a:pt x="9545" y="70000"/>
                          <a:pt x="9545" y="68000"/>
                          <a:pt x="9545" y="68000"/>
                        </a:cubicBezTo>
                        <a:cubicBezTo>
                          <a:pt x="8863" y="67000"/>
                          <a:pt x="8181" y="66000"/>
                          <a:pt x="8181" y="66000"/>
                        </a:cubicBezTo>
                        <a:cubicBezTo>
                          <a:pt x="8181" y="66000"/>
                          <a:pt x="8863" y="65000"/>
                          <a:pt x="7500" y="66000"/>
                        </a:cubicBezTo>
                        <a:cubicBezTo>
                          <a:pt x="5454" y="66000"/>
                          <a:pt x="6136" y="67000"/>
                          <a:pt x="5454" y="67000"/>
                        </a:cubicBezTo>
                        <a:cubicBezTo>
                          <a:pt x="4772" y="66000"/>
                          <a:pt x="4772" y="65000"/>
                          <a:pt x="3409" y="65000"/>
                        </a:cubicBezTo>
                        <a:cubicBezTo>
                          <a:pt x="2727" y="65000"/>
                          <a:pt x="2045" y="64000"/>
                          <a:pt x="2045" y="64000"/>
                        </a:cubicBezTo>
                        <a:cubicBezTo>
                          <a:pt x="2045" y="64000"/>
                          <a:pt x="4090" y="62000"/>
                          <a:pt x="4772" y="62000"/>
                        </a:cubicBezTo>
                        <a:cubicBezTo>
                          <a:pt x="5454" y="62000"/>
                          <a:pt x="4772" y="62000"/>
                          <a:pt x="6136" y="62000"/>
                        </a:cubicBezTo>
                        <a:cubicBezTo>
                          <a:pt x="8181" y="61000"/>
                          <a:pt x="8863" y="63000"/>
                          <a:pt x="8863" y="61000"/>
                        </a:cubicBezTo>
                        <a:cubicBezTo>
                          <a:pt x="9545" y="59000"/>
                          <a:pt x="9545" y="58000"/>
                          <a:pt x="10227" y="57000"/>
                        </a:cubicBezTo>
                        <a:cubicBezTo>
                          <a:pt x="10227" y="56000"/>
                          <a:pt x="10909" y="54000"/>
                          <a:pt x="10909" y="54000"/>
                        </a:cubicBezTo>
                        <a:cubicBezTo>
                          <a:pt x="10909" y="53000"/>
                          <a:pt x="12954" y="53000"/>
                          <a:pt x="12954" y="53000"/>
                        </a:cubicBezTo>
                        <a:cubicBezTo>
                          <a:pt x="13636" y="56000"/>
                          <a:pt x="13636" y="56000"/>
                          <a:pt x="13636" y="56000"/>
                        </a:cubicBezTo>
                        <a:cubicBezTo>
                          <a:pt x="13636" y="56000"/>
                          <a:pt x="13636" y="57000"/>
                          <a:pt x="14318" y="57000"/>
                        </a:cubicBezTo>
                        <a:cubicBezTo>
                          <a:pt x="15000" y="57000"/>
                          <a:pt x="15000" y="57000"/>
                          <a:pt x="15000" y="57000"/>
                        </a:cubicBezTo>
                        <a:close/>
                        <a:moveTo>
                          <a:pt x="24545" y="52000"/>
                        </a:moveTo>
                        <a:cubicBezTo>
                          <a:pt x="24545" y="52000"/>
                          <a:pt x="24545" y="52000"/>
                          <a:pt x="24545" y="52000"/>
                        </a:cubicBezTo>
                        <a:cubicBezTo>
                          <a:pt x="23863" y="53000"/>
                          <a:pt x="23863" y="53000"/>
                          <a:pt x="23863" y="53000"/>
                        </a:cubicBezTo>
                        <a:cubicBezTo>
                          <a:pt x="21136" y="53000"/>
                          <a:pt x="21136" y="53000"/>
                          <a:pt x="21136" y="53000"/>
                        </a:cubicBezTo>
                        <a:cubicBezTo>
                          <a:pt x="21136" y="55000"/>
                          <a:pt x="21136" y="55000"/>
                          <a:pt x="21136" y="55000"/>
                        </a:cubicBezTo>
                        <a:cubicBezTo>
                          <a:pt x="22500" y="57000"/>
                          <a:pt x="22500" y="57000"/>
                          <a:pt x="22500" y="57000"/>
                        </a:cubicBezTo>
                        <a:cubicBezTo>
                          <a:pt x="22500" y="57000"/>
                          <a:pt x="23181" y="56000"/>
                          <a:pt x="23863" y="56000"/>
                        </a:cubicBezTo>
                        <a:cubicBezTo>
                          <a:pt x="24545" y="56000"/>
                          <a:pt x="25909" y="56000"/>
                          <a:pt x="25909" y="56000"/>
                        </a:cubicBezTo>
                        <a:cubicBezTo>
                          <a:pt x="26590" y="55000"/>
                          <a:pt x="26590" y="55000"/>
                          <a:pt x="26590" y="55000"/>
                        </a:cubicBezTo>
                        <a:cubicBezTo>
                          <a:pt x="25909" y="52000"/>
                          <a:pt x="25909" y="52000"/>
                          <a:pt x="25909" y="52000"/>
                        </a:cubicBezTo>
                        <a:lnTo>
                          <a:pt x="24545" y="52000"/>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4" name="Shape 2038"/>
                  <p:cNvSpPr/>
                  <p:nvPr/>
                </p:nvSpPr>
                <p:spPr>
                  <a:xfrm>
                    <a:off x="6144085" y="3377866"/>
                    <a:ext cx="556312" cy="405923"/>
                  </a:xfrm>
                  <a:custGeom>
                    <a:avLst/>
                    <a:gdLst/>
                    <a:ahLst/>
                    <a:cxnLst/>
                    <a:rect l="0" t="0" r="0" b="0"/>
                    <a:pathLst>
                      <a:path w="120000" h="120000" extrusionOk="0">
                        <a:moveTo>
                          <a:pt x="3442" y="24782"/>
                        </a:moveTo>
                        <a:cubicBezTo>
                          <a:pt x="3442" y="23478"/>
                          <a:pt x="3442" y="23478"/>
                          <a:pt x="3442" y="23478"/>
                        </a:cubicBezTo>
                        <a:cubicBezTo>
                          <a:pt x="3442" y="23478"/>
                          <a:pt x="3442" y="23478"/>
                          <a:pt x="3442" y="23478"/>
                        </a:cubicBezTo>
                        <a:cubicBezTo>
                          <a:pt x="6885" y="22173"/>
                          <a:pt x="9836" y="24782"/>
                          <a:pt x="11311" y="24782"/>
                        </a:cubicBezTo>
                        <a:cubicBezTo>
                          <a:pt x="14262" y="25434"/>
                          <a:pt x="7868" y="30000"/>
                          <a:pt x="8852" y="30000"/>
                        </a:cubicBezTo>
                        <a:cubicBezTo>
                          <a:pt x="9836" y="29347"/>
                          <a:pt x="8852" y="33260"/>
                          <a:pt x="10327" y="33913"/>
                        </a:cubicBezTo>
                        <a:cubicBezTo>
                          <a:pt x="12786" y="34565"/>
                          <a:pt x="14754" y="31956"/>
                          <a:pt x="17704" y="31956"/>
                        </a:cubicBezTo>
                        <a:cubicBezTo>
                          <a:pt x="20163" y="31304"/>
                          <a:pt x="23114" y="33260"/>
                          <a:pt x="24098" y="31956"/>
                        </a:cubicBezTo>
                        <a:cubicBezTo>
                          <a:pt x="26065" y="28695"/>
                          <a:pt x="33934" y="35217"/>
                          <a:pt x="37868" y="31956"/>
                        </a:cubicBezTo>
                        <a:cubicBezTo>
                          <a:pt x="40327" y="29347"/>
                          <a:pt x="50163" y="28043"/>
                          <a:pt x="53606" y="28043"/>
                        </a:cubicBezTo>
                        <a:cubicBezTo>
                          <a:pt x="62459" y="27391"/>
                          <a:pt x="62950" y="27391"/>
                          <a:pt x="66885" y="24130"/>
                        </a:cubicBezTo>
                        <a:cubicBezTo>
                          <a:pt x="66885" y="24130"/>
                          <a:pt x="69344" y="16956"/>
                          <a:pt x="70819" y="13695"/>
                        </a:cubicBezTo>
                        <a:cubicBezTo>
                          <a:pt x="71803" y="11086"/>
                          <a:pt x="74754" y="9782"/>
                          <a:pt x="77704" y="7173"/>
                        </a:cubicBezTo>
                        <a:cubicBezTo>
                          <a:pt x="80163" y="4565"/>
                          <a:pt x="86557" y="1956"/>
                          <a:pt x="88032" y="1304"/>
                        </a:cubicBezTo>
                        <a:cubicBezTo>
                          <a:pt x="89508" y="1304"/>
                          <a:pt x="99836" y="1956"/>
                          <a:pt x="99836" y="1956"/>
                        </a:cubicBezTo>
                        <a:cubicBezTo>
                          <a:pt x="105245" y="0"/>
                          <a:pt x="105245" y="0"/>
                          <a:pt x="105245" y="0"/>
                        </a:cubicBezTo>
                        <a:cubicBezTo>
                          <a:pt x="105245" y="0"/>
                          <a:pt x="106229" y="5217"/>
                          <a:pt x="107704" y="5869"/>
                        </a:cubicBezTo>
                        <a:cubicBezTo>
                          <a:pt x="112131" y="6521"/>
                          <a:pt x="115573" y="6521"/>
                          <a:pt x="117049" y="5217"/>
                        </a:cubicBezTo>
                        <a:cubicBezTo>
                          <a:pt x="117540" y="5217"/>
                          <a:pt x="117540" y="6521"/>
                          <a:pt x="118032" y="7173"/>
                        </a:cubicBezTo>
                        <a:cubicBezTo>
                          <a:pt x="118524" y="8478"/>
                          <a:pt x="119016" y="11086"/>
                          <a:pt x="119016" y="11086"/>
                        </a:cubicBezTo>
                        <a:cubicBezTo>
                          <a:pt x="118524" y="14347"/>
                          <a:pt x="118524" y="14347"/>
                          <a:pt x="118524" y="14347"/>
                        </a:cubicBezTo>
                        <a:cubicBezTo>
                          <a:pt x="118032" y="15000"/>
                          <a:pt x="118032" y="15000"/>
                          <a:pt x="118032" y="15000"/>
                        </a:cubicBezTo>
                        <a:cubicBezTo>
                          <a:pt x="115573" y="16956"/>
                          <a:pt x="115573" y="16956"/>
                          <a:pt x="115573" y="16956"/>
                        </a:cubicBezTo>
                        <a:cubicBezTo>
                          <a:pt x="115573" y="16956"/>
                          <a:pt x="114590" y="16956"/>
                          <a:pt x="114098" y="17608"/>
                        </a:cubicBezTo>
                        <a:cubicBezTo>
                          <a:pt x="113606" y="17608"/>
                          <a:pt x="112622" y="18260"/>
                          <a:pt x="112622" y="18260"/>
                        </a:cubicBezTo>
                        <a:cubicBezTo>
                          <a:pt x="112622" y="18260"/>
                          <a:pt x="111639" y="19565"/>
                          <a:pt x="111639" y="20217"/>
                        </a:cubicBezTo>
                        <a:cubicBezTo>
                          <a:pt x="111147" y="21521"/>
                          <a:pt x="110655" y="23478"/>
                          <a:pt x="110655" y="23478"/>
                        </a:cubicBezTo>
                        <a:cubicBezTo>
                          <a:pt x="109672" y="26739"/>
                          <a:pt x="109672" y="26739"/>
                          <a:pt x="109672" y="26739"/>
                        </a:cubicBezTo>
                        <a:cubicBezTo>
                          <a:pt x="109672" y="31304"/>
                          <a:pt x="109672" y="31304"/>
                          <a:pt x="109672" y="31304"/>
                        </a:cubicBezTo>
                        <a:cubicBezTo>
                          <a:pt x="110655" y="36521"/>
                          <a:pt x="110655" y="36521"/>
                          <a:pt x="110655" y="36521"/>
                        </a:cubicBezTo>
                        <a:cubicBezTo>
                          <a:pt x="111639" y="42391"/>
                          <a:pt x="111639" y="42391"/>
                          <a:pt x="111639" y="42391"/>
                        </a:cubicBezTo>
                        <a:cubicBezTo>
                          <a:pt x="111639" y="42391"/>
                          <a:pt x="110163" y="44347"/>
                          <a:pt x="109672" y="44347"/>
                        </a:cubicBezTo>
                        <a:cubicBezTo>
                          <a:pt x="109672" y="44347"/>
                          <a:pt x="109180" y="45000"/>
                          <a:pt x="109180" y="45000"/>
                        </a:cubicBezTo>
                        <a:cubicBezTo>
                          <a:pt x="109180" y="46304"/>
                          <a:pt x="109180" y="46304"/>
                          <a:pt x="109180" y="46304"/>
                        </a:cubicBezTo>
                        <a:cubicBezTo>
                          <a:pt x="108688" y="48260"/>
                          <a:pt x="108688" y="48260"/>
                          <a:pt x="108688" y="48260"/>
                        </a:cubicBezTo>
                        <a:cubicBezTo>
                          <a:pt x="108196" y="49565"/>
                          <a:pt x="108196" y="49565"/>
                          <a:pt x="108196" y="49565"/>
                        </a:cubicBezTo>
                        <a:cubicBezTo>
                          <a:pt x="108196" y="49565"/>
                          <a:pt x="107704" y="50869"/>
                          <a:pt x="107213" y="50869"/>
                        </a:cubicBezTo>
                        <a:cubicBezTo>
                          <a:pt x="106721" y="51521"/>
                          <a:pt x="105737" y="52826"/>
                          <a:pt x="105737" y="52826"/>
                        </a:cubicBezTo>
                        <a:cubicBezTo>
                          <a:pt x="106229" y="54130"/>
                          <a:pt x="106229" y="54130"/>
                          <a:pt x="106229" y="54130"/>
                        </a:cubicBezTo>
                        <a:cubicBezTo>
                          <a:pt x="111639" y="55434"/>
                          <a:pt x="111639" y="55434"/>
                          <a:pt x="111639" y="55434"/>
                        </a:cubicBezTo>
                        <a:cubicBezTo>
                          <a:pt x="111639" y="56739"/>
                          <a:pt x="111639" y="56739"/>
                          <a:pt x="111639" y="56739"/>
                        </a:cubicBezTo>
                        <a:cubicBezTo>
                          <a:pt x="114098" y="60000"/>
                          <a:pt x="114098" y="60000"/>
                          <a:pt x="114098" y="60000"/>
                        </a:cubicBezTo>
                        <a:cubicBezTo>
                          <a:pt x="115573" y="63260"/>
                          <a:pt x="115573" y="63260"/>
                          <a:pt x="115573" y="63260"/>
                        </a:cubicBezTo>
                        <a:cubicBezTo>
                          <a:pt x="118032" y="64565"/>
                          <a:pt x="118032" y="64565"/>
                          <a:pt x="118032" y="64565"/>
                        </a:cubicBezTo>
                        <a:cubicBezTo>
                          <a:pt x="118032" y="64565"/>
                          <a:pt x="120000" y="66521"/>
                          <a:pt x="120000" y="66521"/>
                        </a:cubicBezTo>
                        <a:cubicBezTo>
                          <a:pt x="119508" y="67173"/>
                          <a:pt x="117049" y="68478"/>
                          <a:pt x="117049" y="68478"/>
                        </a:cubicBezTo>
                        <a:cubicBezTo>
                          <a:pt x="115573" y="69782"/>
                          <a:pt x="115573" y="69782"/>
                          <a:pt x="115573" y="69782"/>
                        </a:cubicBezTo>
                        <a:cubicBezTo>
                          <a:pt x="115573" y="69782"/>
                          <a:pt x="114590" y="69782"/>
                          <a:pt x="113606" y="70434"/>
                        </a:cubicBezTo>
                        <a:cubicBezTo>
                          <a:pt x="113114" y="71086"/>
                          <a:pt x="110163" y="73043"/>
                          <a:pt x="110163" y="73043"/>
                        </a:cubicBezTo>
                        <a:cubicBezTo>
                          <a:pt x="106229" y="69782"/>
                          <a:pt x="106229" y="69782"/>
                          <a:pt x="106229" y="69782"/>
                        </a:cubicBezTo>
                        <a:cubicBezTo>
                          <a:pt x="103770" y="69130"/>
                          <a:pt x="103770" y="69130"/>
                          <a:pt x="103770" y="69130"/>
                        </a:cubicBezTo>
                        <a:cubicBezTo>
                          <a:pt x="102786" y="71086"/>
                          <a:pt x="102786" y="71086"/>
                          <a:pt x="102786" y="71086"/>
                        </a:cubicBezTo>
                        <a:cubicBezTo>
                          <a:pt x="100327" y="71739"/>
                          <a:pt x="100327" y="71739"/>
                          <a:pt x="100327" y="71739"/>
                        </a:cubicBezTo>
                        <a:cubicBezTo>
                          <a:pt x="98852" y="75000"/>
                          <a:pt x="98852" y="75000"/>
                          <a:pt x="98852" y="75000"/>
                        </a:cubicBezTo>
                        <a:cubicBezTo>
                          <a:pt x="98852" y="75000"/>
                          <a:pt x="95409" y="76304"/>
                          <a:pt x="94426" y="76956"/>
                        </a:cubicBezTo>
                        <a:cubicBezTo>
                          <a:pt x="93934" y="77608"/>
                          <a:pt x="91967" y="79565"/>
                          <a:pt x="91967" y="79565"/>
                        </a:cubicBezTo>
                        <a:cubicBezTo>
                          <a:pt x="92459" y="82173"/>
                          <a:pt x="92459" y="82173"/>
                          <a:pt x="92459" y="82173"/>
                        </a:cubicBezTo>
                        <a:cubicBezTo>
                          <a:pt x="90491" y="84130"/>
                          <a:pt x="90491" y="84130"/>
                          <a:pt x="90491" y="84130"/>
                        </a:cubicBezTo>
                        <a:cubicBezTo>
                          <a:pt x="90491" y="84130"/>
                          <a:pt x="89016" y="84782"/>
                          <a:pt x="88524" y="86086"/>
                        </a:cubicBezTo>
                        <a:cubicBezTo>
                          <a:pt x="88524" y="87391"/>
                          <a:pt x="89016" y="88043"/>
                          <a:pt x="89016" y="88043"/>
                        </a:cubicBezTo>
                        <a:cubicBezTo>
                          <a:pt x="88032" y="88043"/>
                          <a:pt x="86557" y="88695"/>
                          <a:pt x="86065" y="89347"/>
                        </a:cubicBezTo>
                        <a:cubicBezTo>
                          <a:pt x="85573" y="89347"/>
                          <a:pt x="85573" y="90652"/>
                          <a:pt x="86065" y="91956"/>
                        </a:cubicBezTo>
                        <a:cubicBezTo>
                          <a:pt x="86065" y="92608"/>
                          <a:pt x="87049" y="93913"/>
                          <a:pt x="88032" y="95869"/>
                        </a:cubicBezTo>
                        <a:cubicBezTo>
                          <a:pt x="88524" y="97826"/>
                          <a:pt x="89016" y="97826"/>
                          <a:pt x="89016" y="98478"/>
                        </a:cubicBezTo>
                        <a:cubicBezTo>
                          <a:pt x="89016" y="99130"/>
                          <a:pt x="88524" y="101086"/>
                          <a:pt x="88032" y="101739"/>
                        </a:cubicBezTo>
                        <a:cubicBezTo>
                          <a:pt x="87049" y="103043"/>
                          <a:pt x="86065" y="103043"/>
                          <a:pt x="85573" y="103043"/>
                        </a:cubicBezTo>
                        <a:cubicBezTo>
                          <a:pt x="85081" y="103695"/>
                          <a:pt x="83606" y="105000"/>
                          <a:pt x="83114" y="105000"/>
                        </a:cubicBezTo>
                        <a:cubicBezTo>
                          <a:pt x="82622" y="105652"/>
                          <a:pt x="80163" y="106304"/>
                          <a:pt x="79672" y="106304"/>
                        </a:cubicBezTo>
                        <a:cubicBezTo>
                          <a:pt x="79180" y="106304"/>
                          <a:pt x="76229" y="107608"/>
                          <a:pt x="76229" y="107608"/>
                        </a:cubicBezTo>
                        <a:cubicBezTo>
                          <a:pt x="73770" y="108913"/>
                          <a:pt x="73770" y="108913"/>
                          <a:pt x="73770" y="108913"/>
                        </a:cubicBezTo>
                        <a:cubicBezTo>
                          <a:pt x="72295" y="110217"/>
                          <a:pt x="72295" y="110217"/>
                          <a:pt x="72295" y="110217"/>
                        </a:cubicBezTo>
                        <a:cubicBezTo>
                          <a:pt x="68360" y="108913"/>
                          <a:pt x="68360" y="108913"/>
                          <a:pt x="68360" y="108913"/>
                        </a:cubicBezTo>
                        <a:cubicBezTo>
                          <a:pt x="63442" y="106956"/>
                          <a:pt x="63442" y="106956"/>
                          <a:pt x="63442" y="106956"/>
                        </a:cubicBezTo>
                        <a:cubicBezTo>
                          <a:pt x="63442" y="106956"/>
                          <a:pt x="60983" y="109565"/>
                          <a:pt x="60491" y="109565"/>
                        </a:cubicBezTo>
                        <a:cubicBezTo>
                          <a:pt x="60000" y="109565"/>
                          <a:pt x="57049" y="106956"/>
                          <a:pt x="57049" y="106956"/>
                        </a:cubicBezTo>
                        <a:cubicBezTo>
                          <a:pt x="55573" y="103695"/>
                          <a:pt x="55573" y="103695"/>
                          <a:pt x="55573" y="103695"/>
                        </a:cubicBezTo>
                        <a:cubicBezTo>
                          <a:pt x="55573" y="103695"/>
                          <a:pt x="52622" y="104347"/>
                          <a:pt x="52131" y="104347"/>
                        </a:cubicBezTo>
                        <a:cubicBezTo>
                          <a:pt x="51639" y="104347"/>
                          <a:pt x="51147" y="105652"/>
                          <a:pt x="51147" y="106304"/>
                        </a:cubicBezTo>
                        <a:cubicBezTo>
                          <a:pt x="50655" y="106304"/>
                          <a:pt x="49672" y="106304"/>
                          <a:pt x="48688" y="106304"/>
                        </a:cubicBezTo>
                        <a:cubicBezTo>
                          <a:pt x="47213" y="106304"/>
                          <a:pt x="46229" y="107608"/>
                          <a:pt x="46229" y="107608"/>
                        </a:cubicBezTo>
                        <a:cubicBezTo>
                          <a:pt x="45245" y="110217"/>
                          <a:pt x="45245" y="110217"/>
                          <a:pt x="45245" y="110217"/>
                        </a:cubicBezTo>
                        <a:cubicBezTo>
                          <a:pt x="45245" y="110217"/>
                          <a:pt x="42786" y="111521"/>
                          <a:pt x="42786" y="111521"/>
                        </a:cubicBezTo>
                        <a:cubicBezTo>
                          <a:pt x="42295" y="112173"/>
                          <a:pt x="37868" y="114130"/>
                          <a:pt x="37868" y="114130"/>
                        </a:cubicBezTo>
                        <a:cubicBezTo>
                          <a:pt x="34426" y="115434"/>
                          <a:pt x="34426" y="115434"/>
                          <a:pt x="34426" y="115434"/>
                        </a:cubicBezTo>
                        <a:cubicBezTo>
                          <a:pt x="34426" y="115434"/>
                          <a:pt x="33442" y="116086"/>
                          <a:pt x="32950" y="115434"/>
                        </a:cubicBezTo>
                        <a:cubicBezTo>
                          <a:pt x="32459" y="115434"/>
                          <a:pt x="30983" y="117391"/>
                          <a:pt x="30983" y="117391"/>
                        </a:cubicBezTo>
                        <a:cubicBezTo>
                          <a:pt x="28032" y="120000"/>
                          <a:pt x="28032" y="120000"/>
                          <a:pt x="28032" y="120000"/>
                        </a:cubicBezTo>
                        <a:cubicBezTo>
                          <a:pt x="25081" y="120000"/>
                          <a:pt x="25081" y="120000"/>
                          <a:pt x="25081" y="120000"/>
                        </a:cubicBezTo>
                        <a:cubicBezTo>
                          <a:pt x="25081" y="120000"/>
                          <a:pt x="25081" y="119347"/>
                          <a:pt x="25081" y="119347"/>
                        </a:cubicBezTo>
                        <a:cubicBezTo>
                          <a:pt x="25081" y="119347"/>
                          <a:pt x="25081" y="119347"/>
                          <a:pt x="25081" y="119347"/>
                        </a:cubicBezTo>
                        <a:cubicBezTo>
                          <a:pt x="25081" y="118695"/>
                          <a:pt x="25081" y="118695"/>
                          <a:pt x="25081" y="118695"/>
                        </a:cubicBezTo>
                        <a:cubicBezTo>
                          <a:pt x="25081" y="118043"/>
                          <a:pt x="24590" y="117391"/>
                          <a:pt x="24590" y="116086"/>
                        </a:cubicBezTo>
                        <a:cubicBezTo>
                          <a:pt x="24098" y="114782"/>
                          <a:pt x="23606" y="113478"/>
                          <a:pt x="23606" y="112173"/>
                        </a:cubicBezTo>
                        <a:cubicBezTo>
                          <a:pt x="23606" y="111521"/>
                          <a:pt x="24098" y="110869"/>
                          <a:pt x="24098" y="110217"/>
                        </a:cubicBezTo>
                        <a:cubicBezTo>
                          <a:pt x="24098" y="110217"/>
                          <a:pt x="24098" y="110217"/>
                          <a:pt x="24098" y="110217"/>
                        </a:cubicBezTo>
                        <a:cubicBezTo>
                          <a:pt x="24590" y="109565"/>
                          <a:pt x="24590" y="108913"/>
                          <a:pt x="24590" y="107608"/>
                        </a:cubicBezTo>
                        <a:cubicBezTo>
                          <a:pt x="24098" y="105000"/>
                          <a:pt x="22131" y="105000"/>
                          <a:pt x="21639" y="102391"/>
                        </a:cubicBezTo>
                        <a:cubicBezTo>
                          <a:pt x="21147" y="100434"/>
                          <a:pt x="19180" y="98478"/>
                          <a:pt x="19180" y="97826"/>
                        </a:cubicBezTo>
                        <a:cubicBezTo>
                          <a:pt x="15737" y="95217"/>
                          <a:pt x="13770" y="95869"/>
                          <a:pt x="11803" y="93260"/>
                        </a:cubicBezTo>
                        <a:cubicBezTo>
                          <a:pt x="11311" y="92608"/>
                          <a:pt x="10819" y="91956"/>
                          <a:pt x="10819" y="91304"/>
                        </a:cubicBezTo>
                        <a:cubicBezTo>
                          <a:pt x="11311" y="90652"/>
                          <a:pt x="11311" y="90652"/>
                          <a:pt x="11311" y="90652"/>
                        </a:cubicBezTo>
                        <a:cubicBezTo>
                          <a:pt x="11311" y="90652"/>
                          <a:pt x="10819" y="90652"/>
                          <a:pt x="10327" y="90000"/>
                        </a:cubicBezTo>
                        <a:cubicBezTo>
                          <a:pt x="9836" y="89347"/>
                          <a:pt x="9344" y="88695"/>
                          <a:pt x="8852" y="88043"/>
                        </a:cubicBezTo>
                        <a:cubicBezTo>
                          <a:pt x="8852" y="88043"/>
                          <a:pt x="8852" y="88043"/>
                          <a:pt x="8852" y="88043"/>
                        </a:cubicBezTo>
                        <a:cubicBezTo>
                          <a:pt x="9344" y="88043"/>
                          <a:pt x="9836" y="86739"/>
                          <a:pt x="9836" y="86739"/>
                        </a:cubicBezTo>
                        <a:cubicBezTo>
                          <a:pt x="10327" y="84782"/>
                          <a:pt x="10327" y="84782"/>
                          <a:pt x="10327" y="84782"/>
                        </a:cubicBezTo>
                        <a:cubicBezTo>
                          <a:pt x="10819" y="83478"/>
                          <a:pt x="10819" y="83478"/>
                          <a:pt x="10819" y="83478"/>
                        </a:cubicBezTo>
                        <a:cubicBezTo>
                          <a:pt x="10819" y="83478"/>
                          <a:pt x="10327" y="81521"/>
                          <a:pt x="9836" y="81521"/>
                        </a:cubicBezTo>
                        <a:cubicBezTo>
                          <a:pt x="9836" y="80869"/>
                          <a:pt x="8360" y="80217"/>
                          <a:pt x="8360" y="80217"/>
                        </a:cubicBezTo>
                        <a:cubicBezTo>
                          <a:pt x="8360" y="76956"/>
                          <a:pt x="8360" y="76956"/>
                          <a:pt x="8360" y="76956"/>
                        </a:cubicBezTo>
                        <a:cubicBezTo>
                          <a:pt x="7868" y="73695"/>
                          <a:pt x="7868" y="73695"/>
                          <a:pt x="7868" y="73695"/>
                        </a:cubicBezTo>
                        <a:cubicBezTo>
                          <a:pt x="6885" y="71739"/>
                          <a:pt x="6885" y="71739"/>
                          <a:pt x="6885" y="71739"/>
                        </a:cubicBezTo>
                        <a:cubicBezTo>
                          <a:pt x="6885" y="71739"/>
                          <a:pt x="7868" y="70434"/>
                          <a:pt x="8360" y="69782"/>
                        </a:cubicBezTo>
                        <a:cubicBezTo>
                          <a:pt x="8360" y="69782"/>
                          <a:pt x="8852" y="69130"/>
                          <a:pt x="9344" y="69130"/>
                        </a:cubicBezTo>
                        <a:cubicBezTo>
                          <a:pt x="9836" y="68478"/>
                          <a:pt x="10819" y="68478"/>
                          <a:pt x="11311" y="68478"/>
                        </a:cubicBezTo>
                        <a:cubicBezTo>
                          <a:pt x="11803" y="68478"/>
                          <a:pt x="12786" y="67173"/>
                          <a:pt x="12786" y="67173"/>
                        </a:cubicBezTo>
                        <a:cubicBezTo>
                          <a:pt x="12786" y="67173"/>
                          <a:pt x="12786" y="65217"/>
                          <a:pt x="12295" y="64565"/>
                        </a:cubicBezTo>
                        <a:cubicBezTo>
                          <a:pt x="12295" y="63260"/>
                          <a:pt x="13278" y="61956"/>
                          <a:pt x="13278" y="61956"/>
                        </a:cubicBezTo>
                        <a:cubicBezTo>
                          <a:pt x="13278" y="61956"/>
                          <a:pt x="14754" y="59347"/>
                          <a:pt x="15245" y="58695"/>
                        </a:cubicBezTo>
                        <a:cubicBezTo>
                          <a:pt x="15737" y="58043"/>
                          <a:pt x="16229" y="54782"/>
                          <a:pt x="16229" y="54782"/>
                        </a:cubicBezTo>
                        <a:cubicBezTo>
                          <a:pt x="14262" y="54782"/>
                          <a:pt x="14262" y="54782"/>
                          <a:pt x="14262" y="54782"/>
                        </a:cubicBezTo>
                        <a:cubicBezTo>
                          <a:pt x="12295" y="54130"/>
                          <a:pt x="12295" y="54130"/>
                          <a:pt x="12295" y="54130"/>
                        </a:cubicBezTo>
                        <a:cubicBezTo>
                          <a:pt x="12295" y="54130"/>
                          <a:pt x="10327" y="50217"/>
                          <a:pt x="10327" y="50217"/>
                        </a:cubicBezTo>
                        <a:cubicBezTo>
                          <a:pt x="10327" y="49565"/>
                          <a:pt x="9344" y="49565"/>
                          <a:pt x="9344" y="49565"/>
                        </a:cubicBezTo>
                        <a:cubicBezTo>
                          <a:pt x="9344" y="49565"/>
                          <a:pt x="7377" y="48260"/>
                          <a:pt x="7377" y="48260"/>
                        </a:cubicBezTo>
                        <a:cubicBezTo>
                          <a:pt x="6885" y="48260"/>
                          <a:pt x="5409" y="47608"/>
                          <a:pt x="5409" y="47608"/>
                        </a:cubicBezTo>
                        <a:cubicBezTo>
                          <a:pt x="5409" y="47608"/>
                          <a:pt x="3442" y="44347"/>
                          <a:pt x="2950" y="43043"/>
                        </a:cubicBezTo>
                        <a:cubicBezTo>
                          <a:pt x="2459" y="41739"/>
                          <a:pt x="1967" y="41086"/>
                          <a:pt x="1967" y="41086"/>
                        </a:cubicBezTo>
                        <a:cubicBezTo>
                          <a:pt x="1967" y="41086"/>
                          <a:pt x="1475" y="39782"/>
                          <a:pt x="983" y="39130"/>
                        </a:cubicBezTo>
                        <a:cubicBezTo>
                          <a:pt x="491" y="38478"/>
                          <a:pt x="491" y="37173"/>
                          <a:pt x="491" y="37173"/>
                        </a:cubicBezTo>
                        <a:cubicBezTo>
                          <a:pt x="491" y="37173"/>
                          <a:pt x="983" y="35217"/>
                          <a:pt x="491" y="33913"/>
                        </a:cubicBezTo>
                        <a:cubicBezTo>
                          <a:pt x="491" y="33260"/>
                          <a:pt x="0" y="30652"/>
                          <a:pt x="491" y="30652"/>
                        </a:cubicBezTo>
                        <a:cubicBezTo>
                          <a:pt x="983" y="29347"/>
                          <a:pt x="1475" y="28043"/>
                          <a:pt x="2459" y="27391"/>
                        </a:cubicBezTo>
                        <a:cubicBezTo>
                          <a:pt x="2950" y="27391"/>
                          <a:pt x="2950" y="27391"/>
                          <a:pt x="3442" y="27391"/>
                        </a:cubicBezTo>
                        <a:cubicBezTo>
                          <a:pt x="3934" y="27391"/>
                          <a:pt x="3442" y="25434"/>
                          <a:pt x="3442" y="25434"/>
                        </a:cubicBezTo>
                        <a:lnTo>
                          <a:pt x="3442" y="24782"/>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5" name="Shape 2040"/>
                  <p:cNvSpPr/>
                  <p:nvPr/>
                </p:nvSpPr>
                <p:spPr>
                  <a:xfrm>
                    <a:off x="4983087" y="2966615"/>
                    <a:ext cx="635471" cy="313232"/>
                  </a:xfrm>
                  <a:custGeom>
                    <a:avLst/>
                    <a:gdLst/>
                    <a:ahLst/>
                    <a:cxnLst/>
                    <a:rect l="0" t="0" r="0" b="0"/>
                    <a:pathLst>
                      <a:path w="120000" h="120000" extrusionOk="0">
                        <a:moveTo>
                          <a:pt x="80430" y="20281"/>
                        </a:moveTo>
                        <a:cubicBezTo>
                          <a:pt x="80430" y="20281"/>
                          <a:pt x="80430" y="15211"/>
                          <a:pt x="80860" y="15211"/>
                        </a:cubicBezTo>
                        <a:cubicBezTo>
                          <a:pt x="81290" y="15211"/>
                          <a:pt x="82150" y="12676"/>
                          <a:pt x="82150" y="12676"/>
                        </a:cubicBezTo>
                        <a:cubicBezTo>
                          <a:pt x="83440" y="11830"/>
                          <a:pt x="83440" y="11830"/>
                          <a:pt x="83440" y="11830"/>
                        </a:cubicBezTo>
                        <a:cubicBezTo>
                          <a:pt x="83440" y="11830"/>
                          <a:pt x="84301" y="10140"/>
                          <a:pt x="84301" y="8450"/>
                        </a:cubicBezTo>
                        <a:cubicBezTo>
                          <a:pt x="83870" y="7605"/>
                          <a:pt x="84301" y="3380"/>
                          <a:pt x="84301" y="3380"/>
                        </a:cubicBezTo>
                        <a:cubicBezTo>
                          <a:pt x="84301" y="3380"/>
                          <a:pt x="83870" y="845"/>
                          <a:pt x="84301" y="845"/>
                        </a:cubicBezTo>
                        <a:cubicBezTo>
                          <a:pt x="85161" y="0"/>
                          <a:pt x="86451" y="1690"/>
                          <a:pt x="86451" y="1690"/>
                        </a:cubicBezTo>
                        <a:cubicBezTo>
                          <a:pt x="88602" y="2535"/>
                          <a:pt x="88602" y="2535"/>
                          <a:pt x="88602" y="2535"/>
                        </a:cubicBezTo>
                        <a:cubicBezTo>
                          <a:pt x="88602" y="2535"/>
                          <a:pt x="89462" y="2535"/>
                          <a:pt x="89892" y="2535"/>
                        </a:cubicBezTo>
                        <a:cubicBezTo>
                          <a:pt x="90322" y="2535"/>
                          <a:pt x="92043" y="3380"/>
                          <a:pt x="92043" y="3380"/>
                        </a:cubicBezTo>
                        <a:cubicBezTo>
                          <a:pt x="92043" y="3380"/>
                          <a:pt x="93763" y="4225"/>
                          <a:pt x="94193" y="4225"/>
                        </a:cubicBezTo>
                        <a:cubicBezTo>
                          <a:pt x="94623" y="4225"/>
                          <a:pt x="96344" y="4225"/>
                          <a:pt x="96344" y="4225"/>
                        </a:cubicBezTo>
                        <a:cubicBezTo>
                          <a:pt x="97204" y="5070"/>
                          <a:pt x="97204" y="5070"/>
                          <a:pt x="97204" y="5070"/>
                        </a:cubicBezTo>
                        <a:cubicBezTo>
                          <a:pt x="100215" y="7605"/>
                          <a:pt x="100215" y="7605"/>
                          <a:pt x="100215" y="7605"/>
                        </a:cubicBezTo>
                        <a:cubicBezTo>
                          <a:pt x="101935" y="9295"/>
                          <a:pt x="101935" y="9295"/>
                          <a:pt x="101935" y="9295"/>
                        </a:cubicBezTo>
                        <a:cubicBezTo>
                          <a:pt x="106666" y="10140"/>
                          <a:pt x="106666" y="10140"/>
                          <a:pt x="106666" y="10140"/>
                        </a:cubicBezTo>
                        <a:cubicBezTo>
                          <a:pt x="107096" y="6760"/>
                          <a:pt x="107096" y="6760"/>
                          <a:pt x="107096" y="6760"/>
                        </a:cubicBezTo>
                        <a:cubicBezTo>
                          <a:pt x="107096" y="6760"/>
                          <a:pt x="108817" y="5915"/>
                          <a:pt x="108817" y="6760"/>
                        </a:cubicBezTo>
                        <a:cubicBezTo>
                          <a:pt x="109247" y="6760"/>
                          <a:pt x="110107" y="8450"/>
                          <a:pt x="111397" y="9295"/>
                        </a:cubicBezTo>
                        <a:cubicBezTo>
                          <a:pt x="112688" y="9295"/>
                          <a:pt x="113978" y="8450"/>
                          <a:pt x="113978" y="8450"/>
                        </a:cubicBezTo>
                        <a:cubicBezTo>
                          <a:pt x="114838" y="13521"/>
                          <a:pt x="114838" y="13521"/>
                          <a:pt x="114838" y="13521"/>
                        </a:cubicBezTo>
                        <a:cubicBezTo>
                          <a:pt x="115698" y="14366"/>
                          <a:pt x="115698" y="14366"/>
                          <a:pt x="115698" y="14366"/>
                        </a:cubicBezTo>
                        <a:cubicBezTo>
                          <a:pt x="115268" y="14366"/>
                          <a:pt x="115268" y="14366"/>
                          <a:pt x="115268" y="14366"/>
                        </a:cubicBezTo>
                        <a:cubicBezTo>
                          <a:pt x="115268" y="16901"/>
                          <a:pt x="115268" y="16901"/>
                          <a:pt x="115268" y="16901"/>
                        </a:cubicBezTo>
                        <a:cubicBezTo>
                          <a:pt x="115698" y="17746"/>
                          <a:pt x="115698" y="17746"/>
                          <a:pt x="115698" y="17746"/>
                        </a:cubicBezTo>
                        <a:cubicBezTo>
                          <a:pt x="115698" y="17746"/>
                          <a:pt x="115268" y="19436"/>
                          <a:pt x="115268" y="19436"/>
                        </a:cubicBezTo>
                        <a:cubicBezTo>
                          <a:pt x="115268" y="19436"/>
                          <a:pt x="115268" y="21126"/>
                          <a:pt x="115268" y="21126"/>
                        </a:cubicBezTo>
                        <a:cubicBezTo>
                          <a:pt x="114408" y="22816"/>
                          <a:pt x="114408" y="22816"/>
                          <a:pt x="114408" y="22816"/>
                        </a:cubicBezTo>
                        <a:cubicBezTo>
                          <a:pt x="114408" y="24507"/>
                          <a:pt x="114408" y="24507"/>
                          <a:pt x="114408" y="24507"/>
                        </a:cubicBezTo>
                        <a:cubicBezTo>
                          <a:pt x="114408" y="24507"/>
                          <a:pt x="114408" y="27042"/>
                          <a:pt x="114408" y="27042"/>
                        </a:cubicBezTo>
                        <a:cubicBezTo>
                          <a:pt x="114408" y="27042"/>
                          <a:pt x="114838" y="27887"/>
                          <a:pt x="115268" y="27887"/>
                        </a:cubicBezTo>
                        <a:cubicBezTo>
                          <a:pt x="115268" y="27887"/>
                          <a:pt x="115268" y="28732"/>
                          <a:pt x="115268" y="28732"/>
                        </a:cubicBezTo>
                        <a:cubicBezTo>
                          <a:pt x="115268" y="28732"/>
                          <a:pt x="115698" y="29577"/>
                          <a:pt x="116129" y="30422"/>
                        </a:cubicBezTo>
                        <a:cubicBezTo>
                          <a:pt x="116129" y="30422"/>
                          <a:pt x="116129" y="30422"/>
                          <a:pt x="116129" y="30422"/>
                        </a:cubicBezTo>
                        <a:cubicBezTo>
                          <a:pt x="116129" y="30422"/>
                          <a:pt x="116559" y="32112"/>
                          <a:pt x="116559" y="32957"/>
                        </a:cubicBezTo>
                        <a:cubicBezTo>
                          <a:pt x="116989" y="33802"/>
                          <a:pt x="116989" y="34647"/>
                          <a:pt x="116989" y="34647"/>
                        </a:cubicBezTo>
                        <a:cubicBezTo>
                          <a:pt x="116989" y="34647"/>
                          <a:pt x="117419" y="36338"/>
                          <a:pt x="117849" y="36338"/>
                        </a:cubicBezTo>
                        <a:cubicBezTo>
                          <a:pt x="117849" y="36338"/>
                          <a:pt x="118279" y="36338"/>
                          <a:pt x="118709" y="36338"/>
                        </a:cubicBezTo>
                        <a:cubicBezTo>
                          <a:pt x="118709" y="36338"/>
                          <a:pt x="119139" y="36338"/>
                          <a:pt x="119139" y="36338"/>
                        </a:cubicBezTo>
                        <a:cubicBezTo>
                          <a:pt x="119139" y="37183"/>
                          <a:pt x="118709" y="42253"/>
                          <a:pt x="118709" y="42253"/>
                        </a:cubicBezTo>
                        <a:cubicBezTo>
                          <a:pt x="119139" y="47323"/>
                          <a:pt x="119139" y="47323"/>
                          <a:pt x="119139" y="47323"/>
                        </a:cubicBezTo>
                        <a:cubicBezTo>
                          <a:pt x="119139" y="47323"/>
                          <a:pt x="118709" y="49859"/>
                          <a:pt x="118709" y="50704"/>
                        </a:cubicBezTo>
                        <a:cubicBezTo>
                          <a:pt x="119139" y="52394"/>
                          <a:pt x="120000" y="54084"/>
                          <a:pt x="118709" y="54929"/>
                        </a:cubicBezTo>
                        <a:cubicBezTo>
                          <a:pt x="117849" y="54929"/>
                          <a:pt x="116559" y="56619"/>
                          <a:pt x="116129" y="54929"/>
                        </a:cubicBezTo>
                        <a:cubicBezTo>
                          <a:pt x="116129" y="54929"/>
                          <a:pt x="115698" y="53239"/>
                          <a:pt x="115698" y="55774"/>
                        </a:cubicBezTo>
                        <a:cubicBezTo>
                          <a:pt x="116129" y="56619"/>
                          <a:pt x="114838" y="55774"/>
                          <a:pt x="114838" y="55774"/>
                        </a:cubicBezTo>
                        <a:cubicBezTo>
                          <a:pt x="111397" y="53239"/>
                          <a:pt x="111397" y="53239"/>
                          <a:pt x="111397" y="53239"/>
                        </a:cubicBezTo>
                        <a:cubicBezTo>
                          <a:pt x="110537" y="54929"/>
                          <a:pt x="110537" y="54929"/>
                          <a:pt x="110537" y="54929"/>
                        </a:cubicBezTo>
                        <a:cubicBezTo>
                          <a:pt x="108817" y="57464"/>
                          <a:pt x="108817" y="57464"/>
                          <a:pt x="108817" y="57464"/>
                        </a:cubicBezTo>
                        <a:cubicBezTo>
                          <a:pt x="111397" y="59154"/>
                          <a:pt x="111397" y="59154"/>
                          <a:pt x="111397" y="59154"/>
                        </a:cubicBezTo>
                        <a:cubicBezTo>
                          <a:pt x="112258" y="59154"/>
                          <a:pt x="112258" y="59154"/>
                          <a:pt x="112258" y="59154"/>
                        </a:cubicBezTo>
                        <a:cubicBezTo>
                          <a:pt x="114408" y="65915"/>
                          <a:pt x="114408" y="65915"/>
                          <a:pt x="114408" y="65915"/>
                        </a:cubicBezTo>
                        <a:cubicBezTo>
                          <a:pt x="111827" y="69295"/>
                          <a:pt x="111827" y="69295"/>
                          <a:pt x="111827" y="69295"/>
                        </a:cubicBezTo>
                        <a:cubicBezTo>
                          <a:pt x="111827" y="69295"/>
                          <a:pt x="110537" y="70985"/>
                          <a:pt x="110107" y="70985"/>
                        </a:cubicBezTo>
                        <a:cubicBezTo>
                          <a:pt x="109677" y="70985"/>
                          <a:pt x="109247" y="71830"/>
                          <a:pt x="109247" y="71830"/>
                        </a:cubicBezTo>
                        <a:cubicBezTo>
                          <a:pt x="110537" y="76901"/>
                          <a:pt x="110537" y="76901"/>
                          <a:pt x="110537" y="76901"/>
                        </a:cubicBezTo>
                        <a:cubicBezTo>
                          <a:pt x="110537" y="78591"/>
                          <a:pt x="110537" y="78591"/>
                          <a:pt x="110537" y="78591"/>
                        </a:cubicBezTo>
                        <a:cubicBezTo>
                          <a:pt x="110967" y="83661"/>
                          <a:pt x="110967" y="83661"/>
                          <a:pt x="110967" y="83661"/>
                        </a:cubicBezTo>
                        <a:cubicBezTo>
                          <a:pt x="109677" y="87887"/>
                          <a:pt x="109677" y="87887"/>
                          <a:pt x="109677" y="87887"/>
                        </a:cubicBezTo>
                        <a:cubicBezTo>
                          <a:pt x="108387" y="88732"/>
                          <a:pt x="108387" y="88732"/>
                          <a:pt x="108387" y="88732"/>
                        </a:cubicBezTo>
                        <a:cubicBezTo>
                          <a:pt x="107096" y="94647"/>
                          <a:pt x="107096" y="94647"/>
                          <a:pt x="107096" y="94647"/>
                        </a:cubicBezTo>
                        <a:cubicBezTo>
                          <a:pt x="104946" y="97183"/>
                          <a:pt x="104946" y="97183"/>
                          <a:pt x="104946" y="97183"/>
                        </a:cubicBezTo>
                        <a:cubicBezTo>
                          <a:pt x="104516" y="100563"/>
                          <a:pt x="104516" y="100563"/>
                          <a:pt x="104516" y="100563"/>
                        </a:cubicBezTo>
                        <a:cubicBezTo>
                          <a:pt x="104946" y="105633"/>
                          <a:pt x="104946" y="105633"/>
                          <a:pt x="104946" y="105633"/>
                        </a:cubicBezTo>
                        <a:cubicBezTo>
                          <a:pt x="102365" y="102253"/>
                          <a:pt x="102365" y="102253"/>
                          <a:pt x="102365" y="102253"/>
                        </a:cubicBezTo>
                        <a:cubicBezTo>
                          <a:pt x="100215" y="103943"/>
                          <a:pt x="100215" y="103943"/>
                          <a:pt x="100215" y="103943"/>
                        </a:cubicBezTo>
                        <a:cubicBezTo>
                          <a:pt x="98924" y="104788"/>
                          <a:pt x="98924" y="104788"/>
                          <a:pt x="98924" y="104788"/>
                        </a:cubicBezTo>
                        <a:cubicBezTo>
                          <a:pt x="96344" y="108169"/>
                          <a:pt x="96344" y="108169"/>
                          <a:pt x="96344" y="108169"/>
                        </a:cubicBezTo>
                        <a:cubicBezTo>
                          <a:pt x="94193" y="106478"/>
                          <a:pt x="94193" y="106478"/>
                          <a:pt x="94193" y="106478"/>
                        </a:cubicBezTo>
                        <a:cubicBezTo>
                          <a:pt x="91182" y="108169"/>
                          <a:pt x="91182" y="108169"/>
                          <a:pt x="91182" y="108169"/>
                        </a:cubicBezTo>
                        <a:cubicBezTo>
                          <a:pt x="88602" y="108169"/>
                          <a:pt x="88602" y="108169"/>
                          <a:pt x="88602" y="108169"/>
                        </a:cubicBezTo>
                        <a:cubicBezTo>
                          <a:pt x="87311" y="109859"/>
                          <a:pt x="87311" y="109859"/>
                          <a:pt x="87311" y="109859"/>
                        </a:cubicBezTo>
                        <a:cubicBezTo>
                          <a:pt x="86451" y="113239"/>
                          <a:pt x="86451" y="113239"/>
                          <a:pt x="86451" y="113239"/>
                        </a:cubicBezTo>
                        <a:cubicBezTo>
                          <a:pt x="86021" y="114929"/>
                          <a:pt x="86021" y="114929"/>
                          <a:pt x="86021" y="114929"/>
                        </a:cubicBezTo>
                        <a:cubicBezTo>
                          <a:pt x="84301" y="115774"/>
                          <a:pt x="84301" y="115774"/>
                          <a:pt x="84301" y="115774"/>
                        </a:cubicBezTo>
                        <a:cubicBezTo>
                          <a:pt x="83440" y="118309"/>
                          <a:pt x="83440" y="118309"/>
                          <a:pt x="83440" y="118309"/>
                        </a:cubicBezTo>
                        <a:cubicBezTo>
                          <a:pt x="82150" y="120000"/>
                          <a:pt x="82150" y="120000"/>
                          <a:pt x="82150" y="120000"/>
                        </a:cubicBezTo>
                        <a:cubicBezTo>
                          <a:pt x="81290" y="120000"/>
                          <a:pt x="81290" y="120000"/>
                          <a:pt x="81290" y="120000"/>
                        </a:cubicBezTo>
                        <a:cubicBezTo>
                          <a:pt x="77419" y="120000"/>
                          <a:pt x="77419" y="120000"/>
                          <a:pt x="77419" y="120000"/>
                        </a:cubicBezTo>
                        <a:cubicBezTo>
                          <a:pt x="73118" y="119154"/>
                          <a:pt x="73118" y="119154"/>
                          <a:pt x="73118" y="119154"/>
                        </a:cubicBezTo>
                        <a:cubicBezTo>
                          <a:pt x="69247" y="116619"/>
                          <a:pt x="69247" y="116619"/>
                          <a:pt x="69247" y="116619"/>
                        </a:cubicBezTo>
                        <a:cubicBezTo>
                          <a:pt x="66236" y="117464"/>
                          <a:pt x="66236" y="117464"/>
                          <a:pt x="66236" y="117464"/>
                        </a:cubicBezTo>
                        <a:cubicBezTo>
                          <a:pt x="66236" y="117464"/>
                          <a:pt x="64086" y="116619"/>
                          <a:pt x="62795" y="116619"/>
                        </a:cubicBezTo>
                        <a:cubicBezTo>
                          <a:pt x="61075" y="116619"/>
                          <a:pt x="57634" y="114929"/>
                          <a:pt x="57634" y="114929"/>
                        </a:cubicBezTo>
                        <a:cubicBezTo>
                          <a:pt x="53333" y="112394"/>
                          <a:pt x="53333" y="112394"/>
                          <a:pt x="53333" y="112394"/>
                        </a:cubicBezTo>
                        <a:cubicBezTo>
                          <a:pt x="50752" y="112394"/>
                          <a:pt x="50752" y="112394"/>
                          <a:pt x="50752" y="112394"/>
                        </a:cubicBezTo>
                        <a:cubicBezTo>
                          <a:pt x="46881" y="111549"/>
                          <a:pt x="46881" y="111549"/>
                          <a:pt x="46881" y="111549"/>
                        </a:cubicBezTo>
                        <a:cubicBezTo>
                          <a:pt x="46881" y="111549"/>
                          <a:pt x="46451" y="109859"/>
                          <a:pt x="46021" y="109014"/>
                        </a:cubicBezTo>
                        <a:cubicBezTo>
                          <a:pt x="46021" y="108169"/>
                          <a:pt x="44731" y="106478"/>
                          <a:pt x="44731" y="106478"/>
                        </a:cubicBezTo>
                        <a:cubicBezTo>
                          <a:pt x="44731" y="104788"/>
                          <a:pt x="44731" y="104788"/>
                          <a:pt x="44731" y="104788"/>
                        </a:cubicBezTo>
                        <a:cubicBezTo>
                          <a:pt x="43870" y="100563"/>
                          <a:pt x="43870" y="100563"/>
                          <a:pt x="43870" y="100563"/>
                        </a:cubicBezTo>
                        <a:cubicBezTo>
                          <a:pt x="43010" y="97183"/>
                          <a:pt x="43010" y="97183"/>
                          <a:pt x="43010" y="97183"/>
                        </a:cubicBezTo>
                        <a:cubicBezTo>
                          <a:pt x="43870" y="94647"/>
                          <a:pt x="43870" y="94647"/>
                          <a:pt x="43870" y="94647"/>
                        </a:cubicBezTo>
                        <a:cubicBezTo>
                          <a:pt x="43010" y="93802"/>
                          <a:pt x="43010" y="93802"/>
                          <a:pt x="43010" y="93802"/>
                        </a:cubicBezTo>
                        <a:cubicBezTo>
                          <a:pt x="43010" y="93802"/>
                          <a:pt x="41290" y="94647"/>
                          <a:pt x="40430" y="94647"/>
                        </a:cubicBezTo>
                        <a:cubicBezTo>
                          <a:pt x="40000" y="95492"/>
                          <a:pt x="37419" y="96338"/>
                          <a:pt x="37419" y="96338"/>
                        </a:cubicBezTo>
                        <a:cubicBezTo>
                          <a:pt x="36559" y="97183"/>
                          <a:pt x="36559" y="97183"/>
                          <a:pt x="36559" y="97183"/>
                        </a:cubicBezTo>
                        <a:cubicBezTo>
                          <a:pt x="33118" y="97183"/>
                          <a:pt x="33118" y="97183"/>
                          <a:pt x="33118" y="97183"/>
                        </a:cubicBezTo>
                        <a:cubicBezTo>
                          <a:pt x="29677" y="98028"/>
                          <a:pt x="29677" y="98028"/>
                          <a:pt x="29677" y="98028"/>
                        </a:cubicBezTo>
                        <a:cubicBezTo>
                          <a:pt x="28387" y="99718"/>
                          <a:pt x="28387" y="99718"/>
                          <a:pt x="28387" y="99718"/>
                        </a:cubicBezTo>
                        <a:cubicBezTo>
                          <a:pt x="25806" y="102253"/>
                          <a:pt x="25806" y="102253"/>
                          <a:pt x="25806" y="102253"/>
                        </a:cubicBezTo>
                        <a:cubicBezTo>
                          <a:pt x="25806" y="105633"/>
                          <a:pt x="25806" y="105633"/>
                          <a:pt x="25806" y="105633"/>
                        </a:cubicBezTo>
                        <a:cubicBezTo>
                          <a:pt x="24516" y="109014"/>
                          <a:pt x="24516" y="109014"/>
                          <a:pt x="24516" y="109014"/>
                        </a:cubicBezTo>
                        <a:cubicBezTo>
                          <a:pt x="22365" y="109014"/>
                          <a:pt x="22365" y="109014"/>
                          <a:pt x="22365" y="109014"/>
                        </a:cubicBezTo>
                        <a:cubicBezTo>
                          <a:pt x="20215" y="105633"/>
                          <a:pt x="20215" y="105633"/>
                          <a:pt x="20215" y="105633"/>
                        </a:cubicBezTo>
                        <a:cubicBezTo>
                          <a:pt x="19354" y="107323"/>
                          <a:pt x="19354" y="107323"/>
                          <a:pt x="19354" y="107323"/>
                        </a:cubicBezTo>
                        <a:cubicBezTo>
                          <a:pt x="16774" y="106478"/>
                          <a:pt x="16774" y="106478"/>
                          <a:pt x="16774" y="106478"/>
                        </a:cubicBezTo>
                        <a:cubicBezTo>
                          <a:pt x="16344" y="107323"/>
                          <a:pt x="16344" y="107323"/>
                          <a:pt x="16344" y="107323"/>
                        </a:cubicBezTo>
                        <a:cubicBezTo>
                          <a:pt x="16344" y="107323"/>
                          <a:pt x="16344" y="106478"/>
                          <a:pt x="16344" y="106478"/>
                        </a:cubicBezTo>
                        <a:cubicBezTo>
                          <a:pt x="16344" y="105633"/>
                          <a:pt x="16774" y="103098"/>
                          <a:pt x="16774" y="103098"/>
                        </a:cubicBezTo>
                        <a:cubicBezTo>
                          <a:pt x="16774" y="103098"/>
                          <a:pt x="16774" y="102253"/>
                          <a:pt x="16774" y="101408"/>
                        </a:cubicBezTo>
                        <a:cubicBezTo>
                          <a:pt x="16774" y="101408"/>
                          <a:pt x="16344" y="100563"/>
                          <a:pt x="16344" y="100563"/>
                        </a:cubicBezTo>
                        <a:cubicBezTo>
                          <a:pt x="15913" y="99718"/>
                          <a:pt x="15913" y="99718"/>
                          <a:pt x="15913" y="99718"/>
                        </a:cubicBezTo>
                        <a:cubicBezTo>
                          <a:pt x="15913" y="99718"/>
                          <a:pt x="15483" y="98028"/>
                          <a:pt x="15483" y="98028"/>
                        </a:cubicBezTo>
                        <a:cubicBezTo>
                          <a:pt x="15053" y="98873"/>
                          <a:pt x="14623" y="98873"/>
                          <a:pt x="14623" y="98873"/>
                        </a:cubicBezTo>
                        <a:cubicBezTo>
                          <a:pt x="14623" y="98873"/>
                          <a:pt x="14623" y="100563"/>
                          <a:pt x="14623" y="100563"/>
                        </a:cubicBezTo>
                        <a:cubicBezTo>
                          <a:pt x="14193" y="101408"/>
                          <a:pt x="13763" y="101408"/>
                          <a:pt x="13763" y="101408"/>
                        </a:cubicBezTo>
                        <a:cubicBezTo>
                          <a:pt x="13763" y="101408"/>
                          <a:pt x="13763" y="101408"/>
                          <a:pt x="13763" y="101408"/>
                        </a:cubicBezTo>
                        <a:cubicBezTo>
                          <a:pt x="13333" y="101408"/>
                          <a:pt x="13333" y="101408"/>
                          <a:pt x="13333" y="101408"/>
                        </a:cubicBezTo>
                        <a:cubicBezTo>
                          <a:pt x="12903" y="103098"/>
                          <a:pt x="12903" y="103098"/>
                          <a:pt x="12903" y="103098"/>
                        </a:cubicBezTo>
                        <a:cubicBezTo>
                          <a:pt x="12473" y="103943"/>
                          <a:pt x="12473" y="103943"/>
                          <a:pt x="12473" y="103943"/>
                        </a:cubicBezTo>
                        <a:cubicBezTo>
                          <a:pt x="12473" y="103943"/>
                          <a:pt x="12473" y="103943"/>
                          <a:pt x="12473" y="103943"/>
                        </a:cubicBezTo>
                        <a:cubicBezTo>
                          <a:pt x="12473" y="103943"/>
                          <a:pt x="12473" y="103943"/>
                          <a:pt x="12473" y="103943"/>
                        </a:cubicBezTo>
                        <a:cubicBezTo>
                          <a:pt x="12473" y="103943"/>
                          <a:pt x="12043" y="103943"/>
                          <a:pt x="12043" y="104788"/>
                        </a:cubicBezTo>
                        <a:cubicBezTo>
                          <a:pt x="12043" y="104788"/>
                          <a:pt x="11612" y="104788"/>
                          <a:pt x="11182" y="104788"/>
                        </a:cubicBezTo>
                        <a:cubicBezTo>
                          <a:pt x="11182" y="104788"/>
                          <a:pt x="10322" y="104788"/>
                          <a:pt x="10322" y="104788"/>
                        </a:cubicBezTo>
                        <a:cubicBezTo>
                          <a:pt x="9892" y="103943"/>
                          <a:pt x="9892" y="103943"/>
                          <a:pt x="9892" y="103943"/>
                        </a:cubicBezTo>
                        <a:cubicBezTo>
                          <a:pt x="8602" y="103098"/>
                          <a:pt x="8602" y="103098"/>
                          <a:pt x="8602" y="103098"/>
                        </a:cubicBezTo>
                        <a:cubicBezTo>
                          <a:pt x="8602" y="103098"/>
                          <a:pt x="8602" y="103098"/>
                          <a:pt x="8602" y="103098"/>
                        </a:cubicBezTo>
                        <a:cubicBezTo>
                          <a:pt x="7741" y="102253"/>
                          <a:pt x="7741" y="102253"/>
                          <a:pt x="7741" y="102253"/>
                        </a:cubicBezTo>
                        <a:cubicBezTo>
                          <a:pt x="7311" y="101408"/>
                          <a:pt x="7311" y="101408"/>
                          <a:pt x="7311" y="101408"/>
                        </a:cubicBezTo>
                        <a:cubicBezTo>
                          <a:pt x="7311" y="99718"/>
                          <a:pt x="7311" y="99718"/>
                          <a:pt x="7311" y="99718"/>
                        </a:cubicBezTo>
                        <a:cubicBezTo>
                          <a:pt x="6451" y="98028"/>
                          <a:pt x="6451" y="98028"/>
                          <a:pt x="6451" y="98028"/>
                        </a:cubicBezTo>
                        <a:cubicBezTo>
                          <a:pt x="4731" y="97183"/>
                          <a:pt x="4731" y="97183"/>
                          <a:pt x="4731" y="97183"/>
                        </a:cubicBezTo>
                        <a:cubicBezTo>
                          <a:pt x="3440" y="96338"/>
                          <a:pt x="3440" y="96338"/>
                          <a:pt x="3440" y="96338"/>
                        </a:cubicBezTo>
                        <a:cubicBezTo>
                          <a:pt x="2580" y="96338"/>
                          <a:pt x="2580" y="96338"/>
                          <a:pt x="2580" y="96338"/>
                        </a:cubicBezTo>
                        <a:cubicBezTo>
                          <a:pt x="2580" y="96338"/>
                          <a:pt x="860" y="96338"/>
                          <a:pt x="860" y="96338"/>
                        </a:cubicBezTo>
                        <a:cubicBezTo>
                          <a:pt x="860" y="96338"/>
                          <a:pt x="430" y="96338"/>
                          <a:pt x="430" y="96338"/>
                        </a:cubicBezTo>
                        <a:cubicBezTo>
                          <a:pt x="430" y="96338"/>
                          <a:pt x="430" y="96338"/>
                          <a:pt x="430" y="96338"/>
                        </a:cubicBezTo>
                        <a:cubicBezTo>
                          <a:pt x="430" y="96338"/>
                          <a:pt x="430" y="96338"/>
                          <a:pt x="430" y="96338"/>
                        </a:cubicBezTo>
                        <a:cubicBezTo>
                          <a:pt x="430" y="96338"/>
                          <a:pt x="430" y="96338"/>
                          <a:pt x="430" y="96338"/>
                        </a:cubicBezTo>
                        <a:cubicBezTo>
                          <a:pt x="860" y="96338"/>
                          <a:pt x="860" y="96338"/>
                          <a:pt x="860" y="96338"/>
                        </a:cubicBezTo>
                        <a:cubicBezTo>
                          <a:pt x="860" y="96338"/>
                          <a:pt x="860" y="95492"/>
                          <a:pt x="860" y="95492"/>
                        </a:cubicBezTo>
                        <a:cubicBezTo>
                          <a:pt x="860" y="95492"/>
                          <a:pt x="860" y="95492"/>
                          <a:pt x="860" y="95492"/>
                        </a:cubicBezTo>
                        <a:cubicBezTo>
                          <a:pt x="860" y="95492"/>
                          <a:pt x="1290" y="96338"/>
                          <a:pt x="1290" y="96338"/>
                        </a:cubicBezTo>
                        <a:cubicBezTo>
                          <a:pt x="1290" y="96338"/>
                          <a:pt x="1290" y="96338"/>
                          <a:pt x="1290" y="96338"/>
                        </a:cubicBezTo>
                        <a:cubicBezTo>
                          <a:pt x="1290" y="96338"/>
                          <a:pt x="1290" y="96338"/>
                          <a:pt x="1290" y="96338"/>
                        </a:cubicBezTo>
                        <a:cubicBezTo>
                          <a:pt x="1290" y="96338"/>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1720" y="95492"/>
                        </a:cubicBezTo>
                        <a:cubicBezTo>
                          <a:pt x="1720" y="95492"/>
                          <a:pt x="1720" y="95492"/>
                          <a:pt x="2150" y="95492"/>
                        </a:cubicBezTo>
                        <a:cubicBezTo>
                          <a:pt x="2150" y="95492"/>
                          <a:pt x="2150" y="95492"/>
                          <a:pt x="2150" y="94647"/>
                        </a:cubicBezTo>
                        <a:cubicBezTo>
                          <a:pt x="2150" y="94647"/>
                          <a:pt x="2150" y="94647"/>
                          <a:pt x="2150" y="94647"/>
                        </a:cubicBezTo>
                        <a:cubicBezTo>
                          <a:pt x="2150" y="94647"/>
                          <a:pt x="2150" y="94647"/>
                          <a:pt x="1720" y="94647"/>
                        </a:cubicBezTo>
                        <a:cubicBezTo>
                          <a:pt x="1720" y="94647"/>
                          <a:pt x="1720" y="94647"/>
                          <a:pt x="1720" y="94647"/>
                        </a:cubicBezTo>
                        <a:cubicBezTo>
                          <a:pt x="1720" y="94647"/>
                          <a:pt x="1720" y="94647"/>
                          <a:pt x="1720" y="93802"/>
                        </a:cubicBezTo>
                        <a:cubicBezTo>
                          <a:pt x="1720" y="93802"/>
                          <a:pt x="2150" y="93802"/>
                          <a:pt x="2150" y="93802"/>
                        </a:cubicBezTo>
                        <a:cubicBezTo>
                          <a:pt x="2150" y="93802"/>
                          <a:pt x="2150" y="93802"/>
                          <a:pt x="1720" y="93802"/>
                        </a:cubicBezTo>
                        <a:cubicBezTo>
                          <a:pt x="1720" y="93802"/>
                          <a:pt x="1720" y="93802"/>
                          <a:pt x="1720" y="93802"/>
                        </a:cubicBezTo>
                        <a:cubicBezTo>
                          <a:pt x="1720" y="92957"/>
                          <a:pt x="1720" y="93802"/>
                          <a:pt x="1720" y="93802"/>
                        </a:cubicBezTo>
                        <a:cubicBezTo>
                          <a:pt x="1720" y="92957"/>
                          <a:pt x="1720" y="92957"/>
                          <a:pt x="1720" y="92957"/>
                        </a:cubicBezTo>
                        <a:cubicBezTo>
                          <a:pt x="1720" y="92957"/>
                          <a:pt x="1720" y="92957"/>
                          <a:pt x="1720" y="92957"/>
                        </a:cubicBezTo>
                        <a:cubicBezTo>
                          <a:pt x="1720" y="92957"/>
                          <a:pt x="1720" y="92957"/>
                          <a:pt x="1720" y="92957"/>
                        </a:cubicBezTo>
                        <a:cubicBezTo>
                          <a:pt x="1720" y="92957"/>
                          <a:pt x="1720" y="92957"/>
                          <a:pt x="1720" y="92957"/>
                        </a:cubicBezTo>
                        <a:cubicBezTo>
                          <a:pt x="1720" y="92957"/>
                          <a:pt x="1720" y="92957"/>
                          <a:pt x="1720" y="92957"/>
                        </a:cubicBezTo>
                        <a:cubicBezTo>
                          <a:pt x="1290" y="92957"/>
                          <a:pt x="1290" y="92957"/>
                          <a:pt x="1290" y="92957"/>
                        </a:cubicBezTo>
                        <a:cubicBezTo>
                          <a:pt x="1290" y="92957"/>
                          <a:pt x="1290" y="92957"/>
                          <a:pt x="1290" y="92957"/>
                        </a:cubicBezTo>
                        <a:cubicBezTo>
                          <a:pt x="1290" y="92112"/>
                          <a:pt x="1290" y="92112"/>
                          <a:pt x="1290" y="92112"/>
                        </a:cubicBezTo>
                        <a:cubicBezTo>
                          <a:pt x="1290" y="92112"/>
                          <a:pt x="1290" y="92112"/>
                          <a:pt x="1290" y="92112"/>
                        </a:cubicBezTo>
                        <a:cubicBezTo>
                          <a:pt x="1290" y="92112"/>
                          <a:pt x="1290" y="92112"/>
                          <a:pt x="1290" y="92112"/>
                        </a:cubicBezTo>
                        <a:cubicBezTo>
                          <a:pt x="1290" y="92112"/>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1267"/>
                          <a:pt x="1290" y="91267"/>
                          <a:pt x="1290" y="91267"/>
                        </a:cubicBezTo>
                        <a:cubicBezTo>
                          <a:pt x="1290" y="90422"/>
                          <a:pt x="1290" y="91267"/>
                          <a:pt x="1290" y="90422"/>
                        </a:cubicBezTo>
                        <a:cubicBezTo>
                          <a:pt x="1290" y="90422"/>
                          <a:pt x="1290" y="90422"/>
                          <a:pt x="1290" y="90422"/>
                        </a:cubicBezTo>
                        <a:cubicBezTo>
                          <a:pt x="1290" y="90422"/>
                          <a:pt x="1290" y="90422"/>
                          <a:pt x="1290" y="90422"/>
                        </a:cubicBezTo>
                        <a:cubicBezTo>
                          <a:pt x="1290" y="90422"/>
                          <a:pt x="860" y="90422"/>
                          <a:pt x="860" y="89577"/>
                        </a:cubicBezTo>
                        <a:cubicBezTo>
                          <a:pt x="860" y="89577"/>
                          <a:pt x="860" y="89577"/>
                          <a:pt x="860" y="89577"/>
                        </a:cubicBezTo>
                        <a:cubicBezTo>
                          <a:pt x="860" y="89577"/>
                          <a:pt x="860" y="89577"/>
                          <a:pt x="860" y="89577"/>
                        </a:cubicBezTo>
                        <a:cubicBezTo>
                          <a:pt x="860" y="89577"/>
                          <a:pt x="860" y="89577"/>
                          <a:pt x="860" y="89577"/>
                        </a:cubicBezTo>
                        <a:cubicBezTo>
                          <a:pt x="860" y="90422"/>
                          <a:pt x="860" y="90422"/>
                          <a:pt x="860" y="90422"/>
                        </a:cubicBezTo>
                        <a:cubicBezTo>
                          <a:pt x="860" y="91267"/>
                          <a:pt x="860" y="91267"/>
                          <a:pt x="860" y="91267"/>
                        </a:cubicBezTo>
                        <a:cubicBezTo>
                          <a:pt x="430" y="91267"/>
                          <a:pt x="430" y="91267"/>
                          <a:pt x="430" y="91267"/>
                        </a:cubicBezTo>
                        <a:cubicBezTo>
                          <a:pt x="430" y="90422"/>
                          <a:pt x="430" y="90422"/>
                          <a:pt x="430" y="90422"/>
                        </a:cubicBezTo>
                        <a:cubicBezTo>
                          <a:pt x="860" y="87887"/>
                          <a:pt x="860" y="87887"/>
                          <a:pt x="860" y="87887"/>
                        </a:cubicBezTo>
                        <a:cubicBezTo>
                          <a:pt x="1720" y="86197"/>
                          <a:pt x="1720" y="86197"/>
                          <a:pt x="1720" y="86197"/>
                        </a:cubicBezTo>
                        <a:cubicBezTo>
                          <a:pt x="1720" y="86197"/>
                          <a:pt x="1720" y="84507"/>
                          <a:pt x="2150" y="84507"/>
                        </a:cubicBezTo>
                        <a:cubicBezTo>
                          <a:pt x="2150" y="83661"/>
                          <a:pt x="2150" y="82816"/>
                          <a:pt x="2150" y="82816"/>
                        </a:cubicBezTo>
                        <a:cubicBezTo>
                          <a:pt x="3010" y="81971"/>
                          <a:pt x="3010" y="81971"/>
                          <a:pt x="3010" y="81971"/>
                        </a:cubicBezTo>
                        <a:cubicBezTo>
                          <a:pt x="3010" y="81971"/>
                          <a:pt x="3440" y="81126"/>
                          <a:pt x="3440" y="81126"/>
                        </a:cubicBezTo>
                        <a:cubicBezTo>
                          <a:pt x="3440" y="80281"/>
                          <a:pt x="3010" y="79436"/>
                          <a:pt x="3010" y="79436"/>
                        </a:cubicBezTo>
                        <a:cubicBezTo>
                          <a:pt x="3010" y="78591"/>
                          <a:pt x="3440" y="77746"/>
                          <a:pt x="3440" y="77746"/>
                        </a:cubicBezTo>
                        <a:cubicBezTo>
                          <a:pt x="3010" y="77746"/>
                          <a:pt x="301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901"/>
                        </a:cubicBezTo>
                        <a:cubicBezTo>
                          <a:pt x="2580" y="76901"/>
                          <a:pt x="2580" y="76901"/>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2580" y="76056"/>
                          <a:pt x="2580" y="76056"/>
                          <a:pt x="2580" y="76056"/>
                        </a:cubicBezTo>
                        <a:cubicBezTo>
                          <a:pt x="3440" y="74366"/>
                          <a:pt x="4301" y="72676"/>
                          <a:pt x="4301" y="72676"/>
                        </a:cubicBezTo>
                        <a:cubicBezTo>
                          <a:pt x="4301" y="72676"/>
                          <a:pt x="5161" y="71830"/>
                          <a:pt x="6021" y="72676"/>
                        </a:cubicBezTo>
                        <a:cubicBezTo>
                          <a:pt x="6451" y="73521"/>
                          <a:pt x="7311" y="75211"/>
                          <a:pt x="7741" y="76056"/>
                        </a:cubicBezTo>
                        <a:cubicBezTo>
                          <a:pt x="7741" y="76056"/>
                          <a:pt x="8172" y="76901"/>
                          <a:pt x="8602" y="76901"/>
                        </a:cubicBezTo>
                        <a:cubicBezTo>
                          <a:pt x="9032" y="76901"/>
                          <a:pt x="9462" y="77746"/>
                          <a:pt x="9462" y="77746"/>
                        </a:cubicBezTo>
                        <a:cubicBezTo>
                          <a:pt x="9462" y="78591"/>
                          <a:pt x="9892" y="77746"/>
                          <a:pt x="9892" y="79436"/>
                        </a:cubicBezTo>
                        <a:cubicBezTo>
                          <a:pt x="9462" y="81126"/>
                          <a:pt x="9462" y="82816"/>
                          <a:pt x="9892" y="82816"/>
                        </a:cubicBezTo>
                        <a:cubicBezTo>
                          <a:pt x="10752" y="81971"/>
                          <a:pt x="11182" y="81126"/>
                          <a:pt x="11182" y="81971"/>
                        </a:cubicBezTo>
                        <a:cubicBezTo>
                          <a:pt x="11182" y="82816"/>
                          <a:pt x="11612" y="81971"/>
                          <a:pt x="11182" y="83661"/>
                        </a:cubicBezTo>
                        <a:cubicBezTo>
                          <a:pt x="11182" y="85352"/>
                          <a:pt x="10752" y="86197"/>
                          <a:pt x="11182" y="86197"/>
                        </a:cubicBezTo>
                        <a:cubicBezTo>
                          <a:pt x="12043" y="87042"/>
                          <a:pt x="12903" y="87887"/>
                          <a:pt x="13333" y="87042"/>
                        </a:cubicBezTo>
                        <a:cubicBezTo>
                          <a:pt x="13763" y="85352"/>
                          <a:pt x="13333" y="87042"/>
                          <a:pt x="13763" y="85352"/>
                        </a:cubicBezTo>
                        <a:cubicBezTo>
                          <a:pt x="14193" y="82816"/>
                          <a:pt x="14193" y="83661"/>
                          <a:pt x="14623" y="82816"/>
                        </a:cubicBezTo>
                        <a:cubicBezTo>
                          <a:pt x="14623" y="81126"/>
                          <a:pt x="14623" y="81971"/>
                          <a:pt x="15053" y="80281"/>
                        </a:cubicBezTo>
                        <a:cubicBezTo>
                          <a:pt x="15053" y="78591"/>
                          <a:pt x="15483" y="79436"/>
                          <a:pt x="15053" y="78591"/>
                        </a:cubicBezTo>
                        <a:cubicBezTo>
                          <a:pt x="15053" y="78591"/>
                          <a:pt x="15053" y="77746"/>
                          <a:pt x="14623" y="76901"/>
                        </a:cubicBezTo>
                        <a:cubicBezTo>
                          <a:pt x="14623" y="75211"/>
                          <a:pt x="13763" y="76056"/>
                          <a:pt x="15053" y="75211"/>
                        </a:cubicBezTo>
                        <a:cubicBezTo>
                          <a:pt x="15913" y="74366"/>
                          <a:pt x="16344" y="74366"/>
                          <a:pt x="16344" y="74366"/>
                        </a:cubicBezTo>
                        <a:cubicBezTo>
                          <a:pt x="16344" y="73521"/>
                          <a:pt x="17634" y="73521"/>
                          <a:pt x="17634" y="73521"/>
                        </a:cubicBezTo>
                        <a:cubicBezTo>
                          <a:pt x="17634" y="73521"/>
                          <a:pt x="18924" y="73521"/>
                          <a:pt x="18924" y="73521"/>
                        </a:cubicBezTo>
                        <a:cubicBezTo>
                          <a:pt x="19354" y="73521"/>
                          <a:pt x="21075" y="73521"/>
                          <a:pt x="21075" y="74366"/>
                        </a:cubicBezTo>
                        <a:cubicBezTo>
                          <a:pt x="21075" y="75211"/>
                          <a:pt x="21935" y="75211"/>
                          <a:pt x="21935" y="75211"/>
                        </a:cubicBezTo>
                        <a:cubicBezTo>
                          <a:pt x="21935" y="75211"/>
                          <a:pt x="22795" y="75211"/>
                          <a:pt x="23225" y="76901"/>
                        </a:cubicBezTo>
                        <a:cubicBezTo>
                          <a:pt x="23225" y="79436"/>
                          <a:pt x="23225" y="81126"/>
                          <a:pt x="23655" y="80281"/>
                        </a:cubicBezTo>
                        <a:cubicBezTo>
                          <a:pt x="24086" y="80281"/>
                          <a:pt x="24946" y="81971"/>
                          <a:pt x="24946" y="81126"/>
                        </a:cubicBezTo>
                        <a:cubicBezTo>
                          <a:pt x="25376" y="80281"/>
                          <a:pt x="25806" y="79436"/>
                          <a:pt x="26236" y="79436"/>
                        </a:cubicBezTo>
                        <a:cubicBezTo>
                          <a:pt x="26666" y="79436"/>
                          <a:pt x="25806" y="78591"/>
                          <a:pt x="27096" y="78591"/>
                        </a:cubicBezTo>
                        <a:cubicBezTo>
                          <a:pt x="28817" y="79436"/>
                          <a:pt x="28387" y="80281"/>
                          <a:pt x="29247" y="78591"/>
                        </a:cubicBezTo>
                        <a:cubicBezTo>
                          <a:pt x="29677" y="76901"/>
                          <a:pt x="29677" y="76901"/>
                          <a:pt x="30537" y="76056"/>
                        </a:cubicBezTo>
                        <a:cubicBezTo>
                          <a:pt x="30967" y="75211"/>
                          <a:pt x="30967" y="75211"/>
                          <a:pt x="31397" y="74366"/>
                        </a:cubicBezTo>
                        <a:cubicBezTo>
                          <a:pt x="31397" y="74366"/>
                          <a:pt x="33118" y="74366"/>
                          <a:pt x="33118" y="74366"/>
                        </a:cubicBezTo>
                        <a:cubicBezTo>
                          <a:pt x="33548" y="73521"/>
                          <a:pt x="33978" y="71830"/>
                          <a:pt x="34408" y="71830"/>
                        </a:cubicBezTo>
                        <a:cubicBezTo>
                          <a:pt x="34408" y="71830"/>
                          <a:pt x="36129" y="71830"/>
                          <a:pt x="36559" y="71830"/>
                        </a:cubicBezTo>
                        <a:cubicBezTo>
                          <a:pt x="36989" y="71830"/>
                          <a:pt x="37849" y="71830"/>
                          <a:pt x="38279" y="70985"/>
                        </a:cubicBezTo>
                        <a:cubicBezTo>
                          <a:pt x="38279" y="70140"/>
                          <a:pt x="38279" y="70140"/>
                          <a:pt x="38709" y="69295"/>
                        </a:cubicBezTo>
                        <a:cubicBezTo>
                          <a:pt x="39569" y="69295"/>
                          <a:pt x="40000" y="69295"/>
                          <a:pt x="40860" y="69295"/>
                        </a:cubicBezTo>
                        <a:cubicBezTo>
                          <a:pt x="41720" y="69295"/>
                          <a:pt x="41720" y="69295"/>
                          <a:pt x="42150" y="69295"/>
                        </a:cubicBezTo>
                        <a:cubicBezTo>
                          <a:pt x="42580" y="69295"/>
                          <a:pt x="43010" y="70985"/>
                          <a:pt x="43010" y="68450"/>
                        </a:cubicBezTo>
                        <a:cubicBezTo>
                          <a:pt x="42580" y="65915"/>
                          <a:pt x="42150" y="65915"/>
                          <a:pt x="42580" y="65070"/>
                        </a:cubicBezTo>
                        <a:cubicBezTo>
                          <a:pt x="43440" y="65070"/>
                          <a:pt x="44301" y="65070"/>
                          <a:pt x="44301" y="65070"/>
                        </a:cubicBezTo>
                        <a:cubicBezTo>
                          <a:pt x="44731" y="65070"/>
                          <a:pt x="46451" y="65915"/>
                          <a:pt x="46881" y="65915"/>
                        </a:cubicBezTo>
                        <a:cubicBezTo>
                          <a:pt x="46881" y="65915"/>
                          <a:pt x="47311" y="67605"/>
                          <a:pt x="47311" y="67605"/>
                        </a:cubicBezTo>
                        <a:cubicBezTo>
                          <a:pt x="47741" y="67605"/>
                          <a:pt x="48172" y="68450"/>
                          <a:pt x="48602" y="67605"/>
                        </a:cubicBezTo>
                        <a:cubicBezTo>
                          <a:pt x="48602" y="67605"/>
                          <a:pt x="49032" y="65915"/>
                          <a:pt x="49462" y="65915"/>
                        </a:cubicBezTo>
                        <a:cubicBezTo>
                          <a:pt x="49892" y="65915"/>
                          <a:pt x="51182" y="65915"/>
                          <a:pt x="51182" y="65915"/>
                        </a:cubicBezTo>
                        <a:cubicBezTo>
                          <a:pt x="51182" y="65915"/>
                          <a:pt x="52903" y="66760"/>
                          <a:pt x="52903" y="66760"/>
                        </a:cubicBezTo>
                        <a:cubicBezTo>
                          <a:pt x="52903" y="66760"/>
                          <a:pt x="52473" y="68450"/>
                          <a:pt x="52473" y="69295"/>
                        </a:cubicBezTo>
                        <a:cubicBezTo>
                          <a:pt x="52473" y="70140"/>
                          <a:pt x="52473" y="70985"/>
                          <a:pt x="52903" y="71830"/>
                        </a:cubicBezTo>
                        <a:cubicBezTo>
                          <a:pt x="52903" y="71830"/>
                          <a:pt x="53763" y="73521"/>
                          <a:pt x="53763" y="73521"/>
                        </a:cubicBezTo>
                        <a:cubicBezTo>
                          <a:pt x="53763" y="73521"/>
                          <a:pt x="55913" y="75211"/>
                          <a:pt x="55913" y="75211"/>
                        </a:cubicBezTo>
                        <a:cubicBezTo>
                          <a:pt x="55913" y="75211"/>
                          <a:pt x="56344" y="76056"/>
                          <a:pt x="56344" y="72676"/>
                        </a:cubicBezTo>
                        <a:cubicBezTo>
                          <a:pt x="56344" y="69295"/>
                          <a:pt x="56344" y="68450"/>
                          <a:pt x="56344" y="68450"/>
                        </a:cubicBezTo>
                        <a:cubicBezTo>
                          <a:pt x="56344" y="65070"/>
                          <a:pt x="56344" y="65070"/>
                          <a:pt x="56344" y="65070"/>
                        </a:cubicBezTo>
                        <a:cubicBezTo>
                          <a:pt x="56344" y="65070"/>
                          <a:pt x="56344" y="64225"/>
                          <a:pt x="55913" y="64225"/>
                        </a:cubicBezTo>
                        <a:cubicBezTo>
                          <a:pt x="55913" y="64225"/>
                          <a:pt x="55483" y="64225"/>
                          <a:pt x="55483" y="64225"/>
                        </a:cubicBezTo>
                        <a:cubicBezTo>
                          <a:pt x="55483" y="64225"/>
                          <a:pt x="53763" y="63380"/>
                          <a:pt x="53333" y="63380"/>
                        </a:cubicBezTo>
                        <a:cubicBezTo>
                          <a:pt x="52903" y="63380"/>
                          <a:pt x="53333" y="61690"/>
                          <a:pt x="53333" y="60845"/>
                        </a:cubicBezTo>
                        <a:cubicBezTo>
                          <a:pt x="53333" y="60845"/>
                          <a:pt x="54193" y="59154"/>
                          <a:pt x="54193" y="59154"/>
                        </a:cubicBezTo>
                        <a:cubicBezTo>
                          <a:pt x="54193" y="56619"/>
                          <a:pt x="54193" y="56619"/>
                          <a:pt x="54193" y="56619"/>
                        </a:cubicBezTo>
                        <a:cubicBezTo>
                          <a:pt x="52903" y="52394"/>
                          <a:pt x="52903" y="52394"/>
                          <a:pt x="52903" y="52394"/>
                        </a:cubicBezTo>
                        <a:cubicBezTo>
                          <a:pt x="51612" y="49859"/>
                          <a:pt x="51612" y="49859"/>
                          <a:pt x="51612" y="49859"/>
                        </a:cubicBezTo>
                        <a:cubicBezTo>
                          <a:pt x="50752" y="45633"/>
                          <a:pt x="50752" y="45633"/>
                          <a:pt x="50752" y="45633"/>
                        </a:cubicBezTo>
                        <a:cubicBezTo>
                          <a:pt x="50752" y="45633"/>
                          <a:pt x="50752" y="45633"/>
                          <a:pt x="50752" y="45633"/>
                        </a:cubicBezTo>
                        <a:cubicBezTo>
                          <a:pt x="50752" y="45633"/>
                          <a:pt x="50752" y="45633"/>
                          <a:pt x="50752" y="45633"/>
                        </a:cubicBezTo>
                        <a:cubicBezTo>
                          <a:pt x="52043" y="43943"/>
                          <a:pt x="52043" y="43943"/>
                          <a:pt x="52043" y="43943"/>
                        </a:cubicBezTo>
                        <a:cubicBezTo>
                          <a:pt x="52903" y="42253"/>
                          <a:pt x="54193" y="40563"/>
                          <a:pt x="54193" y="40563"/>
                        </a:cubicBezTo>
                        <a:cubicBezTo>
                          <a:pt x="54193" y="40563"/>
                          <a:pt x="54193" y="40563"/>
                          <a:pt x="54623" y="40563"/>
                        </a:cubicBezTo>
                        <a:cubicBezTo>
                          <a:pt x="55483" y="38873"/>
                          <a:pt x="55483" y="38873"/>
                          <a:pt x="55483" y="38873"/>
                        </a:cubicBezTo>
                        <a:cubicBezTo>
                          <a:pt x="55483" y="38873"/>
                          <a:pt x="57634" y="37183"/>
                          <a:pt x="57634" y="37183"/>
                        </a:cubicBezTo>
                        <a:cubicBezTo>
                          <a:pt x="57634" y="37183"/>
                          <a:pt x="58064" y="36338"/>
                          <a:pt x="58064" y="36338"/>
                        </a:cubicBezTo>
                        <a:cubicBezTo>
                          <a:pt x="58494" y="36338"/>
                          <a:pt x="58494" y="36338"/>
                          <a:pt x="58494" y="36338"/>
                        </a:cubicBezTo>
                        <a:cubicBezTo>
                          <a:pt x="60645" y="32112"/>
                          <a:pt x="60645" y="32112"/>
                          <a:pt x="60645" y="32112"/>
                        </a:cubicBezTo>
                        <a:cubicBezTo>
                          <a:pt x="60645" y="27887"/>
                          <a:pt x="60645" y="27887"/>
                          <a:pt x="60645" y="27887"/>
                        </a:cubicBezTo>
                        <a:cubicBezTo>
                          <a:pt x="61075" y="26197"/>
                          <a:pt x="61075" y="26197"/>
                          <a:pt x="61075" y="26197"/>
                        </a:cubicBezTo>
                        <a:cubicBezTo>
                          <a:pt x="61075" y="25352"/>
                          <a:pt x="61075" y="23661"/>
                          <a:pt x="61075" y="23661"/>
                        </a:cubicBezTo>
                        <a:cubicBezTo>
                          <a:pt x="63655" y="23661"/>
                          <a:pt x="63655" y="23661"/>
                          <a:pt x="63655" y="23661"/>
                        </a:cubicBezTo>
                        <a:cubicBezTo>
                          <a:pt x="63655" y="23661"/>
                          <a:pt x="64086" y="24507"/>
                          <a:pt x="64516" y="25352"/>
                        </a:cubicBezTo>
                        <a:cubicBezTo>
                          <a:pt x="64946" y="25352"/>
                          <a:pt x="65376" y="24507"/>
                          <a:pt x="65376" y="24507"/>
                        </a:cubicBezTo>
                        <a:cubicBezTo>
                          <a:pt x="65806" y="24507"/>
                          <a:pt x="66236" y="22816"/>
                          <a:pt x="66236" y="22816"/>
                        </a:cubicBezTo>
                        <a:cubicBezTo>
                          <a:pt x="66236" y="20281"/>
                          <a:pt x="66236" y="20281"/>
                          <a:pt x="66236" y="20281"/>
                        </a:cubicBezTo>
                        <a:cubicBezTo>
                          <a:pt x="65806" y="16056"/>
                          <a:pt x="65806" y="16056"/>
                          <a:pt x="65806" y="16056"/>
                        </a:cubicBezTo>
                        <a:cubicBezTo>
                          <a:pt x="65806" y="13521"/>
                          <a:pt x="65806" y="13521"/>
                          <a:pt x="65806" y="13521"/>
                        </a:cubicBezTo>
                        <a:cubicBezTo>
                          <a:pt x="65806" y="13521"/>
                          <a:pt x="65806" y="13521"/>
                          <a:pt x="65806" y="13521"/>
                        </a:cubicBezTo>
                        <a:cubicBezTo>
                          <a:pt x="66236" y="13521"/>
                          <a:pt x="67956" y="16056"/>
                          <a:pt x="68817" y="16901"/>
                        </a:cubicBezTo>
                        <a:cubicBezTo>
                          <a:pt x="69247" y="17746"/>
                          <a:pt x="70537" y="20281"/>
                          <a:pt x="70537" y="20281"/>
                        </a:cubicBezTo>
                        <a:cubicBezTo>
                          <a:pt x="70537" y="20281"/>
                          <a:pt x="72688" y="21126"/>
                          <a:pt x="73118" y="21126"/>
                        </a:cubicBezTo>
                        <a:cubicBezTo>
                          <a:pt x="73118" y="21126"/>
                          <a:pt x="75268" y="21971"/>
                          <a:pt x="75268" y="21971"/>
                        </a:cubicBezTo>
                        <a:cubicBezTo>
                          <a:pt x="75698" y="20281"/>
                          <a:pt x="75698" y="20281"/>
                          <a:pt x="75698" y="20281"/>
                        </a:cubicBezTo>
                        <a:cubicBezTo>
                          <a:pt x="76989" y="18591"/>
                          <a:pt x="76989" y="18591"/>
                          <a:pt x="76989" y="18591"/>
                        </a:cubicBezTo>
                        <a:cubicBezTo>
                          <a:pt x="78709" y="21126"/>
                          <a:pt x="78709" y="21126"/>
                          <a:pt x="78709" y="21126"/>
                        </a:cubicBezTo>
                        <a:cubicBezTo>
                          <a:pt x="80430" y="20281"/>
                          <a:pt x="80430" y="20281"/>
                          <a:pt x="80430" y="20281"/>
                        </a:cubicBezTo>
                        <a:close/>
                        <a:moveTo>
                          <a:pt x="2150" y="76901"/>
                        </a:moveTo>
                        <a:cubicBezTo>
                          <a:pt x="2150" y="76901"/>
                          <a:pt x="2150" y="76901"/>
                          <a:pt x="2150" y="76901"/>
                        </a:cubicBezTo>
                        <a:cubicBezTo>
                          <a:pt x="2150" y="76901"/>
                          <a:pt x="2150" y="76901"/>
                          <a:pt x="2150" y="76901"/>
                        </a:cubicBezTo>
                        <a:cubicBezTo>
                          <a:pt x="2150" y="76901"/>
                          <a:pt x="2150" y="76901"/>
                          <a:pt x="2150" y="76901"/>
                        </a:cubicBezTo>
                        <a:close/>
                        <a:moveTo>
                          <a:pt x="430" y="96338"/>
                        </a:moveTo>
                        <a:cubicBezTo>
                          <a:pt x="430" y="96338"/>
                          <a:pt x="430" y="96338"/>
                          <a:pt x="430" y="96338"/>
                        </a:cubicBezTo>
                        <a:cubicBezTo>
                          <a:pt x="430" y="96338"/>
                          <a:pt x="430" y="96338"/>
                          <a:pt x="430" y="96338"/>
                        </a:cubicBezTo>
                        <a:cubicBezTo>
                          <a:pt x="430" y="96338"/>
                          <a:pt x="430" y="96338"/>
                          <a:pt x="430" y="96338"/>
                        </a:cubicBezTo>
                        <a:cubicBezTo>
                          <a:pt x="430" y="96338"/>
                          <a:pt x="430" y="96338"/>
                          <a:pt x="430" y="96338"/>
                        </a:cubicBezTo>
                        <a:close/>
                        <a:moveTo>
                          <a:pt x="430" y="96338"/>
                        </a:moveTo>
                        <a:cubicBezTo>
                          <a:pt x="430" y="96338"/>
                          <a:pt x="430" y="96338"/>
                          <a:pt x="430" y="96338"/>
                        </a:cubicBezTo>
                        <a:cubicBezTo>
                          <a:pt x="430" y="96338"/>
                          <a:pt x="430" y="95492"/>
                          <a:pt x="430" y="95492"/>
                        </a:cubicBezTo>
                        <a:cubicBezTo>
                          <a:pt x="430" y="95492"/>
                          <a:pt x="430" y="95492"/>
                          <a:pt x="430" y="95492"/>
                        </a:cubicBezTo>
                        <a:cubicBezTo>
                          <a:pt x="430" y="95492"/>
                          <a:pt x="860" y="95492"/>
                          <a:pt x="860" y="94647"/>
                        </a:cubicBezTo>
                        <a:cubicBezTo>
                          <a:pt x="860" y="94647"/>
                          <a:pt x="860" y="94647"/>
                          <a:pt x="860" y="94647"/>
                        </a:cubicBezTo>
                        <a:cubicBezTo>
                          <a:pt x="860" y="94647"/>
                          <a:pt x="860" y="94647"/>
                          <a:pt x="860" y="94647"/>
                        </a:cubicBezTo>
                        <a:cubicBezTo>
                          <a:pt x="860" y="94647"/>
                          <a:pt x="860" y="94647"/>
                          <a:pt x="860" y="94647"/>
                        </a:cubicBezTo>
                        <a:cubicBezTo>
                          <a:pt x="430" y="94647"/>
                          <a:pt x="430" y="94647"/>
                          <a:pt x="430" y="94647"/>
                        </a:cubicBezTo>
                        <a:cubicBezTo>
                          <a:pt x="0" y="96338"/>
                          <a:pt x="0" y="96338"/>
                          <a:pt x="0" y="96338"/>
                        </a:cubicBezTo>
                        <a:lnTo>
                          <a:pt x="430" y="96338"/>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6" name="Shape 2041"/>
                  <p:cNvSpPr/>
                  <p:nvPr/>
                </p:nvSpPr>
                <p:spPr>
                  <a:xfrm>
                    <a:off x="3808896" y="2714110"/>
                    <a:ext cx="1185185" cy="1190072"/>
                  </a:xfrm>
                  <a:custGeom>
                    <a:avLst/>
                    <a:gdLst/>
                    <a:ahLst/>
                    <a:cxnLst/>
                    <a:rect l="0" t="0" r="0" b="0"/>
                    <a:pathLst>
                      <a:path w="120000" h="120000" extrusionOk="0">
                        <a:moveTo>
                          <a:pt x="59769" y="105055"/>
                        </a:moveTo>
                        <a:cubicBezTo>
                          <a:pt x="60230" y="104386"/>
                          <a:pt x="60230" y="104386"/>
                          <a:pt x="60230" y="104386"/>
                        </a:cubicBezTo>
                        <a:cubicBezTo>
                          <a:pt x="60230" y="104386"/>
                          <a:pt x="60230" y="103048"/>
                          <a:pt x="59769" y="102825"/>
                        </a:cubicBezTo>
                        <a:cubicBezTo>
                          <a:pt x="59538" y="102602"/>
                          <a:pt x="59307" y="102379"/>
                          <a:pt x="59307" y="102379"/>
                        </a:cubicBezTo>
                        <a:cubicBezTo>
                          <a:pt x="59307" y="102379"/>
                          <a:pt x="59307" y="101486"/>
                          <a:pt x="59307" y="101040"/>
                        </a:cubicBezTo>
                        <a:cubicBezTo>
                          <a:pt x="59307" y="100817"/>
                          <a:pt x="59307" y="99925"/>
                          <a:pt x="59307" y="99702"/>
                        </a:cubicBezTo>
                        <a:cubicBezTo>
                          <a:pt x="59307" y="99479"/>
                          <a:pt x="59538" y="98587"/>
                          <a:pt x="59538" y="98364"/>
                        </a:cubicBezTo>
                        <a:cubicBezTo>
                          <a:pt x="59538" y="98364"/>
                          <a:pt x="59307" y="98364"/>
                          <a:pt x="59769" y="97918"/>
                        </a:cubicBezTo>
                        <a:cubicBezTo>
                          <a:pt x="60230" y="97249"/>
                          <a:pt x="60230" y="96802"/>
                          <a:pt x="60230" y="96802"/>
                        </a:cubicBezTo>
                        <a:cubicBezTo>
                          <a:pt x="61153" y="95687"/>
                          <a:pt x="61153" y="95687"/>
                          <a:pt x="61153" y="95687"/>
                        </a:cubicBezTo>
                        <a:cubicBezTo>
                          <a:pt x="61153" y="95687"/>
                          <a:pt x="61846" y="94572"/>
                          <a:pt x="62076" y="94572"/>
                        </a:cubicBezTo>
                        <a:cubicBezTo>
                          <a:pt x="62307" y="94795"/>
                          <a:pt x="63230" y="94572"/>
                          <a:pt x="63461" y="94572"/>
                        </a:cubicBezTo>
                        <a:cubicBezTo>
                          <a:pt x="63692" y="94572"/>
                          <a:pt x="64615" y="95464"/>
                          <a:pt x="65076" y="94572"/>
                        </a:cubicBezTo>
                        <a:cubicBezTo>
                          <a:pt x="65538" y="93903"/>
                          <a:pt x="65769" y="93457"/>
                          <a:pt x="65769" y="93234"/>
                        </a:cubicBezTo>
                        <a:cubicBezTo>
                          <a:pt x="66000" y="93011"/>
                          <a:pt x="66230" y="92342"/>
                          <a:pt x="66923" y="92342"/>
                        </a:cubicBezTo>
                        <a:cubicBezTo>
                          <a:pt x="67615" y="92118"/>
                          <a:pt x="69230" y="92118"/>
                          <a:pt x="69230" y="92118"/>
                        </a:cubicBezTo>
                        <a:cubicBezTo>
                          <a:pt x="69923" y="92342"/>
                          <a:pt x="69923" y="92342"/>
                          <a:pt x="69923" y="92342"/>
                        </a:cubicBezTo>
                        <a:cubicBezTo>
                          <a:pt x="71769" y="93011"/>
                          <a:pt x="71769" y="93011"/>
                          <a:pt x="71769" y="93011"/>
                        </a:cubicBezTo>
                        <a:cubicBezTo>
                          <a:pt x="71769" y="93011"/>
                          <a:pt x="72461" y="93011"/>
                          <a:pt x="72923" y="93011"/>
                        </a:cubicBezTo>
                        <a:cubicBezTo>
                          <a:pt x="73153" y="93011"/>
                          <a:pt x="73384" y="93011"/>
                          <a:pt x="73384" y="93011"/>
                        </a:cubicBezTo>
                        <a:cubicBezTo>
                          <a:pt x="74076" y="93903"/>
                          <a:pt x="74076" y="93903"/>
                          <a:pt x="74076" y="93903"/>
                        </a:cubicBezTo>
                        <a:cubicBezTo>
                          <a:pt x="74076" y="93903"/>
                          <a:pt x="75000" y="94349"/>
                          <a:pt x="75230" y="94349"/>
                        </a:cubicBezTo>
                        <a:cubicBezTo>
                          <a:pt x="75461" y="94349"/>
                          <a:pt x="77307" y="93903"/>
                          <a:pt x="77307" y="93903"/>
                        </a:cubicBezTo>
                        <a:cubicBezTo>
                          <a:pt x="77307" y="93903"/>
                          <a:pt x="78000" y="93680"/>
                          <a:pt x="78230" y="93903"/>
                        </a:cubicBezTo>
                        <a:cubicBezTo>
                          <a:pt x="78461" y="94126"/>
                          <a:pt x="79153" y="94349"/>
                          <a:pt x="79384" y="94572"/>
                        </a:cubicBezTo>
                        <a:cubicBezTo>
                          <a:pt x="79384" y="94795"/>
                          <a:pt x="81230" y="95687"/>
                          <a:pt x="81692" y="95910"/>
                        </a:cubicBezTo>
                        <a:cubicBezTo>
                          <a:pt x="81923" y="96133"/>
                          <a:pt x="82846" y="95910"/>
                          <a:pt x="82846" y="95910"/>
                        </a:cubicBezTo>
                        <a:cubicBezTo>
                          <a:pt x="83307" y="97026"/>
                          <a:pt x="83307" y="97026"/>
                          <a:pt x="83307" y="97026"/>
                        </a:cubicBezTo>
                        <a:cubicBezTo>
                          <a:pt x="85615" y="97695"/>
                          <a:pt x="85615" y="97695"/>
                          <a:pt x="85615" y="97695"/>
                        </a:cubicBezTo>
                        <a:cubicBezTo>
                          <a:pt x="86538" y="97695"/>
                          <a:pt x="86538" y="97695"/>
                          <a:pt x="86538" y="97695"/>
                        </a:cubicBezTo>
                        <a:cubicBezTo>
                          <a:pt x="89769" y="98810"/>
                          <a:pt x="89769" y="98810"/>
                          <a:pt x="89769" y="98810"/>
                        </a:cubicBezTo>
                        <a:cubicBezTo>
                          <a:pt x="91846" y="97249"/>
                          <a:pt x="91846" y="97249"/>
                          <a:pt x="91846" y="97249"/>
                        </a:cubicBezTo>
                        <a:cubicBezTo>
                          <a:pt x="91846" y="97249"/>
                          <a:pt x="92307" y="97472"/>
                          <a:pt x="92538" y="97472"/>
                        </a:cubicBezTo>
                        <a:cubicBezTo>
                          <a:pt x="92769" y="97472"/>
                          <a:pt x="93230" y="95687"/>
                          <a:pt x="93230" y="95687"/>
                        </a:cubicBezTo>
                        <a:cubicBezTo>
                          <a:pt x="93230" y="95687"/>
                          <a:pt x="93230" y="95241"/>
                          <a:pt x="93461" y="95241"/>
                        </a:cubicBezTo>
                        <a:cubicBezTo>
                          <a:pt x="93923" y="95241"/>
                          <a:pt x="95538" y="94572"/>
                          <a:pt x="95538" y="94572"/>
                        </a:cubicBezTo>
                        <a:cubicBezTo>
                          <a:pt x="95538" y="94349"/>
                          <a:pt x="95307" y="93457"/>
                          <a:pt x="96000" y="93234"/>
                        </a:cubicBezTo>
                        <a:cubicBezTo>
                          <a:pt x="96461" y="93011"/>
                          <a:pt x="97384" y="92342"/>
                          <a:pt x="97384" y="92342"/>
                        </a:cubicBezTo>
                        <a:cubicBezTo>
                          <a:pt x="97615" y="92118"/>
                          <a:pt x="97153" y="91672"/>
                          <a:pt x="97846" y="91449"/>
                        </a:cubicBezTo>
                        <a:cubicBezTo>
                          <a:pt x="98307" y="91449"/>
                          <a:pt x="99000" y="91226"/>
                          <a:pt x="99461" y="91226"/>
                        </a:cubicBezTo>
                        <a:cubicBezTo>
                          <a:pt x="99461" y="91226"/>
                          <a:pt x="99461" y="91226"/>
                          <a:pt x="99461" y="91226"/>
                        </a:cubicBezTo>
                        <a:cubicBezTo>
                          <a:pt x="99461" y="91003"/>
                          <a:pt x="99461" y="91003"/>
                          <a:pt x="99461" y="91003"/>
                        </a:cubicBezTo>
                        <a:cubicBezTo>
                          <a:pt x="99461" y="91003"/>
                          <a:pt x="99461" y="91003"/>
                          <a:pt x="99461"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692" y="91003"/>
                          <a:pt x="99692" y="91003"/>
                          <a:pt x="99692" y="91003"/>
                        </a:cubicBezTo>
                        <a:cubicBezTo>
                          <a:pt x="99923" y="90780"/>
                          <a:pt x="99923" y="90780"/>
                          <a:pt x="99923" y="90780"/>
                        </a:cubicBezTo>
                        <a:cubicBezTo>
                          <a:pt x="99923" y="90780"/>
                          <a:pt x="99923" y="90780"/>
                          <a:pt x="99923" y="90780"/>
                        </a:cubicBezTo>
                        <a:cubicBezTo>
                          <a:pt x="99923" y="90780"/>
                          <a:pt x="99923" y="90780"/>
                          <a:pt x="9992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153" y="90780"/>
                          <a:pt x="100153" y="90780"/>
                          <a:pt x="100153" y="90780"/>
                        </a:cubicBezTo>
                        <a:cubicBezTo>
                          <a:pt x="100384" y="90780"/>
                          <a:pt x="100384" y="90780"/>
                          <a:pt x="100384" y="90780"/>
                        </a:cubicBezTo>
                        <a:cubicBezTo>
                          <a:pt x="100384" y="90780"/>
                          <a:pt x="100384" y="90780"/>
                          <a:pt x="100384" y="90780"/>
                        </a:cubicBezTo>
                        <a:cubicBezTo>
                          <a:pt x="100384" y="90780"/>
                          <a:pt x="100384" y="90780"/>
                          <a:pt x="100384" y="90780"/>
                        </a:cubicBezTo>
                        <a:cubicBezTo>
                          <a:pt x="100384" y="90780"/>
                          <a:pt x="100384" y="90780"/>
                          <a:pt x="100384" y="90780"/>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384" y="90557"/>
                          <a:pt x="100384" y="90557"/>
                          <a:pt x="100384"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615" y="90557"/>
                          <a:pt x="100615" y="90557"/>
                          <a:pt x="100615" y="90557"/>
                        </a:cubicBezTo>
                        <a:cubicBezTo>
                          <a:pt x="100846" y="90334"/>
                          <a:pt x="101076" y="90334"/>
                          <a:pt x="101076" y="90334"/>
                        </a:cubicBezTo>
                        <a:cubicBezTo>
                          <a:pt x="102461" y="89219"/>
                          <a:pt x="102461" y="89219"/>
                          <a:pt x="102461" y="89219"/>
                        </a:cubicBezTo>
                        <a:cubicBezTo>
                          <a:pt x="103153" y="86765"/>
                          <a:pt x="103153" y="86765"/>
                          <a:pt x="103153" y="86765"/>
                        </a:cubicBezTo>
                        <a:cubicBezTo>
                          <a:pt x="102230" y="86096"/>
                          <a:pt x="102230" y="86096"/>
                          <a:pt x="102230" y="86096"/>
                        </a:cubicBezTo>
                        <a:cubicBezTo>
                          <a:pt x="100153" y="86096"/>
                          <a:pt x="100153" y="86096"/>
                          <a:pt x="100153" y="86096"/>
                        </a:cubicBezTo>
                        <a:cubicBezTo>
                          <a:pt x="97846" y="85204"/>
                          <a:pt x="97846" y="85204"/>
                          <a:pt x="97846" y="85204"/>
                        </a:cubicBezTo>
                        <a:cubicBezTo>
                          <a:pt x="96692" y="83420"/>
                          <a:pt x="96692" y="83420"/>
                          <a:pt x="96692" y="83420"/>
                        </a:cubicBezTo>
                        <a:cubicBezTo>
                          <a:pt x="96000" y="83420"/>
                          <a:pt x="96000" y="83420"/>
                          <a:pt x="96000" y="83420"/>
                        </a:cubicBezTo>
                        <a:cubicBezTo>
                          <a:pt x="95769" y="81858"/>
                          <a:pt x="95307" y="82527"/>
                          <a:pt x="96230" y="81412"/>
                        </a:cubicBezTo>
                        <a:cubicBezTo>
                          <a:pt x="97153" y="80074"/>
                          <a:pt x="97153" y="80074"/>
                          <a:pt x="97153" y="80074"/>
                        </a:cubicBezTo>
                        <a:cubicBezTo>
                          <a:pt x="96923" y="77843"/>
                          <a:pt x="96923" y="77843"/>
                          <a:pt x="96923" y="77843"/>
                        </a:cubicBezTo>
                        <a:cubicBezTo>
                          <a:pt x="96230" y="77174"/>
                          <a:pt x="96230" y="77174"/>
                          <a:pt x="96230" y="77174"/>
                        </a:cubicBezTo>
                        <a:cubicBezTo>
                          <a:pt x="95076" y="76505"/>
                          <a:pt x="95076" y="76505"/>
                          <a:pt x="95076" y="76505"/>
                        </a:cubicBezTo>
                        <a:cubicBezTo>
                          <a:pt x="95076" y="76505"/>
                          <a:pt x="94384" y="75613"/>
                          <a:pt x="94153" y="75390"/>
                        </a:cubicBezTo>
                        <a:cubicBezTo>
                          <a:pt x="94153" y="75390"/>
                          <a:pt x="94153" y="74944"/>
                          <a:pt x="94153" y="74944"/>
                        </a:cubicBezTo>
                        <a:cubicBezTo>
                          <a:pt x="93923" y="74721"/>
                          <a:pt x="94846" y="74721"/>
                          <a:pt x="94846" y="74721"/>
                        </a:cubicBezTo>
                        <a:cubicBezTo>
                          <a:pt x="95076" y="74721"/>
                          <a:pt x="95769" y="74498"/>
                          <a:pt x="96000" y="74498"/>
                        </a:cubicBezTo>
                        <a:cubicBezTo>
                          <a:pt x="96230" y="74498"/>
                          <a:pt x="97153" y="73605"/>
                          <a:pt x="97153" y="73605"/>
                        </a:cubicBezTo>
                        <a:cubicBezTo>
                          <a:pt x="97153" y="73605"/>
                          <a:pt x="97615" y="72713"/>
                          <a:pt x="98076" y="72490"/>
                        </a:cubicBezTo>
                        <a:cubicBezTo>
                          <a:pt x="98307" y="72267"/>
                          <a:pt x="98769" y="70483"/>
                          <a:pt x="98769" y="70260"/>
                        </a:cubicBezTo>
                        <a:cubicBezTo>
                          <a:pt x="98769" y="70260"/>
                          <a:pt x="98307" y="69144"/>
                          <a:pt x="98076" y="69144"/>
                        </a:cubicBezTo>
                        <a:cubicBezTo>
                          <a:pt x="96000" y="68252"/>
                          <a:pt x="96461" y="67806"/>
                          <a:pt x="95538" y="67360"/>
                        </a:cubicBezTo>
                        <a:cubicBezTo>
                          <a:pt x="95538" y="66245"/>
                          <a:pt x="95538" y="66245"/>
                          <a:pt x="95538" y="66245"/>
                        </a:cubicBezTo>
                        <a:cubicBezTo>
                          <a:pt x="96692" y="65353"/>
                          <a:pt x="96692" y="65353"/>
                          <a:pt x="96692" y="65353"/>
                        </a:cubicBezTo>
                        <a:cubicBezTo>
                          <a:pt x="96923" y="65130"/>
                          <a:pt x="97384" y="64907"/>
                          <a:pt x="97615" y="64907"/>
                        </a:cubicBezTo>
                        <a:cubicBezTo>
                          <a:pt x="97846" y="64460"/>
                          <a:pt x="97846" y="64460"/>
                          <a:pt x="97846" y="64460"/>
                        </a:cubicBezTo>
                        <a:cubicBezTo>
                          <a:pt x="97846" y="64460"/>
                          <a:pt x="97384" y="64014"/>
                          <a:pt x="97384" y="64014"/>
                        </a:cubicBezTo>
                        <a:cubicBezTo>
                          <a:pt x="97384" y="64014"/>
                          <a:pt x="97153" y="63791"/>
                          <a:pt x="96923" y="63791"/>
                        </a:cubicBezTo>
                        <a:cubicBezTo>
                          <a:pt x="96923" y="63791"/>
                          <a:pt x="96692" y="63568"/>
                          <a:pt x="96692" y="63568"/>
                        </a:cubicBezTo>
                        <a:cubicBezTo>
                          <a:pt x="96692" y="63568"/>
                          <a:pt x="96461" y="63345"/>
                          <a:pt x="96230" y="63345"/>
                        </a:cubicBezTo>
                        <a:cubicBezTo>
                          <a:pt x="96000" y="63345"/>
                          <a:pt x="96230" y="62899"/>
                          <a:pt x="96461" y="62899"/>
                        </a:cubicBezTo>
                        <a:cubicBezTo>
                          <a:pt x="96461" y="62676"/>
                          <a:pt x="96461" y="62230"/>
                          <a:pt x="96461" y="62230"/>
                        </a:cubicBezTo>
                        <a:cubicBezTo>
                          <a:pt x="96461" y="62230"/>
                          <a:pt x="95769" y="62230"/>
                          <a:pt x="95538" y="62230"/>
                        </a:cubicBezTo>
                        <a:cubicBezTo>
                          <a:pt x="95538" y="62007"/>
                          <a:pt x="95538" y="62007"/>
                          <a:pt x="95538" y="62007"/>
                        </a:cubicBezTo>
                        <a:cubicBezTo>
                          <a:pt x="95538" y="62007"/>
                          <a:pt x="95769" y="61338"/>
                          <a:pt x="96000" y="61338"/>
                        </a:cubicBezTo>
                        <a:cubicBezTo>
                          <a:pt x="96000" y="61115"/>
                          <a:pt x="96000" y="60892"/>
                          <a:pt x="96000" y="60892"/>
                        </a:cubicBezTo>
                        <a:cubicBezTo>
                          <a:pt x="96000" y="60892"/>
                          <a:pt x="96000" y="60669"/>
                          <a:pt x="96000" y="60223"/>
                        </a:cubicBezTo>
                        <a:cubicBezTo>
                          <a:pt x="96230" y="60000"/>
                          <a:pt x="96000" y="60000"/>
                          <a:pt x="96000" y="60000"/>
                        </a:cubicBezTo>
                        <a:cubicBezTo>
                          <a:pt x="96000" y="60000"/>
                          <a:pt x="95769" y="59776"/>
                          <a:pt x="95538" y="59776"/>
                        </a:cubicBezTo>
                        <a:cubicBezTo>
                          <a:pt x="95538" y="59776"/>
                          <a:pt x="95538" y="59776"/>
                          <a:pt x="95769" y="59553"/>
                        </a:cubicBezTo>
                        <a:cubicBezTo>
                          <a:pt x="96000" y="59107"/>
                          <a:pt x="96000" y="59330"/>
                          <a:pt x="96000" y="59330"/>
                        </a:cubicBezTo>
                        <a:cubicBezTo>
                          <a:pt x="96000" y="58884"/>
                          <a:pt x="96000" y="58884"/>
                          <a:pt x="96000" y="58884"/>
                        </a:cubicBezTo>
                        <a:cubicBezTo>
                          <a:pt x="95538" y="58661"/>
                          <a:pt x="95538" y="58661"/>
                          <a:pt x="95538" y="58661"/>
                        </a:cubicBezTo>
                        <a:cubicBezTo>
                          <a:pt x="94846" y="58215"/>
                          <a:pt x="94846" y="58215"/>
                          <a:pt x="94846" y="58215"/>
                        </a:cubicBezTo>
                        <a:cubicBezTo>
                          <a:pt x="94846" y="58215"/>
                          <a:pt x="93923" y="58215"/>
                          <a:pt x="93923" y="58215"/>
                        </a:cubicBezTo>
                        <a:cubicBezTo>
                          <a:pt x="93923" y="58215"/>
                          <a:pt x="93230" y="58215"/>
                          <a:pt x="93230" y="58215"/>
                        </a:cubicBezTo>
                        <a:cubicBezTo>
                          <a:pt x="92769" y="58438"/>
                          <a:pt x="92769" y="58438"/>
                          <a:pt x="92769" y="58438"/>
                        </a:cubicBezTo>
                        <a:cubicBezTo>
                          <a:pt x="92538" y="58661"/>
                          <a:pt x="92538" y="58661"/>
                          <a:pt x="92538" y="58661"/>
                        </a:cubicBezTo>
                        <a:cubicBezTo>
                          <a:pt x="91846" y="58884"/>
                          <a:pt x="91846" y="58884"/>
                          <a:pt x="91846" y="58884"/>
                        </a:cubicBezTo>
                        <a:cubicBezTo>
                          <a:pt x="91153" y="59107"/>
                          <a:pt x="91153" y="59107"/>
                          <a:pt x="91153" y="59107"/>
                        </a:cubicBezTo>
                        <a:cubicBezTo>
                          <a:pt x="91153" y="59107"/>
                          <a:pt x="90923" y="59553"/>
                          <a:pt x="90692" y="59776"/>
                        </a:cubicBezTo>
                        <a:cubicBezTo>
                          <a:pt x="90692" y="59776"/>
                          <a:pt x="90692" y="60000"/>
                          <a:pt x="90692" y="60000"/>
                        </a:cubicBezTo>
                        <a:cubicBezTo>
                          <a:pt x="91153" y="60223"/>
                          <a:pt x="91153" y="60223"/>
                          <a:pt x="91153" y="60223"/>
                        </a:cubicBezTo>
                        <a:cubicBezTo>
                          <a:pt x="91153" y="60669"/>
                          <a:pt x="91153" y="60669"/>
                          <a:pt x="91153" y="60669"/>
                        </a:cubicBezTo>
                        <a:cubicBezTo>
                          <a:pt x="91384" y="60669"/>
                          <a:pt x="91384" y="60669"/>
                          <a:pt x="91384" y="60669"/>
                        </a:cubicBezTo>
                        <a:cubicBezTo>
                          <a:pt x="91153" y="61115"/>
                          <a:pt x="91153" y="61115"/>
                          <a:pt x="91153" y="61115"/>
                        </a:cubicBezTo>
                        <a:cubicBezTo>
                          <a:pt x="91153" y="61115"/>
                          <a:pt x="90923" y="61115"/>
                          <a:pt x="90692" y="61338"/>
                        </a:cubicBezTo>
                        <a:cubicBezTo>
                          <a:pt x="90461" y="61561"/>
                          <a:pt x="90461" y="61784"/>
                          <a:pt x="90461" y="61784"/>
                        </a:cubicBezTo>
                        <a:cubicBezTo>
                          <a:pt x="89769" y="62007"/>
                          <a:pt x="89769" y="62007"/>
                          <a:pt x="89769" y="62007"/>
                        </a:cubicBezTo>
                        <a:cubicBezTo>
                          <a:pt x="89307" y="61784"/>
                          <a:pt x="89307" y="61784"/>
                          <a:pt x="89307" y="61784"/>
                        </a:cubicBezTo>
                        <a:cubicBezTo>
                          <a:pt x="88846" y="62007"/>
                          <a:pt x="88846" y="62007"/>
                          <a:pt x="88846" y="62007"/>
                        </a:cubicBezTo>
                        <a:cubicBezTo>
                          <a:pt x="88615" y="62007"/>
                          <a:pt x="88615" y="62007"/>
                          <a:pt x="88615" y="62007"/>
                        </a:cubicBezTo>
                        <a:cubicBezTo>
                          <a:pt x="88615" y="61561"/>
                          <a:pt x="88615" y="61561"/>
                          <a:pt x="88615" y="61561"/>
                        </a:cubicBezTo>
                        <a:cubicBezTo>
                          <a:pt x="88384" y="61338"/>
                          <a:pt x="88384" y="61338"/>
                          <a:pt x="88384" y="61338"/>
                        </a:cubicBezTo>
                        <a:cubicBezTo>
                          <a:pt x="88615" y="61115"/>
                          <a:pt x="88615" y="61115"/>
                          <a:pt x="88615" y="61115"/>
                        </a:cubicBezTo>
                        <a:cubicBezTo>
                          <a:pt x="88615" y="61115"/>
                          <a:pt x="88846" y="60892"/>
                          <a:pt x="88846" y="60892"/>
                        </a:cubicBezTo>
                        <a:cubicBezTo>
                          <a:pt x="89076" y="60892"/>
                          <a:pt x="89307" y="60669"/>
                          <a:pt x="89307" y="60669"/>
                        </a:cubicBezTo>
                        <a:cubicBezTo>
                          <a:pt x="89769" y="60669"/>
                          <a:pt x="89769" y="60669"/>
                          <a:pt x="89769" y="60669"/>
                        </a:cubicBezTo>
                        <a:cubicBezTo>
                          <a:pt x="89769" y="60223"/>
                          <a:pt x="89769" y="60223"/>
                          <a:pt x="89769" y="60223"/>
                        </a:cubicBezTo>
                        <a:cubicBezTo>
                          <a:pt x="90000" y="59776"/>
                          <a:pt x="90000" y="59776"/>
                          <a:pt x="90000" y="59776"/>
                        </a:cubicBezTo>
                        <a:cubicBezTo>
                          <a:pt x="90000" y="59107"/>
                          <a:pt x="90000" y="59107"/>
                          <a:pt x="90000" y="59107"/>
                        </a:cubicBezTo>
                        <a:cubicBezTo>
                          <a:pt x="89769" y="58884"/>
                          <a:pt x="89769" y="58884"/>
                          <a:pt x="89769" y="58884"/>
                        </a:cubicBezTo>
                        <a:cubicBezTo>
                          <a:pt x="89538" y="58661"/>
                          <a:pt x="89538" y="58661"/>
                          <a:pt x="89538" y="58661"/>
                        </a:cubicBezTo>
                        <a:cubicBezTo>
                          <a:pt x="89538" y="58438"/>
                          <a:pt x="89538" y="58438"/>
                          <a:pt x="89538" y="58438"/>
                        </a:cubicBezTo>
                        <a:cubicBezTo>
                          <a:pt x="89538" y="57992"/>
                          <a:pt x="89538" y="57992"/>
                          <a:pt x="89538" y="57992"/>
                        </a:cubicBezTo>
                        <a:cubicBezTo>
                          <a:pt x="89769" y="57769"/>
                          <a:pt x="89769" y="57769"/>
                          <a:pt x="89769" y="57769"/>
                        </a:cubicBezTo>
                        <a:cubicBezTo>
                          <a:pt x="89769" y="57769"/>
                          <a:pt x="90000" y="57546"/>
                          <a:pt x="90000" y="57323"/>
                        </a:cubicBezTo>
                        <a:cubicBezTo>
                          <a:pt x="90000" y="57323"/>
                          <a:pt x="90000" y="56877"/>
                          <a:pt x="90000" y="56877"/>
                        </a:cubicBezTo>
                        <a:cubicBezTo>
                          <a:pt x="90000" y="56877"/>
                          <a:pt x="90000" y="56654"/>
                          <a:pt x="90000" y="56654"/>
                        </a:cubicBezTo>
                        <a:cubicBezTo>
                          <a:pt x="90923" y="55762"/>
                          <a:pt x="90923" y="55762"/>
                          <a:pt x="90923" y="55762"/>
                        </a:cubicBezTo>
                        <a:cubicBezTo>
                          <a:pt x="91384" y="55315"/>
                          <a:pt x="91384" y="55315"/>
                          <a:pt x="91384" y="55315"/>
                        </a:cubicBezTo>
                        <a:cubicBezTo>
                          <a:pt x="91384" y="55315"/>
                          <a:pt x="91846" y="55315"/>
                          <a:pt x="91846" y="55092"/>
                        </a:cubicBezTo>
                        <a:cubicBezTo>
                          <a:pt x="91846" y="55092"/>
                          <a:pt x="92307" y="55092"/>
                          <a:pt x="92307" y="55092"/>
                        </a:cubicBezTo>
                        <a:cubicBezTo>
                          <a:pt x="92307" y="55092"/>
                          <a:pt x="92538" y="54869"/>
                          <a:pt x="92538" y="54869"/>
                        </a:cubicBezTo>
                        <a:cubicBezTo>
                          <a:pt x="92769" y="54646"/>
                          <a:pt x="92769" y="54423"/>
                          <a:pt x="92769" y="54423"/>
                        </a:cubicBezTo>
                        <a:cubicBezTo>
                          <a:pt x="92769" y="54423"/>
                          <a:pt x="92769" y="54200"/>
                          <a:pt x="92769" y="54200"/>
                        </a:cubicBezTo>
                        <a:cubicBezTo>
                          <a:pt x="92769" y="54200"/>
                          <a:pt x="92769" y="53977"/>
                          <a:pt x="92769" y="53977"/>
                        </a:cubicBezTo>
                        <a:cubicBezTo>
                          <a:pt x="92769" y="53977"/>
                          <a:pt x="92769" y="53754"/>
                          <a:pt x="92769" y="53754"/>
                        </a:cubicBezTo>
                        <a:cubicBezTo>
                          <a:pt x="92769" y="53531"/>
                          <a:pt x="93000" y="53531"/>
                          <a:pt x="93000" y="53531"/>
                        </a:cubicBezTo>
                        <a:cubicBezTo>
                          <a:pt x="93000" y="53085"/>
                          <a:pt x="93000" y="53085"/>
                          <a:pt x="93000" y="53085"/>
                        </a:cubicBezTo>
                        <a:cubicBezTo>
                          <a:pt x="93000" y="53085"/>
                          <a:pt x="92769" y="52862"/>
                          <a:pt x="92769" y="52639"/>
                        </a:cubicBezTo>
                        <a:cubicBezTo>
                          <a:pt x="92769" y="52639"/>
                          <a:pt x="92769" y="52639"/>
                          <a:pt x="92769" y="52416"/>
                        </a:cubicBezTo>
                        <a:cubicBezTo>
                          <a:pt x="93000" y="52193"/>
                          <a:pt x="93230" y="52193"/>
                          <a:pt x="93230" y="52193"/>
                        </a:cubicBezTo>
                        <a:cubicBezTo>
                          <a:pt x="93692" y="52193"/>
                          <a:pt x="93692" y="52193"/>
                          <a:pt x="93692" y="52193"/>
                        </a:cubicBezTo>
                        <a:cubicBezTo>
                          <a:pt x="93692" y="52193"/>
                          <a:pt x="93923" y="51970"/>
                          <a:pt x="94153" y="51970"/>
                        </a:cubicBezTo>
                        <a:cubicBezTo>
                          <a:pt x="94153" y="51970"/>
                          <a:pt x="94384" y="51747"/>
                          <a:pt x="94384" y="51747"/>
                        </a:cubicBezTo>
                        <a:cubicBezTo>
                          <a:pt x="94615" y="51301"/>
                          <a:pt x="94615" y="51301"/>
                          <a:pt x="94615" y="51301"/>
                        </a:cubicBezTo>
                        <a:cubicBezTo>
                          <a:pt x="94846" y="51301"/>
                          <a:pt x="94846" y="51301"/>
                          <a:pt x="94846" y="51301"/>
                        </a:cubicBezTo>
                        <a:cubicBezTo>
                          <a:pt x="95076" y="51078"/>
                          <a:pt x="95076" y="51078"/>
                          <a:pt x="95076" y="51078"/>
                        </a:cubicBezTo>
                        <a:cubicBezTo>
                          <a:pt x="95076" y="50631"/>
                          <a:pt x="95076" y="50631"/>
                          <a:pt x="95076" y="50631"/>
                        </a:cubicBezTo>
                        <a:cubicBezTo>
                          <a:pt x="95538" y="50408"/>
                          <a:pt x="95538" y="50408"/>
                          <a:pt x="95538" y="50408"/>
                        </a:cubicBezTo>
                        <a:cubicBezTo>
                          <a:pt x="95538" y="50185"/>
                          <a:pt x="95538" y="50185"/>
                          <a:pt x="95538" y="50185"/>
                        </a:cubicBezTo>
                        <a:cubicBezTo>
                          <a:pt x="95769" y="49962"/>
                          <a:pt x="95769" y="49962"/>
                          <a:pt x="95769" y="49962"/>
                        </a:cubicBezTo>
                        <a:cubicBezTo>
                          <a:pt x="96000" y="49962"/>
                          <a:pt x="96000" y="49962"/>
                          <a:pt x="96000" y="49962"/>
                        </a:cubicBezTo>
                        <a:cubicBezTo>
                          <a:pt x="96461" y="49516"/>
                          <a:pt x="96461" y="49516"/>
                          <a:pt x="96461" y="49516"/>
                        </a:cubicBezTo>
                        <a:cubicBezTo>
                          <a:pt x="96923" y="49293"/>
                          <a:pt x="96923" y="49293"/>
                          <a:pt x="96923" y="49293"/>
                        </a:cubicBezTo>
                        <a:cubicBezTo>
                          <a:pt x="96923" y="49293"/>
                          <a:pt x="97153" y="48847"/>
                          <a:pt x="97153" y="48624"/>
                        </a:cubicBezTo>
                        <a:cubicBezTo>
                          <a:pt x="97153" y="48401"/>
                          <a:pt x="97153" y="48401"/>
                          <a:pt x="97384" y="48178"/>
                        </a:cubicBezTo>
                        <a:cubicBezTo>
                          <a:pt x="97384" y="48178"/>
                          <a:pt x="97615" y="48178"/>
                          <a:pt x="97846" y="47955"/>
                        </a:cubicBezTo>
                        <a:cubicBezTo>
                          <a:pt x="97846" y="47955"/>
                          <a:pt x="97846" y="47732"/>
                          <a:pt x="97846" y="47732"/>
                        </a:cubicBezTo>
                        <a:cubicBezTo>
                          <a:pt x="98076" y="47732"/>
                          <a:pt x="98076" y="47732"/>
                          <a:pt x="98076" y="47732"/>
                        </a:cubicBezTo>
                        <a:cubicBezTo>
                          <a:pt x="98076" y="47286"/>
                          <a:pt x="98076" y="47286"/>
                          <a:pt x="98076" y="47286"/>
                        </a:cubicBezTo>
                        <a:cubicBezTo>
                          <a:pt x="98076" y="47063"/>
                          <a:pt x="98076" y="47063"/>
                          <a:pt x="98076" y="47063"/>
                        </a:cubicBezTo>
                        <a:cubicBezTo>
                          <a:pt x="98076" y="47063"/>
                          <a:pt x="97615" y="47286"/>
                          <a:pt x="97615" y="47286"/>
                        </a:cubicBezTo>
                        <a:cubicBezTo>
                          <a:pt x="97615" y="47286"/>
                          <a:pt x="97384" y="47286"/>
                          <a:pt x="97153" y="47286"/>
                        </a:cubicBezTo>
                        <a:cubicBezTo>
                          <a:pt x="97153" y="47286"/>
                          <a:pt x="96923" y="47286"/>
                          <a:pt x="96692" y="47286"/>
                        </a:cubicBezTo>
                        <a:cubicBezTo>
                          <a:pt x="96461" y="47063"/>
                          <a:pt x="96692" y="47063"/>
                          <a:pt x="96692" y="47063"/>
                        </a:cubicBezTo>
                        <a:cubicBezTo>
                          <a:pt x="96692" y="47063"/>
                          <a:pt x="96923" y="47063"/>
                          <a:pt x="96923" y="46840"/>
                        </a:cubicBezTo>
                        <a:cubicBezTo>
                          <a:pt x="96923" y="46840"/>
                          <a:pt x="97153" y="46394"/>
                          <a:pt x="97153" y="46394"/>
                        </a:cubicBezTo>
                        <a:cubicBezTo>
                          <a:pt x="97384" y="46394"/>
                          <a:pt x="97384" y="46394"/>
                          <a:pt x="97384" y="46394"/>
                        </a:cubicBezTo>
                        <a:cubicBezTo>
                          <a:pt x="97615" y="46171"/>
                          <a:pt x="97615" y="46171"/>
                          <a:pt x="97615" y="46171"/>
                        </a:cubicBezTo>
                        <a:cubicBezTo>
                          <a:pt x="97615" y="46171"/>
                          <a:pt x="97846" y="46171"/>
                          <a:pt x="97846" y="46171"/>
                        </a:cubicBezTo>
                        <a:cubicBezTo>
                          <a:pt x="97846" y="46171"/>
                          <a:pt x="97615" y="45947"/>
                          <a:pt x="97615" y="45947"/>
                        </a:cubicBezTo>
                        <a:cubicBezTo>
                          <a:pt x="97615" y="45501"/>
                          <a:pt x="97615" y="45501"/>
                          <a:pt x="97615" y="45501"/>
                        </a:cubicBezTo>
                        <a:cubicBezTo>
                          <a:pt x="98076" y="45724"/>
                          <a:pt x="98076" y="45724"/>
                          <a:pt x="98076" y="45724"/>
                        </a:cubicBezTo>
                        <a:cubicBezTo>
                          <a:pt x="98769" y="45724"/>
                          <a:pt x="98769" y="45724"/>
                          <a:pt x="98769" y="45724"/>
                        </a:cubicBezTo>
                        <a:cubicBezTo>
                          <a:pt x="99000" y="45501"/>
                          <a:pt x="99000" y="45501"/>
                          <a:pt x="99000" y="45501"/>
                        </a:cubicBezTo>
                        <a:cubicBezTo>
                          <a:pt x="99000" y="45501"/>
                          <a:pt x="99230" y="45947"/>
                          <a:pt x="99230" y="45947"/>
                        </a:cubicBezTo>
                        <a:cubicBezTo>
                          <a:pt x="99230" y="46171"/>
                          <a:pt x="99230" y="46394"/>
                          <a:pt x="99461" y="46394"/>
                        </a:cubicBezTo>
                        <a:cubicBezTo>
                          <a:pt x="99461" y="46394"/>
                          <a:pt x="99923" y="46617"/>
                          <a:pt x="99923" y="46617"/>
                        </a:cubicBezTo>
                        <a:cubicBezTo>
                          <a:pt x="99923" y="46617"/>
                          <a:pt x="99923" y="46394"/>
                          <a:pt x="100153" y="46394"/>
                        </a:cubicBezTo>
                        <a:cubicBezTo>
                          <a:pt x="100153" y="46394"/>
                          <a:pt x="100384" y="46394"/>
                          <a:pt x="100384" y="46394"/>
                        </a:cubicBezTo>
                        <a:cubicBezTo>
                          <a:pt x="100615" y="46394"/>
                          <a:pt x="100846" y="46394"/>
                          <a:pt x="100846" y="46394"/>
                        </a:cubicBezTo>
                        <a:cubicBezTo>
                          <a:pt x="100846" y="46394"/>
                          <a:pt x="101076" y="46394"/>
                          <a:pt x="101307" y="46394"/>
                        </a:cubicBezTo>
                        <a:cubicBezTo>
                          <a:pt x="101307" y="46171"/>
                          <a:pt x="101307" y="46171"/>
                          <a:pt x="101307" y="46171"/>
                        </a:cubicBezTo>
                        <a:cubicBezTo>
                          <a:pt x="101307" y="46171"/>
                          <a:pt x="101307" y="45947"/>
                          <a:pt x="101307" y="45947"/>
                        </a:cubicBezTo>
                        <a:cubicBezTo>
                          <a:pt x="101307" y="45947"/>
                          <a:pt x="101538" y="45501"/>
                          <a:pt x="101538" y="45501"/>
                        </a:cubicBezTo>
                        <a:cubicBezTo>
                          <a:pt x="101538" y="45501"/>
                          <a:pt x="101769" y="45501"/>
                          <a:pt x="101769" y="45501"/>
                        </a:cubicBezTo>
                        <a:cubicBezTo>
                          <a:pt x="101769" y="45501"/>
                          <a:pt x="102000" y="45501"/>
                          <a:pt x="102000" y="45501"/>
                        </a:cubicBezTo>
                        <a:cubicBezTo>
                          <a:pt x="102000" y="45501"/>
                          <a:pt x="102000" y="45278"/>
                          <a:pt x="102000" y="45278"/>
                        </a:cubicBezTo>
                        <a:cubicBezTo>
                          <a:pt x="102000" y="45278"/>
                          <a:pt x="102000" y="45055"/>
                          <a:pt x="102000" y="45055"/>
                        </a:cubicBezTo>
                        <a:cubicBezTo>
                          <a:pt x="102000" y="45055"/>
                          <a:pt x="102230" y="45055"/>
                          <a:pt x="102230" y="45055"/>
                        </a:cubicBezTo>
                        <a:cubicBezTo>
                          <a:pt x="102230" y="44609"/>
                          <a:pt x="102230" y="44609"/>
                          <a:pt x="102230" y="44609"/>
                        </a:cubicBezTo>
                        <a:cubicBezTo>
                          <a:pt x="102230" y="44609"/>
                          <a:pt x="102692" y="44609"/>
                          <a:pt x="102692" y="44609"/>
                        </a:cubicBezTo>
                        <a:cubicBezTo>
                          <a:pt x="102923" y="44609"/>
                          <a:pt x="102692" y="44609"/>
                          <a:pt x="102692" y="44609"/>
                        </a:cubicBezTo>
                        <a:cubicBezTo>
                          <a:pt x="103384" y="44386"/>
                          <a:pt x="103384" y="44386"/>
                          <a:pt x="103384" y="44386"/>
                        </a:cubicBezTo>
                        <a:cubicBezTo>
                          <a:pt x="103384" y="44386"/>
                          <a:pt x="103384" y="44386"/>
                          <a:pt x="103384" y="44609"/>
                        </a:cubicBezTo>
                        <a:cubicBezTo>
                          <a:pt x="102923" y="43940"/>
                          <a:pt x="102230" y="43048"/>
                          <a:pt x="102230" y="43048"/>
                        </a:cubicBezTo>
                        <a:cubicBezTo>
                          <a:pt x="102692" y="42156"/>
                          <a:pt x="102692" y="42156"/>
                          <a:pt x="102692" y="42156"/>
                        </a:cubicBezTo>
                        <a:cubicBezTo>
                          <a:pt x="102692" y="42156"/>
                          <a:pt x="102923" y="40594"/>
                          <a:pt x="102923" y="40148"/>
                        </a:cubicBezTo>
                        <a:cubicBezTo>
                          <a:pt x="102923" y="39925"/>
                          <a:pt x="102923" y="38587"/>
                          <a:pt x="102923" y="38587"/>
                        </a:cubicBezTo>
                        <a:cubicBezTo>
                          <a:pt x="102923" y="38587"/>
                          <a:pt x="102000" y="38364"/>
                          <a:pt x="102692" y="37695"/>
                        </a:cubicBezTo>
                        <a:cubicBezTo>
                          <a:pt x="103384" y="36802"/>
                          <a:pt x="104076" y="35687"/>
                          <a:pt x="104076" y="35687"/>
                        </a:cubicBezTo>
                        <a:cubicBezTo>
                          <a:pt x="104076" y="33457"/>
                          <a:pt x="104076" y="33457"/>
                          <a:pt x="104076" y="33457"/>
                        </a:cubicBezTo>
                        <a:cubicBezTo>
                          <a:pt x="104076" y="33457"/>
                          <a:pt x="103384" y="32788"/>
                          <a:pt x="104307" y="32342"/>
                        </a:cubicBezTo>
                        <a:cubicBezTo>
                          <a:pt x="105230" y="31672"/>
                          <a:pt x="106846" y="29665"/>
                          <a:pt x="106846" y="29665"/>
                        </a:cubicBezTo>
                        <a:cubicBezTo>
                          <a:pt x="108461" y="27881"/>
                          <a:pt x="108461" y="27881"/>
                          <a:pt x="108461" y="27881"/>
                        </a:cubicBezTo>
                        <a:cubicBezTo>
                          <a:pt x="105692" y="27211"/>
                          <a:pt x="105692" y="27211"/>
                          <a:pt x="105692" y="27211"/>
                        </a:cubicBezTo>
                        <a:cubicBezTo>
                          <a:pt x="104076" y="26988"/>
                          <a:pt x="104076" y="26988"/>
                          <a:pt x="104076" y="26988"/>
                        </a:cubicBezTo>
                        <a:cubicBezTo>
                          <a:pt x="102923" y="26319"/>
                          <a:pt x="102923" y="26319"/>
                          <a:pt x="102923" y="26319"/>
                        </a:cubicBezTo>
                        <a:cubicBezTo>
                          <a:pt x="102230" y="25204"/>
                          <a:pt x="102230" y="25204"/>
                          <a:pt x="102230" y="25204"/>
                        </a:cubicBezTo>
                        <a:cubicBezTo>
                          <a:pt x="101538" y="25650"/>
                          <a:pt x="101538" y="25650"/>
                          <a:pt x="101538" y="25650"/>
                        </a:cubicBezTo>
                        <a:cubicBezTo>
                          <a:pt x="100846" y="26096"/>
                          <a:pt x="100846" y="26096"/>
                          <a:pt x="100846" y="26096"/>
                        </a:cubicBezTo>
                        <a:cubicBezTo>
                          <a:pt x="99230" y="25873"/>
                          <a:pt x="99230" y="25873"/>
                          <a:pt x="99230" y="25873"/>
                        </a:cubicBezTo>
                        <a:cubicBezTo>
                          <a:pt x="98076" y="24758"/>
                          <a:pt x="98076" y="24758"/>
                          <a:pt x="98076" y="24758"/>
                        </a:cubicBezTo>
                        <a:cubicBezTo>
                          <a:pt x="97153" y="25427"/>
                          <a:pt x="97153" y="25427"/>
                          <a:pt x="97153" y="25427"/>
                        </a:cubicBezTo>
                        <a:cubicBezTo>
                          <a:pt x="96230" y="24758"/>
                          <a:pt x="96230" y="24758"/>
                          <a:pt x="96230" y="24758"/>
                        </a:cubicBezTo>
                        <a:cubicBezTo>
                          <a:pt x="95538" y="23643"/>
                          <a:pt x="95538" y="23643"/>
                          <a:pt x="95538" y="23643"/>
                        </a:cubicBezTo>
                        <a:cubicBezTo>
                          <a:pt x="95307" y="22750"/>
                          <a:pt x="95307" y="22750"/>
                          <a:pt x="95307" y="22750"/>
                        </a:cubicBezTo>
                        <a:cubicBezTo>
                          <a:pt x="94153" y="21635"/>
                          <a:pt x="94153" y="21635"/>
                          <a:pt x="94153" y="21635"/>
                        </a:cubicBezTo>
                        <a:cubicBezTo>
                          <a:pt x="93692" y="21635"/>
                          <a:pt x="93692" y="21635"/>
                          <a:pt x="93692" y="21635"/>
                        </a:cubicBezTo>
                        <a:cubicBezTo>
                          <a:pt x="93692" y="21858"/>
                          <a:pt x="93461" y="21858"/>
                          <a:pt x="93461" y="21858"/>
                        </a:cubicBezTo>
                        <a:cubicBezTo>
                          <a:pt x="93461" y="21858"/>
                          <a:pt x="92769" y="21635"/>
                          <a:pt x="92769" y="21635"/>
                        </a:cubicBezTo>
                        <a:cubicBezTo>
                          <a:pt x="92769" y="21189"/>
                          <a:pt x="92769" y="21189"/>
                          <a:pt x="92769" y="21189"/>
                        </a:cubicBezTo>
                        <a:cubicBezTo>
                          <a:pt x="92538" y="20966"/>
                          <a:pt x="92538" y="20966"/>
                          <a:pt x="92538" y="20966"/>
                        </a:cubicBezTo>
                        <a:cubicBezTo>
                          <a:pt x="92076" y="20966"/>
                          <a:pt x="92076" y="20966"/>
                          <a:pt x="92076" y="20966"/>
                        </a:cubicBezTo>
                        <a:cubicBezTo>
                          <a:pt x="91615" y="21189"/>
                          <a:pt x="91615" y="21189"/>
                          <a:pt x="91615" y="21189"/>
                        </a:cubicBezTo>
                        <a:cubicBezTo>
                          <a:pt x="91384" y="21412"/>
                          <a:pt x="91384" y="21412"/>
                          <a:pt x="91384" y="21412"/>
                        </a:cubicBezTo>
                        <a:cubicBezTo>
                          <a:pt x="91384" y="21412"/>
                          <a:pt x="91384" y="21412"/>
                          <a:pt x="91384" y="21412"/>
                        </a:cubicBezTo>
                        <a:cubicBezTo>
                          <a:pt x="91153" y="21635"/>
                          <a:pt x="91153" y="21635"/>
                          <a:pt x="91153" y="21635"/>
                        </a:cubicBezTo>
                        <a:cubicBezTo>
                          <a:pt x="90923" y="21635"/>
                          <a:pt x="90923" y="21635"/>
                          <a:pt x="90923" y="21635"/>
                        </a:cubicBezTo>
                        <a:cubicBezTo>
                          <a:pt x="90923" y="21635"/>
                          <a:pt x="90923" y="21635"/>
                          <a:pt x="90923" y="21635"/>
                        </a:cubicBezTo>
                        <a:cubicBezTo>
                          <a:pt x="90923" y="21635"/>
                          <a:pt x="90692" y="21635"/>
                          <a:pt x="90692" y="21635"/>
                        </a:cubicBezTo>
                        <a:cubicBezTo>
                          <a:pt x="90230" y="21635"/>
                          <a:pt x="90230" y="21635"/>
                          <a:pt x="90230" y="21635"/>
                        </a:cubicBezTo>
                        <a:cubicBezTo>
                          <a:pt x="90230" y="21412"/>
                          <a:pt x="90230" y="21412"/>
                          <a:pt x="90230" y="21412"/>
                        </a:cubicBezTo>
                        <a:cubicBezTo>
                          <a:pt x="90230" y="21189"/>
                          <a:pt x="90230" y="21189"/>
                          <a:pt x="90230" y="21189"/>
                        </a:cubicBezTo>
                        <a:cubicBezTo>
                          <a:pt x="89769" y="20966"/>
                          <a:pt x="89769" y="20966"/>
                          <a:pt x="89769" y="20966"/>
                        </a:cubicBezTo>
                        <a:cubicBezTo>
                          <a:pt x="89538" y="20966"/>
                          <a:pt x="89538" y="20966"/>
                          <a:pt x="89538" y="20966"/>
                        </a:cubicBezTo>
                        <a:cubicBezTo>
                          <a:pt x="89538" y="20966"/>
                          <a:pt x="89307" y="20743"/>
                          <a:pt x="89307" y="20743"/>
                        </a:cubicBezTo>
                        <a:cubicBezTo>
                          <a:pt x="89076" y="20743"/>
                          <a:pt x="89076" y="20520"/>
                          <a:pt x="89076" y="20520"/>
                        </a:cubicBezTo>
                        <a:cubicBezTo>
                          <a:pt x="88846" y="20297"/>
                          <a:pt x="88846" y="20297"/>
                          <a:pt x="88846" y="20297"/>
                        </a:cubicBezTo>
                        <a:cubicBezTo>
                          <a:pt x="89307" y="20297"/>
                          <a:pt x="89307" y="20297"/>
                          <a:pt x="89307" y="20297"/>
                        </a:cubicBezTo>
                        <a:cubicBezTo>
                          <a:pt x="89307" y="20297"/>
                          <a:pt x="89307" y="20074"/>
                          <a:pt x="89307" y="20074"/>
                        </a:cubicBezTo>
                        <a:cubicBezTo>
                          <a:pt x="89307" y="20074"/>
                          <a:pt x="89307" y="20074"/>
                          <a:pt x="89307" y="20074"/>
                        </a:cubicBezTo>
                        <a:cubicBezTo>
                          <a:pt x="89307" y="20074"/>
                          <a:pt x="89076" y="20074"/>
                          <a:pt x="89076" y="20074"/>
                        </a:cubicBezTo>
                        <a:cubicBezTo>
                          <a:pt x="88615" y="20074"/>
                          <a:pt x="88615" y="20074"/>
                          <a:pt x="88615" y="20074"/>
                        </a:cubicBezTo>
                        <a:cubicBezTo>
                          <a:pt x="88384" y="20297"/>
                          <a:pt x="88384" y="20297"/>
                          <a:pt x="88384" y="20297"/>
                        </a:cubicBezTo>
                        <a:cubicBezTo>
                          <a:pt x="87923" y="20297"/>
                          <a:pt x="87923" y="20297"/>
                          <a:pt x="87923" y="20297"/>
                        </a:cubicBezTo>
                        <a:cubicBezTo>
                          <a:pt x="87461" y="20520"/>
                          <a:pt x="87461" y="20520"/>
                          <a:pt x="87461" y="20520"/>
                        </a:cubicBezTo>
                        <a:cubicBezTo>
                          <a:pt x="86769" y="20520"/>
                          <a:pt x="86769" y="20520"/>
                          <a:pt x="86769" y="20520"/>
                        </a:cubicBezTo>
                        <a:cubicBezTo>
                          <a:pt x="86538" y="20074"/>
                          <a:pt x="86538" y="20074"/>
                          <a:pt x="86538" y="20074"/>
                        </a:cubicBezTo>
                        <a:cubicBezTo>
                          <a:pt x="86307" y="19628"/>
                          <a:pt x="86307" y="19628"/>
                          <a:pt x="86307" y="19628"/>
                        </a:cubicBezTo>
                        <a:cubicBezTo>
                          <a:pt x="86076" y="19405"/>
                          <a:pt x="86076" y="19405"/>
                          <a:pt x="86076" y="19405"/>
                        </a:cubicBezTo>
                        <a:cubicBezTo>
                          <a:pt x="85846" y="19405"/>
                          <a:pt x="85846" y="19405"/>
                          <a:pt x="85846" y="19405"/>
                        </a:cubicBezTo>
                        <a:cubicBezTo>
                          <a:pt x="85153" y="19182"/>
                          <a:pt x="85153" y="19182"/>
                          <a:pt x="85153" y="19182"/>
                        </a:cubicBezTo>
                        <a:cubicBezTo>
                          <a:pt x="85384" y="18736"/>
                          <a:pt x="85384" y="18736"/>
                          <a:pt x="85384" y="18736"/>
                        </a:cubicBezTo>
                        <a:cubicBezTo>
                          <a:pt x="85384" y="18736"/>
                          <a:pt x="85153" y="18289"/>
                          <a:pt x="85153" y="18289"/>
                        </a:cubicBezTo>
                        <a:cubicBezTo>
                          <a:pt x="84923" y="18289"/>
                          <a:pt x="84692" y="18289"/>
                          <a:pt x="84692" y="18289"/>
                        </a:cubicBezTo>
                        <a:cubicBezTo>
                          <a:pt x="84230" y="17843"/>
                          <a:pt x="84230" y="17843"/>
                          <a:pt x="84230" y="17843"/>
                        </a:cubicBezTo>
                        <a:cubicBezTo>
                          <a:pt x="84230" y="17843"/>
                          <a:pt x="84230" y="17620"/>
                          <a:pt x="84000" y="17397"/>
                        </a:cubicBezTo>
                        <a:cubicBezTo>
                          <a:pt x="83769" y="17397"/>
                          <a:pt x="83769" y="17174"/>
                          <a:pt x="83538" y="17174"/>
                        </a:cubicBezTo>
                        <a:cubicBezTo>
                          <a:pt x="83307" y="17174"/>
                          <a:pt x="82846" y="17174"/>
                          <a:pt x="82846" y="17174"/>
                        </a:cubicBezTo>
                        <a:cubicBezTo>
                          <a:pt x="82846" y="17174"/>
                          <a:pt x="82615" y="16728"/>
                          <a:pt x="82384" y="16728"/>
                        </a:cubicBezTo>
                        <a:cubicBezTo>
                          <a:pt x="82384" y="16728"/>
                          <a:pt x="81461" y="16728"/>
                          <a:pt x="81461" y="16728"/>
                        </a:cubicBezTo>
                        <a:cubicBezTo>
                          <a:pt x="81461" y="16728"/>
                          <a:pt x="81692" y="16059"/>
                          <a:pt x="81692" y="16059"/>
                        </a:cubicBezTo>
                        <a:cubicBezTo>
                          <a:pt x="81692" y="15836"/>
                          <a:pt x="81692" y="15167"/>
                          <a:pt x="81692" y="15167"/>
                        </a:cubicBezTo>
                        <a:cubicBezTo>
                          <a:pt x="81692" y="14944"/>
                          <a:pt x="81692" y="14944"/>
                          <a:pt x="81692" y="14944"/>
                        </a:cubicBezTo>
                        <a:cubicBezTo>
                          <a:pt x="81692" y="14944"/>
                          <a:pt x="81461" y="14721"/>
                          <a:pt x="81692" y="14275"/>
                        </a:cubicBezTo>
                        <a:cubicBezTo>
                          <a:pt x="81923" y="13828"/>
                          <a:pt x="81692" y="14052"/>
                          <a:pt x="81923" y="13605"/>
                        </a:cubicBezTo>
                        <a:cubicBezTo>
                          <a:pt x="82153" y="12936"/>
                          <a:pt x="82153" y="12713"/>
                          <a:pt x="82153" y="12713"/>
                        </a:cubicBezTo>
                        <a:cubicBezTo>
                          <a:pt x="81692" y="12490"/>
                          <a:pt x="81692" y="12490"/>
                          <a:pt x="81692" y="12490"/>
                        </a:cubicBezTo>
                        <a:cubicBezTo>
                          <a:pt x="81692" y="12490"/>
                          <a:pt x="81461" y="12267"/>
                          <a:pt x="81230" y="12490"/>
                        </a:cubicBezTo>
                        <a:cubicBezTo>
                          <a:pt x="81230" y="12936"/>
                          <a:pt x="81000" y="12936"/>
                          <a:pt x="81000" y="12936"/>
                        </a:cubicBezTo>
                        <a:cubicBezTo>
                          <a:pt x="80538" y="13605"/>
                          <a:pt x="80538" y="13605"/>
                          <a:pt x="80538" y="13605"/>
                        </a:cubicBezTo>
                        <a:cubicBezTo>
                          <a:pt x="80538" y="14275"/>
                          <a:pt x="80538" y="14275"/>
                          <a:pt x="80538" y="14275"/>
                        </a:cubicBezTo>
                        <a:cubicBezTo>
                          <a:pt x="80538" y="14275"/>
                          <a:pt x="80769" y="14498"/>
                          <a:pt x="80076" y="14498"/>
                        </a:cubicBezTo>
                        <a:cubicBezTo>
                          <a:pt x="79615" y="14498"/>
                          <a:pt x="79153" y="14498"/>
                          <a:pt x="79153" y="14498"/>
                        </a:cubicBezTo>
                        <a:cubicBezTo>
                          <a:pt x="79153" y="14498"/>
                          <a:pt x="79615" y="14944"/>
                          <a:pt x="78923" y="14944"/>
                        </a:cubicBezTo>
                        <a:cubicBezTo>
                          <a:pt x="78461" y="14944"/>
                          <a:pt x="77769" y="14944"/>
                          <a:pt x="77769" y="14944"/>
                        </a:cubicBezTo>
                        <a:cubicBezTo>
                          <a:pt x="77307" y="14498"/>
                          <a:pt x="77307" y="14498"/>
                          <a:pt x="77307" y="14498"/>
                        </a:cubicBezTo>
                        <a:cubicBezTo>
                          <a:pt x="76384" y="14721"/>
                          <a:pt x="76384" y="14721"/>
                          <a:pt x="76384" y="14721"/>
                        </a:cubicBezTo>
                        <a:cubicBezTo>
                          <a:pt x="76384" y="14721"/>
                          <a:pt x="76384" y="14498"/>
                          <a:pt x="76384" y="14052"/>
                        </a:cubicBezTo>
                        <a:cubicBezTo>
                          <a:pt x="76384" y="13828"/>
                          <a:pt x="76153" y="13382"/>
                          <a:pt x="76384" y="13382"/>
                        </a:cubicBezTo>
                        <a:cubicBezTo>
                          <a:pt x="76615" y="13382"/>
                          <a:pt x="76846" y="13159"/>
                          <a:pt x="76846" y="13159"/>
                        </a:cubicBezTo>
                        <a:cubicBezTo>
                          <a:pt x="76615" y="12490"/>
                          <a:pt x="76615" y="12490"/>
                          <a:pt x="76615" y="12490"/>
                        </a:cubicBezTo>
                        <a:cubicBezTo>
                          <a:pt x="76615" y="12490"/>
                          <a:pt x="76615" y="12490"/>
                          <a:pt x="76615" y="12490"/>
                        </a:cubicBezTo>
                        <a:cubicBezTo>
                          <a:pt x="76615" y="12490"/>
                          <a:pt x="76384" y="12490"/>
                          <a:pt x="76384" y="12267"/>
                        </a:cubicBezTo>
                        <a:cubicBezTo>
                          <a:pt x="76384" y="12044"/>
                          <a:pt x="76615" y="11598"/>
                          <a:pt x="76615" y="11598"/>
                        </a:cubicBezTo>
                        <a:cubicBezTo>
                          <a:pt x="76846" y="11375"/>
                          <a:pt x="76846" y="10929"/>
                          <a:pt x="76846" y="10929"/>
                        </a:cubicBezTo>
                        <a:cubicBezTo>
                          <a:pt x="76615" y="10929"/>
                          <a:pt x="76615" y="10929"/>
                          <a:pt x="76615" y="10929"/>
                        </a:cubicBezTo>
                        <a:cubicBezTo>
                          <a:pt x="76615" y="10929"/>
                          <a:pt x="76153" y="11152"/>
                          <a:pt x="76153" y="10706"/>
                        </a:cubicBezTo>
                        <a:cubicBezTo>
                          <a:pt x="76153" y="10483"/>
                          <a:pt x="75923" y="10037"/>
                          <a:pt x="75923" y="10037"/>
                        </a:cubicBezTo>
                        <a:cubicBezTo>
                          <a:pt x="75923" y="10037"/>
                          <a:pt x="75461" y="9814"/>
                          <a:pt x="75461" y="9814"/>
                        </a:cubicBezTo>
                        <a:cubicBezTo>
                          <a:pt x="75230" y="9814"/>
                          <a:pt x="75230" y="9814"/>
                          <a:pt x="75000" y="10037"/>
                        </a:cubicBezTo>
                        <a:cubicBezTo>
                          <a:pt x="75000" y="10037"/>
                          <a:pt x="74307" y="9814"/>
                          <a:pt x="74307" y="9814"/>
                        </a:cubicBezTo>
                        <a:cubicBezTo>
                          <a:pt x="74307" y="9814"/>
                          <a:pt x="73615" y="9814"/>
                          <a:pt x="73615" y="9814"/>
                        </a:cubicBezTo>
                        <a:cubicBezTo>
                          <a:pt x="73384" y="9814"/>
                          <a:pt x="73153" y="10260"/>
                          <a:pt x="73153" y="10260"/>
                        </a:cubicBezTo>
                        <a:cubicBezTo>
                          <a:pt x="72692" y="9591"/>
                          <a:pt x="72692" y="9591"/>
                          <a:pt x="72692" y="9591"/>
                        </a:cubicBezTo>
                        <a:cubicBezTo>
                          <a:pt x="72923" y="8921"/>
                          <a:pt x="72923" y="8921"/>
                          <a:pt x="72923" y="8921"/>
                        </a:cubicBezTo>
                        <a:cubicBezTo>
                          <a:pt x="72923" y="8921"/>
                          <a:pt x="72461" y="8475"/>
                          <a:pt x="72461" y="8252"/>
                        </a:cubicBezTo>
                        <a:cubicBezTo>
                          <a:pt x="72461" y="8252"/>
                          <a:pt x="72230" y="7806"/>
                          <a:pt x="72230" y="7806"/>
                        </a:cubicBezTo>
                        <a:cubicBezTo>
                          <a:pt x="71769" y="7806"/>
                          <a:pt x="71769" y="7806"/>
                          <a:pt x="71769" y="7806"/>
                        </a:cubicBezTo>
                        <a:cubicBezTo>
                          <a:pt x="71538" y="7583"/>
                          <a:pt x="71538" y="7583"/>
                          <a:pt x="71538" y="7583"/>
                        </a:cubicBezTo>
                        <a:cubicBezTo>
                          <a:pt x="71538" y="7583"/>
                          <a:pt x="71076" y="7583"/>
                          <a:pt x="70846" y="7583"/>
                        </a:cubicBezTo>
                        <a:cubicBezTo>
                          <a:pt x="70615" y="7583"/>
                          <a:pt x="70615" y="7583"/>
                          <a:pt x="70384" y="7583"/>
                        </a:cubicBezTo>
                        <a:cubicBezTo>
                          <a:pt x="70384" y="7583"/>
                          <a:pt x="69923" y="7137"/>
                          <a:pt x="69923" y="7137"/>
                        </a:cubicBezTo>
                        <a:cubicBezTo>
                          <a:pt x="69923" y="6914"/>
                          <a:pt x="69923" y="6691"/>
                          <a:pt x="69923" y="6468"/>
                        </a:cubicBezTo>
                        <a:cubicBezTo>
                          <a:pt x="69692" y="6245"/>
                          <a:pt x="69461" y="5799"/>
                          <a:pt x="69461" y="5576"/>
                        </a:cubicBezTo>
                        <a:cubicBezTo>
                          <a:pt x="69461" y="5576"/>
                          <a:pt x="69692" y="5130"/>
                          <a:pt x="69692" y="5130"/>
                        </a:cubicBezTo>
                        <a:cubicBezTo>
                          <a:pt x="69461" y="4907"/>
                          <a:pt x="69000" y="4460"/>
                          <a:pt x="69000" y="4460"/>
                        </a:cubicBezTo>
                        <a:cubicBezTo>
                          <a:pt x="68769" y="4014"/>
                          <a:pt x="68769" y="4014"/>
                          <a:pt x="68769" y="4014"/>
                        </a:cubicBezTo>
                        <a:cubicBezTo>
                          <a:pt x="68769" y="4014"/>
                          <a:pt x="68076" y="4460"/>
                          <a:pt x="67846" y="4460"/>
                        </a:cubicBezTo>
                        <a:cubicBezTo>
                          <a:pt x="67615" y="4460"/>
                          <a:pt x="67153" y="4237"/>
                          <a:pt x="67153" y="4460"/>
                        </a:cubicBezTo>
                        <a:cubicBezTo>
                          <a:pt x="67153" y="4460"/>
                          <a:pt x="67384" y="4907"/>
                          <a:pt x="67153" y="4907"/>
                        </a:cubicBezTo>
                        <a:cubicBezTo>
                          <a:pt x="66923" y="4907"/>
                          <a:pt x="66461" y="4907"/>
                          <a:pt x="66230" y="4684"/>
                        </a:cubicBezTo>
                        <a:cubicBezTo>
                          <a:pt x="66000" y="4460"/>
                          <a:pt x="66000" y="4237"/>
                          <a:pt x="66000" y="4014"/>
                        </a:cubicBezTo>
                        <a:cubicBezTo>
                          <a:pt x="65769" y="4014"/>
                          <a:pt x="65769" y="3568"/>
                          <a:pt x="65538" y="3568"/>
                        </a:cubicBezTo>
                        <a:cubicBezTo>
                          <a:pt x="65307" y="3568"/>
                          <a:pt x="65076" y="3568"/>
                          <a:pt x="65076" y="3345"/>
                        </a:cubicBezTo>
                        <a:cubicBezTo>
                          <a:pt x="65076" y="3345"/>
                          <a:pt x="65076" y="2676"/>
                          <a:pt x="65076" y="2676"/>
                        </a:cubicBezTo>
                        <a:cubicBezTo>
                          <a:pt x="65076" y="2230"/>
                          <a:pt x="65076" y="2230"/>
                          <a:pt x="65076" y="2230"/>
                        </a:cubicBezTo>
                        <a:cubicBezTo>
                          <a:pt x="65076" y="2230"/>
                          <a:pt x="65076" y="1561"/>
                          <a:pt x="64846" y="1561"/>
                        </a:cubicBezTo>
                        <a:cubicBezTo>
                          <a:pt x="64846" y="1338"/>
                          <a:pt x="64615" y="1115"/>
                          <a:pt x="64615" y="1115"/>
                        </a:cubicBezTo>
                        <a:cubicBezTo>
                          <a:pt x="64615" y="446"/>
                          <a:pt x="64615" y="446"/>
                          <a:pt x="64615" y="446"/>
                        </a:cubicBezTo>
                        <a:cubicBezTo>
                          <a:pt x="64846" y="223"/>
                          <a:pt x="64846" y="223"/>
                          <a:pt x="64846" y="223"/>
                        </a:cubicBezTo>
                        <a:cubicBezTo>
                          <a:pt x="64846" y="223"/>
                          <a:pt x="64846" y="0"/>
                          <a:pt x="65076" y="0"/>
                        </a:cubicBezTo>
                        <a:cubicBezTo>
                          <a:pt x="59769" y="892"/>
                          <a:pt x="59769" y="892"/>
                          <a:pt x="59769" y="892"/>
                        </a:cubicBezTo>
                        <a:cubicBezTo>
                          <a:pt x="57461" y="1115"/>
                          <a:pt x="57461" y="1115"/>
                          <a:pt x="57461" y="1115"/>
                        </a:cubicBezTo>
                        <a:cubicBezTo>
                          <a:pt x="56538" y="2230"/>
                          <a:pt x="56538" y="2230"/>
                          <a:pt x="56538" y="2230"/>
                        </a:cubicBezTo>
                        <a:cubicBezTo>
                          <a:pt x="56076" y="3345"/>
                          <a:pt x="56076" y="3345"/>
                          <a:pt x="56076" y="3345"/>
                        </a:cubicBezTo>
                        <a:cubicBezTo>
                          <a:pt x="56307" y="5130"/>
                          <a:pt x="56307" y="5130"/>
                          <a:pt x="56307" y="5130"/>
                        </a:cubicBezTo>
                        <a:cubicBezTo>
                          <a:pt x="55615" y="6245"/>
                          <a:pt x="55615" y="6245"/>
                          <a:pt x="55615" y="6245"/>
                        </a:cubicBezTo>
                        <a:cubicBezTo>
                          <a:pt x="55615" y="7583"/>
                          <a:pt x="55615" y="7583"/>
                          <a:pt x="55615" y="7583"/>
                        </a:cubicBezTo>
                        <a:cubicBezTo>
                          <a:pt x="55615" y="9591"/>
                          <a:pt x="55615" y="9591"/>
                          <a:pt x="55615" y="9591"/>
                        </a:cubicBezTo>
                        <a:cubicBezTo>
                          <a:pt x="54461" y="10260"/>
                          <a:pt x="54461" y="10260"/>
                          <a:pt x="54461" y="10260"/>
                        </a:cubicBezTo>
                        <a:cubicBezTo>
                          <a:pt x="52846" y="11821"/>
                          <a:pt x="52846" y="11821"/>
                          <a:pt x="52846" y="11821"/>
                        </a:cubicBezTo>
                        <a:cubicBezTo>
                          <a:pt x="50538" y="12713"/>
                          <a:pt x="50538" y="12713"/>
                          <a:pt x="50538" y="12713"/>
                        </a:cubicBezTo>
                        <a:cubicBezTo>
                          <a:pt x="47538" y="13382"/>
                          <a:pt x="47538" y="13382"/>
                          <a:pt x="47538" y="13382"/>
                        </a:cubicBezTo>
                        <a:cubicBezTo>
                          <a:pt x="45230" y="14052"/>
                          <a:pt x="45230" y="14052"/>
                          <a:pt x="45230" y="14052"/>
                        </a:cubicBezTo>
                        <a:cubicBezTo>
                          <a:pt x="43153" y="15167"/>
                          <a:pt x="43153" y="15167"/>
                          <a:pt x="43153" y="15167"/>
                        </a:cubicBezTo>
                        <a:cubicBezTo>
                          <a:pt x="42692" y="16728"/>
                          <a:pt x="42692" y="16728"/>
                          <a:pt x="42692" y="16728"/>
                        </a:cubicBezTo>
                        <a:cubicBezTo>
                          <a:pt x="42461" y="18736"/>
                          <a:pt x="42461" y="18736"/>
                          <a:pt x="42461" y="18736"/>
                        </a:cubicBezTo>
                        <a:cubicBezTo>
                          <a:pt x="40846" y="19405"/>
                          <a:pt x="40846" y="19405"/>
                          <a:pt x="40846" y="19405"/>
                        </a:cubicBezTo>
                        <a:cubicBezTo>
                          <a:pt x="40846" y="19405"/>
                          <a:pt x="40153" y="19851"/>
                          <a:pt x="39692" y="19628"/>
                        </a:cubicBezTo>
                        <a:cubicBezTo>
                          <a:pt x="39000" y="19628"/>
                          <a:pt x="37615" y="19182"/>
                          <a:pt x="37615" y="19182"/>
                        </a:cubicBezTo>
                        <a:cubicBezTo>
                          <a:pt x="37615" y="19182"/>
                          <a:pt x="36000" y="18289"/>
                          <a:pt x="35307" y="18289"/>
                        </a:cubicBezTo>
                        <a:cubicBezTo>
                          <a:pt x="34615" y="18066"/>
                          <a:pt x="33461" y="16951"/>
                          <a:pt x="33461" y="16951"/>
                        </a:cubicBezTo>
                        <a:cubicBezTo>
                          <a:pt x="32307" y="17843"/>
                          <a:pt x="32307" y="17843"/>
                          <a:pt x="32307" y="17843"/>
                        </a:cubicBezTo>
                        <a:cubicBezTo>
                          <a:pt x="32307" y="17843"/>
                          <a:pt x="31615" y="17174"/>
                          <a:pt x="31615" y="16728"/>
                        </a:cubicBezTo>
                        <a:cubicBezTo>
                          <a:pt x="31615" y="16505"/>
                          <a:pt x="31615" y="16505"/>
                          <a:pt x="31615" y="16059"/>
                        </a:cubicBezTo>
                        <a:cubicBezTo>
                          <a:pt x="31615" y="15390"/>
                          <a:pt x="31615" y="14275"/>
                          <a:pt x="31615" y="14275"/>
                        </a:cubicBezTo>
                        <a:cubicBezTo>
                          <a:pt x="30000" y="13605"/>
                          <a:pt x="30000" y="13605"/>
                          <a:pt x="30000" y="13605"/>
                        </a:cubicBezTo>
                        <a:cubicBezTo>
                          <a:pt x="28384" y="13382"/>
                          <a:pt x="28384" y="13382"/>
                          <a:pt x="28384" y="13382"/>
                        </a:cubicBezTo>
                        <a:cubicBezTo>
                          <a:pt x="28384" y="13382"/>
                          <a:pt x="28384" y="13828"/>
                          <a:pt x="27923" y="13382"/>
                        </a:cubicBezTo>
                        <a:cubicBezTo>
                          <a:pt x="27230" y="12936"/>
                          <a:pt x="27230" y="12044"/>
                          <a:pt x="27230" y="12044"/>
                        </a:cubicBezTo>
                        <a:cubicBezTo>
                          <a:pt x="25846" y="11375"/>
                          <a:pt x="25846" y="11375"/>
                          <a:pt x="25846" y="11375"/>
                        </a:cubicBezTo>
                        <a:cubicBezTo>
                          <a:pt x="25384" y="13159"/>
                          <a:pt x="25384" y="13159"/>
                          <a:pt x="25384" y="13159"/>
                        </a:cubicBezTo>
                        <a:cubicBezTo>
                          <a:pt x="27000" y="14498"/>
                          <a:pt x="27000" y="14498"/>
                          <a:pt x="27000" y="14498"/>
                        </a:cubicBezTo>
                        <a:cubicBezTo>
                          <a:pt x="27461" y="15390"/>
                          <a:pt x="27461" y="15390"/>
                          <a:pt x="27461" y="15390"/>
                        </a:cubicBezTo>
                        <a:cubicBezTo>
                          <a:pt x="27000" y="16728"/>
                          <a:pt x="27000" y="16728"/>
                          <a:pt x="27000" y="16728"/>
                        </a:cubicBezTo>
                        <a:cubicBezTo>
                          <a:pt x="27461" y="17843"/>
                          <a:pt x="27461" y="17843"/>
                          <a:pt x="27461" y="17843"/>
                        </a:cubicBezTo>
                        <a:cubicBezTo>
                          <a:pt x="27692" y="18736"/>
                          <a:pt x="27692" y="18736"/>
                          <a:pt x="27692" y="18736"/>
                        </a:cubicBezTo>
                        <a:cubicBezTo>
                          <a:pt x="27692" y="18736"/>
                          <a:pt x="27923" y="18736"/>
                          <a:pt x="27923" y="19405"/>
                        </a:cubicBezTo>
                        <a:cubicBezTo>
                          <a:pt x="27923" y="19851"/>
                          <a:pt x="27692" y="22081"/>
                          <a:pt x="27692" y="22081"/>
                        </a:cubicBezTo>
                        <a:cubicBezTo>
                          <a:pt x="27692" y="23866"/>
                          <a:pt x="27692" y="23866"/>
                          <a:pt x="27692" y="23866"/>
                        </a:cubicBezTo>
                        <a:cubicBezTo>
                          <a:pt x="28384" y="25650"/>
                          <a:pt x="28384" y="25650"/>
                          <a:pt x="28384" y="25650"/>
                        </a:cubicBezTo>
                        <a:cubicBezTo>
                          <a:pt x="28384" y="25650"/>
                          <a:pt x="27230" y="26319"/>
                          <a:pt x="26769" y="26319"/>
                        </a:cubicBezTo>
                        <a:cubicBezTo>
                          <a:pt x="26307" y="26319"/>
                          <a:pt x="25153" y="25873"/>
                          <a:pt x="25153" y="25873"/>
                        </a:cubicBezTo>
                        <a:cubicBezTo>
                          <a:pt x="24692" y="24758"/>
                          <a:pt x="24692" y="24758"/>
                          <a:pt x="24692" y="24758"/>
                        </a:cubicBezTo>
                        <a:cubicBezTo>
                          <a:pt x="21923" y="24981"/>
                          <a:pt x="21923" y="24981"/>
                          <a:pt x="21923" y="24981"/>
                        </a:cubicBezTo>
                        <a:cubicBezTo>
                          <a:pt x="20307" y="24758"/>
                          <a:pt x="20307" y="24758"/>
                          <a:pt x="20307" y="24758"/>
                        </a:cubicBezTo>
                        <a:cubicBezTo>
                          <a:pt x="18923" y="25650"/>
                          <a:pt x="18923" y="25650"/>
                          <a:pt x="18923" y="25650"/>
                        </a:cubicBezTo>
                        <a:cubicBezTo>
                          <a:pt x="18000" y="25427"/>
                          <a:pt x="18000" y="25427"/>
                          <a:pt x="18000" y="25427"/>
                        </a:cubicBezTo>
                        <a:cubicBezTo>
                          <a:pt x="17076" y="24535"/>
                          <a:pt x="17076" y="24535"/>
                          <a:pt x="17076" y="24535"/>
                        </a:cubicBezTo>
                        <a:cubicBezTo>
                          <a:pt x="16846" y="23197"/>
                          <a:pt x="16846" y="23197"/>
                          <a:pt x="16846" y="23197"/>
                        </a:cubicBezTo>
                        <a:cubicBezTo>
                          <a:pt x="16384" y="22081"/>
                          <a:pt x="16384" y="22081"/>
                          <a:pt x="16384" y="22081"/>
                        </a:cubicBezTo>
                        <a:cubicBezTo>
                          <a:pt x="15461" y="20966"/>
                          <a:pt x="15461" y="20966"/>
                          <a:pt x="15461" y="20966"/>
                        </a:cubicBezTo>
                        <a:cubicBezTo>
                          <a:pt x="12461" y="21189"/>
                          <a:pt x="12461" y="21189"/>
                          <a:pt x="12461" y="21189"/>
                        </a:cubicBezTo>
                        <a:cubicBezTo>
                          <a:pt x="11307" y="21412"/>
                          <a:pt x="11307" y="21412"/>
                          <a:pt x="11307" y="21412"/>
                        </a:cubicBezTo>
                        <a:cubicBezTo>
                          <a:pt x="10615" y="22081"/>
                          <a:pt x="10615" y="22081"/>
                          <a:pt x="10615" y="22081"/>
                        </a:cubicBezTo>
                        <a:cubicBezTo>
                          <a:pt x="9230" y="21858"/>
                          <a:pt x="9230" y="21858"/>
                          <a:pt x="9230" y="21858"/>
                        </a:cubicBezTo>
                        <a:cubicBezTo>
                          <a:pt x="8769" y="22527"/>
                          <a:pt x="8769" y="22527"/>
                          <a:pt x="8769" y="22527"/>
                        </a:cubicBezTo>
                        <a:cubicBezTo>
                          <a:pt x="7153" y="22081"/>
                          <a:pt x="7153" y="22081"/>
                          <a:pt x="7153" y="22081"/>
                        </a:cubicBezTo>
                        <a:cubicBezTo>
                          <a:pt x="5538" y="22304"/>
                          <a:pt x="5538" y="22304"/>
                          <a:pt x="5538" y="22304"/>
                        </a:cubicBezTo>
                        <a:cubicBezTo>
                          <a:pt x="4384" y="22081"/>
                          <a:pt x="4384" y="22081"/>
                          <a:pt x="4384" y="22081"/>
                        </a:cubicBezTo>
                        <a:cubicBezTo>
                          <a:pt x="2307" y="22527"/>
                          <a:pt x="2307" y="22527"/>
                          <a:pt x="2307" y="22527"/>
                        </a:cubicBezTo>
                        <a:cubicBezTo>
                          <a:pt x="1153" y="23420"/>
                          <a:pt x="1153" y="23420"/>
                          <a:pt x="1153" y="23420"/>
                        </a:cubicBezTo>
                        <a:cubicBezTo>
                          <a:pt x="0" y="25204"/>
                          <a:pt x="0" y="25204"/>
                          <a:pt x="0" y="25204"/>
                        </a:cubicBezTo>
                        <a:cubicBezTo>
                          <a:pt x="0" y="25204"/>
                          <a:pt x="461" y="25204"/>
                          <a:pt x="923" y="25204"/>
                        </a:cubicBezTo>
                        <a:cubicBezTo>
                          <a:pt x="1153" y="25204"/>
                          <a:pt x="3230" y="25427"/>
                          <a:pt x="3230" y="25427"/>
                        </a:cubicBezTo>
                        <a:cubicBezTo>
                          <a:pt x="3692" y="26096"/>
                          <a:pt x="3692" y="26096"/>
                          <a:pt x="3692" y="26096"/>
                        </a:cubicBezTo>
                        <a:cubicBezTo>
                          <a:pt x="2307" y="26765"/>
                          <a:pt x="2307" y="26765"/>
                          <a:pt x="2307" y="26765"/>
                        </a:cubicBezTo>
                        <a:cubicBezTo>
                          <a:pt x="3461" y="27211"/>
                          <a:pt x="3461" y="27211"/>
                          <a:pt x="3461" y="27211"/>
                        </a:cubicBezTo>
                        <a:cubicBezTo>
                          <a:pt x="3692" y="27657"/>
                          <a:pt x="3692" y="27657"/>
                          <a:pt x="3692" y="27657"/>
                        </a:cubicBezTo>
                        <a:cubicBezTo>
                          <a:pt x="3692" y="28327"/>
                          <a:pt x="3692" y="28327"/>
                          <a:pt x="3692" y="28327"/>
                        </a:cubicBezTo>
                        <a:cubicBezTo>
                          <a:pt x="1153" y="28550"/>
                          <a:pt x="1153" y="28550"/>
                          <a:pt x="1153" y="28550"/>
                        </a:cubicBezTo>
                        <a:cubicBezTo>
                          <a:pt x="1153" y="28550"/>
                          <a:pt x="461" y="28327"/>
                          <a:pt x="461" y="28773"/>
                        </a:cubicBezTo>
                        <a:cubicBezTo>
                          <a:pt x="230" y="29219"/>
                          <a:pt x="1153" y="29442"/>
                          <a:pt x="1153" y="29442"/>
                        </a:cubicBezTo>
                        <a:cubicBezTo>
                          <a:pt x="2307" y="30111"/>
                          <a:pt x="2307" y="30111"/>
                          <a:pt x="2307" y="30111"/>
                        </a:cubicBezTo>
                        <a:cubicBezTo>
                          <a:pt x="2076" y="32342"/>
                          <a:pt x="2076" y="32342"/>
                          <a:pt x="2076" y="32342"/>
                        </a:cubicBezTo>
                        <a:cubicBezTo>
                          <a:pt x="3000" y="32342"/>
                          <a:pt x="3000" y="32342"/>
                          <a:pt x="3000" y="32342"/>
                        </a:cubicBezTo>
                        <a:cubicBezTo>
                          <a:pt x="4384" y="32342"/>
                          <a:pt x="4384" y="32342"/>
                          <a:pt x="4384" y="32342"/>
                        </a:cubicBezTo>
                        <a:cubicBezTo>
                          <a:pt x="4384" y="32342"/>
                          <a:pt x="4615" y="31895"/>
                          <a:pt x="5307" y="31672"/>
                        </a:cubicBezTo>
                        <a:cubicBezTo>
                          <a:pt x="5769" y="31672"/>
                          <a:pt x="6461" y="31672"/>
                          <a:pt x="6461" y="31672"/>
                        </a:cubicBezTo>
                        <a:cubicBezTo>
                          <a:pt x="6461" y="31672"/>
                          <a:pt x="6461" y="31449"/>
                          <a:pt x="6923" y="32565"/>
                        </a:cubicBezTo>
                        <a:cubicBezTo>
                          <a:pt x="7153" y="33457"/>
                          <a:pt x="7153" y="33457"/>
                          <a:pt x="7153" y="33457"/>
                        </a:cubicBezTo>
                        <a:cubicBezTo>
                          <a:pt x="8076" y="33680"/>
                          <a:pt x="8076" y="33680"/>
                          <a:pt x="8076" y="33680"/>
                        </a:cubicBezTo>
                        <a:cubicBezTo>
                          <a:pt x="8538" y="33903"/>
                          <a:pt x="8538" y="33903"/>
                          <a:pt x="8538" y="33903"/>
                        </a:cubicBezTo>
                        <a:cubicBezTo>
                          <a:pt x="8538" y="33903"/>
                          <a:pt x="9461" y="34349"/>
                          <a:pt x="9923" y="34572"/>
                        </a:cubicBezTo>
                        <a:cubicBezTo>
                          <a:pt x="10384" y="34795"/>
                          <a:pt x="11307" y="35687"/>
                          <a:pt x="11307" y="35687"/>
                        </a:cubicBezTo>
                        <a:cubicBezTo>
                          <a:pt x="11769" y="35910"/>
                          <a:pt x="11769" y="35910"/>
                          <a:pt x="11769" y="35910"/>
                        </a:cubicBezTo>
                        <a:cubicBezTo>
                          <a:pt x="11769" y="37026"/>
                          <a:pt x="11769" y="37026"/>
                          <a:pt x="11769" y="37026"/>
                        </a:cubicBezTo>
                        <a:cubicBezTo>
                          <a:pt x="11769" y="37026"/>
                          <a:pt x="12692" y="37249"/>
                          <a:pt x="13384" y="37249"/>
                        </a:cubicBezTo>
                        <a:cubicBezTo>
                          <a:pt x="14076" y="37249"/>
                          <a:pt x="15692" y="37026"/>
                          <a:pt x="15692" y="37026"/>
                        </a:cubicBezTo>
                        <a:cubicBezTo>
                          <a:pt x="16153" y="37918"/>
                          <a:pt x="16153" y="37918"/>
                          <a:pt x="16153" y="37918"/>
                        </a:cubicBezTo>
                        <a:cubicBezTo>
                          <a:pt x="16615" y="37918"/>
                          <a:pt x="18692" y="38587"/>
                          <a:pt x="18692" y="38587"/>
                        </a:cubicBezTo>
                        <a:cubicBezTo>
                          <a:pt x="18000" y="39479"/>
                          <a:pt x="18000" y="39479"/>
                          <a:pt x="18000" y="39479"/>
                        </a:cubicBezTo>
                        <a:cubicBezTo>
                          <a:pt x="17307" y="40148"/>
                          <a:pt x="17307" y="40148"/>
                          <a:pt x="17307" y="40148"/>
                        </a:cubicBezTo>
                        <a:cubicBezTo>
                          <a:pt x="17076" y="40817"/>
                          <a:pt x="17076" y="40817"/>
                          <a:pt x="17076" y="40817"/>
                        </a:cubicBezTo>
                        <a:cubicBezTo>
                          <a:pt x="17076" y="40817"/>
                          <a:pt x="17307" y="40817"/>
                          <a:pt x="18230" y="41040"/>
                        </a:cubicBezTo>
                        <a:cubicBezTo>
                          <a:pt x="19153" y="41263"/>
                          <a:pt x="19846" y="41710"/>
                          <a:pt x="19846" y="41710"/>
                        </a:cubicBezTo>
                        <a:cubicBezTo>
                          <a:pt x="19384" y="42825"/>
                          <a:pt x="19384" y="42825"/>
                          <a:pt x="19384" y="42825"/>
                        </a:cubicBezTo>
                        <a:cubicBezTo>
                          <a:pt x="20538" y="43717"/>
                          <a:pt x="20538" y="43717"/>
                          <a:pt x="20538" y="43717"/>
                        </a:cubicBezTo>
                        <a:cubicBezTo>
                          <a:pt x="20538" y="43717"/>
                          <a:pt x="21000" y="44386"/>
                          <a:pt x="21000" y="44609"/>
                        </a:cubicBezTo>
                        <a:cubicBezTo>
                          <a:pt x="20769" y="44832"/>
                          <a:pt x="20769" y="45278"/>
                          <a:pt x="20769" y="45278"/>
                        </a:cubicBezTo>
                        <a:cubicBezTo>
                          <a:pt x="20076" y="45055"/>
                          <a:pt x="20076" y="45055"/>
                          <a:pt x="20076" y="45055"/>
                        </a:cubicBezTo>
                        <a:cubicBezTo>
                          <a:pt x="20076" y="45055"/>
                          <a:pt x="20076" y="45501"/>
                          <a:pt x="19846" y="45055"/>
                        </a:cubicBezTo>
                        <a:cubicBezTo>
                          <a:pt x="19384" y="44609"/>
                          <a:pt x="19153" y="44163"/>
                          <a:pt x="19153" y="44163"/>
                        </a:cubicBezTo>
                        <a:cubicBezTo>
                          <a:pt x="18923" y="45055"/>
                          <a:pt x="18923" y="45055"/>
                          <a:pt x="18923" y="45055"/>
                        </a:cubicBezTo>
                        <a:cubicBezTo>
                          <a:pt x="18923" y="45055"/>
                          <a:pt x="19153" y="45947"/>
                          <a:pt x="19384" y="46171"/>
                        </a:cubicBezTo>
                        <a:cubicBezTo>
                          <a:pt x="19846" y="46171"/>
                          <a:pt x="19846" y="45947"/>
                          <a:pt x="19846" y="46617"/>
                        </a:cubicBezTo>
                        <a:cubicBezTo>
                          <a:pt x="19846" y="47063"/>
                          <a:pt x="20076" y="48178"/>
                          <a:pt x="20307" y="48401"/>
                        </a:cubicBezTo>
                        <a:cubicBezTo>
                          <a:pt x="20538" y="48847"/>
                          <a:pt x="20538" y="49962"/>
                          <a:pt x="20769" y="50185"/>
                        </a:cubicBezTo>
                        <a:cubicBezTo>
                          <a:pt x="21230" y="50185"/>
                          <a:pt x="21461" y="50408"/>
                          <a:pt x="21461" y="50408"/>
                        </a:cubicBezTo>
                        <a:cubicBezTo>
                          <a:pt x="21923" y="50855"/>
                          <a:pt x="21923" y="50855"/>
                          <a:pt x="21923" y="50855"/>
                        </a:cubicBezTo>
                        <a:cubicBezTo>
                          <a:pt x="23307" y="51970"/>
                          <a:pt x="23307" y="51970"/>
                          <a:pt x="23307" y="51970"/>
                        </a:cubicBezTo>
                        <a:cubicBezTo>
                          <a:pt x="23307" y="51970"/>
                          <a:pt x="24230" y="52639"/>
                          <a:pt x="24692" y="52862"/>
                        </a:cubicBezTo>
                        <a:cubicBezTo>
                          <a:pt x="25153" y="53085"/>
                          <a:pt x="25384" y="53085"/>
                          <a:pt x="25384" y="53085"/>
                        </a:cubicBezTo>
                        <a:cubicBezTo>
                          <a:pt x="26538" y="54200"/>
                          <a:pt x="26538" y="54200"/>
                          <a:pt x="26538" y="54200"/>
                        </a:cubicBezTo>
                        <a:cubicBezTo>
                          <a:pt x="26538" y="54200"/>
                          <a:pt x="27230" y="55315"/>
                          <a:pt x="27000" y="55315"/>
                        </a:cubicBezTo>
                        <a:cubicBezTo>
                          <a:pt x="26769" y="55315"/>
                          <a:pt x="27000" y="55539"/>
                          <a:pt x="26538" y="55539"/>
                        </a:cubicBezTo>
                        <a:cubicBezTo>
                          <a:pt x="25846" y="55539"/>
                          <a:pt x="26076" y="55985"/>
                          <a:pt x="25615" y="55539"/>
                        </a:cubicBezTo>
                        <a:cubicBezTo>
                          <a:pt x="24923" y="55092"/>
                          <a:pt x="24461" y="54423"/>
                          <a:pt x="23769" y="54423"/>
                        </a:cubicBezTo>
                        <a:cubicBezTo>
                          <a:pt x="23076" y="54423"/>
                          <a:pt x="23076" y="54423"/>
                          <a:pt x="23076" y="54423"/>
                        </a:cubicBezTo>
                        <a:cubicBezTo>
                          <a:pt x="24461" y="55539"/>
                          <a:pt x="24461" y="55539"/>
                          <a:pt x="24461" y="55539"/>
                        </a:cubicBezTo>
                        <a:cubicBezTo>
                          <a:pt x="25153" y="55762"/>
                          <a:pt x="25153" y="55762"/>
                          <a:pt x="25153" y="55762"/>
                        </a:cubicBezTo>
                        <a:cubicBezTo>
                          <a:pt x="26076" y="56654"/>
                          <a:pt x="26076" y="56654"/>
                          <a:pt x="26076" y="56654"/>
                        </a:cubicBezTo>
                        <a:cubicBezTo>
                          <a:pt x="26307" y="56654"/>
                          <a:pt x="26307" y="56654"/>
                          <a:pt x="26307" y="56654"/>
                        </a:cubicBezTo>
                        <a:cubicBezTo>
                          <a:pt x="26307" y="56654"/>
                          <a:pt x="26538" y="57100"/>
                          <a:pt x="26538" y="57323"/>
                        </a:cubicBezTo>
                        <a:cubicBezTo>
                          <a:pt x="26538" y="57546"/>
                          <a:pt x="26307" y="58215"/>
                          <a:pt x="26076" y="58438"/>
                        </a:cubicBezTo>
                        <a:cubicBezTo>
                          <a:pt x="26076" y="58884"/>
                          <a:pt x="26076" y="59330"/>
                          <a:pt x="26076" y="59330"/>
                        </a:cubicBezTo>
                        <a:cubicBezTo>
                          <a:pt x="25384" y="57769"/>
                          <a:pt x="25384" y="57769"/>
                          <a:pt x="25384" y="57769"/>
                        </a:cubicBezTo>
                        <a:cubicBezTo>
                          <a:pt x="25384" y="57769"/>
                          <a:pt x="25615" y="57323"/>
                          <a:pt x="25153" y="57100"/>
                        </a:cubicBezTo>
                        <a:cubicBezTo>
                          <a:pt x="24692" y="57100"/>
                          <a:pt x="24230" y="57323"/>
                          <a:pt x="24230" y="57323"/>
                        </a:cubicBezTo>
                        <a:cubicBezTo>
                          <a:pt x="24230" y="57323"/>
                          <a:pt x="24000" y="57769"/>
                          <a:pt x="24230" y="57992"/>
                        </a:cubicBezTo>
                        <a:cubicBezTo>
                          <a:pt x="24692" y="58215"/>
                          <a:pt x="24923" y="58438"/>
                          <a:pt x="24923" y="58661"/>
                        </a:cubicBezTo>
                        <a:cubicBezTo>
                          <a:pt x="25153" y="58884"/>
                          <a:pt x="25153" y="59107"/>
                          <a:pt x="25153" y="59107"/>
                        </a:cubicBezTo>
                        <a:cubicBezTo>
                          <a:pt x="25153" y="59107"/>
                          <a:pt x="25615" y="59107"/>
                          <a:pt x="25615" y="59553"/>
                        </a:cubicBezTo>
                        <a:cubicBezTo>
                          <a:pt x="25615" y="60223"/>
                          <a:pt x="25384" y="60892"/>
                          <a:pt x="25384" y="60892"/>
                        </a:cubicBezTo>
                        <a:cubicBezTo>
                          <a:pt x="25384" y="60892"/>
                          <a:pt x="24923" y="60892"/>
                          <a:pt x="25615" y="61338"/>
                        </a:cubicBezTo>
                        <a:cubicBezTo>
                          <a:pt x="26307" y="61784"/>
                          <a:pt x="26538" y="62007"/>
                          <a:pt x="26769" y="62230"/>
                        </a:cubicBezTo>
                        <a:cubicBezTo>
                          <a:pt x="27000" y="62453"/>
                          <a:pt x="27923" y="63568"/>
                          <a:pt x="27923" y="63568"/>
                        </a:cubicBezTo>
                        <a:cubicBezTo>
                          <a:pt x="28615" y="64460"/>
                          <a:pt x="28615" y="64460"/>
                          <a:pt x="28615" y="64460"/>
                        </a:cubicBezTo>
                        <a:cubicBezTo>
                          <a:pt x="28615" y="64460"/>
                          <a:pt x="28615" y="64907"/>
                          <a:pt x="28615" y="64907"/>
                        </a:cubicBezTo>
                        <a:cubicBezTo>
                          <a:pt x="28384" y="64907"/>
                          <a:pt x="27923" y="64907"/>
                          <a:pt x="27923" y="64907"/>
                        </a:cubicBezTo>
                        <a:cubicBezTo>
                          <a:pt x="27923" y="64907"/>
                          <a:pt x="27692" y="64907"/>
                          <a:pt x="27461" y="64684"/>
                        </a:cubicBezTo>
                        <a:cubicBezTo>
                          <a:pt x="27230" y="64237"/>
                          <a:pt x="26769" y="63568"/>
                          <a:pt x="26769" y="63568"/>
                        </a:cubicBezTo>
                        <a:cubicBezTo>
                          <a:pt x="26307" y="63345"/>
                          <a:pt x="26307" y="63345"/>
                          <a:pt x="26307" y="63345"/>
                        </a:cubicBezTo>
                        <a:cubicBezTo>
                          <a:pt x="25846" y="63568"/>
                          <a:pt x="25846" y="63568"/>
                          <a:pt x="25846" y="63568"/>
                        </a:cubicBezTo>
                        <a:cubicBezTo>
                          <a:pt x="25846" y="63568"/>
                          <a:pt x="25384" y="64460"/>
                          <a:pt x="25384" y="64460"/>
                        </a:cubicBezTo>
                        <a:cubicBezTo>
                          <a:pt x="25384" y="64684"/>
                          <a:pt x="24692" y="66022"/>
                          <a:pt x="24692" y="66022"/>
                        </a:cubicBezTo>
                        <a:cubicBezTo>
                          <a:pt x="24230" y="68698"/>
                          <a:pt x="24230" y="68698"/>
                          <a:pt x="24230" y="68698"/>
                        </a:cubicBezTo>
                        <a:cubicBezTo>
                          <a:pt x="24230" y="68698"/>
                          <a:pt x="24230" y="71821"/>
                          <a:pt x="24000" y="72044"/>
                        </a:cubicBezTo>
                        <a:cubicBezTo>
                          <a:pt x="24000" y="72267"/>
                          <a:pt x="23076" y="74498"/>
                          <a:pt x="23076" y="74498"/>
                        </a:cubicBezTo>
                        <a:cubicBezTo>
                          <a:pt x="23076" y="74498"/>
                          <a:pt x="23076" y="74721"/>
                          <a:pt x="23076" y="75390"/>
                        </a:cubicBezTo>
                        <a:cubicBezTo>
                          <a:pt x="22846" y="76059"/>
                          <a:pt x="22615" y="77174"/>
                          <a:pt x="22615" y="77174"/>
                        </a:cubicBezTo>
                        <a:cubicBezTo>
                          <a:pt x="22615" y="77174"/>
                          <a:pt x="22384" y="78066"/>
                          <a:pt x="22384" y="78513"/>
                        </a:cubicBezTo>
                        <a:cubicBezTo>
                          <a:pt x="22153" y="78959"/>
                          <a:pt x="21461" y="80743"/>
                          <a:pt x="21461" y="80743"/>
                        </a:cubicBezTo>
                        <a:cubicBezTo>
                          <a:pt x="21230" y="82750"/>
                          <a:pt x="21230" y="82750"/>
                          <a:pt x="21230" y="82750"/>
                        </a:cubicBezTo>
                        <a:cubicBezTo>
                          <a:pt x="19384" y="86542"/>
                          <a:pt x="19384" y="86542"/>
                          <a:pt x="19384" y="86542"/>
                        </a:cubicBezTo>
                        <a:cubicBezTo>
                          <a:pt x="18000" y="87657"/>
                          <a:pt x="18000" y="87657"/>
                          <a:pt x="18000" y="87657"/>
                        </a:cubicBezTo>
                        <a:cubicBezTo>
                          <a:pt x="17307" y="88104"/>
                          <a:pt x="17307" y="88104"/>
                          <a:pt x="17307" y="88104"/>
                        </a:cubicBezTo>
                        <a:cubicBezTo>
                          <a:pt x="18000" y="88327"/>
                          <a:pt x="18461" y="88550"/>
                          <a:pt x="18692" y="89219"/>
                        </a:cubicBezTo>
                        <a:cubicBezTo>
                          <a:pt x="19153" y="90334"/>
                          <a:pt x="20076" y="92118"/>
                          <a:pt x="20076" y="92118"/>
                        </a:cubicBezTo>
                        <a:cubicBezTo>
                          <a:pt x="23076" y="93234"/>
                          <a:pt x="23076" y="93234"/>
                          <a:pt x="23076" y="93234"/>
                        </a:cubicBezTo>
                        <a:cubicBezTo>
                          <a:pt x="23076" y="93234"/>
                          <a:pt x="24692" y="94572"/>
                          <a:pt x="24923" y="95018"/>
                        </a:cubicBezTo>
                        <a:cubicBezTo>
                          <a:pt x="25153" y="95241"/>
                          <a:pt x="28615" y="96356"/>
                          <a:pt x="28615" y="96356"/>
                        </a:cubicBezTo>
                        <a:cubicBezTo>
                          <a:pt x="30923" y="98364"/>
                          <a:pt x="30923" y="98364"/>
                          <a:pt x="30923" y="98364"/>
                        </a:cubicBezTo>
                        <a:cubicBezTo>
                          <a:pt x="34384" y="98364"/>
                          <a:pt x="34384" y="98364"/>
                          <a:pt x="34384" y="98364"/>
                        </a:cubicBezTo>
                        <a:cubicBezTo>
                          <a:pt x="36692" y="98810"/>
                          <a:pt x="36692" y="98810"/>
                          <a:pt x="36692" y="98810"/>
                        </a:cubicBezTo>
                        <a:cubicBezTo>
                          <a:pt x="37846" y="97472"/>
                          <a:pt x="37846" y="97472"/>
                          <a:pt x="37846" y="97472"/>
                        </a:cubicBezTo>
                        <a:cubicBezTo>
                          <a:pt x="37846" y="97472"/>
                          <a:pt x="43615" y="100148"/>
                          <a:pt x="43846" y="100148"/>
                        </a:cubicBezTo>
                        <a:cubicBezTo>
                          <a:pt x="44076" y="100148"/>
                          <a:pt x="44076" y="100817"/>
                          <a:pt x="44307" y="101486"/>
                        </a:cubicBezTo>
                        <a:cubicBezTo>
                          <a:pt x="44307" y="101486"/>
                          <a:pt x="44307" y="101486"/>
                          <a:pt x="44307" y="101486"/>
                        </a:cubicBezTo>
                        <a:cubicBezTo>
                          <a:pt x="44307" y="101486"/>
                          <a:pt x="44307" y="101486"/>
                          <a:pt x="44307" y="101486"/>
                        </a:cubicBezTo>
                        <a:cubicBezTo>
                          <a:pt x="44538" y="101486"/>
                          <a:pt x="44538" y="101486"/>
                          <a:pt x="44538" y="101486"/>
                        </a:cubicBezTo>
                        <a:cubicBezTo>
                          <a:pt x="44538" y="101486"/>
                          <a:pt x="44307" y="101263"/>
                          <a:pt x="44307" y="101263"/>
                        </a:cubicBezTo>
                        <a:cubicBezTo>
                          <a:pt x="44307" y="101040"/>
                          <a:pt x="44307" y="101040"/>
                          <a:pt x="44307" y="101040"/>
                        </a:cubicBezTo>
                        <a:cubicBezTo>
                          <a:pt x="44538" y="101040"/>
                          <a:pt x="44538" y="101040"/>
                          <a:pt x="44538" y="101040"/>
                        </a:cubicBezTo>
                        <a:cubicBezTo>
                          <a:pt x="44538" y="101040"/>
                          <a:pt x="44538" y="101040"/>
                          <a:pt x="44538" y="101040"/>
                        </a:cubicBezTo>
                        <a:cubicBezTo>
                          <a:pt x="44538" y="101040"/>
                          <a:pt x="44538" y="101040"/>
                          <a:pt x="44538" y="101040"/>
                        </a:cubicBezTo>
                        <a:cubicBezTo>
                          <a:pt x="44769" y="101040"/>
                          <a:pt x="44769" y="101040"/>
                          <a:pt x="44769" y="101040"/>
                        </a:cubicBezTo>
                        <a:cubicBezTo>
                          <a:pt x="45000" y="100817"/>
                          <a:pt x="45000" y="100817"/>
                          <a:pt x="45000" y="100817"/>
                        </a:cubicBezTo>
                        <a:cubicBezTo>
                          <a:pt x="45000" y="100817"/>
                          <a:pt x="45000" y="100817"/>
                          <a:pt x="45000" y="100817"/>
                        </a:cubicBezTo>
                        <a:cubicBezTo>
                          <a:pt x="45000" y="100594"/>
                          <a:pt x="44769" y="100594"/>
                          <a:pt x="44769" y="100594"/>
                        </a:cubicBezTo>
                        <a:cubicBezTo>
                          <a:pt x="44769" y="100594"/>
                          <a:pt x="45000" y="100594"/>
                          <a:pt x="45000" y="100371"/>
                        </a:cubicBezTo>
                        <a:cubicBezTo>
                          <a:pt x="45000" y="100371"/>
                          <a:pt x="45000" y="100371"/>
                          <a:pt x="45000" y="100371"/>
                        </a:cubicBezTo>
                        <a:cubicBezTo>
                          <a:pt x="45230" y="100371"/>
                          <a:pt x="45230" y="100371"/>
                          <a:pt x="45230" y="100371"/>
                        </a:cubicBezTo>
                        <a:cubicBezTo>
                          <a:pt x="45230" y="100371"/>
                          <a:pt x="45230" y="100371"/>
                          <a:pt x="45230" y="100371"/>
                        </a:cubicBezTo>
                        <a:cubicBezTo>
                          <a:pt x="45230" y="100371"/>
                          <a:pt x="45230" y="100371"/>
                          <a:pt x="45230" y="100371"/>
                        </a:cubicBezTo>
                        <a:cubicBezTo>
                          <a:pt x="45461" y="100371"/>
                          <a:pt x="45461" y="100371"/>
                          <a:pt x="45461" y="100371"/>
                        </a:cubicBezTo>
                        <a:cubicBezTo>
                          <a:pt x="45461" y="100371"/>
                          <a:pt x="45461" y="100371"/>
                          <a:pt x="45461" y="100371"/>
                        </a:cubicBezTo>
                        <a:cubicBezTo>
                          <a:pt x="45692" y="100371"/>
                          <a:pt x="45692" y="100371"/>
                          <a:pt x="45692" y="100371"/>
                        </a:cubicBezTo>
                        <a:cubicBezTo>
                          <a:pt x="45692" y="100371"/>
                          <a:pt x="45692" y="100371"/>
                          <a:pt x="45692" y="100371"/>
                        </a:cubicBezTo>
                        <a:cubicBezTo>
                          <a:pt x="45692" y="100371"/>
                          <a:pt x="45923" y="100371"/>
                          <a:pt x="45923" y="100371"/>
                        </a:cubicBezTo>
                        <a:cubicBezTo>
                          <a:pt x="45923" y="100371"/>
                          <a:pt x="45923" y="100594"/>
                          <a:pt x="45923" y="100594"/>
                        </a:cubicBezTo>
                        <a:cubicBezTo>
                          <a:pt x="45923" y="100594"/>
                          <a:pt x="45923" y="100594"/>
                          <a:pt x="45923" y="100594"/>
                        </a:cubicBezTo>
                        <a:cubicBezTo>
                          <a:pt x="45923" y="100594"/>
                          <a:pt x="46153" y="100594"/>
                          <a:pt x="46153" y="100594"/>
                        </a:cubicBezTo>
                        <a:cubicBezTo>
                          <a:pt x="46153" y="100594"/>
                          <a:pt x="46153" y="100817"/>
                          <a:pt x="46153" y="100817"/>
                        </a:cubicBezTo>
                        <a:cubicBezTo>
                          <a:pt x="46153" y="100817"/>
                          <a:pt x="46384" y="100817"/>
                          <a:pt x="46384" y="100817"/>
                        </a:cubicBezTo>
                        <a:cubicBezTo>
                          <a:pt x="46384" y="100817"/>
                          <a:pt x="46615" y="100817"/>
                          <a:pt x="46615" y="100817"/>
                        </a:cubicBezTo>
                        <a:cubicBezTo>
                          <a:pt x="46615" y="100817"/>
                          <a:pt x="46615" y="100817"/>
                          <a:pt x="46615" y="101040"/>
                        </a:cubicBezTo>
                        <a:cubicBezTo>
                          <a:pt x="46846" y="101040"/>
                          <a:pt x="46846" y="101040"/>
                          <a:pt x="46846" y="101040"/>
                        </a:cubicBezTo>
                        <a:cubicBezTo>
                          <a:pt x="46846" y="100817"/>
                          <a:pt x="47076" y="100817"/>
                          <a:pt x="47076" y="100817"/>
                        </a:cubicBezTo>
                        <a:cubicBezTo>
                          <a:pt x="47076" y="101040"/>
                          <a:pt x="47076" y="101040"/>
                          <a:pt x="47076" y="101040"/>
                        </a:cubicBezTo>
                        <a:cubicBezTo>
                          <a:pt x="47307" y="101040"/>
                          <a:pt x="47307" y="101040"/>
                          <a:pt x="47307" y="101040"/>
                        </a:cubicBezTo>
                        <a:cubicBezTo>
                          <a:pt x="47538" y="101040"/>
                          <a:pt x="47538" y="101040"/>
                          <a:pt x="47538" y="101040"/>
                        </a:cubicBezTo>
                        <a:cubicBezTo>
                          <a:pt x="47538" y="101263"/>
                          <a:pt x="47538" y="101263"/>
                          <a:pt x="47538" y="101263"/>
                        </a:cubicBezTo>
                        <a:cubicBezTo>
                          <a:pt x="47307" y="101263"/>
                          <a:pt x="47307" y="101263"/>
                          <a:pt x="47307" y="101263"/>
                        </a:cubicBezTo>
                        <a:cubicBezTo>
                          <a:pt x="47307" y="101263"/>
                          <a:pt x="47307" y="101263"/>
                          <a:pt x="47307" y="101263"/>
                        </a:cubicBezTo>
                        <a:cubicBezTo>
                          <a:pt x="47307" y="101486"/>
                          <a:pt x="47307" y="101486"/>
                          <a:pt x="47307" y="101486"/>
                        </a:cubicBezTo>
                        <a:cubicBezTo>
                          <a:pt x="47538" y="101486"/>
                          <a:pt x="47538" y="101486"/>
                          <a:pt x="47538" y="101486"/>
                        </a:cubicBezTo>
                        <a:cubicBezTo>
                          <a:pt x="47538" y="101486"/>
                          <a:pt x="47538" y="101486"/>
                          <a:pt x="47538" y="101486"/>
                        </a:cubicBezTo>
                        <a:cubicBezTo>
                          <a:pt x="48000" y="101710"/>
                          <a:pt x="48000" y="101710"/>
                          <a:pt x="48000" y="101710"/>
                        </a:cubicBezTo>
                        <a:cubicBezTo>
                          <a:pt x="47769" y="101710"/>
                          <a:pt x="47769" y="101710"/>
                          <a:pt x="47769" y="101710"/>
                        </a:cubicBezTo>
                        <a:cubicBezTo>
                          <a:pt x="47769" y="101710"/>
                          <a:pt x="47769" y="101710"/>
                          <a:pt x="47769" y="101710"/>
                        </a:cubicBezTo>
                        <a:cubicBezTo>
                          <a:pt x="47769" y="101710"/>
                          <a:pt x="47538" y="101710"/>
                          <a:pt x="47538" y="101710"/>
                        </a:cubicBezTo>
                        <a:cubicBezTo>
                          <a:pt x="47538" y="101710"/>
                          <a:pt x="47307" y="101710"/>
                          <a:pt x="47307" y="101710"/>
                        </a:cubicBezTo>
                        <a:cubicBezTo>
                          <a:pt x="47307" y="101933"/>
                          <a:pt x="47307" y="101933"/>
                          <a:pt x="47307" y="101933"/>
                        </a:cubicBezTo>
                        <a:cubicBezTo>
                          <a:pt x="47307" y="102379"/>
                          <a:pt x="47307" y="102379"/>
                          <a:pt x="47307" y="102379"/>
                        </a:cubicBezTo>
                        <a:cubicBezTo>
                          <a:pt x="47076" y="102379"/>
                          <a:pt x="47076" y="102379"/>
                          <a:pt x="47076" y="102379"/>
                        </a:cubicBezTo>
                        <a:cubicBezTo>
                          <a:pt x="47076" y="102602"/>
                          <a:pt x="47076" y="102602"/>
                          <a:pt x="47076" y="102602"/>
                        </a:cubicBezTo>
                        <a:cubicBezTo>
                          <a:pt x="47076" y="102602"/>
                          <a:pt x="47076" y="102602"/>
                          <a:pt x="47076" y="102602"/>
                        </a:cubicBezTo>
                        <a:cubicBezTo>
                          <a:pt x="47076" y="102602"/>
                          <a:pt x="47076" y="102602"/>
                          <a:pt x="47076" y="102602"/>
                        </a:cubicBezTo>
                        <a:cubicBezTo>
                          <a:pt x="47076" y="102602"/>
                          <a:pt x="47076" y="102602"/>
                          <a:pt x="46846" y="102602"/>
                        </a:cubicBezTo>
                        <a:cubicBezTo>
                          <a:pt x="46846" y="102602"/>
                          <a:pt x="46846" y="102602"/>
                          <a:pt x="46846" y="102602"/>
                        </a:cubicBezTo>
                        <a:cubicBezTo>
                          <a:pt x="46615" y="102379"/>
                          <a:pt x="46615" y="102379"/>
                          <a:pt x="46615" y="102379"/>
                        </a:cubicBezTo>
                        <a:cubicBezTo>
                          <a:pt x="46615" y="102602"/>
                          <a:pt x="46615" y="102602"/>
                          <a:pt x="46615" y="102602"/>
                        </a:cubicBezTo>
                        <a:cubicBezTo>
                          <a:pt x="46615" y="102825"/>
                          <a:pt x="46615" y="102825"/>
                          <a:pt x="46615" y="102825"/>
                        </a:cubicBezTo>
                        <a:cubicBezTo>
                          <a:pt x="46615" y="102825"/>
                          <a:pt x="46615" y="102825"/>
                          <a:pt x="46615" y="102825"/>
                        </a:cubicBezTo>
                        <a:cubicBezTo>
                          <a:pt x="46384" y="102825"/>
                          <a:pt x="46384" y="102825"/>
                          <a:pt x="46384" y="102825"/>
                        </a:cubicBezTo>
                        <a:cubicBezTo>
                          <a:pt x="46153" y="102825"/>
                          <a:pt x="46153" y="102825"/>
                          <a:pt x="46153" y="102825"/>
                        </a:cubicBezTo>
                        <a:cubicBezTo>
                          <a:pt x="45923" y="102825"/>
                          <a:pt x="45923" y="102825"/>
                          <a:pt x="45923" y="102825"/>
                        </a:cubicBezTo>
                        <a:cubicBezTo>
                          <a:pt x="45923" y="102825"/>
                          <a:pt x="45923" y="102825"/>
                          <a:pt x="45923" y="102825"/>
                        </a:cubicBezTo>
                        <a:cubicBezTo>
                          <a:pt x="45692" y="103048"/>
                          <a:pt x="45692" y="103048"/>
                          <a:pt x="45692" y="103048"/>
                        </a:cubicBezTo>
                        <a:cubicBezTo>
                          <a:pt x="45692" y="103048"/>
                          <a:pt x="45692" y="103048"/>
                          <a:pt x="45692" y="103048"/>
                        </a:cubicBezTo>
                        <a:cubicBezTo>
                          <a:pt x="45692" y="103048"/>
                          <a:pt x="45692" y="103048"/>
                          <a:pt x="45692" y="103048"/>
                        </a:cubicBezTo>
                        <a:cubicBezTo>
                          <a:pt x="45692" y="103048"/>
                          <a:pt x="45692" y="103048"/>
                          <a:pt x="45692" y="103048"/>
                        </a:cubicBezTo>
                        <a:cubicBezTo>
                          <a:pt x="45461" y="102825"/>
                          <a:pt x="45461" y="102825"/>
                          <a:pt x="45461" y="102825"/>
                        </a:cubicBezTo>
                        <a:cubicBezTo>
                          <a:pt x="45461" y="103048"/>
                          <a:pt x="45461" y="103048"/>
                          <a:pt x="45461" y="103048"/>
                        </a:cubicBezTo>
                        <a:cubicBezTo>
                          <a:pt x="45461" y="103048"/>
                          <a:pt x="45461" y="103048"/>
                          <a:pt x="45461" y="103048"/>
                        </a:cubicBezTo>
                        <a:cubicBezTo>
                          <a:pt x="45461" y="103048"/>
                          <a:pt x="45461" y="103048"/>
                          <a:pt x="45461" y="103048"/>
                        </a:cubicBezTo>
                        <a:cubicBezTo>
                          <a:pt x="48461" y="103717"/>
                          <a:pt x="48461" y="103717"/>
                          <a:pt x="48461" y="103717"/>
                        </a:cubicBezTo>
                        <a:cubicBezTo>
                          <a:pt x="49153" y="103940"/>
                          <a:pt x="49153" y="104386"/>
                          <a:pt x="49846" y="104832"/>
                        </a:cubicBezTo>
                        <a:cubicBezTo>
                          <a:pt x="51692" y="104163"/>
                          <a:pt x="51692" y="104163"/>
                          <a:pt x="51692" y="104163"/>
                        </a:cubicBezTo>
                        <a:cubicBezTo>
                          <a:pt x="54000" y="105724"/>
                          <a:pt x="54000" y="105724"/>
                          <a:pt x="54000" y="105724"/>
                        </a:cubicBezTo>
                        <a:cubicBezTo>
                          <a:pt x="56076" y="105055"/>
                          <a:pt x="56076" y="105055"/>
                          <a:pt x="56076" y="105055"/>
                        </a:cubicBezTo>
                        <a:cubicBezTo>
                          <a:pt x="58153" y="105055"/>
                          <a:pt x="58153" y="105055"/>
                          <a:pt x="58153" y="105055"/>
                        </a:cubicBezTo>
                        <a:cubicBezTo>
                          <a:pt x="58153" y="104832"/>
                          <a:pt x="59076" y="104832"/>
                          <a:pt x="59769" y="105055"/>
                        </a:cubicBezTo>
                        <a:cubicBezTo>
                          <a:pt x="59769" y="105055"/>
                          <a:pt x="59769" y="105055"/>
                          <a:pt x="59769" y="105055"/>
                        </a:cubicBezTo>
                        <a:close/>
                        <a:moveTo>
                          <a:pt x="44307" y="101710"/>
                        </a:moveTo>
                        <a:cubicBezTo>
                          <a:pt x="44307" y="101710"/>
                          <a:pt x="44307" y="101710"/>
                          <a:pt x="44307" y="101710"/>
                        </a:cubicBezTo>
                        <a:cubicBezTo>
                          <a:pt x="44307" y="101710"/>
                          <a:pt x="44307" y="101710"/>
                          <a:pt x="44307" y="101710"/>
                        </a:cubicBezTo>
                        <a:cubicBezTo>
                          <a:pt x="44307" y="101710"/>
                          <a:pt x="44538" y="101710"/>
                          <a:pt x="44538" y="101710"/>
                        </a:cubicBezTo>
                        <a:cubicBezTo>
                          <a:pt x="44538" y="101710"/>
                          <a:pt x="44538" y="101933"/>
                          <a:pt x="44538" y="101933"/>
                        </a:cubicBezTo>
                        <a:cubicBezTo>
                          <a:pt x="44538" y="101933"/>
                          <a:pt x="44538" y="101933"/>
                          <a:pt x="44538" y="101933"/>
                        </a:cubicBezTo>
                        <a:cubicBezTo>
                          <a:pt x="44538" y="101933"/>
                          <a:pt x="44538" y="101933"/>
                          <a:pt x="44769" y="102156"/>
                        </a:cubicBezTo>
                        <a:cubicBezTo>
                          <a:pt x="44769" y="102156"/>
                          <a:pt x="44538" y="102156"/>
                          <a:pt x="44538" y="102156"/>
                        </a:cubicBezTo>
                        <a:cubicBezTo>
                          <a:pt x="44538" y="102156"/>
                          <a:pt x="44538" y="102156"/>
                          <a:pt x="44538" y="102156"/>
                        </a:cubicBezTo>
                        <a:cubicBezTo>
                          <a:pt x="44307" y="102156"/>
                          <a:pt x="44307" y="102156"/>
                          <a:pt x="44307" y="102156"/>
                        </a:cubicBezTo>
                        <a:cubicBezTo>
                          <a:pt x="44307" y="102156"/>
                          <a:pt x="44307" y="102156"/>
                          <a:pt x="44307" y="102156"/>
                        </a:cubicBezTo>
                        <a:cubicBezTo>
                          <a:pt x="44307" y="101710"/>
                          <a:pt x="44307" y="101710"/>
                          <a:pt x="44307" y="101710"/>
                        </a:cubicBezTo>
                        <a:close/>
                        <a:moveTo>
                          <a:pt x="103846" y="45055"/>
                        </a:moveTo>
                        <a:cubicBezTo>
                          <a:pt x="103846" y="45055"/>
                          <a:pt x="103846" y="45055"/>
                          <a:pt x="103846" y="45055"/>
                        </a:cubicBezTo>
                        <a:cubicBezTo>
                          <a:pt x="103615" y="45055"/>
                          <a:pt x="103615" y="45055"/>
                          <a:pt x="103615" y="45055"/>
                        </a:cubicBezTo>
                        <a:cubicBezTo>
                          <a:pt x="103384" y="44832"/>
                          <a:pt x="103384" y="44832"/>
                          <a:pt x="103384" y="44832"/>
                        </a:cubicBezTo>
                        <a:cubicBezTo>
                          <a:pt x="103384" y="44832"/>
                          <a:pt x="103384" y="44832"/>
                          <a:pt x="103384" y="44832"/>
                        </a:cubicBezTo>
                        <a:cubicBezTo>
                          <a:pt x="103384" y="44832"/>
                          <a:pt x="103384" y="44832"/>
                          <a:pt x="103384" y="44832"/>
                        </a:cubicBezTo>
                        <a:cubicBezTo>
                          <a:pt x="103615" y="44832"/>
                          <a:pt x="103615" y="44609"/>
                          <a:pt x="103615" y="44609"/>
                        </a:cubicBezTo>
                        <a:cubicBezTo>
                          <a:pt x="103615" y="44832"/>
                          <a:pt x="103846" y="44832"/>
                          <a:pt x="103846" y="45055"/>
                        </a:cubicBezTo>
                        <a:close/>
                        <a:moveTo>
                          <a:pt x="113769" y="115985"/>
                        </a:moveTo>
                        <a:cubicBezTo>
                          <a:pt x="113769" y="115985"/>
                          <a:pt x="113769" y="115985"/>
                          <a:pt x="113769" y="115985"/>
                        </a:cubicBezTo>
                        <a:cubicBezTo>
                          <a:pt x="113307" y="116877"/>
                          <a:pt x="113307" y="116877"/>
                          <a:pt x="113307" y="116877"/>
                        </a:cubicBezTo>
                        <a:cubicBezTo>
                          <a:pt x="112846" y="117546"/>
                          <a:pt x="112846" y="117546"/>
                          <a:pt x="112846" y="117546"/>
                        </a:cubicBezTo>
                        <a:cubicBezTo>
                          <a:pt x="114000" y="117992"/>
                          <a:pt x="114000" y="117992"/>
                          <a:pt x="114000" y="117992"/>
                        </a:cubicBezTo>
                        <a:cubicBezTo>
                          <a:pt x="114692" y="118884"/>
                          <a:pt x="114692" y="118884"/>
                          <a:pt x="114692" y="118884"/>
                        </a:cubicBezTo>
                        <a:cubicBezTo>
                          <a:pt x="114692" y="118884"/>
                          <a:pt x="115153" y="119553"/>
                          <a:pt x="115615" y="119553"/>
                        </a:cubicBezTo>
                        <a:cubicBezTo>
                          <a:pt x="116076" y="119553"/>
                          <a:pt x="116769" y="120000"/>
                          <a:pt x="116769" y="120000"/>
                        </a:cubicBezTo>
                        <a:cubicBezTo>
                          <a:pt x="116769" y="120000"/>
                          <a:pt x="117230" y="119330"/>
                          <a:pt x="117230" y="118438"/>
                        </a:cubicBezTo>
                        <a:cubicBezTo>
                          <a:pt x="117461" y="117769"/>
                          <a:pt x="116538" y="116877"/>
                          <a:pt x="117923" y="116654"/>
                        </a:cubicBezTo>
                        <a:cubicBezTo>
                          <a:pt x="119307" y="116654"/>
                          <a:pt x="118384" y="115092"/>
                          <a:pt x="118384" y="115092"/>
                        </a:cubicBezTo>
                        <a:cubicBezTo>
                          <a:pt x="118384" y="113977"/>
                          <a:pt x="118384" y="113977"/>
                          <a:pt x="118384" y="113977"/>
                        </a:cubicBezTo>
                        <a:cubicBezTo>
                          <a:pt x="118153" y="112639"/>
                          <a:pt x="118153" y="112639"/>
                          <a:pt x="118153" y="112639"/>
                        </a:cubicBezTo>
                        <a:cubicBezTo>
                          <a:pt x="118384" y="112193"/>
                          <a:pt x="118384" y="112193"/>
                          <a:pt x="118384" y="112193"/>
                        </a:cubicBezTo>
                        <a:cubicBezTo>
                          <a:pt x="119076" y="111301"/>
                          <a:pt x="119076" y="111301"/>
                          <a:pt x="119076" y="111301"/>
                        </a:cubicBezTo>
                        <a:cubicBezTo>
                          <a:pt x="119769" y="110631"/>
                          <a:pt x="119769" y="110631"/>
                          <a:pt x="119769" y="110631"/>
                        </a:cubicBezTo>
                        <a:cubicBezTo>
                          <a:pt x="119769" y="110631"/>
                          <a:pt x="120000" y="109962"/>
                          <a:pt x="120000" y="109516"/>
                        </a:cubicBezTo>
                        <a:cubicBezTo>
                          <a:pt x="119769" y="109293"/>
                          <a:pt x="119076" y="108178"/>
                          <a:pt x="119076" y="108178"/>
                        </a:cubicBezTo>
                        <a:cubicBezTo>
                          <a:pt x="119769" y="105501"/>
                          <a:pt x="119769" y="105501"/>
                          <a:pt x="119769" y="105501"/>
                        </a:cubicBezTo>
                        <a:cubicBezTo>
                          <a:pt x="119538" y="105055"/>
                          <a:pt x="119538" y="105055"/>
                          <a:pt x="119538" y="105055"/>
                        </a:cubicBezTo>
                        <a:cubicBezTo>
                          <a:pt x="119307" y="104386"/>
                          <a:pt x="119307" y="104386"/>
                          <a:pt x="119307" y="104386"/>
                        </a:cubicBezTo>
                        <a:cubicBezTo>
                          <a:pt x="118846" y="102379"/>
                          <a:pt x="118846" y="102379"/>
                          <a:pt x="118846" y="102379"/>
                        </a:cubicBezTo>
                        <a:cubicBezTo>
                          <a:pt x="118846" y="99702"/>
                          <a:pt x="118846" y="99702"/>
                          <a:pt x="118846" y="99702"/>
                        </a:cubicBezTo>
                        <a:cubicBezTo>
                          <a:pt x="117461" y="100148"/>
                          <a:pt x="117461" y="100148"/>
                          <a:pt x="117461" y="100148"/>
                        </a:cubicBezTo>
                        <a:cubicBezTo>
                          <a:pt x="117923" y="101263"/>
                          <a:pt x="117923" y="101263"/>
                          <a:pt x="117923" y="101263"/>
                        </a:cubicBezTo>
                        <a:cubicBezTo>
                          <a:pt x="117461" y="103271"/>
                          <a:pt x="117461" y="103271"/>
                          <a:pt x="117461" y="103271"/>
                        </a:cubicBezTo>
                        <a:cubicBezTo>
                          <a:pt x="116307" y="103494"/>
                          <a:pt x="116307" y="103494"/>
                          <a:pt x="116307" y="103494"/>
                        </a:cubicBezTo>
                        <a:cubicBezTo>
                          <a:pt x="115846" y="103717"/>
                          <a:pt x="115846" y="103717"/>
                          <a:pt x="115846" y="103717"/>
                        </a:cubicBezTo>
                        <a:cubicBezTo>
                          <a:pt x="115153" y="104386"/>
                          <a:pt x="115153" y="104386"/>
                          <a:pt x="115153" y="104386"/>
                        </a:cubicBezTo>
                        <a:cubicBezTo>
                          <a:pt x="114000" y="104609"/>
                          <a:pt x="114000" y="104609"/>
                          <a:pt x="114000" y="104609"/>
                        </a:cubicBezTo>
                        <a:cubicBezTo>
                          <a:pt x="112846" y="105501"/>
                          <a:pt x="112846" y="105501"/>
                          <a:pt x="112846" y="105501"/>
                        </a:cubicBezTo>
                        <a:cubicBezTo>
                          <a:pt x="111923" y="106617"/>
                          <a:pt x="111923" y="106617"/>
                          <a:pt x="111923" y="106617"/>
                        </a:cubicBezTo>
                        <a:cubicBezTo>
                          <a:pt x="111230" y="107286"/>
                          <a:pt x="111230" y="107286"/>
                          <a:pt x="111230" y="107286"/>
                        </a:cubicBezTo>
                        <a:cubicBezTo>
                          <a:pt x="111230" y="107286"/>
                          <a:pt x="111230" y="107732"/>
                          <a:pt x="111692" y="108178"/>
                        </a:cubicBezTo>
                        <a:cubicBezTo>
                          <a:pt x="112153" y="108847"/>
                          <a:pt x="111000" y="111078"/>
                          <a:pt x="111000" y="111078"/>
                        </a:cubicBezTo>
                        <a:cubicBezTo>
                          <a:pt x="111923" y="111078"/>
                          <a:pt x="111923" y="111078"/>
                          <a:pt x="111923" y="111078"/>
                        </a:cubicBezTo>
                        <a:cubicBezTo>
                          <a:pt x="112153" y="112193"/>
                          <a:pt x="112153" y="112193"/>
                          <a:pt x="112153" y="112193"/>
                        </a:cubicBezTo>
                        <a:cubicBezTo>
                          <a:pt x="111461" y="113308"/>
                          <a:pt x="111461" y="113308"/>
                          <a:pt x="111461" y="113308"/>
                        </a:cubicBezTo>
                        <a:cubicBezTo>
                          <a:pt x="112153" y="113754"/>
                          <a:pt x="112153" y="113754"/>
                          <a:pt x="112153" y="113754"/>
                        </a:cubicBezTo>
                        <a:cubicBezTo>
                          <a:pt x="112846" y="113754"/>
                          <a:pt x="112846" y="113754"/>
                          <a:pt x="112846" y="113754"/>
                        </a:cubicBezTo>
                        <a:cubicBezTo>
                          <a:pt x="112153" y="115092"/>
                          <a:pt x="112153" y="115092"/>
                          <a:pt x="112153" y="115092"/>
                        </a:cubicBezTo>
                        <a:cubicBezTo>
                          <a:pt x="112153" y="115539"/>
                          <a:pt x="112153" y="115539"/>
                          <a:pt x="112153" y="115539"/>
                        </a:cubicBezTo>
                        <a:lnTo>
                          <a:pt x="113769" y="115985"/>
                        </a:lnTo>
                        <a:close/>
                      </a:path>
                    </a:pathLst>
                  </a:custGeom>
                  <a:solidFill>
                    <a:sysClr val="window" lastClr="FFFFFF">
                      <a:lumMod val="75000"/>
                    </a:sys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7" name="Shape 2043"/>
                  <p:cNvSpPr/>
                  <p:nvPr/>
                </p:nvSpPr>
                <p:spPr>
                  <a:xfrm>
                    <a:off x="5322812" y="2251718"/>
                    <a:ext cx="802583" cy="653100"/>
                  </a:xfrm>
                  <a:custGeom>
                    <a:avLst/>
                    <a:gdLst/>
                    <a:ahLst/>
                    <a:cxnLst/>
                    <a:rect l="0" t="0" r="0" b="0"/>
                    <a:pathLst>
                      <a:path w="120000" h="120000" extrusionOk="0">
                        <a:moveTo>
                          <a:pt x="52840" y="9355"/>
                        </a:moveTo>
                        <a:cubicBezTo>
                          <a:pt x="53522" y="9355"/>
                          <a:pt x="56590" y="6508"/>
                          <a:pt x="56590" y="6508"/>
                        </a:cubicBezTo>
                        <a:cubicBezTo>
                          <a:pt x="56590" y="6508"/>
                          <a:pt x="58295" y="7322"/>
                          <a:pt x="59318" y="6915"/>
                        </a:cubicBezTo>
                        <a:cubicBezTo>
                          <a:pt x="60340" y="6915"/>
                          <a:pt x="63750" y="6508"/>
                          <a:pt x="63750" y="6508"/>
                        </a:cubicBezTo>
                        <a:cubicBezTo>
                          <a:pt x="63750" y="6508"/>
                          <a:pt x="65454" y="6508"/>
                          <a:pt x="66136" y="6508"/>
                        </a:cubicBezTo>
                        <a:cubicBezTo>
                          <a:pt x="66818" y="6508"/>
                          <a:pt x="69886" y="6101"/>
                          <a:pt x="70568" y="6101"/>
                        </a:cubicBezTo>
                        <a:cubicBezTo>
                          <a:pt x="71250" y="6101"/>
                          <a:pt x="73295" y="5694"/>
                          <a:pt x="73636" y="5288"/>
                        </a:cubicBezTo>
                        <a:cubicBezTo>
                          <a:pt x="74318" y="5288"/>
                          <a:pt x="78409" y="4881"/>
                          <a:pt x="78750" y="4881"/>
                        </a:cubicBezTo>
                        <a:cubicBezTo>
                          <a:pt x="79431" y="4881"/>
                          <a:pt x="85909" y="4067"/>
                          <a:pt x="85909" y="4067"/>
                        </a:cubicBezTo>
                        <a:cubicBezTo>
                          <a:pt x="88636" y="2033"/>
                          <a:pt x="88636" y="2033"/>
                          <a:pt x="88636" y="2033"/>
                        </a:cubicBezTo>
                        <a:cubicBezTo>
                          <a:pt x="91704" y="1220"/>
                          <a:pt x="91704" y="1220"/>
                          <a:pt x="91704" y="1220"/>
                        </a:cubicBezTo>
                        <a:cubicBezTo>
                          <a:pt x="91704" y="1220"/>
                          <a:pt x="92727" y="0"/>
                          <a:pt x="92727" y="406"/>
                        </a:cubicBezTo>
                        <a:cubicBezTo>
                          <a:pt x="93068" y="1220"/>
                          <a:pt x="93750" y="2440"/>
                          <a:pt x="93750" y="2440"/>
                        </a:cubicBezTo>
                        <a:cubicBezTo>
                          <a:pt x="93750" y="2440"/>
                          <a:pt x="97500" y="2440"/>
                          <a:pt x="97500" y="2440"/>
                        </a:cubicBezTo>
                        <a:cubicBezTo>
                          <a:pt x="97500" y="2847"/>
                          <a:pt x="98522" y="5288"/>
                          <a:pt x="98522" y="5288"/>
                        </a:cubicBezTo>
                        <a:cubicBezTo>
                          <a:pt x="99545" y="6508"/>
                          <a:pt x="99545" y="6508"/>
                          <a:pt x="99545" y="6508"/>
                        </a:cubicBezTo>
                        <a:cubicBezTo>
                          <a:pt x="99545" y="6508"/>
                          <a:pt x="99886" y="8542"/>
                          <a:pt x="99886" y="9762"/>
                        </a:cubicBezTo>
                        <a:cubicBezTo>
                          <a:pt x="100227" y="10576"/>
                          <a:pt x="102613" y="15457"/>
                          <a:pt x="102613" y="15457"/>
                        </a:cubicBezTo>
                        <a:cubicBezTo>
                          <a:pt x="104318" y="19932"/>
                          <a:pt x="104318" y="19932"/>
                          <a:pt x="104318" y="19932"/>
                        </a:cubicBezTo>
                        <a:cubicBezTo>
                          <a:pt x="107045" y="24406"/>
                          <a:pt x="107045" y="24406"/>
                          <a:pt x="107045" y="24406"/>
                        </a:cubicBezTo>
                        <a:cubicBezTo>
                          <a:pt x="107386" y="27661"/>
                          <a:pt x="107386" y="27661"/>
                          <a:pt x="107386" y="27661"/>
                        </a:cubicBezTo>
                        <a:cubicBezTo>
                          <a:pt x="107386" y="27661"/>
                          <a:pt x="108409" y="28881"/>
                          <a:pt x="108409" y="29694"/>
                        </a:cubicBezTo>
                        <a:cubicBezTo>
                          <a:pt x="108409" y="30101"/>
                          <a:pt x="108409" y="31322"/>
                          <a:pt x="108409" y="31728"/>
                        </a:cubicBezTo>
                        <a:cubicBezTo>
                          <a:pt x="108750" y="31728"/>
                          <a:pt x="109090" y="33762"/>
                          <a:pt x="108750" y="33762"/>
                        </a:cubicBezTo>
                        <a:cubicBezTo>
                          <a:pt x="108409" y="34169"/>
                          <a:pt x="107045" y="36610"/>
                          <a:pt x="107045" y="36610"/>
                        </a:cubicBezTo>
                        <a:cubicBezTo>
                          <a:pt x="105681" y="37423"/>
                          <a:pt x="105681" y="37423"/>
                          <a:pt x="105681" y="37423"/>
                        </a:cubicBezTo>
                        <a:cubicBezTo>
                          <a:pt x="103977" y="40271"/>
                          <a:pt x="103977" y="40271"/>
                          <a:pt x="103977" y="40271"/>
                        </a:cubicBezTo>
                        <a:cubicBezTo>
                          <a:pt x="102954" y="43932"/>
                          <a:pt x="102954" y="43932"/>
                          <a:pt x="102954" y="43932"/>
                        </a:cubicBezTo>
                        <a:cubicBezTo>
                          <a:pt x="102613" y="45152"/>
                          <a:pt x="102613" y="45152"/>
                          <a:pt x="102613" y="45152"/>
                        </a:cubicBezTo>
                        <a:cubicBezTo>
                          <a:pt x="102613" y="45152"/>
                          <a:pt x="102954" y="46372"/>
                          <a:pt x="103295" y="46372"/>
                        </a:cubicBezTo>
                        <a:cubicBezTo>
                          <a:pt x="103977" y="46372"/>
                          <a:pt x="106363" y="46779"/>
                          <a:pt x="106363" y="46779"/>
                        </a:cubicBezTo>
                        <a:cubicBezTo>
                          <a:pt x="108409" y="48406"/>
                          <a:pt x="108409" y="48406"/>
                          <a:pt x="108409" y="48406"/>
                        </a:cubicBezTo>
                        <a:cubicBezTo>
                          <a:pt x="108409" y="50033"/>
                          <a:pt x="108409" y="50033"/>
                          <a:pt x="108409" y="50033"/>
                        </a:cubicBezTo>
                        <a:cubicBezTo>
                          <a:pt x="108409" y="50033"/>
                          <a:pt x="108750" y="53288"/>
                          <a:pt x="108750" y="53694"/>
                        </a:cubicBezTo>
                        <a:cubicBezTo>
                          <a:pt x="108750" y="53694"/>
                          <a:pt x="108409" y="56542"/>
                          <a:pt x="108409" y="56542"/>
                        </a:cubicBezTo>
                        <a:cubicBezTo>
                          <a:pt x="108409" y="56542"/>
                          <a:pt x="109090" y="58169"/>
                          <a:pt x="109090" y="58576"/>
                        </a:cubicBezTo>
                        <a:cubicBezTo>
                          <a:pt x="109431" y="58983"/>
                          <a:pt x="110113" y="59796"/>
                          <a:pt x="110113" y="60203"/>
                        </a:cubicBezTo>
                        <a:cubicBezTo>
                          <a:pt x="110454" y="60203"/>
                          <a:pt x="110454" y="60610"/>
                          <a:pt x="110454" y="60610"/>
                        </a:cubicBezTo>
                        <a:cubicBezTo>
                          <a:pt x="111136" y="62644"/>
                          <a:pt x="111136" y="62644"/>
                          <a:pt x="111136" y="62644"/>
                        </a:cubicBezTo>
                        <a:cubicBezTo>
                          <a:pt x="111136" y="64271"/>
                          <a:pt x="111136" y="64271"/>
                          <a:pt x="111136" y="64271"/>
                        </a:cubicBezTo>
                        <a:cubicBezTo>
                          <a:pt x="111136" y="64271"/>
                          <a:pt x="111136" y="65491"/>
                          <a:pt x="111818" y="65491"/>
                        </a:cubicBezTo>
                        <a:cubicBezTo>
                          <a:pt x="112500" y="65491"/>
                          <a:pt x="112840" y="65898"/>
                          <a:pt x="112840" y="66711"/>
                        </a:cubicBezTo>
                        <a:cubicBezTo>
                          <a:pt x="112840" y="67525"/>
                          <a:pt x="114545" y="68338"/>
                          <a:pt x="114545" y="68338"/>
                        </a:cubicBezTo>
                        <a:cubicBezTo>
                          <a:pt x="114545" y="68338"/>
                          <a:pt x="114545" y="69966"/>
                          <a:pt x="114886" y="70372"/>
                        </a:cubicBezTo>
                        <a:cubicBezTo>
                          <a:pt x="115568" y="70779"/>
                          <a:pt x="116250" y="71186"/>
                          <a:pt x="117272" y="71186"/>
                        </a:cubicBezTo>
                        <a:cubicBezTo>
                          <a:pt x="118295" y="71593"/>
                          <a:pt x="117954" y="73220"/>
                          <a:pt x="118636" y="73627"/>
                        </a:cubicBezTo>
                        <a:cubicBezTo>
                          <a:pt x="119318" y="74033"/>
                          <a:pt x="120000" y="74847"/>
                          <a:pt x="119318" y="74847"/>
                        </a:cubicBezTo>
                        <a:cubicBezTo>
                          <a:pt x="118977" y="75254"/>
                          <a:pt x="117954" y="75254"/>
                          <a:pt x="117954" y="75254"/>
                        </a:cubicBezTo>
                        <a:cubicBezTo>
                          <a:pt x="117954" y="75254"/>
                          <a:pt x="117613" y="75661"/>
                          <a:pt x="117613" y="76474"/>
                        </a:cubicBezTo>
                        <a:cubicBezTo>
                          <a:pt x="117954" y="76881"/>
                          <a:pt x="117954" y="76881"/>
                          <a:pt x="117954" y="76881"/>
                        </a:cubicBezTo>
                        <a:cubicBezTo>
                          <a:pt x="119318" y="78915"/>
                          <a:pt x="119318" y="78915"/>
                          <a:pt x="119318" y="78915"/>
                        </a:cubicBezTo>
                        <a:cubicBezTo>
                          <a:pt x="119318" y="81355"/>
                          <a:pt x="119318" y="81355"/>
                          <a:pt x="119318" y="81355"/>
                        </a:cubicBezTo>
                        <a:cubicBezTo>
                          <a:pt x="119318" y="81355"/>
                          <a:pt x="119318" y="82169"/>
                          <a:pt x="119318" y="82983"/>
                        </a:cubicBezTo>
                        <a:cubicBezTo>
                          <a:pt x="119318" y="83389"/>
                          <a:pt x="118977" y="84203"/>
                          <a:pt x="118295" y="84203"/>
                        </a:cubicBezTo>
                        <a:cubicBezTo>
                          <a:pt x="117613" y="84203"/>
                          <a:pt x="117613" y="85423"/>
                          <a:pt x="117272" y="85423"/>
                        </a:cubicBezTo>
                        <a:cubicBezTo>
                          <a:pt x="116931" y="85830"/>
                          <a:pt x="116250" y="84610"/>
                          <a:pt x="115909" y="85830"/>
                        </a:cubicBezTo>
                        <a:cubicBezTo>
                          <a:pt x="115568" y="87457"/>
                          <a:pt x="114886" y="88677"/>
                          <a:pt x="114886" y="89084"/>
                        </a:cubicBezTo>
                        <a:cubicBezTo>
                          <a:pt x="114545" y="89491"/>
                          <a:pt x="113522" y="89898"/>
                          <a:pt x="113522" y="90711"/>
                        </a:cubicBezTo>
                        <a:cubicBezTo>
                          <a:pt x="113181" y="91525"/>
                          <a:pt x="113181" y="90711"/>
                          <a:pt x="112500" y="92745"/>
                        </a:cubicBezTo>
                        <a:cubicBezTo>
                          <a:pt x="111818" y="94779"/>
                          <a:pt x="111477" y="95593"/>
                          <a:pt x="111477" y="95593"/>
                        </a:cubicBezTo>
                        <a:cubicBezTo>
                          <a:pt x="108409" y="100474"/>
                          <a:pt x="108409" y="100474"/>
                          <a:pt x="108409" y="100474"/>
                        </a:cubicBezTo>
                        <a:cubicBezTo>
                          <a:pt x="108409" y="100474"/>
                          <a:pt x="106704" y="103728"/>
                          <a:pt x="106704" y="104135"/>
                        </a:cubicBezTo>
                        <a:cubicBezTo>
                          <a:pt x="106704" y="104542"/>
                          <a:pt x="106704" y="106169"/>
                          <a:pt x="106704" y="106169"/>
                        </a:cubicBezTo>
                        <a:cubicBezTo>
                          <a:pt x="108068" y="107796"/>
                          <a:pt x="108068" y="107796"/>
                          <a:pt x="108068" y="107796"/>
                        </a:cubicBezTo>
                        <a:cubicBezTo>
                          <a:pt x="108068" y="109423"/>
                          <a:pt x="108068" y="109423"/>
                          <a:pt x="108068" y="109423"/>
                        </a:cubicBezTo>
                        <a:cubicBezTo>
                          <a:pt x="108068" y="109423"/>
                          <a:pt x="108068" y="110644"/>
                          <a:pt x="108409" y="111050"/>
                        </a:cubicBezTo>
                        <a:cubicBezTo>
                          <a:pt x="108750" y="111050"/>
                          <a:pt x="108750" y="111050"/>
                          <a:pt x="108750" y="111050"/>
                        </a:cubicBezTo>
                        <a:cubicBezTo>
                          <a:pt x="108409" y="112271"/>
                          <a:pt x="108409" y="112271"/>
                          <a:pt x="108409" y="112271"/>
                        </a:cubicBezTo>
                        <a:cubicBezTo>
                          <a:pt x="108409" y="112271"/>
                          <a:pt x="108750" y="113491"/>
                          <a:pt x="109090" y="113491"/>
                        </a:cubicBezTo>
                        <a:cubicBezTo>
                          <a:pt x="109090" y="113491"/>
                          <a:pt x="109772" y="113898"/>
                          <a:pt x="109772" y="113898"/>
                        </a:cubicBezTo>
                        <a:cubicBezTo>
                          <a:pt x="109772" y="113898"/>
                          <a:pt x="110454" y="114711"/>
                          <a:pt x="110454" y="114711"/>
                        </a:cubicBezTo>
                        <a:cubicBezTo>
                          <a:pt x="110795" y="115118"/>
                          <a:pt x="110454" y="115932"/>
                          <a:pt x="110454" y="115932"/>
                        </a:cubicBezTo>
                        <a:cubicBezTo>
                          <a:pt x="110454" y="115932"/>
                          <a:pt x="110454" y="116338"/>
                          <a:pt x="110113" y="116338"/>
                        </a:cubicBezTo>
                        <a:cubicBezTo>
                          <a:pt x="109772" y="116338"/>
                          <a:pt x="109772" y="116338"/>
                          <a:pt x="109090" y="116338"/>
                        </a:cubicBezTo>
                        <a:cubicBezTo>
                          <a:pt x="108750" y="115932"/>
                          <a:pt x="107727" y="115932"/>
                          <a:pt x="107386" y="115932"/>
                        </a:cubicBezTo>
                        <a:cubicBezTo>
                          <a:pt x="107045" y="115932"/>
                          <a:pt x="107045" y="115932"/>
                          <a:pt x="107045" y="115932"/>
                        </a:cubicBezTo>
                        <a:cubicBezTo>
                          <a:pt x="106704" y="115932"/>
                          <a:pt x="106704" y="115932"/>
                          <a:pt x="106363" y="116338"/>
                        </a:cubicBezTo>
                        <a:cubicBezTo>
                          <a:pt x="106363" y="115932"/>
                          <a:pt x="106363" y="115932"/>
                          <a:pt x="106363" y="115932"/>
                        </a:cubicBezTo>
                        <a:cubicBezTo>
                          <a:pt x="106363" y="115525"/>
                          <a:pt x="106363" y="115118"/>
                          <a:pt x="106363" y="115118"/>
                        </a:cubicBezTo>
                        <a:cubicBezTo>
                          <a:pt x="106363" y="115118"/>
                          <a:pt x="105340" y="115118"/>
                          <a:pt x="105340" y="115118"/>
                        </a:cubicBezTo>
                        <a:cubicBezTo>
                          <a:pt x="105000" y="115118"/>
                          <a:pt x="104659" y="115118"/>
                          <a:pt x="104659" y="115118"/>
                        </a:cubicBezTo>
                        <a:cubicBezTo>
                          <a:pt x="104659" y="115118"/>
                          <a:pt x="103977" y="114711"/>
                          <a:pt x="103977" y="114711"/>
                        </a:cubicBezTo>
                        <a:cubicBezTo>
                          <a:pt x="103977" y="114711"/>
                          <a:pt x="103636" y="114711"/>
                          <a:pt x="103636" y="114711"/>
                        </a:cubicBezTo>
                        <a:cubicBezTo>
                          <a:pt x="103636" y="114305"/>
                          <a:pt x="103295" y="114711"/>
                          <a:pt x="103295" y="114711"/>
                        </a:cubicBezTo>
                        <a:cubicBezTo>
                          <a:pt x="102954" y="114711"/>
                          <a:pt x="102954" y="114711"/>
                          <a:pt x="102954" y="114711"/>
                        </a:cubicBezTo>
                        <a:cubicBezTo>
                          <a:pt x="102272" y="114711"/>
                          <a:pt x="102272" y="114711"/>
                          <a:pt x="102272" y="114711"/>
                        </a:cubicBezTo>
                        <a:cubicBezTo>
                          <a:pt x="102272" y="114711"/>
                          <a:pt x="102272" y="114305"/>
                          <a:pt x="102272" y="114305"/>
                        </a:cubicBezTo>
                        <a:cubicBezTo>
                          <a:pt x="102272" y="113898"/>
                          <a:pt x="101931" y="114305"/>
                          <a:pt x="101931" y="114305"/>
                        </a:cubicBezTo>
                        <a:cubicBezTo>
                          <a:pt x="101931" y="114305"/>
                          <a:pt x="101250" y="114305"/>
                          <a:pt x="101250" y="114305"/>
                        </a:cubicBezTo>
                        <a:cubicBezTo>
                          <a:pt x="101250" y="113898"/>
                          <a:pt x="100909" y="113898"/>
                          <a:pt x="100909" y="113898"/>
                        </a:cubicBezTo>
                        <a:cubicBezTo>
                          <a:pt x="100909" y="113898"/>
                          <a:pt x="99886" y="113898"/>
                          <a:pt x="99545" y="113898"/>
                        </a:cubicBezTo>
                        <a:cubicBezTo>
                          <a:pt x="99545" y="113491"/>
                          <a:pt x="99545" y="113491"/>
                          <a:pt x="99545" y="113491"/>
                        </a:cubicBezTo>
                        <a:cubicBezTo>
                          <a:pt x="99545" y="113491"/>
                          <a:pt x="99545" y="113084"/>
                          <a:pt x="99545" y="112677"/>
                        </a:cubicBezTo>
                        <a:cubicBezTo>
                          <a:pt x="99545" y="112677"/>
                          <a:pt x="99204" y="112677"/>
                          <a:pt x="99204" y="112271"/>
                        </a:cubicBezTo>
                        <a:cubicBezTo>
                          <a:pt x="99204" y="112271"/>
                          <a:pt x="98863" y="111864"/>
                          <a:pt x="98863" y="111864"/>
                        </a:cubicBezTo>
                        <a:cubicBezTo>
                          <a:pt x="98863" y="111457"/>
                          <a:pt x="98522" y="111457"/>
                          <a:pt x="98522" y="111050"/>
                        </a:cubicBezTo>
                        <a:cubicBezTo>
                          <a:pt x="98522" y="111050"/>
                          <a:pt x="98181" y="111457"/>
                          <a:pt x="98181" y="111457"/>
                        </a:cubicBezTo>
                        <a:cubicBezTo>
                          <a:pt x="97840" y="111457"/>
                          <a:pt x="97500" y="111050"/>
                          <a:pt x="97500" y="111050"/>
                        </a:cubicBezTo>
                        <a:cubicBezTo>
                          <a:pt x="97159" y="110644"/>
                          <a:pt x="97159" y="110644"/>
                          <a:pt x="97159" y="110644"/>
                        </a:cubicBezTo>
                        <a:cubicBezTo>
                          <a:pt x="97159" y="110644"/>
                          <a:pt x="96818" y="110644"/>
                          <a:pt x="96477" y="110644"/>
                        </a:cubicBezTo>
                        <a:cubicBezTo>
                          <a:pt x="96477" y="110644"/>
                          <a:pt x="96477" y="111457"/>
                          <a:pt x="96477" y="111457"/>
                        </a:cubicBezTo>
                        <a:cubicBezTo>
                          <a:pt x="96477" y="111457"/>
                          <a:pt x="96136" y="111457"/>
                          <a:pt x="95795" y="111050"/>
                        </a:cubicBezTo>
                        <a:cubicBezTo>
                          <a:pt x="95795" y="111050"/>
                          <a:pt x="95454" y="110644"/>
                          <a:pt x="95113" y="110644"/>
                        </a:cubicBezTo>
                        <a:cubicBezTo>
                          <a:pt x="95113" y="110644"/>
                          <a:pt x="94772" y="110644"/>
                          <a:pt x="94431" y="110237"/>
                        </a:cubicBezTo>
                        <a:cubicBezTo>
                          <a:pt x="94431" y="110237"/>
                          <a:pt x="94090" y="110237"/>
                          <a:pt x="94090" y="110237"/>
                        </a:cubicBezTo>
                        <a:cubicBezTo>
                          <a:pt x="94090" y="110237"/>
                          <a:pt x="92727" y="110644"/>
                          <a:pt x="92727" y="110644"/>
                        </a:cubicBezTo>
                        <a:cubicBezTo>
                          <a:pt x="92727" y="110644"/>
                          <a:pt x="92727" y="111050"/>
                          <a:pt x="92386" y="111050"/>
                        </a:cubicBezTo>
                        <a:cubicBezTo>
                          <a:pt x="92386" y="111457"/>
                          <a:pt x="92045" y="111050"/>
                          <a:pt x="92045" y="111050"/>
                        </a:cubicBezTo>
                        <a:cubicBezTo>
                          <a:pt x="92045" y="111050"/>
                          <a:pt x="91704" y="111050"/>
                          <a:pt x="91363" y="111050"/>
                        </a:cubicBezTo>
                        <a:cubicBezTo>
                          <a:pt x="91363" y="111050"/>
                          <a:pt x="91022" y="111050"/>
                          <a:pt x="91022" y="111050"/>
                        </a:cubicBezTo>
                        <a:cubicBezTo>
                          <a:pt x="91022" y="111050"/>
                          <a:pt x="90681" y="110644"/>
                          <a:pt x="90340" y="110644"/>
                        </a:cubicBezTo>
                        <a:cubicBezTo>
                          <a:pt x="90340" y="110644"/>
                          <a:pt x="90000" y="110644"/>
                          <a:pt x="90000" y="110644"/>
                        </a:cubicBezTo>
                        <a:cubicBezTo>
                          <a:pt x="90000" y="110644"/>
                          <a:pt x="89659" y="111050"/>
                          <a:pt x="89659" y="111050"/>
                        </a:cubicBezTo>
                        <a:cubicBezTo>
                          <a:pt x="89318" y="111457"/>
                          <a:pt x="89318" y="111457"/>
                          <a:pt x="89318" y="111457"/>
                        </a:cubicBezTo>
                        <a:cubicBezTo>
                          <a:pt x="89318" y="111864"/>
                          <a:pt x="89318" y="111864"/>
                          <a:pt x="89318" y="111864"/>
                        </a:cubicBezTo>
                        <a:cubicBezTo>
                          <a:pt x="88636" y="111457"/>
                          <a:pt x="88636" y="111457"/>
                          <a:pt x="88636" y="111457"/>
                        </a:cubicBezTo>
                        <a:cubicBezTo>
                          <a:pt x="88636" y="111457"/>
                          <a:pt x="88295" y="111457"/>
                          <a:pt x="87954" y="111457"/>
                        </a:cubicBezTo>
                        <a:cubicBezTo>
                          <a:pt x="87272" y="111864"/>
                          <a:pt x="87613" y="112271"/>
                          <a:pt x="87613" y="112271"/>
                        </a:cubicBezTo>
                        <a:cubicBezTo>
                          <a:pt x="87954" y="112271"/>
                          <a:pt x="88295" y="113084"/>
                          <a:pt x="88295" y="113084"/>
                        </a:cubicBezTo>
                        <a:cubicBezTo>
                          <a:pt x="88295" y="113084"/>
                          <a:pt x="87272" y="113491"/>
                          <a:pt x="87272" y="113491"/>
                        </a:cubicBezTo>
                        <a:cubicBezTo>
                          <a:pt x="86931" y="113898"/>
                          <a:pt x="86931" y="113898"/>
                          <a:pt x="86931" y="114305"/>
                        </a:cubicBezTo>
                        <a:cubicBezTo>
                          <a:pt x="86931" y="114305"/>
                          <a:pt x="86590" y="114711"/>
                          <a:pt x="86590" y="115118"/>
                        </a:cubicBezTo>
                        <a:cubicBezTo>
                          <a:pt x="86590" y="115118"/>
                          <a:pt x="86250" y="114711"/>
                          <a:pt x="85909" y="114711"/>
                        </a:cubicBezTo>
                        <a:cubicBezTo>
                          <a:pt x="85568" y="114711"/>
                          <a:pt x="85568" y="114305"/>
                          <a:pt x="85568" y="114305"/>
                        </a:cubicBezTo>
                        <a:cubicBezTo>
                          <a:pt x="85227" y="114711"/>
                          <a:pt x="85227" y="114711"/>
                          <a:pt x="85227" y="114711"/>
                        </a:cubicBezTo>
                        <a:cubicBezTo>
                          <a:pt x="84886" y="114711"/>
                          <a:pt x="84886" y="114711"/>
                          <a:pt x="84886" y="114711"/>
                        </a:cubicBezTo>
                        <a:cubicBezTo>
                          <a:pt x="84886" y="114711"/>
                          <a:pt x="84545" y="114305"/>
                          <a:pt x="84545" y="113898"/>
                        </a:cubicBezTo>
                        <a:cubicBezTo>
                          <a:pt x="84545" y="113898"/>
                          <a:pt x="84545" y="113898"/>
                          <a:pt x="84545" y="113898"/>
                        </a:cubicBezTo>
                        <a:cubicBezTo>
                          <a:pt x="84204" y="113898"/>
                          <a:pt x="83863" y="113898"/>
                          <a:pt x="83863" y="113491"/>
                        </a:cubicBezTo>
                        <a:cubicBezTo>
                          <a:pt x="83522" y="112677"/>
                          <a:pt x="83522" y="112677"/>
                          <a:pt x="83522" y="112677"/>
                        </a:cubicBezTo>
                        <a:cubicBezTo>
                          <a:pt x="83522" y="112677"/>
                          <a:pt x="82840" y="113084"/>
                          <a:pt x="82840" y="113491"/>
                        </a:cubicBezTo>
                        <a:cubicBezTo>
                          <a:pt x="82500" y="113491"/>
                          <a:pt x="82840" y="113491"/>
                          <a:pt x="82500" y="113084"/>
                        </a:cubicBezTo>
                        <a:cubicBezTo>
                          <a:pt x="82159" y="113084"/>
                          <a:pt x="82159" y="113491"/>
                          <a:pt x="82159" y="113491"/>
                        </a:cubicBezTo>
                        <a:cubicBezTo>
                          <a:pt x="82159" y="113491"/>
                          <a:pt x="82159" y="113491"/>
                          <a:pt x="82159" y="113491"/>
                        </a:cubicBezTo>
                        <a:cubicBezTo>
                          <a:pt x="82159" y="113898"/>
                          <a:pt x="81818" y="113898"/>
                          <a:pt x="81818" y="113898"/>
                        </a:cubicBezTo>
                        <a:cubicBezTo>
                          <a:pt x="81818" y="114305"/>
                          <a:pt x="81477" y="113898"/>
                          <a:pt x="81477" y="113898"/>
                        </a:cubicBezTo>
                        <a:cubicBezTo>
                          <a:pt x="81136" y="113898"/>
                          <a:pt x="80795" y="113898"/>
                          <a:pt x="80795" y="113898"/>
                        </a:cubicBezTo>
                        <a:cubicBezTo>
                          <a:pt x="80795" y="113898"/>
                          <a:pt x="80795" y="113491"/>
                          <a:pt x="80795" y="113491"/>
                        </a:cubicBezTo>
                        <a:cubicBezTo>
                          <a:pt x="80113" y="113898"/>
                          <a:pt x="80113" y="113898"/>
                          <a:pt x="80113" y="113898"/>
                        </a:cubicBezTo>
                        <a:cubicBezTo>
                          <a:pt x="80113" y="113898"/>
                          <a:pt x="80113" y="114305"/>
                          <a:pt x="80113" y="114305"/>
                        </a:cubicBezTo>
                        <a:cubicBezTo>
                          <a:pt x="80113" y="114305"/>
                          <a:pt x="79772" y="114305"/>
                          <a:pt x="79431" y="114711"/>
                        </a:cubicBezTo>
                        <a:cubicBezTo>
                          <a:pt x="78750" y="114711"/>
                          <a:pt x="79090" y="114305"/>
                          <a:pt x="78750" y="114711"/>
                        </a:cubicBezTo>
                        <a:cubicBezTo>
                          <a:pt x="78750" y="114711"/>
                          <a:pt x="78750" y="114711"/>
                          <a:pt x="78750" y="115118"/>
                        </a:cubicBezTo>
                        <a:cubicBezTo>
                          <a:pt x="78750" y="115118"/>
                          <a:pt x="79090" y="115118"/>
                          <a:pt x="78750" y="115525"/>
                        </a:cubicBezTo>
                        <a:cubicBezTo>
                          <a:pt x="78409" y="115932"/>
                          <a:pt x="78409" y="115525"/>
                          <a:pt x="78409" y="115525"/>
                        </a:cubicBezTo>
                        <a:cubicBezTo>
                          <a:pt x="78068" y="115525"/>
                          <a:pt x="77727" y="115932"/>
                          <a:pt x="77727" y="115932"/>
                        </a:cubicBezTo>
                        <a:cubicBezTo>
                          <a:pt x="77727" y="115932"/>
                          <a:pt x="77727" y="116338"/>
                          <a:pt x="77727" y="116338"/>
                        </a:cubicBezTo>
                        <a:cubicBezTo>
                          <a:pt x="77727" y="116338"/>
                          <a:pt x="77386" y="116338"/>
                          <a:pt x="77045" y="116338"/>
                        </a:cubicBezTo>
                        <a:cubicBezTo>
                          <a:pt x="76704" y="116338"/>
                          <a:pt x="77045" y="116745"/>
                          <a:pt x="77045" y="116745"/>
                        </a:cubicBezTo>
                        <a:cubicBezTo>
                          <a:pt x="77045" y="116745"/>
                          <a:pt x="77045" y="117152"/>
                          <a:pt x="76704" y="117559"/>
                        </a:cubicBezTo>
                        <a:cubicBezTo>
                          <a:pt x="76704" y="117559"/>
                          <a:pt x="76704" y="117966"/>
                          <a:pt x="76704" y="118372"/>
                        </a:cubicBezTo>
                        <a:cubicBezTo>
                          <a:pt x="76704" y="118372"/>
                          <a:pt x="76704" y="118372"/>
                          <a:pt x="76704" y="119186"/>
                        </a:cubicBezTo>
                        <a:cubicBezTo>
                          <a:pt x="76704" y="119593"/>
                          <a:pt x="76704" y="119593"/>
                          <a:pt x="76704" y="119593"/>
                        </a:cubicBezTo>
                        <a:cubicBezTo>
                          <a:pt x="76704" y="119593"/>
                          <a:pt x="76363" y="119593"/>
                          <a:pt x="76363" y="119593"/>
                        </a:cubicBezTo>
                        <a:cubicBezTo>
                          <a:pt x="76363" y="119186"/>
                          <a:pt x="76022" y="119593"/>
                          <a:pt x="76022" y="119593"/>
                        </a:cubicBezTo>
                        <a:cubicBezTo>
                          <a:pt x="76022" y="119593"/>
                          <a:pt x="75681" y="119186"/>
                          <a:pt x="75681" y="118779"/>
                        </a:cubicBezTo>
                        <a:cubicBezTo>
                          <a:pt x="75681" y="118779"/>
                          <a:pt x="75340" y="118779"/>
                          <a:pt x="75340" y="118779"/>
                        </a:cubicBezTo>
                        <a:cubicBezTo>
                          <a:pt x="75340" y="118779"/>
                          <a:pt x="74659" y="119186"/>
                          <a:pt x="74659" y="119186"/>
                        </a:cubicBezTo>
                        <a:cubicBezTo>
                          <a:pt x="74659" y="119186"/>
                          <a:pt x="74659" y="119593"/>
                          <a:pt x="74659" y="119593"/>
                        </a:cubicBezTo>
                        <a:cubicBezTo>
                          <a:pt x="74318" y="119593"/>
                          <a:pt x="73636" y="120000"/>
                          <a:pt x="73636" y="120000"/>
                        </a:cubicBezTo>
                        <a:cubicBezTo>
                          <a:pt x="73636" y="120000"/>
                          <a:pt x="73295" y="120000"/>
                          <a:pt x="73295" y="120000"/>
                        </a:cubicBezTo>
                        <a:cubicBezTo>
                          <a:pt x="72954" y="119593"/>
                          <a:pt x="72954" y="119593"/>
                          <a:pt x="72954" y="119593"/>
                        </a:cubicBezTo>
                        <a:cubicBezTo>
                          <a:pt x="72954" y="119186"/>
                          <a:pt x="72954" y="119186"/>
                          <a:pt x="72954" y="119186"/>
                        </a:cubicBezTo>
                        <a:cubicBezTo>
                          <a:pt x="73636" y="118372"/>
                          <a:pt x="73636" y="118372"/>
                          <a:pt x="73636" y="118372"/>
                        </a:cubicBezTo>
                        <a:cubicBezTo>
                          <a:pt x="73295" y="117152"/>
                          <a:pt x="73295" y="117152"/>
                          <a:pt x="73295" y="117152"/>
                        </a:cubicBezTo>
                        <a:cubicBezTo>
                          <a:pt x="72613" y="116338"/>
                          <a:pt x="72613" y="116338"/>
                          <a:pt x="72613" y="116338"/>
                        </a:cubicBezTo>
                        <a:cubicBezTo>
                          <a:pt x="72613" y="115932"/>
                          <a:pt x="72613" y="115932"/>
                          <a:pt x="72613" y="115932"/>
                        </a:cubicBezTo>
                        <a:cubicBezTo>
                          <a:pt x="71590" y="115932"/>
                          <a:pt x="71590" y="115932"/>
                          <a:pt x="71590" y="115932"/>
                        </a:cubicBezTo>
                        <a:cubicBezTo>
                          <a:pt x="70909" y="115525"/>
                          <a:pt x="70909" y="115525"/>
                          <a:pt x="70909" y="115525"/>
                        </a:cubicBezTo>
                        <a:cubicBezTo>
                          <a:pt x="70568" y="115118"/>
                          <a:pt x="70568" y="115118"/>
                          <a:pt x="70568" y="115118"/>
                        </a:cubicBezTo>
                        <a:cubicBezTo>
                          <a:pt x="69545" y="114305"/>
                          <a:pt x="69545" y="114305"/>
                          <a:pt x="69545" y="114305"/>
                        </a:cubicBezTo>
                        <a:cubicBezTo>
                          <a:pt x="68863" y="111864"/>
                          <a:pt x="68863" y="111864"/>
                          <a:pt x="68863" y="111864"/>
                        </a:cubicBezTo>
                        <a:cubicBezTo>
                          <a:pt x="67840" y="111864"/>
                          <a:pt x="67840" y="111864"/>
                          <a:pt x="67840" y="111864"/>
                        </a:cubicBezTo>
                        <a:cubicBezTo>
                          <a:pt x="67840" y="111864"/>
                          <a:pt x="67159" y="112677"/>
                          <a:pt x="67159" y="113084"/>
                        </a:cubicBezTo>
                        <a:cubicBezTo>
                          <a:pt x="67159" y="113491"/>
                          <a:pt x="66477" y="113491"/>
                          <a:pt x="66477" y="113491"/>
                        </a:cubicBezTo>
                        <a:cubicBezTo>
                          <a:pt x="65795" y="114711"/>
                          <a:pt x="65795" y="114711"/>
                          <a:pt x="65795" y="114711"/>
                        </a:cubicBezTo>
                        <a:cubicBezTo>
                          <a:pt x="65795" y="114711"/>
                          <a:pt x="65795" y="116338"/>
                          <a:pt x="65795" y="116745"/>
                        </a:cubicBezTo>
                        <a:cubicBezTo>
                          <a:pt x="65795" y="117152"/>
                          <a:pt x="65113" y="116338"/>
                          <a:pt x="65113" y="116338"/>
                        </a:cubicBezTo>
                        <a:cubicBezTo>
                          <a:pt x="65113" y="116338"/>
                          <a:pt x="64431" y="116745"/>
                          <a:pt x="64090" y="117152"/>
                        </a:cubicBezTo>
                        <a:cubicBezTo>
                          <a:pt x="63750" y="117559"/>
                          <a:pt x="63068" y="117559"/>
                          <a:pt x="63068" y="117559"/>
                        </a:cubicBezTo>
                        <a:cubicBezTo>
                          <a:pt x="63068" y="117559"/>
                          <a:pt x="62727" y="116745"/>
                          <a:pt x="62386" y="116338"/>
                        </a:cubicBezTo>
                        <a:cubicBezTo>
                          <a:pt x="62386" y="116338"/>
                          <a:pt x="62386" y="115932"/>
                          <a:pt x="62386" y="115118"/>
                        </a:cubicBezTo>
                        <a:cubicBezTo>
                          <a:pt x="62386" y="114711"/>
                          <a:pt x="61704" y="115525"/>
                          <a:pt x="61704" y="115525"/>
                        </a:cubicBezTo>
                        <a:cubicBezTo>
                          <a:pt x="61704" y="115525"/>
                          <a:pt x="61704" y="115525"/>
                          <a:pt x="61704" y="115525"/>
                        </a:cubicBezTo>
                        <a:cubicBezTo>
                          <a:pt x="61704" y="115118"/>
                          <a:pt x="61704" y="115118"/>
                          <a:pt x="61704" y="115118"/>
                        </a:cubicBezTo>
                        <a:cubicBezTo>
                          <a:pt x="61363" y="114305"/>
                          <a:pt x="61022" y="113898"/>
                          <a:pt x="61022" y="113898"/>
                        </a:cubicBezTo>
                        <a:cubicBezTo>
                          <a:pt x="61022" y="113898"/>
                          <a:pt x="60681" y="113084"/>
                          <a:pt x="60681" y="112271"/>
                        </a:cubicBezTo>
                        <a:cubicBezTo>
                          <a:pt x="60681" y="111864"/>
                          <a:pt x="59318" y="111050"/>
                          <a:pt x="59318" y="111050"/>
                        </a:cubicBezTo>
                        <a:cubicBezTo>
                          <a:pt x="59318" y="111050"/>
                          <a:pt x="59659" y="111864"/>
                          <a:pt x="58977" y="111050"/>
                        </a:cubicBezTo>
                        <a:cubicBezTo>
                          <a:pt x="58295" y="109830"/>
                          <a:pt x="57613" y="109830"/>
                          <a:pt x="57613" y="109830"/>
                        </a:cubicBezTo>
                        <a:cubicBezTo>
                          <a:pt x="57272" y="106576"/>
                          <a:pt x="57272" y="106576"/>
                          <a:pt x="57272" y="106576"/>
                        </a:cubicBezTo>
                        <a:cubicBezTo>
                          <a:pt x="54545" y="107389"/>
                          <a:pt x="54545" y="107389"/>
                          <a:pt x="54545" y="107389"/>
                        </a:cubicBezTo>
                        <a:cubicBezTo>
                          <a:pt x="54545" y="107389"/>
                          <a:pt x="52840" y="106576"/>
                          <a:pt x="52500" y="106169"/>
                        </a:cubicBezTo>
                        <a:cubicBezTo>
                          <a:pt x="52159" y="105762"/>
                          <a:pt x="51136" y="105355"/>
                          <a:pt x="51136" y="105355"/>
                        </a:cubicBezTo>
                        <a:cubicBezTo>
                          <a:pt x="50113" y="106576"/>
                          <a:pt x="50113" y="106576"/>
                          <a:pt x="50113" y="106576"/>
                        </a:cubicBezTo>
                        <a:cubicBezTo>
                          <a:pt x="49090" y="106576"/>
                          <a:pt x="49090" y="106576"/>
                          <a:pt x="49090" y="106576"/>
                        </a:cubicBezTo>
                        <a:cubicBezTo>
                          <a:pt x="49090" y="106576"/>
                          <a:pt x="47727" y="106169"/>
                          <a:pt x="47386" y="105762"/>
                        </a:cubicBezTo>
                        <a:cubicBezTo>
                          <a:pt x="46704" y="104949"/>
                          <a:pt x="47045" y="104542"/>
                          <a:pt x="46704" y="104542"/>
                        </a:cubicBezTo>
                        <a:cubicBezTo>
                          <a:pt x="46022" y="104542"/>
                          <a:pt x="45681" y="103728"/>
                          <a:pt x="45681" y="103728"/>
                        </a:cubicBezTo>
                        <a:cubicBezTo>
                          <a:pt x="45681" y="103728"/>
                          <a:pt x="46363" y="102508"/>
                          <a:pt x="46704" y="102101"/>
                        </a:cubicBezTo>
                        <a:cubicBezTo>
                          <a:pt x="46704" y="101694"/>
                          <a:pt x="47386" y="102101"/>
                          <a:pt x="47045" y="100881"/>
                        </a:cubicBezTo>
                        <a:cubicBezTo>
                          <a:pt x="46363" y="100067"/>
                          <a:pt x="46022" y="99661"/>
                          <a:pt x="46022" y="99661"/>
                        </a:cubicBezTo>
                        <a:cubicBezTo>
                          <a:pt x="46022" y="99661"/>
                          <a:pt x="46022" y="100474"/>
                          <a:pt x="45340" y="100881"/>
                        </a:cubicBezTo>
                        <a:cubicBezTo>
                          <a:pt x="44659" y="100881"/>
                          <a:pt x="43636" y="101288"/>
                          <a:pt x="43636" y="101288"/>
                        </a:cubicBezTo>
                        <a:cubicBezTo>
                          <a:pt x="39886" y="99254"/>
                          <a:pt x="39886" y="99254"/>
                          <a:pt x="39886" y="99254"/>
                        </a:cubicBezTo>
                        <a:cubicBezTo>
                          <a:pt x="39886" y="99254"/>
                          <a:pt x="38863" y="98847"/>
                          <a:pt x="38522" y="98847"/>
                        </a:cubicBezTo>
                        <a:cubicBezTo>
                          <a:pt x="38181" y="99254"/>
                          <a:pt x="36818" y="98847"/>
                          <a:pt x="36818" y="98847"/>
                        </a:cubicBezTo>
                        <a:cubicBezTo>
                          <a:pt x="37500" y="100474"/>
                          <a:pt x="37500" y="100474"/>
                          <a:pt x="37500" y="100474"/>
                        </a:cubicBezTo>
                        <a:cubicBezTo>
                          <a:pt x="38181" y="102915"/>
                          <a:pt x="38181" y="102915"/>
                          <a:pt x="38181" y="102915"/>
                        </a:cubicBezTo>
                        <a:cubicBezTo>
                          <a:pt x="36136" y="103728"/>
                          <a:pt x="36136" y="103728"/>
                          <a:pt x="36136" y="103728"/>
                        </a:cubicBezTo>
                        <a:cubicBezTo>
                          <a:pt x="35795" y="105762"/>
                          <a:pt x="35795" y="105762"/>
                          <a:pt x="35795" y="105762"/>
                        </a:cubicBezTo>
                        <a:cubicBezTo>
                          <a:pt x="35795" y="105762"/>
                          <a:pt x="33750" y="107389"/>
                          <a:pt x="33750" y="106576"/>
                        </a:cubicBezTo>
                        <a:cubicBezTo>
                          <a:pt x="33409" y="106169"/>
                          <a:pt x="33068" y="104542"/>
                          <a:pt x="33068" y="104542"/>
                        </a:cubicBezTo>
                        <a:cubicBezTo>
                          <a:pt x="33068" y="104542"/>
                          <a:pt x="32727" y="103728"/>
                          <a:pt x="32386" y="103322"/>
                        </a:cubicBezTo>
                        <a:cubicBezTo>
                          <a:pt x="31704" y="102915"/>
                          <a:pt x="31363" y="102508"/>
                          <a:pt x="31363" y="102508"/>
                        </a:cubicBezTo>
                        <a:cubicBezTo>
                          <a:pt x="30340" y="102101"/>
                          <a:pt x="30340" y="102101"/>
                          <a:pt x="30340" y="102101"/>
                        </a:cubicBezTo>
                        <a:cubicBezTo>
                          <a:pt x="30340" y="102101"/>
                          <a:pt x="30000" y="100474"/>
                          <a:pt x="29659" y="100474"/>
                        </a:cubicBezTo>
                        <a:cubicBezTo>
                          <a:pt x="29318" y="100474"/>
                          <a:pt x="28977" y="100474"/>
                          <a:pt x="28977" y="100474"/>
                        </a:cubicBezTo>
                        <a:cubicBezTo>
                          <a:pt x="28977" y="99254"/>
                          <a:pt x="28977" y="99254"/>
                          <a:pt x="28977" y="99254"/>
                        </a:cubicBezTo>
                        <a:cubicBezTo>
                          <a:pt x="29659" y="98033"/>
                          <a:pt x="29659" y="98033"/>
                          <a:pt x="29659" y="98033"/>
                        </a:cubicBezTo>
                        <a:cubicBezTo>
                          <a:pt x="29659" y="98033"/>
                          <a:pt x="30000" y="98440"/>
                          <a:pt x="30000" y="96813"/>
                        </a:cubicBezTo>
                        <a:cubicBezTo>
                          <a:pt x="30340" y="94779"/>
                          <a:pt x="29318" y="94779"/>
                          <a:pt x="29318" y="94779"/>
                        </a:cubicBezTo>
                        <a:cubicBezTo>
                          <a:pt x="28295" y="95186"/>
                          <a:pt x="28295" y="95186"/>
                          <a:pt x="28295" y="95186"/>
                        </a:cubicBezTo>
                        <a:cubicBezTo>
                          <a:pt x="26931" y="96000"/>
                          <a:pt x="26931" y="96000"/>
                          <a:pt x="26931" y="96000"/>
                        </a:cubicBezTo>
                        <a:cubicBezTo>
                          <a:pt x="26250" y="96000"/>
                          <a:pt x="26250" y="96000"/>
                          <a:pt x="26250" y="96000"/>
                        </a:cubicBezTo>
                        <a:cubicBezTo>
                          <a:pt x="25909" y="96000"/>
                          <a:pt x="25227" y="94779"/>
                          <a:pt x="25227" y="94779"/>
                        </a:cubicBezTo>
                        <a:cubicBezTo>
                          <a:pt x="25227" y="94779"/>
                          <a:pt x="25909" y="93559"/>
                          <a:pt x="24886" y="94779"/>
                        </a:cubicBezTo>
                        <a:cubicBezTo>
                          <a:pt x="23863" y="96000"/>
                          <a:pt x="23181" y="94372"/>
                          <a:pt x="23181" y="94372"/>
                        </a:cubicBezTo>
                        <a:cubicBezTo>
                          <a:pt x="22840" y="93966"/>
                          <a:pt x="22840" y="93966"/>
                          <a:pt x="22840" y="93966"/>
                        </a:cubicBezTo>
                        <a:cubicBezTo>
                          <a:pt x="22840" y="93966"/>
                          <a:pt x="22840" y="93966"/>
                          <a:pt x="22500" y="93966"/>
                        </a:cubicBezTo>
                        <a:cubicBezTo>
                          <a:pt x="22159" y="94372"/>
                          <a:pt x="21136" y="94372"/>
                          <a:pt x="21136" y="93966"/>
                        </a:cubicBezTo>
                        <a:cubicBezTo>
                          <a:pt x="20795" y="93152"/>
                          <a:pt x="20113" y="92745"/>
                          <a:pt x="20113" y="92745"/>
                        </a:cubicBezTo>
                        <a:cubicBezTo>
                          <a:pt x="19090" y="93152"/>
                          <a:pt x="19090" y="93152"/>
                          <a:pt x="19090" y="93152"/>
                        </a:cubicBezTo>
                        <a:cubicBezTo>
                          <a:pt x="19090" y="93152"/>
                          <a:pt x="18409" y="93152"/>
                          <a:pt x="18068" y="93152"/>
                        </a:cubicBezTo>
                        <a:cubicBezTo>
                          <a:pt x="18068" y="92745"/>
                          <a:pt x="18068" y="92338"/>
                          <a:pt x="17386" y="91932"/>
                        </a:cubicBezTo>
                        <a:cubicBezTo>
                          <a:pt x="16704" y="91525"/>
                          <a:pt x="16363" y="90305"/>
                          <a:pt x="16363" y="90305"/>
                        </a:cubicBezTo>
                        <a:cubicBezTo>
                          <a:pt x="16363" y="90305"/>
                          <a:pt x="16704" y="89491"/>
                          <a:pt x="16022" y="89491"/>
                        </a:cubicBezTo>
                        <a:cubicBezTo>
                          <a:pt x="15681" y="89491"/>
                          <a:pt x="15000" y="89084"/>
                          <a:pt x="15000" y="89084"/>
                        </a:cubicBezTo>
                        <a:cubicBezTo>
                          <a:pt x="15000" y="89084"/>
                          <a:pt x="13977" y="88271"/>
                          <a:pt x="13977" y="88677"/>
                        </a:cubicBezTo>
                        <a:cubicBezTo>
                          <a:pt x="13636" y="89084"/>
                          <a:pt x="13636" y="89898"/>
                          <a:pt x="13636" y="90305"/>
                        </a:cubicBezTo>
                        <a:cubicBezTo>
                          <a:pt x="13636" y="90305"/>
                          <a:pt x="13977" y="91525"/>
                          <a:pt x="13977" y="91525"/>
                        </a:cubicBezTo>
                        <a:cubicBezTo>
                          <a:pt x="13977" y="91525"/>
                          <a:pt x="12613" y="92338"/>
                          <a:pt x="12272" y="92338"/>
                        </a:cubicBezTo>
                        <a:cubicBezTo>
                          <a:pt x="11931" y="92338"/>
                          <a:pt x="11590" y="92745"/>
                          <a:pt x="11590" y="91932"/>
                        </a:cubicBezTo>
                        <a:cubicBezTo>
                          <a:pt x="11590" y="91525"/>
                          <a:pt x="12272" y="89491"/>
                          <a:pt x="12272" y="89491"/>
                        </a:cubicBezTo>
                        <a:cubicBezTo>
                          <a:pt x="12613" y="89084"/>
                          <a:pt x="12954" y="88677"/>
                          <a:pt x="12954" y="88677"/>
                        </a:cubicBezTo>
                        <a:cubicBezTo>
                          <a:pt x="12954" y="88677"/>
                          <a:pt x="12613" y="87864"/>
                          <a:pt x="12613" y="87457"/>
                        </a:cubicBezTo>
                        <a:cubicBezTo>
                          <a:pt x="12613" y="87050"/>
                          <a:pt x="12272" y="87050"/>
                          <a:pt x="12954" y="85830"/>
                        </a:cubicBezTo>
                        <a:cubicBezTo>
                          <a:pt x="13977" y="84610"/>
                          <a:pt x="13977" y="83796"/>
                          <a:pt x="13977" y="83796"/>
                        </a:cubicBezTo>
                        <a:cubicBezTo>
                          <a:pt x="13977" y="83796"/>
                          <a:pt x="13295" y="82576"/>
                          <a:pt x="12954" y="82169"/>
                        </a:cubicBezTo>
                        <a:cubicBezTo>
                          <a:pt x="12954" y="82169"/>
                          <a:pt x="11931" y="80542"/>
                          <a:pt x="11931" y="80542"/>
                        </a:cubicBezTo>
                        <a:cubicBezTo>
                          <a:pt x="11931" y="80135"/>
                          <a:pt x="11931" y="79322"/>
                          <a:pt x="11931" y="79322"/>
                        </a:cubicBezTo>
                        <a:cubicBezTo>
                          <a:pt x="11931" y="79322"/>
                          <a:pt x="11250" y="78508"/>
                          <a:pt x="10909" y="78508"/>
                        </a:cubicBezTo>
                        <a:cubicBezTo>
                          <a:pt x="10568" y="78508"/>
                          <a:pt x="9545" y="78101"/>
                          <a:pt x="9545" y="78101"/>
                        </a:cubicBezTo>
                        <a:cubicBezTo>
                          <a:pt x="9545" y="76881"/>
                          <a:pt x="9545" y="76881"/>
                          <a:pt x="9545" y="76881"/>
                        </a:cubicBezTo>
                        <a:cubicBezTo>
                          <a:pt x="9545" y="74847"/>
                          <a:pt x="9545" y="74847"/>
                          <a:pt x="9545" y="74847"/>
                        </a:cubicBezTo>
                        <a:cubicBezTo>
                          <a:pt x="8181" y="72813"/>
                          <a:pt x="8181" y="72813"/>
                          <a:pt x="8181" y="72813"/>
                        </a:cubicBezTo>
                        <a:cubicBezTo>
                          <a:pt x="7840" y="71593"/>
                          <a:pt x="7840" y="71593"/>
                          <a:pt x="7840" y="71593"/>
                        </a:cubicBezTo>
                        <a:cubicBezTo>
                          <a:pt x="7840" y="71593"/>
                          <a:pt x="8181" y="70779"/>
                          <a:pt x="8181" y="69966"/>
                        </a:cubicBezTo>
                        <a:cubicBezTo>
                          <a:pt x="8522" y="69559"/>
                          <a:pt x="8863" y="68338"/>
                          <a:pt x="8863" y="68338"/>
                        </a:cubicBezTo>
                        <a:cubicBezTo>
                          <a:pt x="8181" y="66711"/>
                          <a:pt x="8181" y="66711"/>
                          <a:pt x="8181" y="66711"/>
                        </a:cubicBezTo>
                        <a:cubicBezTo>
                          <a:pt x="8181" y="66711"/>
                          <a:pt x="7840" y="66305"/>
                          <a:pt x="8181" y="65898"/>
                        </a:cubicBezTo>
                        <a:cubicBezTo>
                          <a:pt x="8181" y="65491"/>
                          <a:pt x="7840" y="63050"/>
                          <a:pt x="7840" y="63050"/>
                        </a:cubicBezTo>
                        <a:cubicBezTo>
                          <a:pt x="7840" y="63050"/>
                          <a:pt x="7500" y="60610"/>
                          <a:pt x="7159" y="61016"/>
                        </a:cubicBezTo>
                        <a:cubicBezTo>
                          <a:pt x="6477" y="61016"/>
                          <a:pt x="6136" y="59389"/>
                          <a:pt x="6136" y="59389"/>
                        </a:cubicBezTo>
                        <a:cubicBezTo>
                          <a:pt x="6818" y="56542"/>
                          <a:pt x="6818" y="56542"/>
                          <a:pt x="6818" y="56542"/>
                        </a:cubicBezTo>
                        <a:cubicBezTo>
                          <a:pt x="6818" y="56542"/>
                          <a:pt x="7159" y="54508"/>
                          <a:pt x="6136" y="53694"/>
                        </a:cubicBezTo>
                        <a:cubicBezTo>
                          <a:pt x="5113" y="53288"/>
                          <a:pt x="3068" y="52067"/>
                          <a:pt x="2727" y="51661"/>
                        </a:cubicBezTo>
                        <a:cubicBezTo>
                          <a:pt x="2727" y="51661"/>
                          <a:pt x="1704" y="50440"/>
                          <a:pt x="1363" y="50033"/>
                        </a:cubicBezTo>
                        <a:cubicBezTo>
                          <a:pt x="1022" y="50033"/>
                          <a:pt x="681" y="49627"/>
                          <a:pt x="681" y="49627"/>
                        </a:cubicBezTo>
                        <a:cubicBezTo>
                          <a:pt x="1363" y="45966"/>
                          <a:pt x="1363" y="45966"/>
                          <a:pt x="1363" y="45966"/>
                        </a:cubicBezTo>
                        <a:cubicBezTo>
                          <a:pt x="3068" y="44338"/>
                          <a:pt x="3068" y="44338"/>
                          <a:pt x="3068" y="44338"/>
                        </a:cubicBezTo>
                        <a:cubicBezTo>
                          <a:pt x="3068" y="41084"/>
                          <a:pt x="3068" y="41084"/>
                          <a:pt x="3068" y="41084"/>
                        </a:cubicBezTo>
                        <a:cubicBezTo>
                          <a:pt x="3068" y="37423"/>
                          <a:pt x="3068" y="37423"/>
                          <a:pt x="3068" y="37423"/>
                        </a:cubicBezTo>
                        <a:cubicBezTo>
                          <a:pt x="3068" y="37423"/>
                          <a:pt x="3409" y="37016"/>
                          <a:pt x="2386" y="35389"/>
                        </a:cubicBezTo>
                        <a:cubicBezTo>
                          <a:pt x="1704" y="34169"/>
                          <a:pt x="1363" y="32542"/>
                          <a:pt x="1363" y="32542"/>
                        </a:cubicBezTo>
                        <a:cubicBezTo>
                          <a:pt x="1363" y="32135"/>
                          <a:pt x="1022" y="30508"/>
                          <a:pt x="681" y="30101"/>
                        </a:cubicBezTo>
                        <a:cubicBezTo>
                          <a:pt x="681" y="29694"/>
                          <a:pt x="681" y="29288"/>
                          <a:pt x="681" y="28474"/>
                        </a:cubicBezTo>
                        <a:cubicBezTo>
                          <a:pt x="1022" y="28067"/>
                          <a:pt x="0" y="26847"/>
                          <a:pt x="0" y="26847"/>
                        </a:cubicBezTo>
                        <a:cubicBezTo>
                          <a:pt x="0" y="26847"/>
                          <a:pt x="340" y="26033"/>
                          <a:pt x="681" y="26033"/>
                        </a:cubicBezTo>
                        <a:cubicBezTo>
                          <a:pt x="1022" y="26033"/>
                          <a:pt x="1363" y="25627"/>
                          <a:pt x="2045" y="25627"/>
                        </a:cubicBezTo>
                        <a:cubicBezTo>
                          <a:pt x="2727" y="25627"/>
                          <a:pt x="3068" y="24813"/>
                          <a:pt x="3750" y="24813"/>
                        </a:cubicBezTo>
                        <a:cubicBezTo>
                          <a:pt x="4090" y="24406"/>
                          <a:pt x="4090" y="23593"/>
                          <a:pt x="4431" y="23593"/>
                        </a:cubicBezTo>
                        <a:cubicBezTo>
                          <a:pt x="5113" y="23186"/>
                          <a:pt x="5795" y="23593"/>
                          <a:pt x="6818" y="22779"/>
                        </a:cubicBezTo>
                        <a:cubicBezTo>
                          <a:pt x="7840" y="22372"/>
                          <a:pt x="7840" y="21966"/>
                          <a:pt x="8522" y="21152"/>
                        </a:cubicBezTo>
                        <a:cubicBezTo>
                          <a:pt x="8863" y="20745"/>
                          <a:pt x="15340" y="18305"/>
                          <a:pt x="15340" y="18305"/>
                        </a:cubicBezTo>
                        <a:cubicBezTo>
                          <a:pt x="15340" y="18305"/>
                          <a:pt x="17045" y="17084"/>
                          <a:pt x="17727" y="17084"/>
                        </a:cubicBezTo>
                        <a:cubicBezTo>
                          <a:pt x="18068" y="16677"/>
                          <a:pt x="18068" y="16271"/>
                          <a:pt x="18750" y="16271"/>
                        </a:cubicBezTo>
                        <a:cubicBezTo>
                          <a:pt x="19090" y="16677"/>
                          <a:pt x="20454" y="16677"/>
                          <a:pt x="20454" y="16677"/>
                        </a:cubicBezTo>
                        <a:cubicBezTo>
                          <a:pt x="20454" y="16677"/>
                          <a:pt x="20795" y="15457"/>
                          <a:pt x="21136" y="15050"/>
                        </a:cubicBezTo>
                        <a:cubicBezTo>
                          <a:pt x="21477" y="14237"/>
                          <a:pt x="21818" y="13423"/>
                          <a:pt x="21818" y="13016"/>
                        </a:cubicBezTo>
                        <a:cubicBezTo>
                          <a:pt x="22159" y="12203"/>
                          <a:pt x="22500" y="11796"/>
                          <a:pt x="22840" y="11389"/>
                        </a:cubicBezTo>
                        <a:cubicBezTo>
                          <a:pt x="23181" y="10576"/>
                          <a:pt x="23522" y="10169"/>
                          <a:pt x="23522" y="10169"/>
                        </a:cubicBezTo>
                        <a:cubicBezTo>
                          <a:pt x="23863" y="10169"/>
                          <a:pt x="25909" y="8949"/>
                          <a:pt x="26250" y="8949"/>
                        </a:cubicBezTo>
                        <a:cubicBezTo>
                          <a:pt x="26590" y="8542"/>
                          <a:pt x="29318" y="7322"/>
                          <a:pt x="29318" y="6915"/>
                        </a:cubicBezTo>
                        <a:cubicBezTo>
                          <a:pt x="29318" y="6915"/>
                          <a:pt x="30340" y="5288"/>
                          <a:pt x="30340" y="4881"/>
                        </a:cubicBezTo>
                        <a:cubicBezTo>
                          <a:pt x="30340" y="4474"/>
                          <a:pt x="31704" y="4067"/>
                          <a:pt x="31704" y="4067"/>
                        </a:cubicBezTo>
                        <a:cubicBezTo>
                          <a:pt x="32045" y="4067"/>
                          <a:pt x="32045" y="4067"/>
                          <a:pt x="32386" y="3661"/>
                        </a:cubicBezTo>
                        <a:cubicBezTo>
                          <a:pt x="33068" y="3661"/>
                          <a:pt x="36136" y="2033"/>
                          <a:pt x="36136" y="2033"/>
                        </a:cubicBezTo>
                        <a:cubicBezTo>
                          <a:pt x="36136" y="2033"/>
                          <a:pt x="38863" y="813"/>
                          <a:pt x="38863" y="813"/>
                        </a:cubicBezTo>
                        <a:cubicBezTo>
                          <a:pt x="39204" y="1220"/>
                          <a:pt x="40909" y="813"/>
                          <a:pt x="41250" y="813"/>
                        </a:cubicBezTo>
                        <a:cubicBezTo>
                          <a:pt x="41250" y="1220"/>
                          <a:pt x="43295" y="813"/>
                          <a:pt x="43295" y="813"/>
                        </a:cubicBezTo>
                        <a:cubicBezTo>
                          <a:pt x="43295" y="813"/>
                          <a:pt x="43977" y="1220"/>
                          <a:pt x="43977" y="1627"/>
                        </a:cubicBezTo>
                        <a:cubicBezTo>
                          <a:pt x="43977" y="2033"/>
                          <a:pt x="43295" y="2440"/>
                          <a:pt x="43636" y="2847"/>
                        </a:cubicBezTo>
                        <a:cubicBezTo>
                          <a:pt x="43977" y="3254"/>
                          <a:pt x="45340" y="4474"/>
                          <a:pt x="45340" y="4474"/>
                        </a:cubicBezTo>
                        <a:cubicBezTo>
                          <a:pt x="45340" y="4474"/>
                          <a:pt x="45000" y="5694"/>
                          <a:pt x="45000" y="5694"/>
                        </a:cubicBezTo>
                        <a:cubicBezTo>
                          <a:pt x="45000" y="6101"/>
                          <a:pt x="45340" y="6508"/>
                          <a:pt x="45681" y="7322"/>
                        </a:cubicBezTo>
                        <a:cubicBezTo>
                          <a:pt x="46022" y="7728"/>
                          <a:pt x="46704" y="8542"/>
                          <a:pt x="46704" y="8542"/>
                        </a:cubicBezTo>
                        <a:cubicBezTo>
                          <a:pt x="46704" y="8542"/>
                          <a:pt x="46363" y="8949"/>
                          <a:pt x="47727" y="9762"/>
                        </a:cubicBezTo>
                        <a:cubicBezTo>
                          <a:pt x="49090" y="10576"/>
                          <a:pt x="50113" y="9762"/>
                          <a:pt x="50113" y="9762"/>
                        </a:cubicBezTo>
                        <a:cubicBezTo>
                          <a:pt x="50113" y="9762"/>
                          <a:pt x="51136" y="9762"/>
                          <a:pt x="51477" y="9762"/>
                        </a:cubicBezTo>
                        <a:cubicBezTo>
                          <a:pt x="51818" y="9762"/>
                          <a:pt x="52840" y="9355"/>
                          <a:pt x="52840" y="9355"/>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8" name="Shape 2044"/>
                  <p:cNvSpPr/>
                  <p:nvPr/>
                </p:nvSpPr>
                <p:spPr>
                  <a:xfrm>
                    <a:off x="3482366" y="2092972"/>
                    <a:ext cx="378203" cy="415512"/>
                  </a:xfrm>
                  <a:custGeom>
                    <a:avLst/>
                    <a:gdLst/>
                    <a:ahLst/>
                    <a:cxnLst/>
                    <a:rect l="0" t="0" r="0" b="0"/>
                    <a:pathLst>
                      <a:path w="120000" h="120000" extrusionOk="0">
                        <a:moveTo>
                          <a:pt x="95421" y="111063"/>
                        </a:moveTo>
                        <a:cubicBezTo>
                          <a:pt x="92530" y="111063"/>
                          <a:pt x="92530" y="111063"/>
                          <a:pt x="92530" y="111063"/>
                        </a:cubicBezTo>
                        <a:cubicBezTo>
                          <a:pt x="92530" y="111063"/>
                          <a:pt x="91084" y="109148"/>
                          <a:pt x="90361" y="109148"/>
                        </a:cubicBezTo>
                        <a:cubicBezTo>
                          <a:pt x="89638" y="109148"/>
                          <a:pt x="88192" y="108510"/>
                          <a:pt x="88192" y="108510"/>
                        </a:cubicBezTo>
                        <a:cubicBezTo>
                          <a:pt x="87469" y="109787"/>
                          <a:pt x="87469" y="109787"/>
                          <a:pt x="87469" y="109787"/>
                        </a:cubicBezTo>
                        <a:cubicBezTo>
                          <a:pt x="87469" y="109787"/>
                          <a:pt x="86746" y="110425"/>
                          <a:pt x="86024" y="110425"/>
                        </a:cubicBezTo>
                        <a:cubicBezTo>
                          <a:pt x="86024" y="110425"/>
                          <a:pt x="85301" y="109787"/>
                          <a:pt x="85301" y="109787"/>
                        </a:cubicBezTo>
                        <a:cubicBezTo>
                          <a:pt x="85301" y="108510"/>
                          <a:pt x="85301" y="108510"/>
                          <a:pt x="85301" y="108510"/>
                        </a:cubicBezTo>
                        <a:cubicBezTo>
                          <a:pt x="83132" y="108510"/>
                          <a:pt x="83132" y="108510"/>
                          <a:pt x="83132" y="108510"/>
                        </a:cubicBezTo>
                        <a:cubicBezTo>
                          <a:pt x="83132" y="108510"/>
                          <a:pt x="83132" y="110425"/>
                          <a:pt x="82409" y="110425"/>
                        </a:cubicBezTo>
                        <a:cubicBezTo>
                          <a:pt x="81686" y="109787"/>
                          <a:pt x="80963" y="109787"/>
                          <a:pt x="79518" y="109787"/>
                        </a:cubicBezTo>
                        <a:cubicBezTo>
                          <a:pt x="78072" y="109148"/>
                          <a:pt x="75180" y="109787"/>
                          <a:pt x="75180" y="109787"/>
                        </a:cubicBezTo>
                        <a:cubicBezTo>
                          <a:pt x="73734" y="109148"/>
                          <a:pt x="73734" y="109148"/>
                          <a:pt x="73734" y="109148"/>
                        </a:cubicBezTo>
                        <a:cubicBezTo>
                          <a:pt x="71566" y="109148"/>
                          <a:pt x="71566" y="109148"/>
                          <a:pt x="71566" y="109148"/>
                        </a:cubicBezTo>
                        <a:cubicBezTo>
                          <a:pt x="68674" y="109148"/>
                          <a:pt x="68674" y="109148"/>
                          <a:pt x="68674" y="109148"/>
                        </a:cubicBezTo>
                        <a:cubicBezTo>
                          <a:pt x="67951" y="110425"/>
                          <a:pt x="67951" y="110425"/>
                          <a:pt x="67951" y="110425"/>
                        </a:cubicBezTo>
                        <a:cubicBezTo>
                          <a:pt x="68674" y="111063"/>
                          <a:pt x="68674" y="111063"/>
                          <a:pt x="68674" y="111063"/>
                        </a:cubicBezTo>
                        <a:cubicBezTo>
                          <a:pt x="66506" y="112340"/>
                          <a:pt x="66506" y="112340"/>
                          <a:pt x="66506" y="112340"/>
                        </a:cubicBezTo>
                        <a:cubicBezTo>
                          <a:pt x="63614" y="111702"/>
                          <a:pt x="63614" y="111702"/>
                          <a:pt x="63614" y="111702"/>
                        </a:cubicBezTo>
                        <a:cubicBezTo>
                          <a:pt x="62168" y="112978"/>
                          <a:pt x="62168" y="112978"/>
                          <a:pt x="62168" y="112978"/>
                        </a:cubicBezTo>
                        <a:cubicBezTo>
                          <a:pt x="61445" y="111702"/>
                          <a:pt x="61445" y="111702"/>
                          <a:pt x="61445" y="111702"/>
                        </a:cubicBezTo>
                        <a:cubicBezTo>
                          <a:pt x="57108" y="114255"/>
                          <a:pt x="57108" y="114255"/>
                          <a:pt x="57108" y="114255"/>
                        </a:cubicBezTo>
                        <a:cubicBezTo>
                          <a:pt x="57831" y="115531"/>
                          <a:pt x="57831" y="115531"/>
                          <a:pt x="57831" y="115531"/>
                        </a:cubicBezTo>
                        <a:cubicBezTo>
                          <a:pt x="54216" y="116170"/>
                          <a:pt x="54216" y="116170"/>
                          <a:pt x="54216" y="116170"/>
                        </a:cubicBezTo>
                        <a:cubicBezTo>
                          <a:pt x="52048" y="115531"/>
                          <a:pt x="52048" y="115531"/>
                          <a:pt x="52048" y="115531"/>
                        </a:cubicBezTo>
                        <a:cubicBezTo>
                          <a:pt x="52048" y="115531"/>
                          <a:pt x="50602" y="114893"/>
                          <a:pt x="50602" y="114255"/>
                        </a:cubicBezTo>
                        <a:cubicBezTo>
                          <a:pt x="51325" y="113617"/>
                          <a:pt x="51325" y="112978"/>
                          <a:pt x="51325" y="112978"/>
                        </a:cubicBezTo>
                        <a:cubicBezTo>
                          <a:pt x="51325" y="112978"/>
                          <a:pt x="49879" y="112340"/>
                          <a:pt x="49879" y="112978"/>
                        </a:cubicBezTo>
                        <a:cubicBezTo>
                          <a:pt x="49879" y="114255"/>
                          <a:pt x="49156" y="115531"/>
                          <a:pt x="49156" y="115531"/>
                        </a:cubicBezTo>
                        <a:cubicBezTo>
                          <a:pt x="46987" y="116808"/>
                          <a:pt x="46987" y="116808"/>
                          <a:pt x="46987" y="116808"/>
                        </a:cubicBezTo>
                        <a:cubicBezTo>
                          <a:pt x="44096" y="117446"/>
                          <a:pt x="44096" y="117446"/>
                          <a:pt x="44096" y="117446"/>
                        </a:cubicBezTo>
                        <a:cubicBezTo>
                          <a:pt x="43373" y="116808"/>
                          <a:pt x="43373" y="116808"/>
                          <a:pt x="43373" y="116808"/>
                        </a:cubicBezTo>
                        <a:cubicBezTo>
                          <a:pt x="43373" y="118723"/>
                          <a:pt x="43373" y="118723"/>
                          <a:pt x="43373" y="118723"/>
                        </a:cubicBezTo>
                        <a:cubicBezTo>
                          <a:pt x="39759" y="118723"/>
                          <a:pt x="39759" y="118723"/>
                          <a:pt x="39759" y="118723"/>
                        </a:cubicBezTo>
                        <a:cubicBezTo>
                          <a:pt x="37590" y="118723"/>
                          <a:pt x="37590" y="118723"/>
                          <a:pt x="37590" y="118723"/>
                        </a:cubicBezTo>
                        <a:cubicBezTo>
                          <a:pt x="36144" y="120000"/>
                          <a:pt x="36144" y="120000"/>
                          <a:pt x="36144" y="120000"/>
                        </a:cubicBezTo>
                        <a:cubicBezTo>
                          <a:pt x="33975" y="119361"/>
                          <a:pt x="33975" y="119361"/>
                          <a:pt x="33975" y="119361"/>
                        </a:cubicBezTo>
                        <a:cubicBezTo>
                          <a:pt x="30361" y="120000"/>
                          <a:pt x="30361" y="120000"/>
                          <a:pt x="30361" y="120000"/>
                        </a:cubicBezTo>
                        <a:cubicBezTo>
                          <a:pt x="29638" y="118723"/>
                          <a:pt x="29638" y="118723"/>
                          <a:pt x="29638" y="118723"/>
                        </a:cubicBezTo>
                        <a:cubicBezTo>
                          <a:pt x="24578" y="118723"/>
                          <a:pt x="24578" y="118723"/>
                          <a:pt x="24578" y="118723"/>
                        </a:cubicBezTo>
                        <a:cubicBezTo>
                          <a:pt x="22409" y="119361"/>
                          <a:pt x="22409" y="119361"/>
                          <a:pt x="22409" y="119361"/>
                        </a:cubicBezTo>
                        <a:cubicBezTo>
                          <a:pt x="21686" y="118085"/>
                          <a:pt x="21686" y="118085"/>
                          <a:pt x="21686" y="118085"/>
                        </a:cubicBezTo>
                        <a:cubicBezTo>
                          <a:pt x="20963" y="118085"/>
                          <a:pt x="20963" y="118085"/>
                          <a:pt x="20963" y="118085"/>
                        </a:cubicBezTo>
                        <a:cubicBezTo>
                          <a:pt x="20963" y="118085"/>
                          <a:pt x="19518" y="118085"/>
                          <a:pt x="18795" y="118085"/>
                        </a:cubicBezTo>
                        <a:cubicBezTo>
                          <a:pt x="18072" y="118085"/>
                          <a:pt x="13734" y="116808"/>
                          <a:pt x="13734" y="116808"/>
                        </a:cubicBezTo>
                        <a:cubicBezTo>
                          <a:pt x="12289" y="118085"/>
                          <a:pt x="12289" y="118085"/>
                          <a:pt x="12289" y="118085"/>
                        </a:cubicBezTo>
                        <a:cubicBezTo>
                          <a:pt x="12289" y="118085"/>
                          <a:pt x="10120" y="118085"/>
                          <a:pt x="10120" y="117446"/>
                        </a:cubicBezTo>
                        <a:cubicBezTo>
                          <a:pt x="10120" y="117446"/>
                          <a:pt x="10120" y="116808"/>
                          <a:pt x="10843" y="116170"/>
                        </a:cubicBezTo>
                        <a:cubicBezTo>
                          <a:pt x="11566" y="116170"/>
                          <a:pt x="12289" y="116170"/>
                          <a:pt x="13734" y="115531"/>
                        </a:cubicBezTo>
                        <a:cubicBezTo>
                          <a:pt x="15180" y="115531"/>
                          <a:pt x="15903" y="115531"/>
                          <a:pt x="15903" y="115531"/>
                        </a:cubicBezTo>
                        <a:cubicBezTo>
                          <a:pt x="16626" y="114893"/>
                          <a:pt x="16626" y="114893"/>
                          <a:pt x="16626" y="114893"/>
                        </a:cubicBezTo>
                        <a:cubicBezTo>
                          <a:pt x="16626" y="114255"/>
                          <a:pt x="17349" y="113617"/>
                          <a:pt x="15903" y="114255"/>
                        </a:cubicBezTo>
                        <a:cubicBezTo>
                          <a:pt x="15180" y="114255"/>
                          <a:pt x="15180" y="114255"/>
                          <a:pt x="15180" y="114255"/>
                        </a:cubicBezTo>
                        <a:cubicBezTo>
                          <a:pt x="14457" y="114893"/>
                          <a:pt x="13734" y="114893"/>
                          <a:pt x="13012" y="114893"/>
                        </a:cubicBezTo>
                        <a:cubicBezTo>
                          <a:pt x="13012" y="114893"/>
                          <a:pt x="11566" y="114893"/>
                          <a:pt x="11566" y="114893"/>
                        </a:cubicBezTo>
                        <a:cubicBezTo>
                          <a:pt x="11566" y="114893"/>
                          <a:pt x="10843" y="114255"/>
                          <a:pt x="11566" y="114255"/>
                        </a:cubicBezTo>
                        <a:cubicBezTo>
                          <a:pt x="12289" y="113617"/>
                          <a:pt x="12289" y="113617"/>
                          <a:pt x="13012" y="113617"/>
                        </a:cubicBezTo>
                        <a:cubicBezTo>
                          <a:pt x="14457" y="113617"/>
                          <a:pt x="15180" y="112978"/>
                          <a:pt x="16626" y="112978"/>
                        </a:cubicBezTo>
                        <a:cubicBezTo>
                          <a:pt x="18072" y="112978"/>
                          <a:pt x="18795" y="112978"/>
                          <a:pt x="18795" y="112978"/>
                        </a:cubicBezTo>
                        <a:cubicBezTo>
                          <a:pt x="19518" y="112340"/>
                          <a:pt x="20240" y="112340"/>
                          <a:pt x="20240" y="111702"/>
                        </a:cubicBezTo>
                        <a:cubicBezTo>
                          <a:pt x="20240" y="111063"/>
                          <a:pt x="19518" y="110425"/>
                          <a:pt x="19518" y="110425"/>
                        </a:cubicBezTo>
                        <a:cubicBezTo>
                          <a:pt x="19518" y="110425"/>
                          <a:pt x="18795" y="110425"/>
                          <a:pt x="18072" y="111063"/>
                        </a:cubicBezTo>
                        <a:cubicBezTo>
                          <a:pt x="17349" y="111063"/>
                          <a:pt x="16626" y="111702"/>
                          <a:pt x="15903" y="111702"/>
                        </a:cubicBezTo>
                        <a:cubicBezTo>
                          <a:pt x="15903" y="111702"/>
                          <a:pt x="15903" y="111702"/>
                          <a:pt x="15180" y="111702"/>
                        </a:cubicBezTo>
                        <a:cubicBezTo>
                          <a:pt x="14457" y="111702"/>
                          <a:pt x="13012" y="111063"/>
                          <a:pt x="13012" y="111063"/>
                        </a:cubicBezTo>
                        <a:cubicBezTo>
                          <a:pt x="12289" y="111063"/>
                          <a:pt x="11566" y="111063"/>
                          <a:pt x="10843" y="111063"/>
                        </a:cubicBezTo>
                        <a:cubicBezTo>
                          <a:pt x="10120" y="111063"/>
                          <a:pt x="10843" y="111063"/>
                          <a:pt x="9397" y="111063"/>
                        </a:cubicBezTo>
                        <a:cubicBezTo>
                          <a:pt x="7951" y="111702"/>
                          <a:pt x="8674" y="111702"/>
                          <a:pt x="6506" y="111702"/>
                        </a:cubicBezTo>
                        <a:cubicBezTo>
                          <a:pt x="5060" y="111702"/>
                          <a:pt x="2891" y="111063"/>
                          <a:pt x="2891" y="111063"/>
                        </a:cubicBezTo>
                        <a:cubicBezTo>
                          <a:pt x="2891" y="111063"/>
                          <a:pt x="1445" y="111702"/>
                          <a:pt x="2168" y="111063"/>
                        </a:cubicBezTo>
                        <a:cubicBezTo>
                          <a:pt x="3614" y="110425"/>
                          <a:pt x="5060" y="110425"/>
                          <a:pt x="5783" y="109787"/>
                        </a:cubicBezTo>
                        <a:cubicBezTo>
                          <a:pt x="6506" y="109787"/>
                          <a:pt x="7228" y="109787"/>
                          <a:pt x="6506" y="109148"/>
                        </a:cubicBezTo>
                        <a:cubicBezTo>
                          <a:pt x="6506" y="109148"/>
                          <a:pt x="6506" y="109148"/>
                          <a:pt x="6506" y="109148"/>
                        </a:cubicBezTo>
                        <a:cubicBezTo>
                          <a:pt x="7228" y="109148"/>
                          <a:pt x="8674" y="108510"/>
                          <a:pt x="8674" y="108510"/>
                        </a:cubicBezTo>
                        <a:cubicBezTo>
                          <a:pt x="10120" y="107872"/>
                          <a:pt x="10120" y="107872"/>
                          <a:pt x="10120" y="107872"/>
                        </a:cubicBezTo>
                        <a:cubicBezTo>
                          <a:pt x="10120" y="107872"/>
                          <a:pt x="10120" y="107234"/>
                          <a:pt x="11566" y="107234"/>
                        </a:cubicBezTo>
                        <a:cubicBezTo>
                          <a:pt x="13012" y="107234"/>
                          <a:pt x="13012" y="107234"/>
                          <a:pt x="13012" y="106595"/>
                        </a:cubicBezTo>
                        <a:cubicBezTo>
                          <a:pt x="13734" y="106595"/>
                          <a:pt x="13012" y="106595"/>
                          <a:pt x="13734" y="106595"/>
                        </a:cubicBezTo>
                        <a:cubicBezTo>
                          <a:pt x="15180" y="106595"/>
                          <a:pt x="15180" y="105957"/>
                          <a:pt x="15903" y="105957"/>
                        </a:cubicBezTo>
                        <a:cubicBezTo>
                          <a:pt x="17349" y="105957"/>
                          <a:pt x="18072" y="105319"/>
                          <a:pt x="17349" y="105319"/>
                        </a:cubicBezTo>
                        <a:cubicBezTo>
                          <a:pt x="16626" y="105319"/>
                          <a:pt x="16626" y="105319"/>
                          <a:pt x="15180" y="105319"/>
                        </a:cubicBezTo>
                        <a:cubicBezTo>
                          <a:pt x="14457" y="105957"/>
                          <a:pt x="13734" y="105319"/>
                          <a:pt x="13734" y="105957"/>
                        </a:cubicBezTo>
                        <a:cubicBezTo>
                          <a:pt x="13012" y="105957"/>
                          <a:pt x="11566" y="105957"/>
                          <a:pt x="11566" y="105957"/>
                        </a:cubicBezTo>
                        <a:cubicBezTo>
                          <a:pt x="10843" y="105319"/>
                          <a:pt x="10843" y="105319"/>
                          <a:pt x="10120" y="105957"/>
                        </a:cubicBezTo>
                        <a:cubicBezTo>
                          <a:pt x="9397" y="105957"/>
                          <a:pt x="10120" y="106595"/>
                          <a:pt x="8674" y="106595"/>
                        </a:cubicBezTo>
                        <a:cubicBezTo>
                          <a:pt x="7951" y="106595"/>
                          <a:pt x="7228" y="105957"/>
                          <a:pt x="7228" y="105957"/>
                        </a:cubicBezTo>
                        <a:cubicBezTo>
                          <a:pt x="7228" y="105957"/>
                          <a:pt x="5060" y="105957"/>
                          <a:pt x="5060" y="105319"/>
                        </a:cubicBezTo>
                        <a:cubicBezTo>
                          <a:pt x="5060" y="105319"/>
                          <a:pt x="5060" y="104042"/>
                          <a:pt x="5060" y="104042"/>
                        </a:cubicBezTo>
                        <a:cubicBezTo>
                          <a:pt x="5060" y="103404"/>
                          <a:pt x="5783" y="103404"/>
                          <a:pt x="5783" y="103404"/>
                        </a:cubicBezTo>
                        <a:cubicBezTo>
                          <a:pt x="5060" y="102765"/>
                          <a:pt x="5060" y="102765"/>
                          <a:pt x="5060" y="102765"/>
                        </a:cubicBezTo>
                        <a:cubicBezTo>
                          <a:pt x="5060" y="102765"/>
                          <a:pt x="5060" y="102765"/>
                          <a:pt x="4337" y="102765"/>
                        </a:cubicBezTo>
                        <a:cubicBezTo>
                          <a:pt x="4337" y="102765"/>
                          <a:pt x="2891" y="103404"/>
                          <a:pt x="2891" y="103404"/>
                        </a:cubicBezTo>
                        <a:cubicBezTo>
                          <a:pt x="2891" y="103404"/>
                          <a:pt x="2891" y="103404"/>
                          <a:pt x="2168" y="103404"/>
                        </a:cubicBezTo>
                        <a:cubicBezTo>
                          <a:pt x="2168" y="103404"/>
                          <a:pt x="1445" y="103404"/>
                          <a:pt x="1445" y="103404"/>
                        </a:cubicBezTo>
                        <a:cubicBezTo>
                          <a:pt x="1445" y="103404"/>
                          <a:pt x="1445" y="102765"/>
                          <a:pt x="1445" y="102127"/>
                        </a:cubicBezTo>
                        <a:cubicBezTo>
                          <a:pt x="1445" y="102127"/>
                          <a:pt x="1445" y="101489"/>
                          <a:pt x="1445" y="101489"/>
                        </a:cubicBezTo>
                        <a:cubicBezTo>
                          <a:pt x="1445" y="101489"/>
                          <a:pt x="1445" y="101489"/>
                          <a:pt x="1445" y="101489"/>
                        </a:cubicBezTo>
                        <a:cubicBezTo>
                          <a:pt x="1445" y="100851"/>
                          <a:pt x="0" y="100851"/>
                          <a:pt x="1445" y="100212"/>
                        </a:cubicBezTo>
                        <a:cubicBezTo>
                          <a:pt x="2891" y="100212"/>
                          <a:pt x="2891" y="100212"/>
                          <a:pt x="3614" y="100212"/>
                        </a:cubicBezTo>
                        <a:cubicBezTo>
                          <a:pt x="3614" y="100212"/>
                          <a:pt x="4337" y="100212"/>
                          <a:pt x="4337" y="100212"/>
                        </a:cubicBezTo>
                        <a:cubicBezTo>
                          <a:pt x="4337" y="100212"/>
                          <a:pt x="5060" y="99574"/>
                          <a:pt x="5060" y="99574"/>
                        </a:cubicBezTo>
                        <a:cubicBezTo>
                          <a:pt x="4337" y="98936"/>
                          <a:pt x="4337" y="98936"/>
                          <a:pt x="4337" y="98936"/>
                        </a:cubicBezTo>
                        <a:cubicBezTo>
                          <a:pt x="4337" y="98297"/>
                          <a:pt x="4337" y="98297"/>
                          <a:pt x="5060" y="98297"/>
                        </a:cubicBezTo>
                        <a:cubicBezTo>
                          <a:pt x="5783" y="98297"/>
                          <a:pt x="5783" y="97659"/>
                          <a:pt x="6506" y="97659"/>
                        </a:cubicBezTo>
                        <a:cubicBezTo>
                          <a:pt x="6506" y="97659"/>
                          <a:pt x="7228" y="97659"/>
                          <a:pt x="7951" y="97659"/>
                        </a:cubicBezTo>
                        <a:cubicBezTo>
                          <a:pt x="7951" y="97659"/>
                          <a:pt x="7951" y="97021"/>
                          <a:pt x="9397" y="97021"/>
                        </a:cubicBezTo>
                        <a:cubicBezTo>
                          <a:pt x="10120" y="97021"/>
                          <a:pt x="10843" y="97021"/>
                          <a:pt x="11566" y="97021"/>
                        </a:cubicBezTo>
                        <a:cubicBezTo>
                          <a:pt x="11566" y="97021"/>
                          <a:pt x="13012" y="97021"/>
                          <a:pt x="13012" y="97021"/>
                        </a:cubicBezTo>
                        <a:cubicBezTo>
                          <a:pt x="13012" y="97021"/>
                          <a:pt x="14457" y="96382"/>
                          <a:pt x="14457" y="96382"/>
                        </a:cubicBezTo>
                        <a:cubicBezTo>
                          <a:pt x="15180" y="95744"/>
                          <a:pt x="15180" y="95744"/>
                          <a:pt x="15180" y="95744"/>
                        </a:cubicBezTo>
                        <a:cubicBezTo>
                          <a:pt x="15180" y="95744"/>
                          <a:pt x="15180" y="95744"/>
                          <a:pt x="15903" y="95744"/>
                        </a:cubicBezTo>
                        <a:cubicBezTo>
                          <a:pt x="16626" y="95744"/>
                          <a:pt x="16626" y="95744"/>
                          <a:pt x="17349" y="95744"/>
                        </a:cubicBezTo>
                        <a:cubicBezTo>
                          <a:pt x="17349" y="95744"/>
                          <a:pt x="18072" y="95744"/>
                          <a:pt x="18072" y="95744"/>
                        </a:cubicBezTo>
                        <a:cubicBezTo>
                          <a:pt x="18072" y="95106"/>
                          <a:pt x="18072" y="95106"/>
                          <a:pt x="18072" y="94468"/>
                        </a:cubicBezTo>
                        <a:cubicBezTo>
                          <a:pt x="17349" y="94468"/>
                          <a:pt x="17349" y="94468"/>
                          <a:pt x="16626" y="94468"/>
                        </a:cubicBezTo>
                        <a:cubicBezTo>
                          <a:pt x="15903" y="95106"/>
                          <a:pt x="15180" y="95106"/>
                          <a:pt x="15180" y="94468"/>
                        </a:cubicBezTo>
                        <a:cubicBezTo>
                          <a:pt x="15180" y="94468"/>
                          <a:pt x="15180" y="94468"/>
                          <a:pt x="14457" y="94468"/>
                        </a:cubicBezTo>
                        <a:cubicBezTo>
                          <a:pt x="13734" y="94468"/>
                          <a:pt x="13012" y="94468"/>
                          <a:pt x="13012" y="94468"/>
                        </a:cubicBezTo>
                        <a:cubicBezTo>
                          <a:pt x="13012" y="94468"/>
                          <a:pt x="12289" y="94468"/>
                          <a:pt x="11566" y="94468"/>
                        </a:cubicBezTo>
                        <a:cubicBezTo>
                          <a:pt x="10120" y="93829"/>
                          <a:pt x="10120" y="93829"/>
                          <a:pt x="9397" y="93829"/>
                        </a:cubicBezTo>
                        <a:cubicBezTo>
                          <a:pt x="8674" y="93829"/>
                          <a:pt x="7951" y="93829"/>
                          <a:pt x="7951" y="93829"/>
                        </a:cubicBezTo>
                        <a:cubicBezTo>
                          <a:pt x="7951" y="93829"/>
                          <a:pt x="9397" y="93829"/>
                          <a:pt x="7228" y="93191"/>
                        </a:cubicBezTo>
                        <a:cubicBezTo>
                          <a:pt x="5060" y="92553"/>
                          <a:pt x="5060" y="92553"/>
                          <a:pt x="5060" y="92553"/>
                        </a:cubicBezTo>
                        <a:cubicBezTo>
                          <a:pt x="4337" y="92553"/>
                          <a:pt x="4337" y="92553"/>
                          <a:pt x="4337" y="92553"/>
                        </a:cubicBezTo>
                        <a:cubicBezTo>
                          <a:pt x="3614" y="92553"/>
                          <a:pt x="3614" y="93191"/>
                          <a:pt x="2891" y="92553"/>
                        </a:cubicBezTo>
                        <a:cubicBezTo>
                          <a:pt x="2891" y="92553"/>
                          <a:pt x="2168" y="91914"/>
                          <a:pt x="2168" y="91914"/>
                        </a:cubicBezTo>
                        <a:cubicBezTo>
                          <a:pt x="2168" y="91276"/>
                          <a:pt x="2168" y="91276"/>
                          <a:pt x="2891" y="90638"/>
                        </a:cubicBezTo>
                        <a:cubicBezTo>
                          <a:pt x="2891" y="90638"/>
                          <a:pt x="4337" y="90000"/>
                          <a:pt x="4337" y="90000"/>
                        </a:cubicBezTo>
                        <a:cubicBezTo>
                          <a:pt x="4337" y="90638"/>
                          <a:pt x="4337" y="90638"/>
                          <a:pt x="4337" y="90638"/>
                        </a:cubicBezTo>
                        <a:cubicBezTo>
                          <a:pt x="4337" y="90638"/>
                          <a:pt x="4337" y="91276"/>
                          <a:pt x="5060" y="90638"/>
                        </a:cubicBezTo>
                        <a:cubicBezTo>
                          <a:pt x="5060" y="90638"/>
                          <a:pt x="5783" y="89361"/>
                          <a:pt x="5783" y="89361"/>
                        </a:cubicBezTo>
                        <a:cubicBezTo>
                          <a:pt x="5783" y="89361"/>
                          <a:pt x="5060" y="89361"/>
                          <a:pt x="5783" y="88723"/>
                        </a:cubicBezTo>
                        <a:cubicBezTo>
                          <a:pt x="6506" y="88723"/>
                          <a:pt x="6506" y="88723"/>
                          <a:pt x="7228" y="88723"/>
                        </a:cubicBezTo>
                        <a:cubicBezTo>
                          <a:pt x="7228" y="88723"/>
                          <a:pt x="8674" y="88723"/>
                          <a:pt x="9397" y="88723"/>
                        </a:cubicBezTo>
                        <a:cubicBezTo>
                          <a:pt x="9397" y="88085"/>
                          <a:pt x="10843" y="88085"/>
                          <a:pt x="10843" y="88085"/>
                        </a:cubicBezTo>
                        <a:cubicBezTo>
                          <a:pt x="10843" y="88085"/>
                          <a:pt x="11566" y="88723"/>
                          <a:pt x="10843" y="89361"/>
                        </a:cubicBezTo>
                        <a:cubicBezTo>
                          <a:pt x="10843" y="89361"/>
                          <a:pt x="10120" y="89361"/>
                          <a:pt x="10843" y="90000"/>
                        </a:cubicBezTo>
                        <a:cubicBezTo>
                          <a:pt x="11566" y="90000"/>
                          <a:pt x="12289" y="90000"/>
                          <a:pt x="12289" y="90000"/>
                        </a:cubicBezTo>
                        <a:cubicBezTo>
                          <a:pt x="12289" y="90000"/>
                          <a:pt x="13012" y="89361"/>
                          <a:pt x="13012" y="89361"/>
                        </a:cubicBezTo>
                        <a:cubicBezTo>
                          <a:pt x="13734" y="89361"/>
                          <a:pt x="13012" y="88723"/>
                          <a:pt x="13734" y="88723"/>
                        </a:cubicBezTo>
                        <a:cubicBezTo>
                          <a:pt x="14457" y="89361"/>
                          <a:pt x="14457" y="90000"/>
                          <a:pt x="14457" y="90000"/>
                        </a:cubicBezTo>
                        <a:cubicBezTo>
                          <a:pt x="14457" y="90000"/>
                          <a:pt x="14457" y="90000"/>
                          <a:pt x="14457" y="90638"/>
                        </a:cubicBezTo>
                        <a:cubicBezTo>
                          <a:pt x="15180" y="90638"/>
                          <a:pt x="15903" y="90638"/>
                          <a:pt x="15903" y="91276"/>
                        </a:cubicBezTo>
                        <a:cubicBezTo>
                          <a:pt x="15903" y="91276"/>
                          <a:pt x="15180" y="91276"/>
                          <a:pt x="16626" y="91914"/>
                        </a:cubicBezTo>
                        <a:cubicBezTo>
                          <a:pt x="17349" y="91914"/>
                          <a:pt x="18072" y="91914"/>
                          <a:pt x="18072" y="91914"/>
                        </a:cubicBezTo>
                        <a:cubicBezTo>
                          <a:pt x="18072" y="91914"/>
                          <a:pt x="18795" y="91914"/>
                          <a:pt x="18795" y="91276"/>
                        </a:cubicBezTo>
                        <a:cubicBezTo>
                          <a:pt x="18072" y="90638"/>
                          <a:pt x="18072" y="90000"/>
                          <a:pt x="18072" y="90000"/>
                        </a:cubicBezTo>
                        <a:cubicBezTo>
                          <a:pt x="18072" y="90000"/>
                          <a:pt x="18795" y="89361"/>
                          <a:pt x="18795" y="89361"/>
                        </a:cubicBezTo>
                        <a:cubicBezTo>
                          <a:pt x="18795" y="88723"/>
                          <a:pt x="18795" y="87446"/>
                          <a:pt x="18795" y="87446"/>
                        </a:cubicBezTo>
                        <a:cubicBezTo>
                          <a:pt x="18795" y="87446"/>
                          <a:pt x="19518" y="86808"/>
                          <a:pt x="18795" y="86808"/>
                        </a:cubicBezTo>
                        <a:cubicBezTo>
                          <a:pt x="18072" y="86808"/>
                          <a:pt x="18072" y="86170"/>
                          <a:pt x="18072" y="86170"/>
                        </a:cubicBezTo>
                        <a:cubicBezTo>
                          <a:pt x="17349" y="86170"/>
                          <a:pt x="17349" y="85531"/>
                          <a:pt x="17349" y="85531"/>
                        </a:cubicBezTo>
                        <a:cubicBezTo>
                          <a:pt x="19518" y="85531"/>
                          <a:pt x="19518" y="85531"/>
                          <a:pt x="19518" y="85531"/>
                        </a:cubicBezTo>
                        <a:cubicBezTo>
                          <a:pt x="20963" y="85531"/>
                          <a:pt x="20963" y="85531"/>
                          <a:pt x="20963" y="85531"/>
                        </a:cubicBezTo>
                        <a:cubicBezTo>
                          <a:pt x="22409" y="84893"/>
                          <a:pt x="22409" y="84893"/>
                          <a:pt x="22409" y="84893"/>
                        </a:cubicBezTo>
                        <a:cubicBezTo>
                          <a:pt x="22409" y="84893"/>
                          <a:pt x="23132" y="85531"/>
                          <a:pt x="23132" y="84893"/>
                        </a:cubicBezTo>
                        <a:cubicBezTo>
                          <a:pt x="23132" y="84893"/>
                          <a:pt x="23855" y="84255"/>
                          <a:pt x="23855" y="84255"/>
                        </a:cubicBezTo>
                        <a:cubicBezTo>
                          <a:pt x="25301" y="84255"/>
                          <a:pt x="25301" y="84255"/>
                          <a:pt x="25301" y="84255"/>
                        </a:cubicBezTo>
                        <a:cubicBezTo>
                          <a:pt x="25301" y="84255"/>
                          <a:pt x="24578" y="83617"/>
                          <a:pt x="24578" y="83617"/>
                        </a:cubicBezTo>
                        <a:cubicBezTo>
                          <a:pt x="25301" y="83617"/>
                          <a:pt x="25301" y="82340"/>
                          <a:pt x="25301" y="82340"/>
                        </a:cubicBezTo>
                        <a:cubicBezTo>
                          <a:pt x="25301" y="82340"/>
                          <a:pt x="26024" y="81702"/>
                          <a:pt x="26746" y="82340"/>
                        </a:cubicBezTo>
                        <a:cubicBezTo>
                          <a:pt x="26746" y="82340"/>
                          <a:pt x="28192" y="82340"/>
                          <a:pt x="28915" y="82978"/>
                        </a:cubicBezTo>
                        <a:cubicBezTo>
                          <a:pt x="28915" y="82978"/>
                          <a:pt x="29638" y="82978"/>
                          <a:pt x="29638" y="82978"/>
                        </a:cubicBezTo>
                        <a:cubicBezTo>
                          <a:pt x="31084" y="82978"/>
                          <a:pt x="31084" y="82978"/>
                          <a:pt x="31084" y="82978"/>
                        </a:cubicBezTo>
                        <a:cubicBezTo>
                          <a:pt x="31084" y="82978"/>
                          <a:pt x="32530" y="83617"/>
                          <a:pt x="32530" y="83617"/>
                        </a:cubicBezTo>
                        <a:cubicBezTo>
                          <a:pt x="32530" y="83617"/>
                          <a:pt x="33975" y="84255"/>
                          <a:pt x="34698" y="84255"/>
                        </a:cubicBezTo>
                        <a:cubicBezTo>
                          <a:pt x="34698" y="84255"/>
                          <a:pt x="35421" y="83617"/>
                          <a:pt x="35421" y="83617"/>
                        </a:cubicBezTo>
                        <a:cubicBezTo>
                          <a:pt x="35421" y="83617"/>
                          <a:pt x="35421" y="82978"/>
                          <a:pt x="36144" y="83617"/>
                        </a:cubicBezTo>
                        <a:cubicBezTo>
                          <a:pt x="36867" y="83617"/>
                          <a:pt x="37590" y="83617"/>
                          <a:pt x="38313" y="83617"/>
                        </a:cubicBezTo>
                        <a:cubicBezTo>
                          <a:pt x="38313" y="82978"/>
                          <a:pt x="38313" y="82978"/>
                          <a:pt x="39036" y="82978"/>
                        </a:cubicBezTo>
                        <a:cubicBezTo>
                          <a:pt x="39759" y="83617"/>
                          <a:pt x="40481" y="83617"/>
                          <a:pt x="40481" y="83617"/>
                        </a:cubicBezTo>
                        <a:cubicBezTo>
                          <a:pt x="41204" y="83617"/>
                          <a:pt x="42650" y="82978"/>
                          <a:pt x="42650" y="82978"/>
                        </a:cubicBezTo>
                        <a:cubicBezTo>
                          <a:pt x="42650" y="82978"/>
                          <a:pt x="41927" y="82340"/>
                          <a:pt x="42650" y="82978"/>
                        </a:cubicBezTo>
                        <a:cubicBezTo>
                          <a:pt x="43373" y="82978"/>
                          <a:pt x="44096" y="82340"/>
                          <a:pt x="44096" y="82340"/>
                        </a:cubicBezTo>
                        <a:cubicBezTo>
                          <a:pt x="42650" y="81702"/>
                          <a:pt x="42650" y="81702"/>
                          <a:pt x="42650" y="81702"/>
                        </a:cubicBezTo>
                        <a:cubicBezTo>
                          <a:pt x="42650" y="81702"/>
                          <a:pt x="43373" y="80425"/>
                          <a:pt x="43373" y="80425"/>
                        </a:cubicBezTo>
                        <a:cubicBezTo>
                          <a:pt x="43373" y="80425"/>
                          <a:pt x="42650" y="79787"/>
                          <a:pt x="42650" y="79787"/>
                        </a:cubicBezTo>
                        <a:cubicBezTo>
                          <a:pt x="42650" y="79787"/>
                          <a:pt x="41927" y="79787"/>
                          <a:pt x="41927" y="80425"/>
                        </a:cubicBezTo>
                        <a:cubicBezTo>
                          <a:pt x="41927" y="81063"/>
                          <a:pt x="41204" y="81702"/>
                          <a:pt x="40481" y="81702"/>
                        </a:cubicBezTo>
                        <a:cubicBezTo>
                          <a:pt x="40481" y="81702"/>
                          <a:pt x="39759" y="82340"/>
                          <a:pt x="39036" y="82340"/>
                        </a:cubicBezTo>
                        <a:cubicBezTo>
                          <a:pt x="39036" y="82340"/>
                          <a:pt x="38313" y="82978"/>
                          <a:pt x="38313" y="82978"/>
                        </a:cubicBezTo>
                        <a:cubicBezTo>
                          <a:pt x="38313" y="82978"/>
                          <a:pt x="38313" y="83617"/>
                          <a:pt x="36867" y="82978"/>
                        </a:cubicBezTo>
                        <a:cubicBezTo>
                          <a:pt x="36144" y="82340"/>
                          <a:pt x="35421" y="82340"/>
                          <a:pt x="35421" y="82340"/>
                        </a:cubicBezTo>
                        <a:cubicBezTo>
                          <a:pt x="35421" y="82340"/>
                          <a:pt x="35421" y="81702"/>
                          <a:pt x="34698" y="82340"/>
                        </a:cubicBezTo>
                        <a:cubicBezTo>
                          <a:pt x="33253" y="82340"/>
                          <a:pt x="33975" y="82978"/>
                          <a:pt x="33253" y="82340"/>
                        </a:cubicBezTo>
                        <a:cubicBezTo>
                          <a:pt x="32530" y="82340"/>
                          <a:pt x="30361" y="82340"/>
                          <a:pt x="30361" y="81702"/>
                        </a:cubicBezTo>
                        <a:cubicBezTo>
                          <a:pt x="30361" y="81702"/>
                          <a:pt x="29638" y="81063"/>
                          <a:pt x="29638" y="81063"/>
                        </a:cubicBezTo>
                        <a:cubicBezTo>
                          <a:pt x="29638" y="81063"/>
                          <a:pt x="29638" y="79787"/>
                          <a:pt x="29638" y="79787"/>
                        </a:cubicBezTo>
                        <a:cubicBezTo>
                          <a:pt x="28915" y="80425"/>
                          <a:pt x="28192" y="81063"/>
                          <a:pt x="27469" y="81063"/>
                        </a:cubicBezTo>
                        <a:cubicBezTo>
                          <a:pt x="27469" y="81063"/>
                          <a:pt x="26024" y="81063"/>
                          <a:pt x="25301" y="81063"/>
                        </a:cubicBezTo>
                        <a:cubicBezTo>
                          <a:pt x="25301" y="81063"/>
                          <a:pt x="25301" y="81063"/>
                          <a:pt x="24578" y="81063"/>
                        </a:cubicBezTo>
                        <a:cubicBezTo>
                          <a:pt x="23855" y="81063"/>
                          <a:pt x="23132" y="81702"/>
                          <a:pt x="22409" y="81702"/>
                        </a:cubicBezTo>
                        <a:cubicBezTo>
                          <a:pt x="21686" y="81702"/>
                          <a:pt x="21686" y="81063"/>
                          <a:pt x="20963" y="81063"/>
                        </a:cubicBezTo>
                        <a:cubicBezTo>
                          <a:pt x="20240" y="81063"/>
                          <a:pt x="20240" y="81063"/>
                          <a:pt x="20240" y="81063"/>
                        </a:cubicBezTo>
                        <a:cubicBezTo>
                          <a:pt x="20240" y="81063"/>
                          <a:pt x="20240" y="81063"/>
                          <a:pt x="20240" y="81063"/>
                        </a:cubicBezTo>
                        <a:cubicBezTo>
                          <a:pt x="20240" y="81063"/>
                          <a:pt x="20240" y="79787"/>
                          <a:pt x="21686" y="79787"/>
                        </a:cubicBezTo>
                        <a:cubicBezTo>
                          <a:pt x="22409" y="79148"/>
                          <a:pt x="21686" y="79148"/>
                          <a:pt x="23132" y="79148"/>
                        </a:cubicBezTo>
                        <a:cubicBezTo>
                          <a:pt x="24578" y="79148"/>
                          <a:pt x="25301" y="79148"/>
                          <a:pt x="26024" y="78510"/>
                        </a:cubicBezTo>
                        <a:cubicBezTo>
                          <a:pt x="26746" y="77872"/>
                          <a:pt x="26746" y="77234"/>
                          <a:pt x="27469" y="77234"/>
                        </a:cubicBezTo>
                        <a:cubicBezTo>
                          <a:pt x="28192" y="76595"/>
                          <a:pt x="28192" y="75957"/>
                          <a:pt x="28915" y="76595"/>
                        </a:cubicBezTo>
                        <a:cubicBezTo>
                          <a:pt x="30361" y="76595"/>
                          <a:pt x="31807" y="76595"/>
                          <a:pt x="31807" y="76595"/>
                        </a:cubicBezTo>
                        <a:cubicBezTo>
                          <a:pt x="31807" y="76595"/>
                          <a:pt x="31807" y="75957"/>
                          <a:pt x="31807" y="75319"/>
                        </a:cubicBezTo>
                        <a:cubicBezTo>
                          <a:pt x="31807" y="75319"/>
                          <a:pt x="31807" y="75319"/>
                          <a:pt x="31807" y="74680"/>
                        </a:cubicBezTo>
                        <a:cubicBezTo>
                          <a:pt x="32530" y="74680"/>
                          <a:pt x="32530" y="74042"/>
                          <a:pt x="32530" y="74042"/>
                        </a:cubicBezTo>
                        <a:cubicBezTo>
                          <a:pt x="33253" y="74042"/>
                          <a:pt x="33253" y="73404"/>
                          <a:pt x="33975" y="73404"/>
                        </a:cubicBezTo>
                        <a:cubicBezTo>
                          <a:pt x="33975" y="72765"/>
                          <a:pt x="34698" y="72765"/>
                          <a:pt x="34698" y="72127"/>
                        </a:cubicBezTo>
                        <a:cubicBezTo>
                          <a:pt x="35421" y="72127"/>
                          <a:pt x="35421" y="71489"/>
                          <a:pt x="35421" y="71489"/>
                        </a:cubicBezTo>
                        <a:cubicBezTo>
                          <a:pt x="35421" y="71489"/>
                          <a:pt x="33253" y="70851"/>
                          <a:pt x="33253" y="70851"/>
                        </a:cubicBezTo>
                        <a:cubicBezTo>
                          <a:pt x="33975" y="70212"/>
                          <a:pt x="33975" y="70212"/>
                          <a:pt x="33975" y="70212"/>
                        </a:cubicBezTo>
                        <a:cubicBezTo>
                          <a:pt x="36867" y="68297"/>
                          <a:pt x="36867" y="68297"/>
                          <a:pt x="36867" y="68297"/>
                        </a:cubicBezTo>
                        <a:cubicBezTo>
                          <a:pt x="36867" y="68297"/>
                          <a:pt x="37590" y="67021"/>
                          <a:pt x="37590" y="67021"/>
                        </a:cubicBezTo>
                        <a:cubicBezTo>
                          <a:pt x="38313" y="67021"/>
                          <a:pt x="39036" y="66382"/>
                          <a:pt x="39036" y="66382"/>
                        </a:cubicBezTo>
                        <a:cubicBezTo>
                          <a:pt x="39759" y="65106"/>
                          <a:pt x="39759" y="65106"/>
                          <a:pt x="39759" y="65106"/>
                        </a:cubicBezTo>
                        <a:cubicBezTo>
                          <a:pt x="39759" y="65106"/>
                          <a:pt x="39759" y="64468"/>
                          <a:pt x="40481" y="65106"/>
                        </a:cubicBezTo>
                        <a:cubicBezTo>
                          <a:pt x="41204" y="65106"/>
                          <a:pt x="41204" y="65744"/>
                          <a:pt x="41927" y="65744"/>
                        </a:cubicBezTo>
                        <a:cubicBezTo>
                          <a:pt x="42650" y="66382"/>
                          <a:pt x="44819" y="66382"/>
                          <a:pt x="44819" y="66382"/>
                        </a:cubicBezTo>
                        <a:cubicBezTo>
                          <a:pt x="44096" y="65106"/>
                          <a:pt x="44096" y="65106"/>
                          <a:pt x="44096" y="65106"/>
                        </a:cubicBezTo>
                        <a:cubicBezTo>
                          <a:pt x="46987" y="65106"/>
                          <a:pt x="46987" y="65106"/>
                          <a:pt x="46987" y="65106"/>
                        </a:cubicBezTo>
                        <a:cubicBezTo>
                          <a:pt x="46987" y="66382"/>
                          <a:pt x="46987" y="66382"/>
                          <a:pt x="46987" y="66382"/>
                        </a:cubicBezTo>
                        <a:cubicBezTo>
                          <a:pt x="48433" y="65744"/>
                          <a:pt x="48433" y="65744"/>
                          <a:pt x="48433" y="65744"/>
                        </a:cubicBezTo>
                        <a:cubicBezTo>
                          <a:pt x="47710" y="64468"/>
                          <a:pt x="47710" y="64468"/>
                          <a:pt x="47710" y="64468"/>
                        </a:cubicBezTo>
                        <a:cubicBezTo>
                          <a:pt x="47710" y="64468"/>
                          <a:pt x="49156" y="64468"/>
                          <a:pt x="49156" y="64468"/>
                        </a:cubicBezTo>
                        <a:cubicBezTo>
                          <a:pt x="48433" y="64468"/>
                          <a:pt x="46987" y="63191"/>
                          <a:pt x="46987" y="63191"/>
                        </a:cubicBezTo>
                        <a:cubicBezTo>
                          <a:pt x="47710" y="61914"/>
                          <a:pt x="47710" y="61914"/>
                          <a:pt x="47710" y="61914"/>
                        </a:cubicBezTo>
                        <a:cubicBezTo>
                          <a:pt x="46265" y="61914"/>
                          <a:pt x="46265" y="61914"/>
                          <a:pt x="46265" y="61914"/>
                        </a:cubicBezTo>
                        <a:cubicBezTo>
                          <a:pt x="46265" y="61914"/>
                          <a:pt x="43373" y="61914"/>
                          <a:pt x="42650" y="61914"/>
                        </a:cubicBezTo>
                        <a:cubicBezTo>
                          <a:pt x="41927" y="61276"/>
                          <a:pt x="41927" y="61276"/>
                          <a:pt x="41204" y="61276"/>
                        </a:cubicBezTo>
                        <a:cubicBezTo>
                          <a:pt x="40481" y="61276"/>
                          <a:pt x="39759" y="61276"/>
                          <a:pt x="39036" y="61276"/>
                        </a:cubicBezTo>
                        <a:cubicBezTo>
                          <a:pt x="38313" y="61276"/>
                          <a:pt x="37590" y="61276"/>
                          <a:pt x="36867" y="61276"/>
                        </a:cubicBezTo>
                        <a:cubicBezTo>
                          <a:pt x="36867" y="61276"/>
                          <a:pt x="36144" y="61276"/>
                          <a:pt x="35421" y="61276"/>
                        </a:cubicBezTo>
                        <a:cubicBezTo>
                          <a:pt x="35421" y="60638"/>
                          <a:pt x="36144" y="60000"/>
                          <a:pt x="35421" y="60000"/>
                        </a:cubicBezTo>
                        <a:cubicBezTo>
                          <a:pt x="34698" y="60000"/>
                          <a:pt x="33975" y="58723"/>
                          <a:pt x="33253" y="59361"/>
                        </a:cubicBezTo>
                        <a:cubicBezTo>
                          <a:pt x="33253" y="59361"/>
                          <a:pt x="33253" y="59361"/>
                          <a:pt x="32530" y="59361"/>
                        </a:cubicBezTo>
                        <a:cubicBezTo>
                          <a:pt x="32530" y="60000"/>
                          <a:pt x="31807" y="60000"/>
                          <a:pt x="31807" y="60000"/>
                        </a:cubicBezTo>
                        <a:cubicBezTo>
                          <a:pt x="31084" y="59361"/>
                          <a:pt x="31084" y="60000"/>
                          <a:pt x="31807" y="59361"/>
                        </a:cubicBezTo>
                        <a:cubicBezTo>
                          <a:pt x="31807" y="58723"/>
                          <a:pt x="31084" y="57446"/>
                          <a:pt x="31807" y="57446"/>
                        </a:cubicBezTo>
                        <a:cubicBezTo>
                          <a:pt x="32530" y="58085"/>
                          <a:pt x="32530" y="58085"/>
                          <a:pt x="33253" y="58085"/>
                        </a:cubicBezTo>
                        <a:cubicBezTo>
                          <a:pt x="33253" y="58085"/>
                          <a:pt x="33975" y="58085"/>
                          <a:pt x="33975" y="58085"/>
                        </a:cubicBezTo>
                        <a:cubicBezTo>
                          <a:pt x="33975" y="57446"/>
                          <a:pt x="34698" y="56170"/>
                          <a:pt x="34698" y="56170"/>
                        </a:cubicBezTo>
                        <a:cubicBezTo>
                          <a:pt x="34698" y="56170"/>
                          <a:pt x="36867" y="56808"/>
                          <a:pt x="36144" y="56170"/>
                        </a:cubicBezTo>
                        <a:cubicBezTo>
                          <a:pt x="35421" y="55531"/>
                          <a:pt x="33975" y="54893"/>
                          <a:pt x="33975" y="54893"/>
                        </a:cubicBezTo>
                        <a:cubicBezTo>
                          <a:pt x="33975" y="54893"/>
                          <a:pt x="33253" y="54893"/>
                          <a:pt x="33253" y="55531"/>
                        </a:cubicBezTo>
                        <a:cubicBezTo>
                          <a:pt x="32530" y="56170"/>
                          <a:pt x="33253" y="56170"/>
                          <a:pt x="32530" y="56808"/>
                        </a:cubicBezTo>
                        <a:cubicBezTo>
                          <a:pt x="31807" y="56808"/>
                          <a:pt x="31807" y="56808"/>
                          <a:pt x="31084" y="56808"/>
                        </a:cubicBezTo>
                        <a:cubicBezTo>
                          <a:pt x="31084" y="56808"/>
                          <a:pt x="31084" y="56808"/>
                          <a:pt x="30361" y="56808"/>
                        </a:cubicBezTo>
                        <a:cubicBezTo>
                          <a:pt x="30361" y="56808"/>
                          <a:pt x="28915" y="56808"/>
                          <a:pt x="28915" y="56170"/>
                        </a:cubicBezTo>
                        <a:cubicBezTo>
                          <a:pt x="28915" y="56170"/>
                          <a:pt x="28915" y="56170"/>
                          <a:pt x="28915" y="55531"/>
                        </a:cubicBezTo>
                        <a:cubicBezTo>
                          <a:pt x="28915" y="54893"/>
                          <a:pt x="28915" y="54255"/>
                          <a:pt x="30361" y="54255"/>
                        </a:cubicBezTo>
                        <a:cubicBezTo>
                          <a:pt x="31084" y="54255"/>
                          <a:pt x="31084" y="54893"/>
                          <a:pt x="31084" y="54255"/>
                        </a:cubicBezTo>
                        <a:cubicBezTo>
                          <a:pt x="31084" y="54255"/>
                          <a:pt x="31084" y="53617"/>
                          <a:pt x="30361" y="53617"/>
                        </a:cubicBezTo>
                        <a:cubicBezTo>
                          <a:pt x="30361" y="52978"/>
                          <a:pt x="30361" y="52978"/>
                          <a:pt x="29638" y="52978"/>
                        </a:cubicBezTo>
                        <a:cubicBezTo>
                          <a:pt x="28915" y="52978"/>
                          <a:pt x="27469" y="53617"/>
                          <a:pt x="27469" y="53617"/>
                        </a:cubicBezTo>
                        <a:cubicBezTo>
                          <a:pt x="27469" y="53617"/>
                          <a:pt x="28192" y="53617"/>
                          <a:pt x="26746" y="53617"/>
                        </a:cubicBezTo>
                        <a:cubicBezTo>
                          <a:pt x="26024" y="52978"/>
                          <a:pt x="26746" y="52978"/>
                          <a:pt x="26024" y="52340"/>
                        </a:cubicBezTo>
                        <a:cubicBezTo>
                          <a:pt x="26024" y="51702"/>
                          <a:pt x="26024" y="51702"/>
                          <a:pt x="25301" y="51702"/>
                        </a:cubicBezTo>
                        <a:cubicBezTo>
                          <a:pt x="25301" y="51702"/>
                          <a:pt x="25301" y="51702"/>
                          <a:pt x="24578" y="51702"/>
                        </a:cubicBezTo>
                        <a:cubicBezTo>
                          <a:pt x="23855" y="51063"/>
                          <a:pt x="23132" y="51063"/>
                          <a:pt x="23132" y="50425"/>
                        </a:cubicBezTo>
                        <a:cubicBezTo>
                          <a:pt x="23132" y="49787"/>
                          <a:pt x="23132" y="49148"/>
                          <a:pt x="23855" y="49787"/>
                        </a:cubicBezTo>
                        <a:cubicBezTo>
                          <a:pt x="24578" y="49787"/>
                          <a:pt x="23855" y="49148"/>
                          <a:pt x="24578" y="49787"/>
                        </a:cubicBezTo>
                        <a:cubicBezTo>
                          <a:pt x="26024" y="50425"/>
                          <a:pt x="26024" y="50425"/>
                          <a:pt x="26024" y="50425"/>
                        </a:cubicBezTo>
                        <a:cubicBezTo>
                          <a:pt x="26024" y="50425"/>
                          <a:pt x="26746" y="50425"/>
                          <a:pt x="26024" y="49787"/>
                        </a:cubicBezTo>
                        <a:cubicBezTo>
                          <a:pt x="26024" y="49148"/>
                          <a:pt x="25301" y="48510"/>
                          <a:pt x="25301" y="48510"/>
                        </a:cubicBezTo>
                        <a:cubicBezTo>
                          <a:pt x="25301" y="48510"/>
                          <a:pt x="24578" y="48510"/>
                          <a:pt x="24578" y="47872"/>
                        </a:cubicBezTo>
                        <a:cubicBezTo>
                          <a:pt x="24578" y="47234"/>
                          <a:pt x="24578" y="47234"/>
                          <a:pt x="23855" y="46595"/>
                        </a:cubicBezTo>
                        <a:cubicBezTo>
                          <a:pt x="23855" y="46595"/>
                          <a:pt x="24578" y="46595"/>
                          <a:pt x="24578" y="46595"/>
                        </a:cubicBezTo>
                        <a:cubicBezTo>
                          <a:pt x="25301" y="46595"/>
                          <a:pt x="24578" y="46595"/>
                          <a:pt x="25301" y="46595"/>
                        </a:cubicBezTo>
                        <a:cubicBezTo>
                          <a:pt x="26746" y="46595"/>
                          <a:pt x="26024" y="46595"/>
                          <a:pt x="26746" y="46595"/>
                        </a:cubicBezTo>
                        <a:cubicBezTo>
                          <a:pt x="26746" y="46595"/>
                          <a:pt x="27469" y="46595"/>
                          <a:pt x="27469" y="46595"/>
                        </a:cubicBezTo>
                        <a:cubicBezTo>
                          <a:pt x="27469" y="47234"/>
                          <a:pt x="28192" y="45957"/>
                          <a:pt x="28192" y="45957"/>
                        </a:cubicBezTo>
                        <a:cubicBezTo>
                          <a:pt x="28192" y="45957"/>
                          <a:pt x="27469" y="45319"/>
                          <a:pt x="28192" y="45319"/>
                        </a:cubicBezTo>
                        <a:cubicBezTo>
                          <a:pt x="28915" y="45319"/>
                          <a:pt x="28915" y="45957"/>
                          <a:pt x="29638" y="45957"/>
                        </a:cubicBezTo>
                        <a:cubicBezTo>
                          <a:pt x="31084" y="45957"/>
                          <a:pt x="31084" y="46595"/>
                          <a:pt x="31807" y="46595"/>
                        </a:cubicBezTo>
                        <a:cubicBezTo>
                          <a:pt x="31807" y="45957"/>
                          <a:pt x="32530" y="46595"/>
                          <a:pt x="32530" y="45957"/>
                        </a:cubicBezTo>
                        <a:cubicBezTo>
                          <a:pt x="31807" y="45319"/>
                          <a:pt x="31807" y="45957"/>
                          <a:pt x="31807" y="45319"/>
                        </a:cubicBezTo>
                        <a:cubicBezTo>
                          <a:pt x="31084" y="44680"/>
                          <a:pt x="31084" y="45319"/>
                          <a:pt x="31084" y="44042"/>
                        </a:cubicBezTo>
                        <a:cubicBezTo>
                          <a:pt x="31807" y="43404"/>
                          <a:pt x="31807" y="42765"/>
                          <a:pt x="31807" y="42765"/>
                        </a:cubicBezTo>
                        <a:cubicBezTo>
                          <a:pt x="31807" y="42127"/>
                          <a:pt x="31807" y="42127"/>
                          <a:pt x="31807" y="42127"/>
                        </a:cubicBezTo>
                        <a:cubicBezTo>
                          <a:pt x="33253" y="40851"/>
                          <a:pt x="33253" y="40851"/>
                          <a:pt x="33253" y="40851"/>
                        </a:cubicBezTo>
                        <a:cubicBezTo>
                          <a:pt x="33253" y="40851"/>
                          <a:pt x="33975" y="40851"/>
                          <a:pt x="34698" y="40851"/>
                        </a:cubicBezTo>
                        <a:cubicBezTo>
                          <a:pt x="36144" y="40851"/>
                          <a:pt x="36867" y="41489"/>
                          <a:pt x="37590" y="41489"/>
                        </a:cubicBezTo>
                        <a:cubicBezTo>
                          <a:pt x="39036" y="41489"/>
                          <a:pt x="39759" y="41489"/>
                          <a:pt x="39759" y="41489"/>
                        </a:cubicBezTo>
                        <a:cubicBezTo>
                          <a:pt x="39036" y="40851"/>
                          <a:pt x="39036" y="40851"/>
                          <a:pt x="39036" y="40851"/>
                        </a:cubicBezTo>
                        <a:cubicBezTo>
                          <a:pt x="39036" y="40851"/>
                          <a:pt x="39036" y="40851"/>
                          <a:pt x="39036" y="40212"/>
                        </a:cubicBezTo>
                        <a:cubicBezTo>
                          <a:pt x="39759" y="40212"/>
                          <a:pt x="39759" y="40212"/>
                          <a:pt x="40481" y="40212"/>
                        </a:cubicBezTo>
                        <a:cubicBezTo>
                          <a:pt x="40481" y="40212"/>
                          <a:pt x="41204" y="38936"/>
                          <a:pt x="41204" y="38936"/>
                        </a:cubicBezTo>
                        <a:cubicBezTo>
                          <a:pt x="40481" y="38297"/>
                          <a:pt x="40481" y="38297"/>
                          <a:pt x="39759" y="37659"/>
                        </a:cubicBezTo>
                        <a:cubicBezTo>
                          <a:pt x="38313" y="37659"/>
                          <a:pt x="36144" y="37659"/>
                          <a:pt x="36144" y="37659"/>
                        </a:cubicBezTo>
                        <a:cubicBezTo>
                          <a:pt x="36144" y="37659"/>
                          <a:pt x="35421" y="37659"/>
                          <a:pt x="34698" y="37659"/>
                        </a:cubicBezTo>
                        <a:cubicBezTo>
                          <a:pt x="33975" y="37659"/>
                          <a:pt x="32530" y="37659"/>
                          <a:pt x="32530" y="37021"/>
                        </a:cubicBezTo>
                        <a:cubicBezTo>
                          <a:pt x="31807" y="37021"/>
                          <a:pt x="31807" y="37021"/>
                          <a:pt x="31807" y="35744"/>
                        </a:cubicBezTo>
                        <a:cubicBezTo>
                          <a:pt x="31807" y="35106"/>
                          <a:pt x="31084" y="35106"/>
                          <a:pt x="31084" y="35106"/>
                        </a:cubicBezTo>
                        <a:cubicBezTo>
                          <a:pt x="31807" y="33829"/>
                          <a:pt x="31807" y="33829"/>
                          <a:pt x="31807" y="33829"/>
                        </a:cubicBezTo>
                        <a:cubicBezTo>
                          <a:pt x="31807" y="33829"/>
                          <a:pt x="31084" y="33191"/>
                          <a:pt x="31084" y="33191"/>
                        </a:cubicBezTo>
                        <a:cubicBezTo>
                          <a:pt x="30361" y="33191"/>
                          <a:pt x="30361" y="33191"/>
                          <a:pt x="30361" y="33191"/>
                        </a:cubicBezTo>
                        <a:cubicBezTo>
                          <a:pt x="29638" y="33191"/>
                          <a:pt x="30361" y="33191"/>
                          <a:pt x="28915" y="32553"/>
                        </a:cubicBezTo>
                        <a:cubicBezTo>
                          <a:pt x="27469" y="32553"/>
                          <a:pt x="26746" y="31914"/>
                          <a:pt x="26746" y="31914"/>
                        </a:cubicBezTo>
                        <a:cubicBezTo>
                          <a:pt x="26746" y="31276"/>
                          <a:pt x="26746" y="31276"/>
                          <a:pt x="28192" y="31276"/>
                        </a:cubicBezTo>
                        <a:cubicBezTo>
                          <a:pt x="28915" y="31276"/>
                          <a:pt x="29638" y="31276"/>
                          <a:pt x="30361" y="31276"/>
                        </a:cubicBezTo>
                        <a:cubicBezTo>
                          <a:pt x="31084" y="31914"/>
                          <a:pt x="32530" y="31276"/>
                          <a:pt x="32530" y="31276"/>
                        </a:cubicBezTo>
                        <a:cubicBezTo>
                          <a:pt x="32530" y="31276"/>
                          <a:pt x="31807" y="31276"/>
                          <a:pt x="33253" y="31914"/>
                        </a:cubicBezTo>
                        <a:cubicBezTo>
                          <a:pt x="34698" y="32553"/>
                          <a:pt x="33975" y="32553"/>
                          <a:pt x="34698" y="32553"/>
                        </a:cubicBezTo>
                        <a:cubicBezTo>
                          <a:pt x="35421" y="32553"/>
                          <a:pt x="36144" y="31914"/>
                          <a:pt x="35421" y="31914"/>
                        </a:cubicBezTo>
                        <a:cubicBezTo>
                          <a:pt x="35421" y="31276"/>
                          <a:pt x="36144" y="31276"/>
                          <a:pt x="35421" y="31276"/>
                        </a:cubicBezTo>
                        <a:cubicBezTo>
                          <a:pt x="34698" y="30638"/>
                          <a:pt x="34698" y="30638"/>
                          <a:pt x="34698" y="30638"/>
                        </a:cubicBezTo>
                        <a:cubicBezTo>
                          <a:pt x="34698" y="30638"/>
                          <a:pt x="34698" y="30638"/>
                          <a:pt x="34698" y="30000"/>
                        </a:cubicBezTo>
                        <a:cubicBezTo>
                          <a:pt x="34698" y="29361"/>
                          <a:pt x="35421" y="28723"/>
                          <a:pt x="35421" y="28723"/>
                        </a:cubicBezTo>
                        <a:cubicBezTo>
                          <a:pt x="36144" y="28723"/>
                          <a:pt x="36144" y="28723"/>
                          <a:pt x="36144" y="28085"/>
                        </a:cubicBezTo>
                        <a:cubicBezTo>
                          <a:pt x="36144" y="28085"/>
                          <a:pt x="36144" y="27446"/>
                          <a:pt x="36144" y="27446"/>
                        </a:cubicBezTo>
                        <a:cubicBezTo>
                          <a:pt x="36144" y="26808"/>
                          <a:pt x="36867" y="26170"/>
                          <a:pt x="36867" y="26170"/>
                        </a:cubicBezTo>
                        <a:cubicBezTo>
                          <a:pt x="36867" y="26170"/>
                          <a:pt x="36144" y="25531"/>
                          <a:pt x="36144" y="25531"/>
                        </a:cubicBezTo>
                        <a:cubicBezTo>
                          <a:pt x="36144" y="25531"/>
                          <a:pt x="34698" y="25531"/>
                          <a:pt x="34698" y="26170"/>
                        </a:cubicBezTo>
                        <a:cubicBezTo>
                          <a:pt x="34698" y="26170"/>
                          <a:pt x="34698" y="26170"/>
                          <a:pt x="34698" y="26808"/>
                        </a:cubicBezTo>
                        <a:cubicBezTo>
                          <a:pt x="33975" y="26808"/>
                          <a:pt x="33975" y="26808"/>
                          <a:pt x="33253" y="26808"/>
                        </a:cubicBezTo>
                        <a:cubicBezTo>
                          <a:pt x="33253" y="27446"/>
                          <a:pt x="33253" y="27446"/>
                          <a:pt x="33253" y="27446"/>
                        </a:cubicBezTo>
                        <a:cubicBezTo>
                          <a:pt x="33253" y="28085"/>
                          <a:pt x="32530" y="28723"/>
                          <a:pt x="32530" y="28723"/>
                        </a:cubicBezTo>
                        <a:cubicBezTo>
                          <a:pt x="32530" y="28723"/>
                          <a:pt x="31807" y="27446"/>
                          <a:pt x="31807" y="26808"/>
                        </a:cubicBezTo>
                        <a:cubicBezTo>
                          <a:pt x="31807" y="26808"/>
                          <a:pt x="32530" y="26170"/>
                          <a:pt x="33253" y="26170"/>
                        </a:cubicBezTo>
                        <a:cubicBezTo>
                          <a:pt x="33975" y="26170"/>
                          <a:pt x="33975" y="26170"/>
                          <a:pt x="33975" y="25531"/>
                        </a:cubicBezTo>
                        <a:cubicBezTo>
                          <a:pt x="33975" y="25531"/>
                          <a:pt x="33975" y="25531"/>
                          <a:pt x="33975" y="24893"/>
                        </a:cubicBezTo>
                        <a:cubicBezTo>
                          <a:pt x="33975" y="24255"/>
                          <a:pt x="33975" y="24255"/>
                          <a:pt x="33975" y="24255"/>
                        </a:cubicBezTo>
                        <a:cubicBezTo>
                          <a:pt x="34698" y="23617"/>
                          <a:pt x="35421" y="22978"/>
                          <a:pt x="36144" y="22978"/>
                        </a:cubicBezTo>
                        <a:cubicBezTo>
                          <a:pt x="36144" y="22978"/>
                          <a:pt x="35421" y="21702"/>
                          <a:pt x="36867" y="22978"/>
                        </a:cubicBezTo>
                        <a:cubicBezTo>
                          <a:pt x="37590" y="23617"/>
                          <a:pt x="37590" y="23617"/>
                          <a:pt x="38313" y="24255"/>
                        </a:cubicBezTo>
                        <a:cubicBezTo>
                          <a:pt x="39036" y="24255"/>
                          <a:pt x="40481" y="24893"/>
                          <a:pt x="40481" y="24255"/>
                        </a:cubicBezTo>
                        <a:cubicBezTo>
                          <a:pt x="40481" y="24255"/>
                          <a:pt x="40481" y="23617"/>
                          <a:pt x="40481" y="22978"/>
                        </a:cubicBezTo>
                        <a:cubicBezTo>
                          <a:pt x="40481" y="22978"/>
                          <a:pt x="39759" y="22978"/>
                          <a:pt x="40481" y="22340"/>
                        </a:cubicBezTo>
                        <a:cubicBezTo>
                          <a:pt x="40481" y="22340"/>
                          <a:pt x="40481" y="22340"/>
                          <a:pt x="41204" y="22340"/>
                        </a:cubicBezTo>
                        <a:cubicBezTo>
                          <a:pt x="42650" y="22978"/>
                          <a:pt x="41927" y="22978"/>
                          <a:pt x="42650" y="23617"/>
                        </a:cubicBezTo>
                        <a:cubicBezTo>
                          <a:pt x="44096" y="24255"/>
                          <a:pt x="44096" y="24255"/>
                          <a:pt x="44096" y="24255"/>
                        </a:cubicBezTo>
                        <a:cubicBezTo>
                          <a:pt x="44819" y="24255"/>
                          <a:pt x="44819" y="24255"/>
                          <a:pt x="45542" y="24255"/>
                        </a:cubicBezTo>
                        <a:cubicBezTo>
                          <a:pt x="46265" y="24255"/>
                          <a:pt x="45542" y="23617"/>
                          <a:pt x="46987" y="24893"/>
                        </a:cubicBezTo>
                        <a:cubicBezTo>
                          <a:pt x="47710" y="25531"/>
                          <a:pt x="47710" y="25531"/>
                          <a:pt x="48433" y="25531"/>
                        </a:cubicBezTo>
                        <a:cubicBezTo>
                          <a:pt x="49156" y="26170"/>
                          <a:pt x="50602" y="25531"/>
                          <a:pt x="50602" y="25531"/>
                        </a:cubicBezTo>
                        <a:cubicBezTo>
                          <a:pt x="50602" y="25531"/>
                          <a:pt x="50602" y="24893"/>
                          <a:pt x="51325" y="26170"/>
                        </a:cubicBezTo>
                        <a:cubicBezTo>
                          <a:pt x="52048" y="27446"/>
                          <a:pt x="52771" y="27446"/>
                          <a:pt x="52771" y="27446"/>
                        </a:cubicBezTo>
                        <a:cubicBezTo>
                          <a:pt x="52771" y="28085"/>
                          <a:pt x="53493" y="28723"/>
                          <a:pt x="53493" y="28723"/>
                        </a:cubicBezTo>
                        <a:cubicBezTo>
                          <a:pt x="53493" y="28723"/>
                          <a:pt x="53493" y="28723"/>
                          <a:pt x="53493" y="29361"/>
                        </a:cubicBezTo>
                        <a:cubicBezTo>
                          <a:pt x="53493" y="29361"/>
                          <a:pt x="53493" y="30000"/>
                          <a:pt x="54216" y="30000"/>
                        </a:cubicBezTo>
                        <a:cubicBezTo>
                          <a:pt x="54216" y="30000"/>
                          <a:pt x="54939" y="30000"/>
                          <a:pt x="54939" y="30000"/>
                        </a:cubicBezTo>
                        <a:cubicBezTo>
                          <a:pt x="54939" y="30000"/>
                          <a:pt x="55662" y="29361"/>
                          <a:pt x="55662" y="29361"/>
                        </a:cubicBezTo>
                        <a:cubicBezTo>
                          <a:pt x="55662" y="29361"/>
                          <a:pt x="57108" y="28723"/>
                          <a:pt x="57108" y="28723"/>
                        </a:cubicBezTo>
                        <a:cubicBezTo>
                          <a:pt x="57108" y="28723"/>
                          <a:pt x="57108" y="28085"/>
                          <a:pt x="58554" y="28723"/>
                        </a:cubicBezTo>
                        <a:cubicBezTo>
                          <a:pt x="59277" y="28723"/>
                          <a:pt x="60722" y="29361"/>
                          <a:pt x="60722" y="29361"/>
                        </a:cubicBezTo>
                        <a:cubicBezTo>
                          <a:pt x="60722" y="29361"/>
                          <a:pt x="60722" y="30000"/>
                          <a:pt x="60722" y="30000"/>
                        </a:cubicBezTo>
                        <a:cubicBezTo>
                          <a:pt x="61445" y="30000"/>
                          <a:pt x="63614" y="30000"/>
                          <a:pt x="63614" y="30000"/>
                        </a:cubicBezTo>
                        <a:cubicBezTo>
                          <a:pt x="64337" y="30638"/>
                          <a:pt x="64337" y="30638"/>
                          <a:pt x="64337" y="30638"/>
                        </a:cubicBezTo>
                        <a:cubicBezTo>
                          <a:pt x="64337" y="30638"/>
                          <a:pt x="65060" y="31276"/>
                          <a:pt x="65060" y="31276"/>
                        </a:cubicBezTo>
                        <a:cubicBezTo>
                          <a:pt x="65060" y="31914"/>
                          <a:pt x="65783" y="33191"/>
                          <a:pt x="65783" y="33191"/>
                        </a:cubicBezTo>
                        <a:cubicBezTo>
                          <a:pt x="67951" y="33829"/>
                          <a:pt x="67951" y="33829"/>
                          <a:pt x="67951" y="33829"/>
                        </a:cubicBezTo>
                        <a:cubicBezTo>
                          <a:pt x="66506" y="31914"/>
                          <a:pt x="66506" y="31914"/>
                          <a:pt x="66506" y="31914"/>
                        </a:cubicBezTo>
                        <a:cubicBezTo>
                          <a:pt x="66506" y="31914"/>
                          <a:pt x="65060" y="30638"/>
                          <a:pt x="66506" y="30638"/>
                        </a:cubicBezTo>
                        <a:cubicBezTo>
                          <a:pt x="67951" y="30638"/>
                          <a:pt x="68674" y="30000"/>
                          <a:pt x="68674" y="30000"/>
                        </a:cubicBezTo>
                        <a:cubicBezTo>
                          <a:pt x="68674" y="29361"/>
                          <a:pt x="68674" y="29361"/>
                          <a:pt x="68674" y="29361"/>
                        </a:cubicBezTo>
                        <a:cubicBezTo>
                          <a:pt x="66506" y="29361"/>
                          <a:pt x="66506" y="29361"/>
                          <a:pt x="66506" y="29361"/>
                        </a:cubicBezTo>
                        <a:cubicBezTo>
                          <a:pt x="66506" y="29361"/>
                          <a:pt x="66506" y="28085"/>
                          <a:pt x="66506" y="28085"/>
                        </a:cubicBezTo>
                        <a:cubicBezTo>
                          <a:pt x="67228" y="28085"/>
                          <a:pt x="67951" y="26808"/>
                          <a:pt x="69397" y="26808"/>
                        </a:cubicBezTo>
                        <a:cubicBezTo>
                          <a:pt x="70843" y="26808"/>
                          <a:pt x="72289" y="26170"/>
                          <a:pt x="72289" y="26170"/>
                        </a:cubicBezTo>
                        <a:cubicBezTo>
                          <a:pt x="72289" y="26170"/>
                          <a:pt x="72289" y="25531"/>
                          <a:pt x="73734" y="25531"/>
                        </a:cubicBezTo>
                        <a:cubicBezTo>
                          <a:pt x="75180" y="25531"/>
                          <a:pt x="75903" y="25531"/>
                          <a:pt x="76626" y="25531"/>
                        </a:cubicBezTo>
                        <a:cubicBezTo>
                          <a:pt x="77349" y="25531"/>
                          <a:pt x="77349" y="25531"/>
                          <a:pt x="77349" y="24893"/>
                        </a:cubicBezTo>
                        <a:cubicBezTo>
                          <a:pt x="77349" y="24255"/>
                          <a:pt x="76626" y="24255"/>
                          <a:pt x="78072" y="23617"/>
                        </a:cubicBezTo>
                        <a:cubicBezTo>
                          <a:pt x="78795" y="23617"/>
                          <a:pt x="79518" y="22978"/>
                          <a:pt x="79518" y="22978"/>
                        </a:cubicBezTo>
                        <a:cubicBezTo>
                          <a:pt x="80240" y="20425"/>
                          <a:pt x="80240" y="20425"/>
                          <a:pt x="80240" y="20425"/>
                        </a:cubicBezTo>
                        <a:cubicBezTo>
                          <a:pt x="77349" y="21702"/>
                          <a:pt x="77349" y="21702"/>
                          <a:pt x="77349" y="21702"/>
                        </a:cubicBezTo>
                        <a:cubicBezTo>
                          <a:pt x="77349" y="21702"/>
                          <a:pt x="77349" y="20425"/>
                          <a:pt x="76626" y="20425"/>
                        </a:cubicBezTo>
                        <a:cubicBezTo>
                          <a:pt x="75903" y="20425"/>
                          <a:pt x="73734" y="21702"/>
                          <a:pt x="73734" y="21702"/>
                        </a:cubicBezTo>
                        <a:cubicBezTo>
                          <a:pt x="73734" y="21702"/>
                          <a:pt x="73734" y="21063"/>
                          <a:pt x="73012" y="21063"/>
                        </a:cubicBezTo>
                        <a:cubicBezTo>
                          <a:pt x="73012" y="20425"/>
                          <a:pt x="73012" y="20425"/>
                          <a:pt x="72289" y="20425"/>
                        </a:cubicBezTo>
                        <a:cubicBezTo>
                          <a:pt x="71566" y="20425"/>
                          <a:pt x="72289" y="20425"/>
                          <a:pt x="70843" y="19787"/>
                        </a:cubicBezTo>
                        <a:cubicBezTo>
                          <a:pt x="69397" y="19148"/>
                          <a:pt x="68674" y="17872"/>
                          <a:pt x="68674" y="17872"/>
                        </a:cubicBezTo>
                        <a:cubicBezTo>
                          <a:pt x="68674" y="17872"/>
                          <a:pt x="69397" y="17872"/>
                          <a:pt x="67951" y="17872"/>
                        </a:cubicBezTo>
                        <a:cubicBezTo>
                          <a:pt x="67228" y="17234"/>
                          <a:pt x="67228" y="17234"/>
                          <a:pt x="67228" y="17234"/>
                        </a:cubicBezTo>
                        <a:cubicBezTo>
                          <a:pt x="66506" y="16595"/>
                          <a:pt x="66506" y="16595"/>
                          <a:pt x="67951" y="15957"/>
                        </a:cubicBezTo>
                        <a:cubicBezTo>
                          <a:pt x="68674" y="15319"/>
                          <a:pt x="67951" y="15319"/>
                          <a:pt x="69397" y="14680"/>
                        </a:cubicBezTo>
                        <a:cubicBezTo>
                          <a:pt x="70120" y="14042"/>
                          <a:pt x="69397" y="13404"/>
                          <a:pt x="70843" y="14042"/>
                        </a:cubicBezTo>
                        <a:cubicBezTo>
                          <a:pt x="73012" y="14680"/>
                          <a:pt x="73012" y="14680"/>
                          <a:pt x="73734" y="15319"/>
                        </a:cubicBezTo>
                        <a:cubicBezTo>
                          <a:pt x="74457" y="15319"/>
                          <a:pt x="77349" y="15319"/>
                          <a:pt x="75903" y="14680"/>
                        </a:cubicBezTo>
                        <a:cubicBezTo>
                          <a:pt x="75180" y="14042"/>
                          <a:pt x="73734" y="13404"/>
                          <a:pt x="73734" y="12765"/>
                        </a:cubicBezTo>
                        <a:cubicBezTo>
                          <a:pt x="73734" y="12765"/>
                          <a:pt x="72289" y="12765"/>
                          <a:pt x="73734" y="12765"/>
                        </a:cubicBezTo>
                        <a:cubicBezTo>
                          <a:pt x="74457" y="12765"/>
                          <a:pt x="75180" y="12127"/>
                          <a:pt x="75903" y="12765"/>
                        </a:cubicBezTo>
                        <a:cubicBezTo>
                          <a:pt x="75903" y="12765"/>
                          <a:pt x="74457" y="12765"/>
                          <a:pt x="76626" y="12765"/>
                        </a:cubicBezTo>
                        <a:cubicBezTo>
                          <a:pt x="78795" y="12765"/>
                          <a:pt x="79518" y="12765"/>
                          <a:pt x="78072" y="12127"/>
                        </a:cubicBezTo>
                        <a:cubicBezTo>
                          <a:pt x="77349" y="11489"/>
                          <a:pt x="77349" y="11489"/>
                          <a:pt x="76626" y="10851"/>
                        </a:cubicBezTo>
                        <a:cubicBezTo>
                          <a:pt x="76626" y="10212"/>
                          <a:pt x="75903" y="10212"/>
                          <a:pt x="76626" y="10212"/>
                        </a:cubicBezTo>
                        <a:cubicBezTo>
                          <a:pt x="76626" y="9574"/>
                          <a:pt x="76626" y="10212"/>
                          <a:pt x="77349" y="9574"/>
                        </a:cubicBezTo>
                        <a:cubicBezTo>
                          <a:pt x="77349" y="8936"/>
                          <a:pt x="77349" y="8297"/>
                          <a:pt x="77349" y="8297"/>
                        </a:cubicBezTo>
                        <a:cubicBezTo>
                          <a:pt x="77349" y="8297"/>
                          <a:pt x="76626" y="8297"/>
                          <a:pt x="77349" y="7659"/>
                        </a:cubicBezTo>
                        <a:cubicBezTo>
                          <a:pt x="78795" y="6382"/>
                          <a:pt x="78795" y="6382"/>
                          <a:pt x="79518" y="6382"/>
                        </a:cubicBezTo>
                        <a:cubicBezTo>
                          <a:pt x="79518" y="6382"/>
                          <a:pt x="80240" y="5744"/>
                          <a:pt x="80963" y="5744"/>
                        </a:cubicBezTo>
                        <a:cubicBezTo>
                          <a:pt x="80963" y="5106"/>
                          <a:pt x="81686" y="3829"/>
                          <a:pt x="81686" y="3829"/>
                        </a:cubicBezTo>
                        <a:cubicBezTo>
                          <a:pt x="83855" y="3829"/>
                          <a:pt x="83855" y="3829"/>
                          <a:pt x="83855" y="3829"/>
                        </a:cubicBezTo>
                        <a:cubicBezTo>
                          <a:pt x="83855" y="3829"/>
                          <a:pt x="84578" y="3829"/>
                          <a:pt x="84578" y="3829"/>
                        </a:cubicBezTo>
                        <a:cubicBezTo>
                          <a:pt x="84578" y="4468"/>
                          <a:pt x="84578" y="3191"/>
                          <a:pt x="84578" y="3191"/>
                        </a:cubicBezTo>
                        <a:cubicBezTo>
                          <a:pt x="84578" y="3191"/>
                          <a:pt x="85301" y="3191"/>
                          <a:pt x="85301" y="3191"/>
                        </a:cubicBezTo>
                        <a:cubicBezTo>
                          <a:pt x="86024" y="3829"/>
                          <a:pt x="86024" y="3829"/>
                          <a:pt x="86024" y="3829"/>
                        </a:cubicBezTo>
                        <a:cubicBezTo>
                          <a:pt x="86746" y="4468"/>
                          <a:pt x="87469" y="3829"/>
                          <a:pt x="87469" y="3829"/>
                        </a:cubicBezTo>
                        <a:cubicBezTo>
                          <a:pt x="87469" y="3829"/>
                          <a:pt x="88192" y="3191"/>
                          <a:pt x="88915" y="3191"/>
                        </a:cubicBezTo>
                        <a:cubicBezTo>
                          <a:pt x="89638" y="3191"/>
                          <a:pt x="90361" y="3191"/>
                          <a:pt x="90361" y="3191"/>
                        </a:cubicBezTo>
                        <a:cubicBezTo>
                          <a:pt x="90361" y="3829"/>
                          <a:pt x="90361" y="3829"/>
                          <a:pt x="90361" y="4468"/>
                        </a:cubicBezTo>
                        <a:cubicBezTo>
                          <a:pt x="91084" y="4468"/>
                          <a:pt x="91807" y="5106"/>
                          <a:pt x="91807" y="5106"/>
                        </a:cubicBezTo>
                        <a:cubicBezTo>
                          <a:pt x="91807" y="5106"/>
                          <a:pt x="93253" y="5106"/>
                          <a:pt x="93253" y="4468"/>
                        </a:cubicBezTo>
                        <a:cubicBezTo>
                          <a:pt x="93253" y="4468"/>
                          <a:pt x="92530" y="4468"/>
                          <a:pt x="93975" y="3829"/>
                        </a:cubicBezTo>
                        <a:cubicBezTo>
                          <a:pt x="95421" y="2553"/>
                          <a:pt x="96144" y="2553"/>
                          <a:pt x="96144" y="2553"/>
                        </a:cubicBezTo>
                        <a:cubicBezTo>
                          <a:pt x="96144" y="2553"/>
                          <a:pt x="96144" y="1914"/>
                          <a:pt x="96867" y="1914"/>
                        </a:cubicBezTo>
                        <a:cubicBezTo>
                          <a:pt x="97590" y="2553"/>
                          <a:pt x="97590" y="1914"/>
                          <a:pt x="97590" y="2553"/>
                        </a:cubicBezTo>
                        <a:cubicBezTo>
                          <a:pt x="97590" y="2553"/>
                          <a:pt x="98313" y="3191"/>
                          <a:pt x="98313" y="3191"/>
                        </a:cubicBezTo>
                        <a:cubicBezTo>
                          <a:pt x="98313" y="3191"/>
                          <a:pt x="98313" y="5106"/>
                          <a:pt x="98313" y="5106"/>
                        </a:cubicBezTo>
                        <a:cubicBezTo>
                          <a:pt x="98313" y="5744"/>
                          <a:pt x="98313" y="5744"/>
                          <a:pt x="98313" y="5744"/>
                        </a:cubicBezTo>
                        <a:cubicBezTo>
                          <a:pt x="98313" y="5744"/>
                          <a:pt x="98313" y="6382"/>
                          <a:pt x="98313" y="6382"/>
                        </a:cubicBezTo>
                        <a:cubicBezTo>
                          <a:pt x="98313" y="7021"/>
                          <a:pt x="99036" y="8297"/>
                          <a:pt x="99036" y="8297"/>
                        </a:cubicBezTo>
                        <a:cubicBezTo>
                          <a:pt x="99036" y="8297"/>
                          <a:pt x="99036" y="8297"/>
                          <a:pt x="99036" y="8297"/>
                        </a:cubicBezTo>
                        <a:cubicBezTo>
                          <a:pt x="98313" y="8936"/>
                          <a:pt x="98313" y="8297"/>
                          <a:pt x="98313" y="8936"/>
                        </a:cubicBezTo>
                        <a:cubicBezTo>
                          <a:pt x="97590" y="9574"/>
                          <a:pt x="98313" y="9574"/>
                          <a:pt x="97590" y="10212"/>
                        </a:cubicBezTo>
                        <a:cubicBezTo>
                          <a:pt x="97590" y="10212"/>
                          <a:pt x="96867" y="10212"/>
                          <a:pt x="96867" y="10212"/>
                        </a:cubicBezTo>
                        <a:cubicBezTo>
                          <a:pt x="96867" y="10212"/>
                          <a:pt x="97590" y="10851"/>
                          <a:pt x="97590" y="10851"/>
                        </a:cubicBezTo>
                        <a:cubicBezTo>
                          <a:pt x="97590" y="10851"/>
                          <a:pt x="97590" y="10851"/>
                          <a:pt x="98313" y="10851"/>
                        </a:cubicBezTo>
                        <a:cubicBezTo>
                          <a:pt x="98313" y="10851"/>
                          <a:pt x="98313" y="10212"/>
                          <a:pt x="99036" y="10212"/>
                        </a:cubicBezTo>
                        <a:cubicBezTo>
                          <a:pt x="99036" y="10851"/>
                          <a:pt x="99036" y="9574"/>
                          <a:pt x="99036" y="9574"/>
                        </a:cubicBezTo>
                        <a:cubicBezTo>
                          <a:pt x="99036" y="9574"/>
                          <a:pt x="99036" y="9574"/>
                          <a:pt x="99759" y="8936"/>
                        </a:cubicBezTo>
                        <a:cubicBezTo>
                          <a:pt x="99759" y="8936"/>
                          <a:pt x="100481" y="8297"/>
                          <a:pt x="100481" y="7659"/>
                        </a:cubicBezTo>
                        <a:cubicBezTo>
                          <a:pt x="100481" y="7659"/>
                          <a:pt x="99759" y="7021"/>
                          <a:pt x="99759" y="7021"/>
                        </a:cubicBezTo>
                        <a:cubicBezTo>
                          <a:pt x="99759" y="7021"/>
                          <a:pt x="99036" y="5744"/>
                          <a:pt x="99036" y="5106"/>
                        </a:cubicBezTo>
                        <a:cubicBezTo>
                          <a:pt x="99036" y="5106"/>
                          <a:pt x="99036" y="5106"/>
                          <a:pt x="99036" y="4468"/>
                        </a:cubicBezTo>
                        <a:cubicBezTo>
                          <a:pt x="99759" y="4468"/>
                          <a:pt x="99759" y="3829"/>
                          <a:pt x="99759" y="3829"/>
                        </a:cubicBezTo>
                        <a:cubicBezTo>
                          <a:pt x="100481" y="3191"/>
                          <a:pt x="101204" y="2553"/>
                          <a:pt x="101204" y="2553"/>
                        </a:cubicBezTo>
                        <a:cubicBezTo>
                          <a:pt x="101204" y="2553"/>
                          <a:pt x="102650" y="2553"/>
                          <a:pt x="103373" y="2553"/>
                        </a:cubicBezTo>
                        <a:cubicBezTo>
                          <a:pt x="103373" y="2553"/>
                          <a:pt x="102650" y="1914"/>
                          <a:pt x="104096" y="2553"/>
                        </a:cubicBezTo>
                        <a:cubicBezTo>
                          <a:pt x="104819" y="3191"/>
                          <a:pt x="104819" y="3191"/>
                          <a:pt x="104819" y="3191"/>
                        </a:cubicBezTo>
                        <a:cubicBezTo>
                          <a:pt x="104819" y="3829"/>
                          <a:pt x="104096" y="3829"/>
                          <a:pt x="105542" y="3829"/>
                        </a:cubicBezTo>
                        <a:cubicBezTo>
                          <a:pt x="106265" y="3829"/>
                          <a:pt x="106987" y="3829"/>
                          <a:pt x="106265" y="3829"/>
                        </a:cubicBezTo>
                        <a:cubicBezTo>
                          <a:pt x="105542" y="3191"/>
                          <a:pt x="105542" y="2553"/>
                          <a:pt x="104819" y="2553"/>
                        </a:cubicBezTo>
                        <a:cubicBezTo>
                          <a:pt x="104819" y="2553"/>
                          <a:pt x="104096" y="1914"/>
                          <a:pt x="104096" y="1914"/>
                        </a:cubicBezTo>
                        <a:cubicBezTo>
                          <a:pt x="104096" y="1276"/>
                          <a:pt x="104096" y="0"/>
                          <a:pt x="104819" y="638"/>
                        </a:cubicBezTo>
                        <a:cubicBezTo>
                          <a:pt x="105542" y="638"/>
                          <a:pt x="104819" y="0"/>
                          <a:pt x="105542" y="638"/>
                        </a:cubicBezTo>
                        <a:cubicBezTo>
                          <a:pt x="106987" y="1914"/>
                          <a:pt x="107710" y="2553"/>
                          <a:pt x="107710" y="2553"/>
                        </a:cubicBezTo>
                        <a:cubicBezTo>
                          <a:pt x="107710" y="3191"/>
                          <a:pt x="108433" y="3191"/>
                          <a:pt x="108433" y="3191"/>
                        </a:cubicBezTo>
                        <a:cubicBezTo>
                          <a:pt x="108433" y="3829"/>
                          <a:pt x="108433" y="3829"/>
                          <a:pt x="108433" y="3829"/>
                        </a:cubicBezTo>
                        <a:cubicBezTo>
                          <a:pt x="109156" y="4468"/>
                          <a:pt x="109879" y="5106"/>
                          <a:pt x="109879" y="5106"/>
                        </a:cubicBezTo>
                        <a:cubicBezTo>
                          <a:pt x="109879" y="5106"/>
                          <a:pt x="109879" y="5106"/>
                          <a:pt x="110602" y="5106"/>
                        </a:cubicBezTo>
                        <a:cubicBezTo>
                          <a:pt x="110602" y="5744"/>
                          <a:pt x="112048" y="6382"/>
                          <a:pt x="112048" y="6382"/>
                        </a:cubicBezTo>
                        <a:cubicBezTo>
                          <a:pt x="112048" y="6382"/>
                          <a:pt x="112771" y="7021"/>
                          <a:pt x="112771" y="7021"/>
                        </a:cubicBezTo>
                        <a:cubicBezTo>
                          <a:pt x="112048" y="7659"/>
                          <a:pt x="112048" y="8297"/>
                          <a:pt x="112048" y="8297"/>
                        </a:cubicBezTo>
                        <a:cubicBezTo>
                          <a:pt x="110602" y="10212"/>
                          <a:pt x="110602" y="10212"/>
                          <a:pt x="110602" y="10212"/>
                        </a:cubicBezTo>
                        <a:cubicBezTo>
                          <a:pt x="109879" y="11489"/>
                          <a:pt x="109879" y="11489"/>
                          <a:pt x="109879" y="11489"/>
                        </a:cubicBezTo>
                        <a:cubicBezTo>
                          <a:pt x="109879" y="12127"/>
                          <a:pt x="109879" y="12127"/>
                          <a:pt x="109879" y="12127"/>
                        </a:cubicBezTo>
                        <a:cubicBezTo>
                          <a:pt x="109156" y="12765"/>
                          <a:pt x="109156" y="13404"/>
                          <a:pt x="109156" y="13404"/>
                        </a:cubicBezTo>
                        <a:cubicBezTo>
                          <a:pt x="109156" y="13404"/>
                          <a:pt x="108433" y="14042"/>
                          <a:pt x="106987" y="14042"/>
                        </a:cubicBezTo>
                        <a:cubicBezTo>
                          <a:pt x="105542" y="13404"/>
                          <a:pt x="104096" y="14680"/>
                          <a:pt x="104096" y="14680"/>
                        </a:cubicBezTo>
                        <a:cubicBezTo>
                          <a:pt x="104096" y="14680"/>
                          <a:pt x="100481" y="14042"/>
                          <a:pt x="99759" y="14042"/>
                        </a:cubicBezTo>
                        <a:cubicBezTo>
                          <a:pt x="99036" y="14042"/>
                          <a:pt x="99036" y="16595"/>
                          <a:pt x="99036" y="17234"/>
                        </a:cubicBezTo>
                        <a:cubicBezTo>
                          <a:pt x="99036" y="17872"/>
                          <a:pt x="97590" y="18510"/>
                          <a:pt x="95421" y="18510"/>
                        </a:cubicBezTo>
                        <a:cubicBezTo>
                          <a:pt x="93253" y="19148"/>
                          <a:pt x="94698" y="19148"/>
                          <a:pt x="93975" y="21063"/>
                        </a:cubicBezTo>
                        <a:cubicBezTo>
                          <a:pt x="93253" y="23617"/>
                          <a:pt x="92530" y="21702"/>
                          <a:pt x="91084" y="21063"/>
                        </a:cubicBezTo>
                        <a:cubicBezTo>
                          <a:pt x="89638" y="21063"/>
                          <a:pt x="89638" y="21063"/>
                          <a:pt x="87469" y="21063"/>
                        </a:cubicBezTo>
                        <a:cubicBezTo>
                          <a:pt x="85301" y="21702"/>
                          <a:pt x="86746" y="22978"/>
                          <a:pt x="86746" y="22978"/>
                        </a:cubicBezTo>
                        <a:cubicBezTo>
                          <a:pt x="86746" y="22978"/>
                          <a:pt x="88192" y="24255"/>
                          <a:pt x="88915" y="24255"/>
                        </a:cubicBezTo>
                        <a:cubicBezTo>
                          <a:pt x="90361" y="24893"/>
                          <a:pt x="88915" y="26170"/>
                          <a:pt x="88915" y="26170"/>
                        </a:cubicBezTo>
                        <a:cubicBezTo>
                          <a:pt x="88915" y="26170"/>
                          <a:pt x="88192" y="27446"/>
                          <a:pt x="87469" y="27446"/>
                        </a:cubicBezTo>
                        <a:cubicBezTo>
                          <a:pt x="86746" y="26808"/>
                          <a:pt x="83132" y="26808"/>
                          <a:pt x="83132" y="26808"/>
                        </a:cubicBezTo>
                        <a:cubicBezTo>
                          <a:pt x="79518" y="28723"/>
                          <a:pt x="79518" y="28723"/>
                          <a:pt x="79518" y="28723"/>
                        </a:cubicBezTo>
                        <a:cubicBezTo>
                          <a:pt x="79518" y="28723"/>
                          <a:pt x="80240" y="31276"/>
                          <a:pt x="82409" y="33829"/>
                        </a:cubicBezTo>
                        <a:cubicBezTo>
                          <a:pt x="84578" y="36382"/>
                          <a:pt x="82409" y="34468"/>
                          <a:pt x="82409" y="34468"/>
                        </a:cubicBezTo>
                        <a:cubicBezTo>
                          <a:pt x="82409" y="34468"/>
                          <a:pt x="83132" y="36382"/>
                          <a:pt x="83132" y="37659"/>
                        </a:cubicBezTo>
                        <a:cubicBezTo>
                          <a:pt x="83132" y="38936"/>
                          <a:pt x="83132" y="38297"/>
                          <a:pt x="83855" y="38297"/>
                        </a:cubicBezTo>
                        <a:cubicBezTo>
                          <a:pt x="84578" y="38297"/>
                          <a:pt x="86024" y="38297"/>
                          <a:pt x="86024" y="38297"/>
                        </a:cubicBezTo>
                        <a:cubicBezTo>
                          <a:pt x="86024" y="38297"/>
                          <a:pt x="88915" y="42127"/>
                          <a:pt x="88915" y="42127"/>
                        </a:cubicBezTo>
                        <a:cubicBezTo>
                          <a:pt x="89638" y="42127"/>
                          <a:pt x="93253" y="41489"/>
                          <a:pt x="93253" y="41489"/>
                        </a:cubicBezTo>
                        <a:cubicBezTo>
                          <a:pt x="93253" y="41489"/>
                          <a:pt x="96144" y="40851"/>
                          <a:pt x="97590" y="40851"/>
                        </a:cubicBezTo>
                        <a:cubicBezTo>
                          <a:pt x="99036" y="40212"/>
                          <a:pt x="97590" y="38936"/>
                          <a:pt x="97590" y="38936"/>
                        </a:cubicBezTo>
                        <a:cubicBezTo>
                          <a:pt x="99036" y="35744"/>
                          <a:pt x="99036" y="35744"/>
                          <a:pt x="99036" y="35744"/>
                        </a:cubicBezTo>
                        <a:cubicBezTo>
                          <a:pt x="103373" y="35106"/>
                          <a:pt x="103373" y="35106"/>
                          <a:pt x="103373" y="35106"/>
                        </a:cubicBezTo>
                        <a:cubicBezTo>
                          <a:pt x="105542" y="38936"/>
                          <a:pt x="105542" y="38936"/>
                          <a:pt x="105542" y="38936"/>
                        </a:cubicBezTo>
                        <a:cubicBezTo>
                          <a:pt x="104819" y="41489"/>
                          <a:pt x="104819" y="41489"/>
                          <a:pt x="104819" y="41489"/>
                        </a:cubicBezTo>
                        <a:cubicBezTo>
                          <a:pt x="108433" y="44680"/>
                          <a:pt x="108433" y="44680"/>
                          <a:pt x="108433" y="44680"/>
                        </a:cubicBezTo>
                        <a:cubicBezTo>
                          <a:pt x="109156" y="47872"/>
                          <a:pt x="109156" y="47872"/>
                          <a:pt x="109156" y="47872"/>
                        </a:cubicBezTo>
                        <a:cubicBezTo>
                          <a:pt x="109156" y="47872"/>
                          <a:pt x="112771" y="48510"/>
                          <a:pt x="113493" y="49148"/>
                        </a:cubicBezTo>
                        <a:cubicBezTo>
                          <a:pt x="114216" y="49148"/>
                          <a:pt x="116385" y="48510"/>
                          <a:pt x="116385" y="48510"/>
                        </a:cubicBezTo>
                        <a:cubicBezTo>
                          <a:pt x="119277" y="51702"/>
                          <a:pt x="119277" y="51702"/>
                          <a:pt x="119277" y="51702"/>
                        </a:cubicBezTo>
                        <a:cubicBezTo>
                          <a:pt x="119999" y="51063"/>
                          <a:pt x="119999" y="51063"/>
                          <a:pt x="119999" y="51063"/>
                        </a:cubicBezTo>
                        <a:cubicBezTo>
                          <a:pt x="119999" y="51702"/>
                          <a:pt x="119999" y="51702"/>
                          <a:pt x="119999" y="51702"/>
                        </a:cubicBezTo>
                        <a:cubicBezTo>
                          <a:pt x="119999" y="51702"/>
                          <a:pt x="119999" y="52978"/>
                          <a:pt x="119277" y="52978"/>
                        </a:cubicBezTo>
                        <a:cubicBezTo>
                          <a:pt x="117831" y="52340"/>
                          <a:pt x="117108" y="52340"/>
                          <a:pt x="117108" y="52340"/>
                        </a:cubicBezTo>
                        <a:cubicBezTo>
                          <a:pt x="114939" y="51063"/>
                          <a:pt x="114939" y="51063"/>
                          <a:pt x="114939" y="51063"/>
                        </a:cubicBezTo>
                        <a:cubicBezTo>
                          <a:pt x="114216" y="51702"/>
                          <a:pt x="114216" y="51702"/>
                          <a:pt x="114216" y="51702"/>
                        </a:cubicBezTo>
                        <a:cubicBezTo>
                          <a:pt x="112048" y="54255"/>
                          <a:pt x="112048" y="54255"/>
                          <a:pt x="112048" y="54255"/>
                        </a:cubicBezTo>
                        <a:cubicBezTo>
                          <a:pt x="113493" y="54893"/>
                          <a:pt x="113493" y="54893"/>
                          <a:pt x="113493" y="54893"/>
                        </a:cubicBezTo>
                        <a:cubicBezTo>
                          <a:pt x="114939" y="56170"/>
                          <a:pt x="114939" y="56170"/>
                          <a:pt x="114939" y="56170"/>
                        </a:cubicBezTo>
                        <a:cubicBezTo>
                          <a:pt x="114939" y="58085"/>
                          <a:pt x="114939" y="58085"/>
                          <a:pt x="114939" y="58085"/>
                        </a:cubicBezTo>
                        <a:cubicBezTo>
                          <a:pt x="114939" y="60638"/>
                          <a:pt x="114939" y="60638"/>
                          <a:pt x="114939" y="60638"/>
                        </a:cubicBezTo>
                        <a:cubicBezTo>
                          <a:pt x="113493" y="62553"/>
                          <a:pt x="113493" y="62553"/>
                          <a:pt x="113493" y="62553"/>
                        </a:cubicBezTo>
                        <a:cubicBezTo>
                          <a:pt x="113493" y="62553"/>
                          <a:pt x="114216" y="63829"/>
                          <a:pt x="114216" y="64468"/>
                        </a:cubicBezTo>
                        <a:cubicBezTo>
                          <a:pt x="114216" y="64468"/>
                          <a:pt x="115662" y="65744"/>
                          <a:pt x="115662" y="65744"/>
                        </a:cubicBezTo>
                        <a:cubicBezTo>
                          <a:pt x="117108" y="67021"/>
                          <a:pt x="117108" y="67021"/>
                          <a:pt x="117108" y="67021"/>
                        </a:cubicBezTo>
                        <a:cubicBezTo>
                          <a:pt x="115662" y="70212"/>
                          <a:pt x="115662" y="70212"/>
                          <a:pt x="115662" y="70212"/>
                        </a:cubicBezTo>
                        <a:cubicBezTo>
                          <a:pt x="114216" y="71489"/>
                          <a:pt x="114216" y="71489"/>
                          <a:pt x="114216" y="71489"/>
                        </a:cubicBezTo>
                        <a:cubicBezTo>
                          <a:pt x="114216" y="72765"/>
                          <a:pt x="114216" y="72765"/>
                          <a:pt x="114216" y="72765"/>
                        </a:cubicBezTo>
                        <a:cubicBezTo>
                          <a:pt x="114216" y="72765"/>
                          <a:pt x="115662" y="73404"/>
                          <a:pt x="114939" y="73404"/>
                        </a:cubicBezTo>
                        <a:cubicBezTo>
                          <a:pt x="114216" y="73404"/>
                          <a:pt x="112771" y="73404"/>
                          <a:pt x="112771" y="73404"/>
                        </a:cubicBezTo>
                        <a:cubicBezTo>
                          <a:pt x="112771" y="73404"/>
                          <a:pt x="112771" y="74042"/>
                          <a:pt x="112771" y="74680"/>
                        </a:cubicBezTo>
                        <a:cubicBezTo>
                          <a:pt x="112771" y="74680"/>
                          <a:pt x="113493" y="75957"/>
                          <a:pt x="113493" y="75957"/>
                        </a:cubicBezTo>
                        <a:cubicBezTo>
                          <a:pt x="113493" y="75957"/>
                          <a:pt x="114216" y="75957"/>
                          <a:pt x="114216" y="76595"/>
                        </a:cubicBezTo>
                        <a:cubicBezTo>
                          <a:pt x="114216" y="77234"/>
                          <a:pt x="113493" y="78510"/>
                          <a:pt x="113493" y="78510"/>
                        </a:cubicBezTo>
                        <a:cubicBezTo>
                          <a:pt x="113493" y="78510"/>
                          <a:pt x="112771" y="81063"/>
                          <a:pt x="112771" y="81063"/>
                        </a:cubicBezTo>
                        <a:cubicBezTo>
                          <a:pt x="113493" y="81063"/>
                          <a:pt x="113493" y="82340"/>
                          <a:pt x="113493" y="82340"/>
                        </a:cubicBezTo>
                        <a:cubicBezTo>
                          <a:pt x="113493" y="84893"/>
                          <a:pt x="113493" y="84893"/>
                          <a:pt x="113493" y="84893"/>
                        </a:cubicBezTo>
                        <a:cubicBezTo>
                          <a:pt x="112771" y="86808"/>
                          <a:pt x="112771" y="86808"/>
                          <a:pt x="112771" y="86808"/>
                        </a:cubicBezTo>
                        <a:cubicBezTo>
                          <a:pt x="113493" y="88085"/>
                          <a:pt x="113493" y="88085"/>
                          <a:pt x="113493" y="88085"/>
                        </a:cubicBezTo>
                        <a:cubicBezTo>
                          <a:pt x="111325" y="89361"/>
                          <a:pt x="111325" y="89361"/>
                          <a:pt x="111325" y="89361"/>
                        </a:cubicBezTo>
                        <a:cubicBezTo>
                          <a:pt x="110602" y="90638"/>
                          <a:pt x="110602" y="90638"/>
                          <a:pt x="110602" y="90638"/>
                        </a:cubicBezTo>
                        <a:cubicBezTo>
                          <a:pt x="110602" y="90638"/>
                          <a:pt x="109156" y="91276"/>
                          <a:pt x="109156" y="91914"/>
                        </a:cubicBezTo>
                        <a:cubicBezTo>
                          <a:pt x="109156" y="91914"/>
                          <a:pt x="108433" y="92553"/>
                          <a:pt x="108433" y="93191"/>
                        </a:cubicBezTo>
                        <a:cubicBezTo>
                          <a:pt x="108433" y="93829"/>
                          <a:pt x="107710" y="94468"/>
                          <a:pt x="107710" y="94468"/>
                        </a:cubicBezTo>
                        <a:cubicBezTo>
                          <a:pt x="106987" y="95106"/>
                          <a:pt x="105542" y="96382"/>
                          <a:pt x="105542" y="96382"/>
                        </a:cubicBezTo>
                        <a:cubicBezTo>
                          <a:pt x="104819" y="97659"/>
                          <a:pt x="104819" y="97659"/>
                          <a:pt x="104819" y="97659"/>
                        </a:cubicBezTo>
                        <a:cubicBezTo>
                          <a:pt x="104819" y="97659"/>
                          <a:pt x="105542" y="98936"/>
                          <a:pt x="105542" y="98936"/>
                        </a:cubicBezTo>
                        <a:cubicBezTo>
                          <a:pt x="105542" y="99574"/>
                          <a:pt x="105542" y="99574"/>
                          <a:pt x="105542" y="99574"/>
                        </a:cubicBezTo>
                        <a:cubicBezTo>
                          <a:pt x="104096" y="100851"/>
                          <a:pt x="104096" y="100851"/>
                          <a:pt x="104096" y="100851"/>
                        </a:cubicBezTo>
                        <a:cubicBezTo>
                          <a:pt x="100481" y="103404"/>
                          <a:pt x="100481" y="103404"/>
                          <a:pt x="100481" y="103404"/>
                        </a:cubicBezTo>
                        <a:cubicBezTo>
                          <a:pt x="100481" y="103404"/>
                          <a:pt x="100481" y="104042"/>
                          <a:pt x="99759" y="104680"/>
                        </a:cubicBezTo>
                        <a:cubicBezTo>
                          <a:pt x="99759" y="105957"/>
                          <a:pt x="99036" y="105957"/>
                          <a:pt x="99036" y="105957"/>
                        </a:cubicBezTo>
                        <a:cubicBezTo>
                          <a:pt x="99036" y="105957"/>
                          <a:pt x="98313" y="105957"/>
                          <a:pt x="97590" y="105957"/>
                        </a:cubicBezTo>
                        <a:cubicBezTo>
                          <a:pt x="97590" y="105957"/>
                          <a:pt x="96867" y="105319"/>
                          <a:pt x="96867" y="105319"/>
                        </a:cubicBezTo>
                        <a:cubicBezTo>
                          <a:pt x="96867" y="106595"/>
                          <a:pt x="96867" y="106595"/>
                          <a:pt x="96867" y="106595"/>
                        </a:cubicBezTo>
                        <a:cubicBezTo>
                          <a:pt x="96867" y="106595"/>
                          <a:pt x="96867" y="107234"/>
                          <a:pt x="97590" y="107234"/>
                        </a:cubicBezTo>
                        <a:cubicBezTo>
                          <a:pt x="98313" y="107872"/>
                          <a:pt x="98313" y="108510"/>
                          <a:pt x="99036" y="108510"/>
                        </a:cubicBezTo>
                        <a:cubicBezTo>
                          <a:pt x="99036" y="109148"/>
                          <a:pt x="99759" y="109787"/>
                          <a:pt x="99759" y="109787"/>
                        </a:cubicBezTo>
                        <a:cubicBezTo>
                          <a:pt x="98313" y="111063"/>
                          <a:pt x="98313" y="111063"/>
                          <a:pt x="98313" y="111063"/>
                        </a:cubicBezTo>
                        <a:cubicBezTo>
                          <a:pt x="98313" y="111702"/>
                          <a:pt x="98313" y="111702"/>
                          <a:pt x="98313" y="111702"/>
                        </a:cubicBezTo>
                        <a:cubicBezTo>
                          <a:pt x="96867" y="111702"/>
                          <a:pt x="96867" y="111702"/>
                          <a:pt x="96867" y="111702"/>
                        </a:cubicBezTo>
                        <a:cubicBezTo>
                          <a:pt x="96144" y="111063"/>
                          <a:pt x="96144" y="111063"/>
                          <a:pt x="96144" y="111063"/>
                        </a:cubicBezTo>
                        <a:cubicBezTo>
                          <a:pt x="96144" y="111063"/>
                          <a:pt x="95421" y="111063"/>
                          <a:pt x="95421" y="111063"/>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59" name="Shape 2045"/>
                  <p:cNvSpPr/>
                  <p:nvPr/>
                </p:nvSpPr>
                <p:spPr>
                  <a:xfrm>
                    <a:off x="3117355" y="3610126"/>
                    <a:ext cx="405690" cy="613681"/>
                  </a:xfrm>
                  <a:custGeom>
                    <a:avLst/>
                    <a:gdLst/>
                    <a:ahLst/>
                    <a:cxnLst/>
                    <a:rect l="0" t="0" r="0" b="0"/>
                    <a:pathLst>
                      <a:path w="120000" h="120000" extrusionOk="0">
                        <a:moveTo>
                          <a:pt x="49887" y="3884"/>
                        </a:moveTo>
                        <a:cubicBezTo>
                          <a:pt x="49887" y="3884"/>
                          <a:pt x="52584" y="2589"/>
                          <a:pt x="52584" y="2589"/>
                        </a:cubicBezTo>
                        <a:cubicBezTo>
                          <a:pt x="52584" y="2589"/>
                          <a:pt x="53258" y="2158"/>
                          <a:pt x="53258" y="2158"/>
                        </a:cubicBezTo>
                        <a:cubicBezTo>
                          <a:pt x="53932" y="2158"/>
                          <a:pt x="54606" y="2158"/>
                          <a:pt x="55280" y="2158"/>
                        </a:cubicBezTo>
                        <a:cubicBezTo>
                          <a:pt x="55280" y="2158"/>
                          <a:pt x="55955" y="1726"/>
                          <a:pt x="55955" y="1726"/>
                        </a:cubicBezTo>
                        <a:cubicBezTo>
                          <a:pt x="56629" y="1294"/>
                          <a:pt x="56629" y="1294"/>
                          <a:pt x="56629" y="1294"/>
                        </a:cubicBezTo>
                        <a:cubicBezTo>
                          <a:pt x="57977" y="863"/>
                          <a:pt x="57977" y="863"/>
                          <a:pt x="57977" y="863"/>
                        </a:cubicBezTo>
                        <a:cubicBezTo>
                          <a:pt x="59325" y="863"/>
                          <a:pt x="59325" y="863"/>
                          <a:pt x="59325" y="863"/>
                        </a:cubicBezTo>
                        <a:cubicBezTo>
                          <a:pt x="59325" y="863"/>
                          <a:pt x="60000" y="863"/>
                          <a:pt x="60000" y="863"/>
                        </a:cubicBezTo>
                        <a:cubicBezTo>
                          <a:pt x="60000" y="863"/>
                          <a:pt x="62696" y="431"/>
                          <a:pt x="62696" y="431"/>
                        </a:cubicBezTo>
                        <a:cubicBezTo>
                          <a:pt x="62696" y="431"/>
                          <a:pt x="63370" y="863"/>
                          <a:pt x="64044" y="863"/>
                        </a:cubicBezTo>
                        <a:cubicBezTo>
                          <a:pt x="64044" y="863"/>
                          <a:pt x="65393" y="863"/>
                          <a:pt x="65393" y="863"/>
                        </a:cubicBezTo>
                        <a:cubicBezTo>
                          <a:pt x="66067" y="863"/>
                          <a:pt x="67415" y="431"/>
                          <a:pt x="67415" y="431"/>
                        </a:cubicBezTo>
                        <a:cubicBezTo>
                          <a:pt x="70112" y="0"/>
                          <a:pt x="70112" y="0"/>
                          <a:pt x="70112" y="0"/>
                        </a:cubicBezTo>
                        <a:cubicBezTo>
                          <a:pt x="70786" y="863"/>
                          <a:pt x="70786" y="863"/>
                          <a:pt x="70786" y="863"/>
                        </a:cubicBezTo>
                        <a:cubicBezTo>
                          <a:pt x="70786" y="863"/>
                          <a:pt x="70786" y="1726"/>
                          <a:pt x="70786" y="1726"/>
                        </a:cubicBezTo>
                        <a:cubicBezTo>
                          <a:pt x="70786" y="1726"/>
                          <a:pt x="70786" y="2158"/>
                          <a:pt x="71460" y="2158"/>
                        </a:cubicBezTo>
                        <a:cubicBezTo>
                          <a:pt x="72134" y="2158"/>
                          <a:pt x="72134" y="2158"/>
                          <a:pt x="72134" y="2158"/>
                        </a:cubicBezTo>
                        <a:cubicBezTo>
                          <a:pt x="72134" y="2589"/>
                          <a:pt x="72134" y="3884"/>
                          <a:pt x="72134" y="3884"/>
                        </a:cubicBezTo>
                        <a:cubicBezTo>
                          <a:pt x="70112" y="4316"/>
                          <a:pt x="70112" y="4316"/>
                          <a:pt x="70112" y="4316"/>
                        </a:cubicBezTo>
                        <a:cubicBezTo>
                          <a:pt x="70112" y="4316"/>
                          <a:pt x="69438" y="4316"/>
                          <a:pt x="69438" y="4748"/>
                        </a:cubicBezTo>
                        <a:cubicBezTo>
                          <a:pt x="69438" y="4748"/>
                          <a:pt x="68089" y="5179"/>
                          <a:pt x="68089" y="5179"/>
                        </a:cubicBezTo>
                        <a:cubicBezTo>
                          <a:pt x="68089" y="5611"/>
                          <a:pt x="67415" y="5611"/>
                          <a:pt x="68089" y="6043"/>
                        </a:cubicBezTo>
                        <a:cubicBezTo>
                          <a:pt x="68089" y="6474"/>
                          <a:pt x="68764" y="6906"/>
                          <a:pt x="68764" y="6906"/>
                        </a:cubicBezTo>
                        <a:cubicBezTo>
                          <a:pt x="68764" y="7769"/>
                          <a:pt x="68764" y="7769"/>
                          <a:pt x="68764" y="7769"/>
                        </a:cubicBezTo>
                        <a:cubicBezTo>
                          <a:pt x="68764" y="7769"/>
                          <a:pt x="68764" y="8201"/>
                          <a:pt x="69438" y="8201"/>
                        </a:cubicBezTo>
                        <a:cubicBezTo>
                          <a:pt x="69438" y="8633"/>
                          <a:pt x="70112" y="8201"/>
                          <a:pt x="70786" y="8201"/>
                        </a:cubicBezTo>
                        <a:cubicBezTo>
                          <a:pt x="72134" y="8201"/>
                          <a:pt x="72808" y="7769"/>
                          <a:pt x="73483" y="7769"/>
                        </a:cubicBezTo>
                        <a:cubicBezTo>
                          <a:pt x="73483" y="7769"/>
                          <a:pt x="74157" y="7769"/>
                          <a:pt x="74157" y="7769"/>
                        </a:cubicBezTo>
                        <a:cubicBezTo>
                          <a:pt x="74831" y="7338"/>
                          <a:pt x="76179" y="6906"/>
                          <a:pt x="76179" y="6906"/>
                        </a:cubicBezTo>
                        <a:cubicBezTo>
                          <a:pt x="76179" y="6906"/>
                          <a:pt x="76179" y="6043"/>
                          <a:pt x="76853" y="6474"/>
                        </a:cubicBezTo>
                        <a:cubicBezTo>
                          <a:pt x="76853" y="6474"/>
                          <a:pt x="76853" y="7338"/>
                          <a:pt x="76853" y="7338"/>
                        </a:cubicBezTo>
                        <a:cubicBezTo>
                          <a:pt x="76853" y="7338"/>
                          <a:pt x="76179" y="8201"/>
                          <a:pt x="76179" y="8201"/>
                        </a:cubicBezTo>
                        <a:cubicBezTo>
                          <a:pt x="76853" y="8633"/>
                          <a:pt x="77528" y="8201"/>
                          <a:pt x="77528" y="8201"/>
                        </a:cubicBezTo>
                        <a:cubicBezTo>
                          <a:pt x="78202" y="7769"/>
                          <a:pt x="78876" y="7769"/>
                          <a:pt x="78876" y="7769"/>
                        </a:cubicBezTo>
                        <a:cubicBezTo>
                          <a:pt x="80224" y="7769"/>
                          <a:pt x="80224" y="7769"/>
                          <a:pt x="80224" y="7769"/>
                        </a:cubicBezTo>
                        <a:cubicBezTo>
                          <a:pt x="80224" y="7769"/>
                          <a:pt x="81573" y="7769"/>
                          <a:pt x="81573" y="7769"/>
                        </a:cubicBezTo>
                        <a:cubicBezTo>
                          <a:pt x="81573" y="7769"/>
                          <a:pt x="82247" y="8201"/>
                          <a:pt x="82921" y="8201"/>
                        </a:cubicBezTo>
                        <a:cubicBezTo>
                          <a:pt x="82921" y="8633"/>
                          <a:pt x="84943" y="9064"/>
                          <a:pt x="84943" y="9064"/>
                        </a:cubicBezTo>
                        <a:cubicBezTo>
                          <a:pt x="84269" y="9928"/>
                          <a:pt x="84269" y="9928"/>
                          <a:pt x="84269" y="9928"/>
                        </a:cubicBezTo>
                        <a:cubicBezTo>
                          <a:pt x="84269" y="9928"/>
                          <a:pt x="83595" y="10791"/>
                          <a:pt x="84269" y="10791"/>
                        </a:cubicBezTo>
                        <a:cubicBezTo>
                          <a:pt x="84269" y="10791"/>
                          <a:pt x="84943" y="10359"/>
                          <a:pt x="84943" y="10359"/>
                        </a:cubicBezTo>
                        <a:cubicBezTo>
                          <a:pt x="85617" y="10359"/>
                          <a:pt x="86292" y="9928"/>
                          <a:pt x="86292" y="9928"/>
                        </a:cubicBezTo>
                        <a:cubicBezTo>
                          <a:pt x="86292" y="9928"/>
                          <a:pt x="86292" y="9496"/>
                          <a:pt x="86292" y="9496"/>
                        </a:cubicBezTo>
                        <a:cubicBezTo>
                          <a:pt x="86292" y="9928"/>
                          <a:pt x="87640" y="10359"/>
                          <a:pt x="87640" y="10359"/>
                        </a:cubicBezTo>
                        <a:cubicBezTo>
                          <a:pt x="87640" y="10359"/>
                          <a:pt x="88314" y="11223"/>
                          <a:pt x="88314" y="11223"/>
                        </a:cubicBezTo>
                        <a:cubicBezTo>
                          <a:pt x="88314" y="11223"/>
                          <a:pt x="89662" y="10791"/>
                          <a:pt x="89662" y="10791"/>
                        </a:cubicBezTo>
                        <a:cubicBezTo>
                          <a:pt x="89662" y="10791"/>
                          <a:pt x="89662" y="10791"/>
                          <a:pt x="90337" y="10791"/>
                        </a:cubicBezTo>
                        <a:cubicBezTo>
                          <a:pt x="91011" y="10791"/>
                          <a:pt x="91011" y="10791"/>
                          <a:pt x="91011" y="10791"/>
                        </a:cubicBezTo>
                        <a:cubicBezTo>
                          <a:pt x="91685" y="11223"/>
                          <a:pt x="93707" y="11223"/>
                          <a:pt x="93707" y="11223"/>
                        </a:cubicBezTo>
                        <a:cubicBezTo>
                          <a:pt x="95730" y="10359"/>
                          <a:pt x="95730" y="10359"/>
                          <a:pt x="95730" y="10359"/>
                        </a:cubicBezTo>
                        <a:cubicBezTo>
                          <a:pt x="96404" y="9064"/>
                          <a:pt x="96404" y="9064"/>
                          <a:pt x="96404" y="9064"/>
                        </a:cubicBezTo>
                        <a:cubicBezTo>
                          <a:pt x="96404" y="8633"/>
                          <a:pt x="96404" y="8633"/>
                          <a:pt x="96404" y="8633"/>
                        </a:cubicBezTo>
                        <a:cubicBezTo>
                          <a:pt x="96404" y="8633"/>
                          <a:pt x="97752" y="8201"/>
                          <a:pt x="97752" y="8201"/>
                        </a:cubicBezTo>
                        <a:cubicBezTo>
                          <a:pt x="97752" y="8201"/>
                          <a:pt x="98426" y="8201"/>
                          <a:pt x="98426" y="8633"/>
                        </a:cubicBezTo>
                        <a:cubicBezTo>
                          <a:pt x="98426" y="8633"/>
                          <a:pt x="99775" y="9496"/>
                          <a:pt x="99775" y="9496"/>
                        </a:cubicBezTo>
                        <a:cubicBezTo>
                          <a:pt x="99775" y="9496"/>
                          <a:pt x="101123" y="9496"/>
                          <a:pt x="101123" y="9496"/>
                        </a:cubicBezTo>
                        <a:cubicBezTo>
                          <a:pt x="101797" y="9496"/>
                          <a:pt x="101797" y="9064"/>
                          <a:pt x="102471" y="9496"/>
                        </a:cubicBezTo>
                        <a:cubicBezTo>
                          <a:pt x="102471" y="9928"/>
                          <a:pt x="102471" y="10359"/>
                          <a:pt x="103146" y="10359"/>
                        </a:cubicBezTo>
                        <a:cubicBezTo>
                          <a:pt x="103146" y="10359"/>
                          <a:pt x="103820" y="10359"/>
                          <a:pt x="103820" y="10359"/>
                        </a:cubicBezTo>
                        <a:cubicBezTo>
                          <a:pt x="104494" y="10791"/>
                          <a:pt x="105842" y="10791"/>
                          <a:pt x="105842" y="10791"/>
                        </a:cubicBezTo>
                        <a:cubicBezTo>
                          <a:pt x="106516" y="9928"/>
                          <a:pt x="106516" y="9928"/>
                          <a:pt x="106516" y="9928"/>
                        </a:cubicBezTo>
                        <a:cubicBezTo>
                          <a:pt x="106516" y="9928"/>
                          <a:pt x="106516" y="9496"/>
                          <a:pt x="107191" y="9928"/>
                        </a:cubicBezTo>
                        <a:cubicBezTo>
                          <a:pt x="107865" y="9928"/>
                          <a:pt x="107865" y="10791"/>
                          <a:pt x="107865" y="10791"/>
                        </a:cubicBezTo>
                        <a:cubicBezTo>
                          <a:pt x="107865" y="10791"/>
                          <a:pt x="108539" y="11223"/>
                          <a:pt x="108539" y="11223"/>
                        </a:cubicBezTo>
                        <a:cubicBezTo>
                          <a:pt x="108539" y="11223"/>
                          <a:pt x="110561" y="11654"/>
                          <a:pt x="110561" y="11654"/>
                        </a:cubicBezTo>
                        <a:cubicBezTo>
                          <a:pt x="110561" y="11654"/>
                          <a:pt x="111910" y="11223"/>
                          <a:pt x="111910" y="11223"/>
                        </a:cubicBezTo>
                        <a:cubicBezTo>
                          <a:pt x="112584" y="11223"/>
                          <a:pt x="112584" y="12086"/>
                          <a:pt x="112584" y="12086"/>
                        </a:cubicBezTo>
                        <a:cubicBezTo>
                          <a:pt x="112584" y="12086"/>
                          <a:pt x="112584" y="12517"/>
                          <a:pt x="112584" y="12517"/>
                        </a:cubicBezTo>
                        <a:cubicBezTo>
                          <a:pt x="111910" y="12949"/>
                          <a:pt x="111910" y="12949"/>
                          <a:pt x="112584" y="12949"/>
                        </a:cubicBezTo>
                        <a:cubicBezTo>
                          <a:pt x="112584" y="13381"/>
                          <a:pt x="113258" y="13812"/>
                          <a:pt x="113258" y="13812"/>
                        </a:cubicBezTo>
                        <a:cubicBezTo>
                          <a:pt x="113258" y="13812"/>
                          <a:pt x="112584" y="14676"/>
                          <a:pt x="112584" y="14676"/>
                        </a:cubicBezTo>
                        <a:cubicBezTo>
                          <a:pt x="112584" y="15107"/>
                          <a:pt x="111910" y="15539"/>
                          <a:pt x="111910" y="15539"/>
                        </a:cubicBezTo>
                        <a:cubicBezTo>
                          <a:pt x="111235" y="15971"/>
                          <a:pt x="111235" y="15971"/>
                          <a:pt x="111235" y="15971"/>
                        </a:cubicBezTo>
                        <a:cubicBezTo>
                          <a:pt x="111235" y="16402"/>
                          <a:pt x="111235" y="16402"/>
                          <a:pt x="111235" y="16402"/>
                        </a:cubicBezTo>
                        <a:cubicBezTo>
                          <a:pt x="111235" y="16834"/>
                          <a:pt x="111235" y="16834"/>
                          <a:pt x="111235" y="16834"/>
                        </a:cubicBezTo>
                        <a:cubicBezTo>
                          <a:pt x="111235" y="16834"/>
                          <a:pt x="111235" y="17266"/>
                          <a:pt x="111235" y="17266"/>
                        </a:cubicBezTo>
                        <a:cubicBezTo>
                          <a:pt x="110561" y="17266"/>
                          <a:pt x="111235" y="18129"/>
                          <a:pt x="111235" y="18129"/>
                        </a:cubicBezTo>
                        <a:cubicBezTo>
                          <a:pt x="111910" y="18561"/>
                          <a:pt x="111910" y="18561"/>
                          <a:pt x="111910" y="18561"/>
                        </a:cubicBezTo>
                        <a:cubicBezTo>
                          <a:pt x="111910" y="18561"/>
                          <a:pt x="113258" y="18129"/>
                          <a:pt x="113258" y="18129"/>
                        </a:cubicBezTo>
                        <a:cubicBezTo>
                          <a:pt x="113258" y="18129"/>
                          <a:pt x="115280" y="18561"/>
                          <a:pt x="115280" y="18561"/>
                        </a:cubicBezTo>
                        <a:cubicBezTo>
                          <a:pt x="115280" y="18561"/>
                          <a:pt x="116629" y="18992"/>
                          <a:pt x="116629" y="19424"/>
                        </a:cubicBezTo>
                        <a:cubicBezTo>
                          <a:pt x="117303" y="19424"/>
                          <a:pt x="118651" y="20287"/>
                          <a:pt x="118651" y="20287"/>
                        </a:cubicBezTo>
                        <a:cubicBezTo>
                          <a:pt x="120000" y="21582"/>
                          <a:pt x="120000" y="21582"/>
                          <a:pt x="120000" y="21582"/>
                        </a:cubicBezTo>
                        <a:cubicBezTo>
                          <a:pt x="118651" y="22446"/>
                          <a:pt x="118651" y="22446"/>
                          <a:pt x="118651" y="22446"/>
                        </a:cubicBezTo>
                        <a:cubicBezTo>
                          <a:pt x="117303" y="23741"/>
                          <a:pt x="117303" y="23741"/>
                          <a:pt x="117303" y="23741"/>
                        </a:cubicBezTo>
                        <a:cubicBezTo>
                          <a:pt x="115955" y="24172"/>
                          <a:pt x="115955" y="24172"/>
                          <a:pt x="115955" y="24172"/>
                        </a:cubicBezTo>
                        <a:cubicBezTo>
                          <a:pt x="115955" y="24172"/>
                          <a:pt x="115280" y="25035"/>
                          <a:pt x="115280" y="25035"/>
                        </a:cubicBezTo>
                        <a:cubicBezTo>
                          <a:pt x="115280" y="25035"/>
                          <a:pt x="113932" y="25467"/>
                          <a:pt x="113932" y="25467"/>
                        </a:cubicBezTo>
                        <a:cubicBezTo>
                          <a:pt x="113258" y="25467"/>
                          <a:pt x="113258" y="25467"/>
                          <a:pt x="113258" y="25467"/>
                        </a:cubicBezTo>
                        <a:cubicBezTo>
                          <a:pt x="111235" y="26762"/>
                          <a:pt x="111235" y="26762"/>
                          <a:pt x="111235" y="26762"/>
                        </a:cubicBezTo>
                        <a:cubicBezTo>
                          <a:pt x="109887" y="27194"/>
                          <a:pt x="109887" y="27194"/>
                          <a:pt x="109887" y="27194"/>
                        </a:cubicBezTo>
                        <a:cubicBezTo>
                          <a:pt x="108539" y="27625"/>
                          <a:pt x="108539" y="27625"/>
                          <a:pt x="108539" y="27625"/>
                        </a:cubicBezTo>
                        <a:cubicBezTo>
                          <a:pt x="107865" y="27625"/>
                          <a:pt x="107865" y="27625"/>
                          <a:pt x="107865" y="27625"/>
                        </a:cubicBezTo>
                        <a:cubicBezTo>
                          <a:pt x="106516" y="28489"/>
                          <a:pt x="106516" y="28489"/>
                          <a:pt x="106516" y="28489"/>
                        </a:cubicBezTo>
                        <a:cubicBezTo>
                          <a:pt x="105168" y="28057"/>
                          <a:pt x="105168" y="28057"/>
                          <a:pt x="105168" y="28057"/>
                        </a:cubicBezTo>
                        <a:cubicBezTo>
                          <a:pt x="103146" y="28489"/>
                          <a:pt x="103146" y="28489"/>
                          <a:pt x="103146" y="28489"/>
                        </a:cubicBezTo>
                        <a:cubicBezTo>
                          <a:pt x="103146" y="28920"/>
                          <a:pt x="103146" y="28920"/>
                          <a:pt x="103146" y="28920"/>
                        </a:cubicBezTo>
                        <a:cubicBezTo>
                          <a:pt x="100449" y="29784"/>
                          <a:pt x="100449" y="29784"/>
                          <a:pt x="100449" y="29784"/>
                        </a:cubicBezTo>
                        <a:cubicBezTo>
                          <a:pt x="99775" y="31079"/>
                          <a:pt x="99775" y="31079"/>
                          <a:pt x="99775" y="31079"/>
                        </a:cubicBezTo>
                        <a:cubicBezTo>
                          <a:pt x="99775" y="31079"/>
                          <a:pt x="98426" y="31079"/>
                          <a:pt x="98426" y="31510"/>
                        </a:cubicBezTo>
                        <a:cubicBezTo>
                          <a:pt x="97752" y="31510"/>
                          <a:pt x="97078" y="31942"/>
                          <a:pt x="97078" y="31942"/>
                        </a:cubicBezTo>
                        <a:cubicBezTo>
                          <a:pt x="95730" y="31510"/>
                          <a:pt x="95730" y="31510"/>
                          <a:pt x="95730" y="31510"/>
                        </a:cubicBezTo>
                        <a:cubicBezTo>
                          <a:pt x="95056" y="31942"/>
                          <a:pt x="95056" y="31942"/>
                          <a:pt x="95056" y="31942"/>
                        </a:cubicBezTo>
                        <a:cubicBezTo>
                          <a:pt x="95056" y="32805"/>
                          <a:pt x="95056" y="32805"/>
                          <a:pt x="95056" y="32805"/>
                        </a:cubicBezTo>
                        <a:cubicBezTo>
                          <a:pt x="95730" y="32805"/>
                          <a:pt x="95730" y="32805"/>
                          <a:pt x="95730" y="32805"/>
                        </a:cubicBezTo>
                        <a:cubicBezTo>
                          <a:pt x="95730" y="32805"/>
                          <a:pt x="95730" y="33669"/>
                          <a:pt x="95730" y="33669"/>
                        </a:cubicBezTo>
                        <a:cubicBezTo>
                          <a:pt x="95730" y="34100"/>
                          <a:pt x="95730" y="34964"/>
                          <a:pt x="95730" y="34964"/>
                        </a:cubicBezTo>
                        <a:cubicBezTo>
                          <a:pt x="97078" y="35395"/>
                          <a:pt x="97078" y="35395"/>
                          <a:pt x="97078" y="35395"/>
                        </a:cubicBezTo>
                        <a:cubicBezTo>
                          <a:pt x="97078" y="35395"/>
                          <a:pt x="97078" y="36690"/>
                          <a:pt x="96404" y="36690"/>
                        </a:cubicBezTo>
                        <a:cubicBezTo>
                          <a:pt x="96404" y="36690"/>
                          <a:pt x="95056" y="37122"/>
                          <a:pt x="95056" y="37122"/>
                        </a:cubicBezTo>
                        <a:cubicBezTo>
                          <a:pt x="95056" y="37553"/>
                          <a:pt x="95056" y="37553"/>
                          <a:pt x="95056" y="37553"/>
                        </a:cubicBezTo>
                        <a:cubicBezTo>
                          <a:pt x="95730" y="38417"/>
                          <a:pt x="95730" y="38417"/>
                          <a:pt x="95730" y="38417"/>
                        </a:cubicBezTo>
                        <a:cubicBezTo>
                          <a:pt x="95730" y="38417"/>
                          <a:pt x="95730" y="39712"/>
                          <a:pt x="95056" y="39712"/>
                        </a:cubicBezTo>
                        <a:cubicBezTo>
                          <a:pt x="95056" y="40143"/>
                          <a:pt x="94382" y="41007"/>
                          <a:pt x="94382" y="41007"/>
                        </a:cubicBezTo>
                        <a:cubicBezTo>
                          <a:pt x="93707" y="41438"/>
                          <a:pt x="93707" y="41438"/>
                          <a:pt x="93707" y="41438"/>
                        </a:cubicBezTo>
                        <a:cubicBezTo>
                          <a:pt x="93033" y="42302"/>
                          <a:pt x="93033" y="42302"/>
                          <a:pt x="93033" y="42302"/>
                        </a:cubicBezTo>
                        <a:cubicBezTo>
                          <a:pt x="93707" y="42733"/>
                          <a:pt x="93707" y="42733"/>
                          <a:pt x="93707" y="42733"/>
                        </a:cubicBezTo>
                        <a:cubicBezTo>
                          <a:pt x="93707" y="44028"/>
                          <a:pt x="93707" y="44028"/>
                          <a:pt x="93707" y="44028"/>
                        </a:cubicBezTo>
                        <a:cubicBezTo>
                          <a:pt x="92359" y="44460"/>
                          <a:pt x="92359" y="44460"/>
                          <a:pt x="92359" y="44460"/>
                        </a:cubicBezTo>
                        <a:cubicBezTo>
                          <a:pt x="91685" y="45755"/>
                          <a:pt x="91685" y="45755"/>
                          <a:pt x="91685" y="45755"/>
                        </a:cubicBezTo>
                        <a:cubicBezTo>
                          <a:pt x="92359" y="46187"/>
                          <a:pt x="92359" y="46187"/>
                          <a:pt x="92359" y="46187"/>
                        </a:cubicBezTo>
                        <a:cubicBezTo>
                          <a:pt x="93033" y="47050"/>
                          <a:pt x="93033" y="47050"/>
                          <a:pt x="93033" y="47050"/>
                        </a:cubicBezTo>
                        <a:cubicBezTo>
                          <a:pt x="92359" y="47913"/>
                          <a:pt x="92359" y="47913"/>
                          <a:pt x="92359" y="47913"/>
                        </a:cubicBezTo>
                        <a:cubicBezTo>
                          <a:pt x="91685" y="48345"/>
                          <a:pt x="91685" y="48345"/>
                          <a:pt x="91685" y="48345"/>
                        </a:cubicBezTo>
                        <a:cubicBezTo>
                          <a:pt x="91011" y="48345"/>
                          <a:pt x="91011" y="48345"/>
                          <a:pt x="91011" y="48345"/>
                        </a:cubicBezTo>
                        <a:cubicBezTo>
                          <a:pt x="89662" y="49208"/>
                          <a:pt x="89662" y="49208"/>
                          <a:pt x="89662" y="49208"/>
                        </a:cubicBezTo>
                        <a:cubicBezTo>
                          <a:pt x="88314" y="49208"/>
                          <a:pt x="88314" y="49208"/>
                          <a:pt x="88314" y="49208"/>
                        </a:cubicBezTo>
                        <a:cubicBezTo>
                          <a:pt x="87640" y="49208"/>
                          <a:pt x="87640" y="49208"/>
                          <a:pt x="87640" y="49208"/>
                        </a:cubicBezTo>
                        <a:cubicBezTo>
                          <a:pt x="86292" y="50071"/>
                          <a:pt x="86292" y="50071"/>
                          <a:pt x="86292" y="50071"/>
                        </a:cubicBezTo>
                        <a:cubicBezTo>
                          <a:pt x="85617" y="50071"/>
                          <a:pt x="85617" y="50071"/>
                          <a:pt x="85617" y="50071"/>
                        </a:cubicBezTo>
                        <a:cubicBezTo>
                          <a:pt x="84943" y="50503"/>
                          <a:pt x="84943" y="50503"/>
                          <a:pt x="84943" y="50503"/>
                        </a:cubicBezTo>
                        <a:cubicBezTo>
                          <a:pt x="84943" y="51366"/>
                          <a:pt x="84943" y="51366"/>
                          <a:pt x="84943" y="51366"/>
                        </a:cubicBezTo>
                        <a:cubicBezTo>
                          <a:pt x="84943" y="51366"/>
                          <a:pt x="84943" y="51798"/>
                          <a:pt x="84943" y="51798"/>
                        </a:cubicBezTo>
                        <a:cubicBezTo>
                          <a:pt x="85617" y="51798"/>
                          <a:pt x="85617" y="52230"/>
                          <a:pt x="85617" y="52230"/>
                        </a:cubicBezTo>
                        <a:cubicBezTo>
                          <a:pt x="86292" y="53093"/>
                          <a:pt x="86292" y="53093"/>
                          <a:pt x="86292" y="53093"/>
                        </a:cubicBezTo>
                        <a:cubicBezTo>
                          <a:pt x="86966" y="53956"/>
                          <a:pt x="86966" y="53956"/>
                          <a:pt x="86966" y="53956"/>
                        </a:cubicBezTo>
                        <a:cubicBezTo>
                          <a:pt x="87640" y="55251"/>
                          <a:pt x="87640" y="55251"/>
                          <a:pt x="87640" y="55251"/>
                        </a:cubicBezTo>
                        <a:cubicBezTo>
                          <a:pt x="87640" y="55251"/>
                          <a:pt x="86966" y="56115"/>
                          <a:pt x="86966" y="56115"/>
                        </a:cubicBezTo>
                        <a:cubicBezTo>
                          <a:pt x="86966" y="56115"/>
                          <a:pt x="86292" y="56978"/>
                          <a:pt x="86292" y="56978"/>
                        </a:cubicBezTo>
                        <a:cubicBezTo>
                          <a:pt x="85617" y="57841"/>
                          <a:pt x="85617" y="57841"/>
                          <a:pt x="85617" y="57841"/>
                        </a:cubicBezTo>
                        <a:cubicBezTo>
                          <a:pt x="84943" y="58705"/>
                          <a:pt x="84943" y="58705"/>
                          <a:pt x="84943" y="58705"/>
                        </a:cubicBezTo>
                        <a:cubicBezTo>
                          <a:pt x="84269" y="59136"/>
                          <a:pt x="84269" y="59136"/>
                          <a:pt x="84269" y="59136"/>
                        </a:cubicBezTo>
                        <a:cubicBezTo>
                          <a:pt x="82921" y="59136"/>
                          <a:pt x="82921" y="59136"/>
                          <a:pt x="82921" y="59136"/>
                        </a:cubicBezTo>
                        <a:cubicBezTo>
                          <a:pt x="82921" y="59568"/>
                          <a:pt x="82921" y="59568"/>
                          <a:pt x="82921" y="59568"/>
                        </a:cubicBezTo>
                        <a:cubicBezTo>
                          <a:pt x="82247" y="60431"/>
                          <a:pt x="82247" y="60431"/>
                          <a:pt x="82247" y="60431"/>
                        </a:cubicBezTo>
                        <a:cubicBezTo>
                          <a:pt x="82247" y="60863"/>
                          <a:pt x="82247" y="60863"/>
                          <a:pt x="82247" y="60863"/>
                        </a:cubicBezTo>
                        <a:cubicBezTo>
                          <a:pt x="81573" y="60863"/>
                          <a:pt x="81573" y="60863"/>
                          <a:pt x="81573" y="60863"/>
                        </a:cubicBezTo>
                        <a:cubicBezTo>
                          <a:pt x="81573" y="61726"/>
                          <a:pt x="81573" y="61726"/>
                          <a:pt x="81573" y="61726"/>
                        </a:cubicBezTo>
                        <a:cubicBezTo>
                          <a:pt x="80898" y="62158"/>
                          <a:pt x="80898" y="62158"/>
                          <a:pt x="80898" y="62158"/>
                        </a:cubicBezTo>
                        <a:cubicBezTo>
                          <a:pt x="80898" y="62158"/>
                          <a:pt x="80224" y="62158"/>
                          <a:pt x="80224" y="62158"/>
                        </a:cubicBezTo>
                        <a:cubicBezTo>
                          <a:pt x="79550" y="62158"/>
                          <a:pt x="78876" y="62589"/>
                          <a:pt x="78876" y="62589"/>
                        </a:cubicBezTo>
                        <a:cubicBezTo>
                          <a:pt x="78876" y="62589"/>
                          <a:pt x="77528" y="62589"/>
                          <a:pt x="77528" y="62158"/>
                        </a:cubicBezTo>
                        <a:cubicBezTo>
                          <a:pt x="77528" y="62158"/>
                          <a:pt x="76853" y="62589"/>
                          <a:pt x="76179" y="62158"/>
                        </a:cubicBezTo>
                        <a:cubicBezTo>
                          <a:pt x="76179" y="62158"/>
                          <a:pt x="75505" y="61726"/>
                          <a:pt x="75505" y="61726"/>
                        </a:cubicBezTo>
                        <a:cubicBezTo>
                          <a:pt x="74831" y="61726"/>
                          <a:pt x="74831" y="61726"/>
                          <a:pt x="74831" y="61726"/>
                        </a:cubicBezTo>
                        <a:cubicBezTo>
                          <a:pt x="73483" y="61726"/>
                          <a:pt x="73483" y="61726"/>
                          <a:pt x="73483" y="61726"/>
                        </a:cubicBezTo>
                        <a:cubicBezTo>
                          <a:pt x="71460" y="61726"/>
                          <a:pt x="71460" y="61726"/>
                          <a:pt x="71460" y="61726"/>
                        </a:cubicBezTo>
                        <a:cubicBezTo>
                          <a:pt x="70112" y="61726"/>
                          <a:pt x="70112" y="61726"/>
                          <a:pt x="70112" y="61726"/>
                        </a:cubicBezTo>
                        <a:cubicBezTo>
                          <a:pt x="70112" y="61294"/>
                          <a:pt x="70112" y="61294"/>
                          <a:pt x="70112" y="61294"/>
                        </a:cubicBezTo>
                        <a:cubicBezTo>
                          <a:pt x="69438" y="61726"/>
                          <a:pt x="69438" y="61726"/>
                          <a:pt x="69438" y="61726"/>
                        </a:cubicBezTo>
                        <a:cubicBezTo>
                          <a:pt x="68764" y="60863"/>
                          <a:pt x="68764" y="60863"/>
                          <a:pt x="68764" y="60863"/>
                        </a:cubicBezTo>
                        <a:cubicBezTo>
                          <a:pt x="67415" y="60863"/>
                          <a:pt x="67415" y="60863"/>
                          <a:pt x="67415" y="60863"/>
                        </a:cubicBezTo>
                        <a:cubicBezTo>
                          <a:pt x="66067" y="60863"/>
                          <a:pt x="66067" y="60863"/>
                          <a:pt x="66067" y="60863"/>
                        </a:cubicBezTo>
                        <a:cubicBezTo>
                          <a:pt x="66067" y="60863"/>
                          <a:pt x="66067" y="61294"/>
                          <a:pt x="66741" y="61726"/>
                        </a:cubicBezTo>
                        <a:cubicBezTo>
                          <a:pt x="66741" y="61726"/>
                          <a:pt x="67415" y="62589"/>
                          <a:pt x="67415" y="62589"/>
                        </a:cubicBezTo>
                        <a:cubicBezTo>
                          <a:pt x="67415" y="62589"/>
                          <a:pt x="67415" y="63453"/>
                          <a:pt x="67415" y="63453"/>
                        </a:cubicBezTo>
                        <a:cubicBezTo>
                          <a:pt x="67415" y="63453"/>
                          <a:pt x="68764" y="64316"/>
                          <a:pt x="68764" y="64316"/>
                        </a:cubicBezTo>
                        <a:cubicBezTo>
                          <a:pt x="68764" y="64748"/>
                          <a:pt x="68764" y="64748"/>
                          <a:pt x="68764" y="64748"/>
                        </a:cubicBezTo>
                        <a:cubicBezTo>
                          <a:pt x="68764" y="64748"/>
                          <a:pt x="69438" y="65611"/>
                          <a:pt x="69438" y="65611"/>
                        </a:cubicBezTo>
                        <a:cubicBezTo>
                          <a:pt x="69438" y="65611"/>
                          <a:pt x="70786" y="66043"/>
                          <a:pt x="70786" y="66043"/>
                        </a:cubicBezTo>
                        <a:cubicBezTo>
                          <a:pt x="70786" y="66906"/>
                          <a:pt x="70786" y="66906"/>
                          <a:pt x="70786" y="66906"/>
                        </a:cubicBezTo>
                        <a:cubicBezTo>
                          <a:pt x="70112" y="67338"/>
                          <a:pt x="70112" y="67338"/>
                          <a:pt x="70112" y="67338"/>
                        </a:cubicBezTo>
                        <a:cubicBezTo>
                          <a:pt x="69438" y="67769"/>
                          <a:pt x="69438" y="67769"/>
                          <a:pt x="69438" y="67769"/>
                        </a:cubicBezTo>
                        <a:cubicBezTo>
                          <a:pt x="70112" y="68633"/>
                          <a:pt x="70112" y="68633"/>
                          <a:pt x="70112" y="68633"/>
                        </a:cubicBezTo>
                        <a:cubicBezTo>
                          <a:pt x="70112" y="69496"/>
                          <a:pt x="70112" y="69496"/>
                          <a:pt x="70112" y="69496"/>
                        </a:cubicBezTo>
                        <a:cubicBezTo>
                          <a:pt x="70786" y="69928"/>
                          <a:pt x="70786" y="69928"/>
                          <a:pt x="70786" y="69928"/>
                        </a:cubicBezTo>
                        <a:cubicBezTo>
                          <a:pt x="70786" y="70359"/>
                          <a:pt x="70786" y="70359"/>
                          <a:pt x="70786" y="70359"/>
                        </a:cubicBezTo>
                        <a:cubicBezTo>
                          <a:pt x="70112" y="70791"/>
                          <a:pt x="70112" y="70791"/>
                          <a:pt x="70112" y="70791"/>
                        </a:cubicBezTo>
                        <a:cubicBezTo>
                          <a:pt x="70112" y="71654"/>
                          <a:pt x="70112" y="71654"/>
                          <a:pt x="70112" y="71654"/>
                        </a:cubicBezTo>
                        <a:cubicBezTo>
                          <a:pt x="70786" y="72517"/>
                          <a:pt x="70786" y="72517"/>
                          <a:pt x="70786" y="72517"/>
                        </a:cubicBezTo>
                        <a:cubicBezTo>
                          <a:pt x="71460" y="73381"/>
                          <a:pt x="71460" y="73381"/>
                          <a:pt x="71460" y="73381"/>
                        </a:cubicBezTo>
                        <a:cubicBezTo>
                          <a:pt x="72808" y="73381"/>
                          <a:pt x="72808" y="73381"/>
                          <a:pt x="72808" y="73381"/>
                        </a:cubicBezTo>
                        <a:cubicBezTo>
                          <a:pt x="72808" y="74244"/>
                          <a:pt x="72808" y="74244"/>
                          <a:pt x="72808" y="74244"/>
                        </a:cubicBezTo>
                        <a:cubicBezTo>
                          <a:pt x="72134" y="74676"/>
                          <a:pt x="72134" y="74676"/>
                          <a:pt x="72134" y="74676"/>
                        </a:cubicBezTo>
                        <a:cubicBezTo>
                          <a:pt x="72134" y="74676"/>
                          <a:pt x="72134" y="75107"/>
                          <a:pt x="72134" y="75107"/>
                        </a:cubicBezTo>
                        <a:cubicBezTo>
                          <a:pt x="72808" y="75107"/>
                          <a:pt x="73483" y="75539"/>
                          <a:pt x="73483" y="75539"/>
                        </a:cubicBezTo>
                        <a:cubicBezTo>
                          <a:pt x="74831" y="75107"/>
                          <a:pt x="74831" y="75107"/>
                          <a:pt x="74831" y="75107"/>
                        </a:cubicBezTo>
                        <a:cubicBezTo>
                          <a:pt x="74831" y="75107"/>
                          <a:pt x="75505" y="75107"/>
                          <a:pt x="75505" y="75107"/>
                        </a:cubicBezTo>
                        <a:cubicBezTo>
                          <a:pt x="75505" y="75539"/>
                          <a:pt x="76179" y="76402"/>
                          <a:pt x="76179" y="76402"/>
                        </a:cubicBezTo>
                        <a:cubicBezTo>
                          <a:pt x="76853" y="76834"/>
                          <a:pt x="76853" y="76834"/>
                          <a:pt x="76853" y="76834"/>
                        </a:cubicBezTo>
                        <a:cubicBezTo>
                          <a:pt x="76853" y="77697"/>
                          <a:pt x="76853" y="77697"/>
                          <a:pt x="76853" y="77697"/>
                        </a:cubicBezTo>
                        <a:cubicBezTo>
                          <a:pt x="75505" y="78561"/>
                          <a:pt x="75505" y="78561"/>
                          <a:pt x="75505" y="78561"/>
                        </a:cubicBezTo>
                        <a:cubicBezTo>
                          <a:pt x="74157" y="79424"/>
                          <a:pt x="74157" y="79424"/>
                          <a:pt x="74157" y="79424"/>
                        </a:cubicBezTo>
                        <a:cubicBezTo>
                          <a:pt x="73483" y="79856"/>
                          <a:pt x="73483" y="79856"/>
                          <a:pt x="73483" y="79856"/>
                        </a:cubicBezTo>
                        <a:cubicBezTo>
                          <a:pt x="73483" y="80719"/>
                          <a:pt x="73483" y="80719"/>
                          <a:pt x="73483" y="80719"/>
                        </a:cubicBezTo>
                        <a:cubicBezTo>
                          <a:pt x="72808" y="81151"/>
                          <a:pt x="72808" y="81151"/>
                          <a:pt x="72808" y="81151"/>
                        </a:cubicBezTo>
                        <a:cubicBezTo>
                          <a:pt x="71460" y="81582"/>
                          <a:pt x="71460" y="81582"/>
                          <a:pt x="71460" y="81582"/>
                        </a:cubicBezTo>
                        <a:cubicBezTo>
                          <a:pt x="70112" y="82014"/>
                          <a:pt x="70112" y="82014"/>
                          <a:pt x="70112" y="82014"/>
                        </a:cubicBezTo>
                        <a:cubicBezTo>
                          <a:pt x="69438" y="82014"/>
                          <a:pt x="69438" y="82014"/>
                          <a:pt x="69438" y="82014"/>
                        </a:cubicBezTo>
                        <a:cubicBezTo>
                          <a:pt x="68764" y="82446"/>
                          <a:pt x="68764" y="82446"/>
                          <a:pt x="68764" y="82446"/>
                        </a:cubicBezTo>
                        <a:cubicBezTo>
                          <a:pt x="66741" y="82877"/>
                          <a:pt x="66741" y="82877"/>
                          <a:pt x="66741" y="82877"/>
                        </a:cubicBezTo>
                        <a:cubicBezTo>
                          <a:pt x="66067" y="82877"/>
                          <a:pt x="66067" y="82877"/>
                          <a:pt x="66067" y="82877"/>
                        </a:cubicBezTo>
                        <a:cubicBezTo>
                          <a:pt x="64719" y="84604"/>
                          <a:pt x="64719" y="84604"/>
                          <a:pt x="64719" y="84604"/>
                        </a:cubicBezTo>
                        <a:cubicBezTo>
                          <a:pt x="64719" y="84604"/>
                          <a:pt x="64719" y="85467"/>
                          <a:pt x="64719" y="85467"/>
                        </a:cubicBezTo>
                        <a:cubicBezTo>
                          <a:pt x="64719" y="85467"/>
                          <a:pt x="65393" y="85899"/>
                          <a:pt x="65393" y="85899"/>
                        </a:cubicBezTo>
                        <a:cubicBezTo>
                          <a:pt x="65393" y="85899"/>
                          <a:pt x="64044" y="86762"/>
                          <a:pt x="64044" y="86762"/>
                        </a:cubicBezTo>
                        <a:cubicBezTo>
                          <a:pt x="64044" y="86762"/>
                          <a:pt x="62696" y="87194"/>
                          <a:pt x="62696" y="87194"/>
                        </a:cubicBezTo>
                        <a:cubicBezTo>
                          <a:pt x="62022" y="88057"/>
                          <a:pt x="62022" y="88057"/>
                          <a:pt x="62022" y="88057"/>
                        </a:cubicBezTo>
                        <a:cubicBezTo>
                          <a:pt x="62696" y="88489"/>
                          <a:pt x="62696" y="88489"/>
                          <a:pt x="62696" y="88489"/>
                        </a:cubicBezTo>
                        <a:cubicBezTo>
                          <a:pt x="61348" y="88489"/>
                          <a:pt x="61348" y="88489"/>
                          <a:pt x="61348" y="88489"/>
                        </a:cubicBezTo>
                        <a:cubicBezTo>
                          <a:pt x="62022" y="89352"/>
                          <a:pt x="62022" y="89352"/>
                          <a:pt x="62022" y="89352"/>
                        </a:cubicBezTo>
                        <a:cubicBezTo>
                          <a:pt x="61348" y="89784"/>
                          <a:pt x="61348" y="89784"/>
                          <a:pt x="61348" y="89784"/>
                        </a:cubicBezTo>
                        <a:cubicBezTo>
                          <a:pt x="62022" y="90215"/>
                          <a:pt x="62022" y="90215"/>
                          <a:pt x="62022" y="90215"/>
                        </a:cubicBezTo>
                        <a:cubicBezTo>
                          <a:pt x="62022" y="90215"/>
                          <a:pt x="62696" y="91510"/>
                          <a:pt x="62696" y="91510"/>
                        </a:cubicBezTo>
                        <a:cubicBezTo>
                          <a:pt x="62696" y="91942"/>
                          <a:pt x="63370" y="92374"/>
                          <a:pt x="63370" y="92374"/>
                        </a:cubicBezTo>
                        <a:cubicBezTo>
                          <a:pt x="63370" y="92374"/>
                          <a:pt x="64044" y="92805"/>
                          <a:pt x="64044" y="92805"/>
                        </a:cubicBezTo>
                        <a:cubicBezTo>
                          <a:pt x="64044" y="93237"/>
                          <a:pt x="64044" y="93669"/>
                          <a:pt x="64044" y="94100"/>
                        </a:cubicBezTo>
                        <a:cubicBezTo>
                          <a:pt x="64044" y="94532"/>
                          <a:pt x="64719" y="95395"/>
                          <a:pt x="64719" y="95395"/>
                        </a:cubicBezTo>
                        <a:cubicBezTo>
                          <a:pt x="65393" y="96258"/>
                          <a:pt x="65393" y="96258"/>
                          <a:pt x="65393" y="96258"/>
                        </a:cubicBezTo>
                        <a:cubicBezTo>
                          <a:pt x="65393" y="96258"/>
                          <a:pt x="65393" y="96690"/>
                          <a:pt x="65393" y="96690"/>
                        </a:cubicBezTo>
                        <a:cubicBezTo>
                          <a:pt x="66067" y="96690"/>
                          <a:pt x="67415" y="96690"/>
                          <a:pt x="67415" y="96690"/>
                        </a:cubicBezTo>
                        <a:cubicBezTo>
                          <a:pt x="67415" y="96690"/>
                          <a:pt x="68764" y="96690"/>
                          <a:pt x="68764" y="96690"/>
                        </a:cubicBezTo>
                        <a:cubicBezTo>
                          <a:pt x="68764" y="96690"/>
                          <a:pt x="69438" y="96258"/>
                          <a:pt x="70112" y="96690"/>
                        </a:cubicBezTo>
                        <a:cubicBezTo>
                          <a:pt x="70112" y="96690"/>
                          <a:pt x="70112" y="97122"/>
                          <a:pt x="70112" y="97122"/>
                        </a:cubicBezTo>
                        <a:cubicBezTo>
                          <a:pt x="70112" y="97122"/>
                          <a:pt x="70112" y="97553"/>
                          <a:pt x="70112" y="97553"/>
                        </a:cubicBezTo>
                        <a:cubicBezTo>
                          <a:pt x="67415" y="99280"/>
                          <a:pt x="67415" y="99280"/>
                          <a:pt x="67415" y="99280"/>
                        </a:cubicBezTo>
                        <a:cubicBezTo>
                          <a:pt x="67415" y="100575"/>
                          <a:pt x="67415" y="100575"/>
                          <a:pt x="67415" y="100575"/>
                        </a:cubicBezTo>
                        <a:cubicBezTo>
                          <a:pt x="67415" y="100575"/>
                          <a:pt x="66741" y="100575"/>
                          <a:pt x="66741" y="100575"/>
                        </a:cubicBezTo>
                        <a:cubicBezTo>
                          <a:pt x="66067" y="100575"/>
                          <a:pt x="65393" y="100575"/>
                          <a:pt x="65393" y="100575"/>
                        </a:cubicBezTo>
                        <a:cubicBezTo>
                          <a:pt x="64044" y="99712"/>
                          <a:pt x="64044" y="99712"/>
                          <a:pt x="64044" y="99712"/>
                        </a:cubicBezTo>
                        <a:cubicBezTo>
                          <a:pt x="62696" y="100143"/>
                          <a:pt x="62696" y="100143"/>
                          <a:pt x="62696" y="100143"/>
                        </a:cubicBezTo>
                        <a:cubicBezTo>
                          <a:pt x="62696" y="100575"/>
                          <a:pt x="62696" y="100575"/>
                          <a:pt x="62696" y="100575"/>
                        </a:cubicBezTo>
                        <a:cubicBezTo>
                          <a:pt x="62696" y="100575"/>
                          <a:pt x="61348" y="100575"/>
                          <a:pt x="61348" y="100575"/>
                        </a:cubicBezTo>
                        <a:cubicBezTo>
                          <a:pt x="61348" y="100575"/>
                          <a:pt x="59325" y="100575"/>
                          <a:pt x="59325" y="100575"/>
                        </a:cubicBezTo>
                        <a:cubicBezTo>
                          <a:pt x="58651" y="101007"/>
                          <a:pt x="58651" y="101007"/>
                          <a:pt x="58651" y="101007"/>
                        </a:cubicBezTo>
                        <a:cubicBezTo>
                          <a:pt x="57977" y="102733"/>
                          <a:pt x="57977" y="102733"/>
                          <a:pt x="57977" y="102733"/>
                        </a:cubicBezTo>
                        <a:cubicBezTo>
                          <a:pt x="56629" y="103597"/>
                          <a:pt x="56629" y="103597"/>
                          <a:pt x="56629" y="103597"/>
                        </a:cubicBezTo>
                        <a:cubicBezTo>
                          <a:pt x="55280" y="104028"/>
                          <a:pt x="55280" y="104028"/>
                          <a:pt x="55280" y="104028"/>
                        </a:cubicBezTo>
                        <a:cubicBezTo>
                          <a:pt x="53932" y="104892"/>
                          <a:pt x="53932" y="104892"/>
                          <a:pt x="53932" y="104892"/>
                        </a:cubicBezTo>
                        <a:cubicBezTo>
                          <a:pt x="51910" y="105323"/>
                          <a:pt x="51910" y="105323"/>
                          <a:pt x="51910" y="105323"/>
                        </a:cubicBezTo>
                        <a:cubicBezTo>
                          <a:pt x="51910" y="105323"/>
                          <a:pt x="51235" y="105755"/>
                          <a:pt x="51235" y="105755"/>
                        </a:cubicBezTo>
                        <a:cubicBezTo>
                          <a:pt x="51235" y="106187"/>
                          <a:pt x="50561" y="107482"/>
                          <a:pt x="50561" y="107482"/>
                        </a:cubicBezTo>
                        <a:cubicBezTo>
                          <a:pt x="50561" y="107482"/>
                          <a:pt x="49213" y="107913"/>
                          <a:pt x="49213" y="108345"/>
                        </a:cubicBezTo>
                        <a:cubicBezTo>
                          <a:pt x="49213" y="108345"/>
                          <a:pt x="47865" y="108776"/>
                          <a:pt x="47865" y="108776"/>
                        </a:cubicBezTo>
                        <a:cubicBezTo>
                          <a:pt x="47865" y="108776"/>
                          <a:pt x="47865" y="109640"/>
                          <a:pt x="47865" y="109640"/>
                        </a:cubicBezTo>
                        <a:cubicBezTo>
                          <a:pt x="47865" y="109640"/>
                          <a:pt x="48539" y="110503"/>
                          <a:pt x="48539" y="110503"/>
                        </a:cubicBezTo>
                        <a:cubicBezTo>
                          <a:pt x="48539" y="111798"/>
                          <a:pt x="48539" y="111798"/>
                          <a:pt x="48539" y="111798"/>
                        </a:cubicBezTo>
                        <a:cubicBezTo>
                          <a:pt x="48539" y="112661"/>
                          <a:pt x="48539" y="112661"/>
                          <a:pt x="48539" y="112661"/>
                        </a:cubicBezTo>
                        <a:cubicBezTo>
                          <a:pt x="49213" y="113525"/>
                          <a:pt x="49213" y="113525"/>
                          <a:pt x="49213" y="113525"/>
                        </a:cubicBezTo>
                        <a:cubicBezTo>
                          <a:pt x="48539" y="114388"/>
                          <a:pt x="48539" y="114388"/>
                          <a:pt x="48539" y="114388"/>
                        </a:cubicBezTo>
                        <a:cubicBezTo>
                          <a:pt x="47865" y="115683"/>
                          <a:pt x="47865" y="115683"/>
                          <a:pt x="47865" y="115683"/>
                        </a:cubicBezTo>
                        <a:cubicBezTo>
                          <a:pt x="47865" y="116115"/>
                          <a:pt x="47865" y="116115"/>
                          <a:pt x="47865" y="116115"/>
                        </a:cubicBezTo>
                        <a:cubicBezTo>
                          <a:pt x="47865" y="116978"/>
                          <a:pt x="47865" y="116978"/>
                          <a:pt x="47865" y="116978"/>
                        </a:cubicBezTo>
                        <a:cubicBezTo>
                          <a:pt x="47865" y="118705"/>
                          <a:pt x="47865" y="118705"/>
                          <a:pt x="47865" y="118705"/>
                        </a:cubicBezTo>
                        <a:cubicBezTo>
                          <a:pt x="45842" y="118273"/>
                          <a:pt x="45842" y="118273"/>
                          <a:pt x="45842" y="118273"/>
                        </a:cubicBezTo>
                        <a:cubicBezTo>
                          <a:pt x="43820" y="118273"/>
                          <a:pt x="43820" y="118273"/>
                          <a:pt x="43820" y="118273"/>
                        </a:cubicBezTo>
                        <a:cubicBezTo>
                          <a:pt x="41797" y="118705"/>
                          <a:pt x="41797" y="118705"/>
                          <a:pt x="41797" y="118705"/>
                        </a:cubicBezTo>
                        <a:cubicBezTo>
                          <a:pt x="39101" y="119568"/>
                          <a:pt x="39101" y="119568"/>
                          <a:pt x="39101" y="119568"/>
                        </a:cubicBezTo>
                        <a:cubicBezTo>
                          <a:pt x="35056" y="120000"/>
                          <a:pt x="35056" y="120000"/>
                          <a:pt x="35056" y="120000"/>
                        </a:cubicBezTo>
                        <a:cubicBezTo>
                          <a:pt x="31685" y="120000"/>
                          <a:pt x="31685" y="120000"/>
                          <a:pt x="31685" y="120000"/>
                        </a:cubicBezTo>
                        <a:cubicBezTo>
                          <a:pt x="29662" y="119568"/>
                          <a:pt x="29662" y="119568"/>
                          <a:pt x="29662" y="119568"/>
                        </a:cubicBezTo>
                        <a:cubicBezTo>
                          <a:pt x="28314" y="119136"/>
                          <a:pt x="28314" y="119136"/>
                          <a:pt x="28314" y="119136"/>
                        </a:cubicBezTo>
                        <a:cubicBezTo>
                          <a:pt x="26966" y="118273"/>
                          <a:pt x="26966" y="118273"/>
                          <a:pt x="26966" y="118273"/>
                        </a:cubicBezTo>
                        <a:cubicBezTo>
                          <a:pt x="24943" y="116978"/>
                          <a:pt x="24943" y="116978"/>
                          <a:pt x="24943" y="116978"/>
                        </a:cubicBezTo>
                        <a:cubicBezTo>
                          <a:pt x="22921" y="116978"/>
                          <a:pt x="22921" y="116978"/>
                          <a:pt x="22921" y="116978"/>
                        </a:cubicBezTo>
                        <a:cubicBezTo>
                          <a:pt x="21573" y="116546"/>
                          <a:pt x="21573" y="116546"/>
                          <a:pt x="21573" y="116546"/>
                        </a:cubicBezTo>
                        <a:cubicBezTo>
                          <a:pt x="20224" y="116115"/>
                          <a:pt x="20224" y="116115"/>
                          <a:pt x="20224" y="116115"/>
                        </a:cubicBezTo>
                        <a:cubicBezTo>
                          <a:pt x="18876" y="115683"/>
                          <a:pt x="18876" y="115683"/>
                          <a:pt x="18876" y="115683"/>
                        </a:cubicBezTo>
                        <a:cubicBezTo>
                          <a:pt x="17528" y="115683"/>
                          <a:pt x="17528" y="115683"/>
                          <a:pt x="17528" y="115683"/>
                        </a:cubicBezTo>
                        <a:cubicBezTo>
                          <a:pt x="14831" y="114820"/>
                          <a:pt x="14831" y="114820"/>
                          <a:pt x="14831" y="114820"/>
                        </a:cubicBezTo>
                        <a:cubicBezTo>
                          <a:pt x="12134" y="113956"/>
                          <a:pt x="12134" y="113956"/>
                          <a:pt x="12134" y="113956"/>
                        </a:cubicBezTo>
                        <a:cubicBezTo>
                          <a:pt x="10786" y="114388"/>
                          <a:pt x="10786" y="114388"/>
                          <a:pt x="10786" y="114388"/>
                        </a:cubicBezTo>
                        <a:cubicBezTo>
                          <a:pt x="10786" y="114820"/>
                          <a:pt x="10786" y="114820"/>
                          <a:pt x="10786" y="114820"/>
                        </a:cubicBezTo>
                        <a:cubicBezTo>
                          <a:pt x="8764" y="114388"/>
                          <a:pt x="8764" y="114388"/>
                          <a:pt x="8764" y="114388"/>
                        </a:cubicBezTo>
                        <a:cubicBezTo>
                          <a:pt x="7415" y="114388"/>
                          <a:pt x="7415" y="114388"/>
                          <a:pt x="7415" y="114388"/>
                        </a:cubicBezTo>
                        <a:cubicBezTo>
                          <a:pt x="6067" y="114388"/>
                          <a:pt x="6067" y="114388"/>
                          <a:pt x="6067" y="114388"/>
                        </a:cubicBezTo>
                        <a:cubicBezTo>
                          <a:pt x="3370" y="114820"/>
                          <a:pt x="3370" y="114820"/>
                          <a:pt x="3370" y="114820"/>
                        </a:cubicBezTo>
                        <a:cubicBezTo>
                          <a:pt x="1348" y="115251"/>
                          <a:pt x="1348" y="115251"/>
                          <a:pt x="1348" y="115251"/>
                        </a:cubicBezTo>
                        <a:cubicBezTo>
                          <a:pt x="0" y="114820"/>
                          <a:pt x="0" y="114820"/>
                          <a:pt x="0" y="114820"/>
                        </a:cubicBezTo>
                        <a:cubicBezTo>
                          <a:pt x="1348" y="113956"/>
                          <a:pt x="1348" y="113956"/>
                          <a:pt x="1348" y="113956"/>
                        </a:cubicBezTo>
                        <a:cubicBezTo>
                          <a:pt x="2696" y="112661"/>
                          <a:pt x="2696" y="112661"/>
                          <a:pt x="2696" y="112661"/>
                        </a:cubicBezTo>
                        <a:cubicBezTo>
                          <a:pt x="4044" y="112230"/>
                          <a:pt x="4044" y="112230"/>
                          <a:pt x="4044" y="112230"/>
                        </a:cubicBezTo>
                        <a:cubicBezTo>
                          <a:pt x="4719" y="110935"/>
                          <a:pt x="4719" y="110935"/>
                          <a:pt x="4719" y="110935"/>
                        </a:cubicBezTo>
                        <a:cubicBezTo>
                          <a:pt x="6741" y="110071"/>
                          <a:pt x="6741" y="110071"/>
                          <a:pt x="6741" y="110071"/>
                        </a:cubicBezTo>
                        <a:cubicBezTo>
                          <a:pt x="6741" y="108776"/>
                          <a:pt x="6741" y="108776"/>
                          <a:pt x="6741" y="108776"/>
                        </a:cubicBezTo>
                        <a:cubicBezTo>
                          <a:pt x="8089" y="107050"/>
                          <a:pt x="8089" y="107050"/>
                          <a:pt x="8089" y="107050"/>
                        </a:cubicBezTo>
                        <a:cubicBezTo>
                          <a:pt x="8089" y="107050"/>
                          <a:pt x="9438" y="107050"/>
                          <a:pt x="9438" y="106618"/>
                        </a:cubicBezTo>
                        <a:cubicBezTo>
                          <a:pt x="10112" y="105755"/>
                          <a:pt x="10112" y="105323"/>
                          <a:pt x="10786" y="104892"/>
                        </a:cubicBezTo>
                        <a:cubicBezTo>
                          <a:pt x="10786" y="104460"/>
                          <a:pt x="11460" y="104460"/>
                          <a:pt x="11460" y="104028"/>
                        </a:cubicBezTo>
                        <a:cubicBezTo>
                          <a:pt x="11460" y="103597"/>
                          <a:pt x="10786" y="102302"/>
                          <a:pt x="10786" y="102302"/>
                        </a:cubicBezTo>
                        <a:cubicBezTo>
                          <a:pt x="10786" y="102302"/>
                          <a:pt x="12134" y="100575"/>
                          <a:pt x="12134" y="100575"/>
                        </a:cubicBezTo>
                        <a:cubicBezTo>
                          <a:pt x="12808" y="100143"/>
                          <a:pt x="12808" y="98417"/>
                          <a:pt x="12808" y="98417"/>
                        </a:cubicBezTo>
                        <a:cubicBezTo>
                          <a:pt x="12808" y="98417"/>
                          <a:pt x="13483" y="97553"/>
                          <a:pt x="14157" y="97122"/>
                        </a:cubicBezTo>
                        <a:cubicBezTo>
                          <a:pt x="14157" y="96690"/>
                          <a:pt x="14157" y="95395"/>
                          <a:pt x="14157" y="95395"/>
                        </a:cubicBezTo>
                        <a:cubicBezTo>
                          <a:pt x="12808" y="94100"/>
                          <a:pt x="12808" y="94100"/>
                          <a:pt x="12808" y="94100"/>
                        </a:cubicBezTo>
                        <a:cubicBezTo>
                          <a:pt x="14157" y="92374"/>
                          <a:pt x="14157" y="92374"/>
                          <a:pt x="14157" y="92374"/>
                        </a:cubicBezTo>
                        <a:cubicBezTo>
                          <a:pt x="16179" y="90215"/>
                          <a:pt x="16179" y="90215"/>
                          <a:pt x="16179" y="90215"/>
                        </a:cubicBezTo>
                        <a:cubicBezTo>
                          <a:pt x="18202" y="88057"/>
                          <a:pt x="18202" y="88057"/>
                          <a:pt x="18202" y="88057"/>
                        </a:cubicBezTo>
                        <a:cubicBezTo>
                          <a:pt x="18876" y="85899"/>
                          <a:pt x="18876" y="85899"/>
                          <a:pt x="18876" y="85899"/>
                        </a:cubicBezTo>
                        <a:cubicBezTo>
                          <a:pt x="18876" y="85899"/>
                          <a:pt x="18876" y="85035"/>
                          <a:pt x="18876" y="84604"/>
                        </a:cubicBezTo>
                        <a:cubicBezTo>
                          <a:pt x="18876" y="84604"/>
                          <a:pt x="18876" y="83741"/>
                          <a:pt x="18876" y="83741"/>
                        </a:cubicBezTo>
                        <a:cubicBezTo>
                          <a:pt x="18876" y="83741"/>
                          <a:pt x="18876" y="82877"/>
                          <a:pt x="18876" y="82877"/>
                        </a:cubicBezTo>
                        <a:cubicBezTo>
                          <a:pt x="18876" y="82877"/>
                          <a:pt x="18202" y="82014"/>
                          <a:pt x="18202" y="82014"/>
                        </a:cubicBezTo>
                        <a:cubicBezTo>
                          <a:pt x="17528" y="80719"/>
                          <a:pt x="17528" y="80719"/>
                          <a:pt x="17528" y="80719"/>
                        </a:cubicBezTo>
                        <a:cubicBezTo>
                          <a:pt x="16853" y="81151"/>
                          <a:pt x="16853" y="81151"/>
                          <a:pt x="16853" y="81151"/>
                        </a:cubicBezTo>
                        <a:cubicBezTo>
                          <a:pt x="16853" y="81151"/>
                          <a:pt x="16179" y="81582"/>
                          <a:pt x="15505" y="81151"/>
                        </a:cubicBezTo>
                        <a:cubicBezTo>
                          <a:pt x="15505" y="81151"/>
                          <a:pt x="12808" y="81151"/>
                          <a:pt x="12808" y="81151"/>
                        </a:cubicBezTo>
                        <a:cubicBezTo>
                          <a:pt x="11460" y="81582"/>
                          <a:pt x="11460" y="81582"/>
                          <a:pt x="11460" y="81582"/>
                        </a:cubicBezTo>
                        <a:cubicBezTo>
                          <a:pt x="9438" y="81151"/>
                          <a:pt x="9438" y="81151"/>
                          <a:pt x="9438" y="81151"/>
                        </a:cubicBezTo>
                        <a:cubicBezTo>
                          <a:pt x="9438" y="81151"/>
                          <a:pt x="8764" y="81582"/>
                          <a:pt x="8089" y="81582"/>
                        </a:cubicBezTo>
                        <a:cubicBezTo>
                          <a:pt x="8089" y="81582"/>
                          <a:pt x="7415" y="81582"/>
                          <a:pt x="7415" y="81151"/>
                        </a:cubicBezTo>
                        <a:cubicBezTo>
                          <a:pt x="7415" y="81151"/>
                          <a:pt x="9438" y="79856"/>
                          <a:pt x="9438" y="79856"/>
                        </a:cubicBezTo>
                        <a:cubicBezTo>
                          <a:pt x="9438" y="79856"/>
                          <a:pt x="9438" y="79856"/>
                          <a:pt x="9438" y="79424"/>
                        </a:cubicBezTo>
                        <a:cubicBezTo>
                          <a:pt x="9438" y="78992"/>
                          <a:pt x="9438" y="78129"/>
                          <a:pt x="9438" y="78129"/>
                        </a:cubicBezTo>
                        <a:cubicBezTo>
                          <a:pt x="9438" y="77697"/>
                          <a:pt x="8764" y="76402"/>
                          <a:pt x="8764" y="76402"/>
                        </a:cubicBezTo>
                        <a:cubicBezTo>
                          <a:pt x="8764" y="76402"/>
                          <a:pt x="8089" y="75971"/>
                          <a:pt x="8764" y="75539"/>
                        </a:cubicBezTo>
                        <a:cubicBezTo>
                          <a:pt x="8764" y="75107"/>
                          <a:pt x="9438" y="75107"/>
                          <a:pt x="9438" y="75107"/>
                        </a:cubicBezTo>
                        <a:cubicBezTo>
                          <a:pt x="8089" y="74676"/>
                          <a:pt x="8089" y="74676"/>
                          <a:pt x="8089" y="74676"/>
                        </a:cubicBezTo>
                        <a:cubicBezTo>
                          <a:pt x="8089" y="74676"/>
                          <a:pt x="8089" y="74676"/>
                          <a:pt x="7415" y="74676"/>
                        </a:cubicBezTo>
                        <a:cubicBezTo>
                          <a:pt x="6741" y="75107"/>
                          <a:pt x="6067" y="75107"/>
                          <a:pt x="6067" y="75107"/>
                        </a:cubicBezTo>
                        <a:cubicBezTo>
                          <a:pt x="5393" y="74244"/>
                          <a:pt x="5393" y="74244"/>
                          <a:pt x="5393" y="74244"/>
                        </a:cubicBezTo>
                        <a:cubicBezTo>
                          <a:pt x="5393" y="74244"/>
                          <a:pt x="4719" y="74676"/>
                          <a:pt x="4719" y="74244"/>
                        </a:cubicBezTo>
                        <a:cubicBezTo>
                          <a:pt x="4044" y="74244"/>
                          <a:pt x="2696" y="73812"/>
                          <a:pt x="2696" y="73812"/>
                        </a:cubicBezTo>
                        <a:cubicBezTo>
                          <a:pt x="2696" y="73812"/>
                          <a:pt x="2696" y="72949"/>
                          <a:pt x="2696" y="72949"/>
                        </a:cubicBezTo>
                        <a:cubicBezTo>
                          <a:pt x="3370" y="72517"/>
                          <a:pt x="3370" y="72517"/>
                          <a:pt x="3370" y="72086"/>
                        </a:cubicBezTo>
                        <a:cubicBezTo>
                          <a:pt x="3370" y="71654"/>
                          <a:pt x="3370" y="71223"/>
                          <a:pt x="4044" y="70791"/>
                        </a:cubicBezTo>
                        <a:cubicBezTo>
                          <a:pt x="4044" y="70359"/>
                          <a:pt x="4719" y="69928"/>
                          <a:pt x="5393" y="69928"/>
                        </a:cubicBezTo>
                        <a:cubicBezTo>
                          <a:pt x="6067" y="69496"/>
                          <a:pt x="6067" y="69496"/>
                          <a:pt x="6067" y="69496"/>
                        </a:cubicBezTo>
                        <a:cubicBezTo>
                          <a:pt x="7415" y="67769"/>
                          <a:pt x="7415" y="67769"/>
                          <a:pt x="7415" y="67769"/>
                        </a:cubicBezTo>
                        <a:cubicBezTo>
                          <a:pt x="7415" y="67769"/>
                          <a:pt x="7415" y="66906"/>
                          <a:pt x="7415" y="66906"/>
                        </a:cubicBezTo>
                        <a:cubicBezTo>
                          <a:pt x="7415" y="66906"/>
                          <a:pt x="8089" y="66043"/>
                          <a:pt x="8089" y="65611"/>
                        </a:cubicBezTo>
                        <a:cubicBezTo>
                          <a:pt x="8089" y="65611"/>
                          <a:pt x="8764" y="64748"/>
                          <a:pt x="8764" y="64748"/>
                        </a:cubicBezTo>
                        <a:cubicBezTo>
                          <a:pt x="8764" y="64748"/>
                          <a:pt x="9438" y="64316"/>
                          <a:pt x="9438" y="63884"/>
                        </a:cubicBezTo>
                        <a:cubicBezTo>
                          <a:pt x="10112" y="63884"/>
                          <a:pt x="11460" y="63021"/>
                          <a:pt x="11460" y="63021"/>
                        </a:cubicBezTo>
                        <a:cubicBezTo>
                          <a:pt x="11460" y="63021"/>
                          <a:pt x="12134" y="61726"/>
                          <a:pt x="12134" y="61726"/>
                        </a:cubicBezTo>
                        <a:cubicBezTo>
                          <a:pt x="12134" y="61726"/>
                          <a:pt x="12808" y="60431"/>
                          <a:pt x="12808" y="60431"/>
                        </a:cubicBezTo>
                        <a:cubicBezTo>
                          <a:pt x="12134" y="59568"/>
                          <a:pt x="12134" y="59568"/>
                          <a:pt x="12134" y="59568"/>
                        </a:cubicBezTo>
                        <a:cubicBezTo>
                          <a:pt x="11460" y="59136"/>
                          <a:pt x="11460" y="59136"/>
                          <a:pt x="11460" y="59136"/>
                        </a:cubicBezTo>
                        <a:cubicBezTo>
                          <a:pt x="12808" y="58705"/>
                          <a:pt x="12808" y="58705"/>
                          <a:pt x="12808" y="58705"/>
                        </a:cubicBezTo>
                        <a:cubicBezTo>
                          <a:pt x="12808" y="58705"/>
                          <a:pt x="12808" y="58705"/>
                          <a:pt x="13483" y="58705"/>
                        </a:cubicBezTo>
                        <a:cubicBezTo>
                          <a:pt x="14157" y="58705"/>
                          <a:pt x="14831" y="58273"/>
                          <a:pt x="14831" y="58273"/>
                        </a:cubicBezTo>
                        <a:cubicBezTo>
                          <a:pt x="15505" y="58273"/>
                          <a:pt x="16853" y="57841"/>
                          <a:pt x="16853" y="57841"/>
                        </a:cubicBezTo>
                        <a:cubicBezTo>
                          <a:pt x="16853" y="57410"/>
                          <a:pt x="17528" y="57410"/>
                          <a:pt x="17528" y="57410"/>
                        </a:cubicBezTo>
                        <a:cubicBezTo>
                          <a:pt x="18202" y="57410"/>
                          <a:pt x="19550" y="56978"/>
                          <a:pt x="19550" y="56978"/>
                        </a:cubicBezTo>
                        <a:cubicBezTo>
                          <a:pt x="19550" y="56978"/>
                          <a:pt x="20224" y="56546"/>
                          <a:pt x="20224" y="56546"/>
                        </a:cubicBezTo>
                        <a:cubicBezTo>
                          <a:pt x="20224" y="56115"/>
                          <a:pt x="20224" y="56115"/>
                          <a:pt x="20224" y="56115"/>
                        </a:cubicBezTo>
                        <a:cubicBezTo>
                          <a:pt x="21573" y="55683"/>
                          <a:pt x="21573" y="55683"/>
                          <a:pt x="21573" y="55683"/>
                        </a:cubicBezTo>
                        <a:cubicBezTo>
                          <a:pt x="21573" y="55683"/>
                          <a:pt x="22247" y="55251"/>
                          <a:pt x="22247" y="54820"/>
                        </a:cubicBezTo>
                        <a:cubicBezTo>
                          <a:pt x="22247" y="54820"/>
                          <a:pt x="22921" y="53956"/>
                          <a:pt x="22921" y="53956"/>
                        </a:cubicBezTo>
                        <a:cubicBezTo>
                          <a:pt x="22921" y="53525"/>
                          <a:pt x="24943" y="52230"/>
                          <a:pt x="24943" y="52230"/>
                        </a:cubicBezTo>
                        <a:cubicBezTo>
                          <a:pt x="27640" y="49208"/>
                          <a:pt x="27640" y="49208"/>
                          <a:pt x="27640" y="49208"/>
                        </a:cubicBezTo>
                        <a:cubicBezTo>
                          <a:pt x="33707" y="43165"/>
                          <a:pt x="33707" y="43165"/>
                          <a:pt x="33707" y="43165"/>
                        </a:cubicBezTo>
                        <a:cubicBezTo>
                          <a:pt x="33033" y="42302"/>
                          <a:pt x="33033" y="42302"/>
                          <a:pt x="33033" y="42302"/>
                        </a:cubicBezTo>
                        <a:cubicBezTo>
                          <a:pt x="35056" y="40143"/>
                          <a:pt x="35056" y="40143"/>
                          <a:pt x="35056" y="40143"/>
                        </a:cubicBezTo>
                        <a:cubicBezTo>
                          <a:pt x="38426" y="36690"/>
                          <a:pt x="38426" y="36690"/>
                          <a:pt x="38426" y="36690"/>
                        </a:cubicBezTo>
                        <a:cubicBezTo>
                          <a:pt x="41797" y="31942"/>
                          <a:pt x="41797" y="31942"/>
                          <a:pt x="41797" y="31942"/>
                        </a:cubicBezTo>
                        <a:cubicBezTo>
                          <a:pt x="43820" y="29352"/>
                          <a:pt x="43820" y="29352"/>
                          <a:pt x="43820" y="29352"/>
                        </a:cubicBezTo>
                        <a:cubicBezTo>
                          <a:pt x="46516" y="26330"/>
                          <a:pt x="46516" y="26330"/>
                          <a:pt x="46516" y="26330"/>
                        </a:cubicBezTo>
                        <a:cubicBezTo>
                          <a:pt x="47865" y="23741"/>
                          <a:pt x="47865" y="23741"/>
                          <a:pt x="47865" y="23741"/>
                        </a:cubicBezTo>
                        <a:cubicBezTo>
                          <a:pt x="47865" y="20719"/>
                          <a:pt x="47865" y="20719"/>
                          <a:pt x="47865" y="20719"/>
                        </a:cubicBezTo>
                        <a:cubicBezTo>
                          <a:pt x="47865" y="18561"/>
                          <a:pt x="47865" y="18561"/>
                          <a:pt x="47865" y="18561"/>
                        </a:cubicBezTo>
                        <a:cubicBezTo>
                          <a:pt x="47865" y="16834"/>
                          <a:pt x="47865" y="16834"/>
                          <a:pt x="47865" y="16834"/>
                        </a:cubicBezTo>
                        <a:cubicBezTo>
                          <a:pt x="47865" y="15971"/>
                          <a:pt x="47865" y="15971"/>
                          <a:pt x="47865" y="15971"/>
                        </a:cubicBezTo>
                        <a:cubicBezTo>
                          <a:pt x="47865" y="15107"/>
                          <a:pt x="47865" y="15107"/>
                          <a:pt x="47865" y="15107"/>
                        </a:cubicBezTo>
                        <a:cubicBezTo>
                          <a:pt x="47191" y="13812"/>
                          <a:pt x="47191" y="13812"/>
                          <a:pt x="47191" y="13812"/>
                        </a:cubicBezTo>
                        <a:cubicBezTo>
                          <a:pt x="48539" y="12949"/>
                          <a:pt x="48539" y="12949"/>
                          <a:pt x="48539" y="12949"/>
                        </a:cubicBezTo>
                        <a:cubicBezTo>
                          <a:pt x="48539" y="12086"/>
                          <a:pt x="48539" y="12086"/>
                          <a:pt x="48539" y="12086"/>
                        </a:cubicBezTo>
                        <a:cubicBezTo>
                          <a:pt x="48539" y="11223"/>
                          <a:pt x="48539" y="11223"/>
                          <a:pt x="48539" y="11223"/>
                        </a:cubicBezTo>
                        <a:cubicBezTo>
                          <a:pt x="48539" y="10359"/>
                          <a:pt x="48539" y="10359"/>
                          <a:pt x="48539" y="10359"/>
                        </a:cubicBezTo>
                        <a:cubicBezTo>
                          <a:pt x="49213" y="9496"/>
                          <a:pt x="49213" y="9496"/>
                          <a:pt x="49213" y="9496"/>
                        </a:cubicBezTo>
                        <a:cubicBezTo>
                          <a:pt x="48539" y="8201"/>
                          <a:pt x="48539" y="8201"/>
                          <a:pt x="48539" y="8201"/>
                        </a:cubicBezTo>
                        <a:cubicBezTo>
                          <a:pt x="49213" y="7338"/>
                          <a:pt x="49213" y="7338"/>
                          <a:pt x="49213" y="7338"/>
                        </a:cubicBezTo>
                        <a:cubicBezTo>
                          <a:pt x="48539" y="6906"/>
                          <a:pt x="48539" y="6906"/>
                          <a:pt x="48539" y="6906"/>
                        </a:cubicBezTo>
                        <a:cubicBezTo>
                          <a:pt x="49213" y="5611"/>
                          <a:pt x="49213" y="5611"/>
                          <a:pt x="49213" y="5611"/>
                        </a:cubicBezTo>
                        <a:cubicBezTo>
                          <a:pt x="49213" y="4748"/>
                          <a:pt x="49213" y="4748"/>
                          <a:pt x="49213" y="4748"/>
                        </a:cubicBezTo>
                        <a:lnTo>
                          <a:pt x="49887" y="388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0" name="Shape 2046"/>
                  <p:cNvSpPr/>
                  <p:nvPr/>
                </p:nvSpPr>
                <p:spPr>
                  <a:xfrm>
                    <a:off x="4704932" y="2283682"/>
                    <a:ext cx="711330" cy="913063"/>
                  </a:xfrm>
                  <a:custGeom>
                    <a:avLst/>
                    <a:gdLst/>
                    <a:ahLst/>
                    <a:cxnLst/>
                    <a:rect l="0" t="0" r="0" b="0"/>
                    <a:pathLst>
                      <a:path w="120000" h="120000" extrusionOk="0">
                        <a:moveTo>
                          <a:pt x="105769" y="94430"/>
                        </a:moveTo>
                        <a:cubicBezTo>
                          <a:pt x="105769" y="94430"/>
                          <a:pt x="105769" y="94430"/>
                          <a:pt x="105769" y="94430"/>
                        </a:cubicBezTo>
                        <a:cubicBezTo>
                          <a:pt x="105769" y="95302"/>
                          <a:pt x="105769" y="95302"/>
                          <a:pt x="105769" y="95302"/>
                        </a:cubicBezTo>
                        <a:cubicBezTo>
                          <a:pt x="106153" y="96755"/>
                          <a:pt x="106153" y="96755"/>
                          <a:pt x="106153" y="96755"/>
                        </a:cubicBezTo>
                        <a:cubicBezTo>
                          <a:pt x="106153" y="97627"/>
                          <a:pt x="106153" y="97627"/>
                          <a:pt x="106153" y="97627"/>
                        </a:cubicBezTo>
                        <a:cubicBezTo>
                          <a:pt x="106153" y="97627"/>
                          <a:pt x="105769" y="98208"/>
                          <a:pt x="105384" y="98208"/>
                        </a:cubicBezTo>
                        <a:cubicBezTo>
                          <a:pt x="105384" y="98208"/>
                          <a:pt x="105000" y="98498"/>
                          <a:pt x="104615" y="98498"/>
                        </a:cubicBezTo>
                        <a:cubicBezTo>
                          <a:pt x="104230" y="98208"/>
                          <a:pt x="103846" y="97917"/>
                          <a:pt x="103846" y="97917"/>
                        </a:cubicBezTo>
                        <a:cubicBezTo>
                          <a:pt x="101538" y="97917"/>
                          <a:pt x="101538" y="97917"/>
                          <a:pt x="101538" y="97917"/>
                        </a:cubicBezTo>
                        <a:cubicBezTo>
                          <a:pt x="101538" y="97917"/>
                          <a:pt x="101538" y="98498"/>
                          <a:pt x="101538" y="98789"/>
                        </a:cubicBezTo>
                        <a:cubicBezTo>
                          <a:pt x="101153" y="99370"/>
                          <a:pt x="101153" y="99370"/>
                          <a:pt x="101153" y="99370"/>
                        </a:cubicBezTo>
                        <a:cubicBezTo>
                          <a:pt x="101153" y="100823"/>
                          <a:pt x="101153" y="100823"/>
                          <a:pt x="101153" y="100823"/>
                        </a:cubicBezTo>
                        <a:cubicBezTo>
                          <a:pt x="99230" y="102276"/>
                          <a:pt x="99230" y="102276"/>
                          <a:pt x="99230" y="102276"/>
                        </a:cubicBezTo>
                        <a:cubicBezTo>
                          <a:pt x="98846" y="102276"/>
                          <a:pt x="98846" y="102276"/>
                          <a:pt x="98846" y="102276"/>
                        </a:cubicBezTo>
                        <a:cubicBezTo>
                          <a:pt x="98846" y="102276"/>
                          <a:pt x="98461" y="102566"/>
                          <a:pt x="98461" y="102566"/>
                        </a:cubicBezTo>
                        <a:cubicBezTo>
                          <a:pt x="98461" y="102566"/>
                          <a:pt x="96538" y="103147"/>
                          <a:pt x="96538" y="103147"/>
                        </a:cubicBezTo>
                        <a:cubicBezTo>
                          <a:pt x="95769" y="103728"/>
                          <a:pt x="95769" y="103728"/>
                          <a:pt x="95769" y="103728"/>
                        </a:cubicBezTo>
                        <a:cubicBezTo>
                          <a:pt x="95384" y="103728"/>
                          <a:pt x="95384" y="103728"/>
                          <a:pt x="95384" y="103728"/>
                        </a:cubicBezTo>
                        <a:cubicBezTo>
                          <a:pt x="95384" y="103728"/>
                          <a:pt x="94230" y="104309"/>
                          <a:pt x="93461" y="104891"/>
                        </a:cubicBezTo>
                        <a:cubicBezTo>
                          <a:pt x="92307" y="105472"/>
                          <a:pt x="92307" y="105472"/>
                          <a:pt x="92307" y="105472"/>
                        </a:cubicBezTo>
                        <a:cubicBezTo>
                          <a:pt x="92307" y="105472"/>
                          <a:pt x="92307" y="105472"/>
                          <a:pt x="92307" y="105472"/>
                        </a:cubicBezTo>
                        <a:cubicBezTo>
                          <a:pt x="92307" y="105472"/>
                          <a:pt x="92307" y="105472"/>
                          <a:pt x="92307" y="105472"/>
                        </a:cubicBezTo>
                        <a:cubicBezTo>
                          <a:pt x="93076" y="106924"/>
                          <a:pt x="93076" y="106924"/>
                          <a:pt x="93076" y="106924"/>
                        </a:cubicBezTo>
                        <a:cubicBezTo>
                          <a:pt x="94230" y="107796"/>
                          <a:pt x="94230" y="107796"/>
                          <a:pt x="94230" y="107796"/>
                        </a:cubicBezTo>
                        <a:cubicBezTo>
                          <a:pt x="95384" y="109249"/>
                          <a:pt x="95384" y="109249"/>
                          <a:pt x="95384" y="109249"/>
                        </a:cubicBezTo>
                        <a:cubicBezTo>
                          <a:pt x="95384" y="110121"/>
                          <a:pt x="95384" y="110121"/>
                          <a:pt x="95384" y="110121"/>
                        </a:cubicBezTo>
                        <a:cubicBezTo>
                          <a:pt x="95384" y="110121"/>
                          <a:pt x="94615" y="110702"/>
                          <a:pt x="94615" y="110702"/>
                        </a:cubicBezTo>
                        <a:cubicBezTo>
                          <a:pt x="94615" y="110992"/>
                          <a:pt x="94230" y="111573"/>
                          <a:pt x="94615" y="111573"/>
                        </a:cubicBezTo>
                        <a:cubicBezTo>
                          <a:pt x="95000" y="111573"/>
                          <a:pt x="96538" y="111864"/>
                          <a:pt x="96538" y="111864"/>
                        </a:cubicBezTo>
                        <a:cubicBezTo>
                          <a:pt x="96538" y="111864"/>
                          <a:pt x="96923" y="111864"/>
                          <a:pt x="96923" y="111864"/>
                        </a:cubicBezTo>
                        <a:cubicBezTo>
                          <a:pt x="97307" y="111864"/>
                          <a:pt x="97307" y="112154"/>
                          <a:pt x="97307" y="112154"/>
                        </a:cubicBezTo>
                        <a:cubicBezTo>
                          <a:pt x="97307" y="113317"/>
                          <a:pt x="97307" y="113317"/>
                          <a:pt x="97307" y="113317"/>
                        </a:cubicBezTo>
                        <a:cubicBezTo>
                          <a:pt x="97307" y="113317"/>
                          <a:pt x="97307" y="113607"/>
                          <a:pt x="97307" y="114769"/>
                        </a:cubicBezTo>
                        <a:cubicBezTo>
                          <a:pt x="97307" y="115932"/>
                          <a:pt x="96923" y="115641"/>
                          <a:pt x="96923" y="115641"/>
                        </a:cubicBezTo>
                        <a:cubicBezTo>
                          <a:pt x="96923" y="115641"/>
                          <a:pt x="95000" y="115060"/>
                          <a:pt x="95000" y="115060"/>
                        </a:cubicBezTo>
                        <a:cubicBezTo>
                          <a:pt x="95000" y="115060"/>
                          <a:pt x="94230" y="114479"/>
                          <a:pt x="94230" y="114479"/>
                        </a:cubicBezTo>
                        <a:cubicBezTo>
                          <a:pt x="93846" y="114188"/>
                          <a:pt x="93846" y="113898"/>
                          <a:pt x="93846" y="113607"/>
                        </a:cubicBezTo>
                        <a:cubicBezTo>
                          <a:pt x="93846" y="113317"/>
                          <a:pt x="94230" y="112736"/>
                          <a:pt x="94230" y="112736"/>
                        </a:cubicBezTo>
                        <a:cubicBezTo>
                          <a:pt x="94230" y="112736"/>
                          <a:pt x="92692" y="112445"/>
                          <a:pt x="92692" y="112445"/>
                        </a:cubicBezTo>
                        <a:cubicBezTo>
                          <a:pt x="92692" y="112445"/>
                          <a:pt x="91538" y="112445"/>
                          <a:pt x="91153" y="112445"/>
                        </a:cubicBezTo>
                        <a:cubicBezTo>
                          <a:pt x="90769" y="112445"/>
                          <a:pt x="90384" y="113026"/>
                          <a:pt x="90384" y="113026"/>
                        </a:cubicBezTo>
                        <a:cubicBezTo>
                          <a:pt x="90000" y="113317"/>
                          <a:pt x="89615" y="113026"/>
                          <a:pt x="89230" y="113026"/>
                        </a:cubicBezTo>
                        <a:cubicBezTo>
                          <a:pt x="89230" y="113026"/>
                          <a:pt x="88846" y="112445"/>
                          <a:pt x="88846" y="112445"/>
                        </a:cubicBezTo>
                        <a:cubicBezTo>
                          <a:pt x="88461" y="112445"/>
                          <a:pt x="86923" y="112154"/>
                          <a:pt x="86538" y="112154"/>
                        </a:cubicBezTo>
                        <a:cubicBezTo>
                          <a:pt x="86538" y="112154"/>
                          <a:pt x="85769" y="112154"/>
                          <a:pt x="85000" y="112154"/>
                        </a:cubicBezTo>
                        <a:cubicBezTo>
                          <a:pt x="84615" y="112445"/>
                          <a:pt x="85000" y="112445"/>
                          <a:pt x="85384" y="113317"/>
                        </a:cubicBezTo>
                        <a:cubicBezTo>
                          <a:pt x="85384" y="114188"/>
                          <a:pt x="85000" y="113607"/>
                          <a:pt x="84615" y="113607"/>
                        </a:cubicBezTo>
                        <a:cubicBezTo>
                          <a:pt x="84230" y="113607"/>
                          <a:pt x="84230" y="113607"/>
                          <a:pt x="83461" y="113607"/>
                        </a:cubicBezTo>
                        <a:cubicBezTo>
                          <a:pt x="82692" y="113607"/>
                          <a:pt x="82307" y="113607"/>
                          <a:pt x="81538" y="113607"/>
                        </a:cubicBezTo>
                        <a:cubicBezTo>
                          <a:pt x="81153" y="113898"/>
                          <a:pt x="81153" y="113898"/>
                          <a:pt x="81153" y="114188"/>
                        </a:cubicBezTo>
                        <a:cubicBezTo>
                          <a:pt x="80769" y="114479"/>
                          <a:pt x="80000" y="114479"/>
                          <a:pt x="79615" y="114479"/>
                        </a:cubicBezTo>
                        <a:cubicBezTo>
                          <a:pt x="79230" y="114479"/>
                          <a:pt x="77692" y="114479"/>
                          <a:pt x="77692" y="114479"/>
                        </a:cubicBezTo>
                        <a:cubicBezTo>
                          <a:pt x="77307" y="114479"/>
                          <a:pt x="76923" y="115060"/>
                          <a:pt x="76538" y="115351"/>
                        </a:cubicBezTo>
                        <a:cubicBezTo>
                          <a:pt x="76538" y="115351"/>
                          <a:pt x="75000" y="115351"/>
                          <a:pt x="75000" y="115351"/>
                        </a:cubicBezTo>
                        <a:cubicBezTo>
                          <a:pt x="74615" y="115641"/>
                          <a:pt x="74615" y="115641"/>
                          <a:pt x="74230" y="115932"/>
                        </a:cubicBezTo>
                        <a:cubicBezTo>
                          <a:pt x="73461" y="116222"/>
                          <a:pt x="73461" y="116222"/>
                          <a:pt x="73076" y="116803"/>
                        </a:cubicBezTo>
                        <a:cubicBezTo>
                          <a:pt x="72307" y="117384"/>
                          <a:pt x="72692" y="117094"/>
                          <a:pt x="71153" y="116803"/>
                        </a:cubicBezTo>
                        <a:cubicBezTo>
                          <a:pt x="70000" y="116803"/>
                          <a:pt x="70769" y="117094"/>
                          <a:pt x="70384" y="117094"/>
                        </a:cubicBezTo>
                        <a:cubicBezTo>
                          <a:pt x="70000" y="117094"/>
                          <a:pt x="69615" y="117384"/>
                          <a:pt x="69230" y="117675"/>
                        </a:cubicBezTo>
                        <a:cubicBezTo>
                          <a:pt x="69230" y="117966"/>
                          <a:pt x="68461" y="117384"/>
                          <a:pt x="68076" y="117384"/>
                        </a:cubicBezTo>
                        <a:cubicBezTo>
                          <a:pt x="67692" y="117675"/>
                          <a:pt x="67692" y="117094"/>
                          <a:pt x="67692" y="116222"/>
                        </a:cubicBezTo>
                        <a:cubicBezTo>
                          <a:pt x="67307" y="115641"/>
                          <a:pt x="66538" y="115641"/>
                          <a:pt x="66538" y="115641"/>
                        </a:cubicBezTo>
                        <a:cubicBezTo>
                          <a:pt x="66538" y="115641"/>
                          <a:pt x="65769" y="115641"/>
                          <a:pt x="65769" y="115351"/>
                        </a:cubicBezTo>
                        <a:cubicBezTo>
                          <a:pt x="65769" y="115060"/>
                          <a:pt x="64230" y="115060"/>
                          <a:pt x="63846" y="115060"/>
                        </a:cubicBezTo>
                        <a:cubicBezTo>
                          <a:pt x="63846" y="115060"/>
                          <a:pt x="62692" y="115060"/>
                          <a:pt x="62692" y="115060"/>
                        </a:cubicBezTo>
                        <a:cubicBezTo>
                          <a:pt x="62692" y="115060"/>
                          <a:pt x="61538" y="115060"/>
                          <a:pt x="61538" y="115351"/>
                        </a:cubicBezTo>
                        <a:cubicBezTo>
                          <a:pt x="61538" y="115351"/>
                          <a:pt x="61153" y="115351"/>
                          <a:pt x="60384" y="115641"/>
                        </a:cubicBezTo>
                        <a:cubicBezTo>
                          <a:pt x="59230" y="115932"/>
                          <a:pt x="60000" y="115641"/>
                          <a:pt x="60000" y="116222"/>
                        </a:cubicBezTo>
                        <a:cubicBezTo>
                          <a:pt x="60384" y="116513"/>
                          <a:pt x="60384" y="116803"/>
                          <a:pt x="60384" y="116803"/>
                        </a:cubicBezTo>
                        <a:cubicBezTo>
                          <a:pt x="60769" y="117094"/>
                          <a:pt x="60384" y="116803"/>
                          <a:pt x="60384" y="117384"/>
                        </a:cubicBezTo>
                        <a:cubicBezTo>
                          <a:pt x="60000" y="117966"/>
                          <a:pt x="60000" y="117675"/>
                          <a:pt x="60000" y="118256"/>
                        </a:cubicBezTo>
                        <a:cubicBezTo>
                          <a:pt x="59615" y="118547"/>
                          <a:pt x="59615" y="118256"/>
                          <a:pt x="59230" y="119128"/>
                        </a:cubicBezTo>
                        <a:cubicBezTo>
                          <a:pt x="58846" y="119709"/>
                          <a:pt x="59230" y="119128"/>
                          <a:pt x="58846" y="119709"/>
                        </a:cubicBezTo>
                        <a:cubicBezTo>
                          <a:pt x="58461" y="120000"/>
                          <a:pt x="57692" y="119709"/>
                          <a:pt x="56923" y="119418"/>
                        </a:cubicBezTo>
                        <a:cubicBezTo>
                          <a:pt x="56538" y="119418"/>
                          <a:pt x="56923" y="119128"/>
                          <a:pt x="56923" y="118547"/>
                        </a:cubicBezTo>
                        <a:cubicBezTo>
                          <a:pt x="57307" y="117966"/>
                          <a:pt x="56923" y="118256"/>
                          <a:pt x="56923" y="117966"/>
                        </a:cubicBezTo>
                        <a:cubicBezTo>
                          <a:pt x="56923" y="117675"/>
                          <a:pt x="56538" y="117966"/>
                          <a:pt x="55769" y="118256"/>
                        </a:cubicBezTo>
                        <a:cubicBezTo>
                          <a:pt x="55384" y="118256"/>
                          <a:pt x="55384" y="117675"/>
                          <a:pt x="55769" y="117094"/>
                        </a:cubicBezTo>
                        <a:cubicBezTo>
                          <a:pt x="55769" y="116513"/>
                          <a:pt x="55384" y="116803"/>
                          <a:pt x="55384" y="116513"/>
                        </a:cubicBezTo>
                        <a:cubicBezTo>
                          <a:pt x="55384" y="116513"/>
                          <a:pt x="55000" y="116222"/>
                          <a:pt x="54615" y="116222"/>
                        </a:cubicBezTo>
                        <a:cubicBezTo>
                          <a:pt x="54230" y="116222"/>
                          <a:pt x="53846" y="115932"/>
                          <a:pt x="53846" y="115932"/>
                        </a:cubicBezTo>
                        <a:cubicBezTo>
                          <a:pt x="53461" y="115641"/>
                          <a:pt x="52692" y="115060"/>
                          <a:pt x="52307" y="114769"/>
                        </a:cubicBezTo>
                        <a:cubicBezTo>
                          <a:pt x="51538" y="114479"/>
                          <a:pt x="50769" y="114769"/>
                          <a:pt x="50769" y="114769"/>
                        </a:cubicBezTo>
                        <a:cubicBezTo>
                          <a:pt x="50769" y="114769"/>
                          <a:pt x="50000" y="115351"/>
                          <a:pt x="49230" y="115932"/>
                        </a:cubicBezTo>
                        <a:cubicBezTo>
                          <a:pt x="49230" y="115932"/>
                          <a:pt x="49230" y="116222"/>
                          <a:pt x="49230" y="116222"/>
                        </a:cubicBezTo>
                        <a:cubicBezTo>
                          <a:pt x="48846" y="116222"/>
                          <a:pt x="48846" y="116222"/>
                          <a:pt x="48846" y="115932"/>
                        </a:cubicBezTo>
                        <a:cubicBezTo>
                          <a:pt x="48846" y="115932"/>
                          <a:pt x="48461" y="115641"/>
                          <a:pt x="48461" y="115641"/>
                        </a:cubicBezTo>
                        <a:cubicBezTo>
                          <a:pt x="48461" y="115641"/>
                          <a:pt x="48461" y="115060"/>
                          <a:pt x="48076" y="115060"/>
                        </a:cubicBezTo>
                        <a:cubicBezTo>
                          <a:pt x="48076" y="115060"/>
                          <a:pt x="47692" y="115060"/>
                          <a:pt x="47307" y="114769"/>
                        </a:cubicBezTo>
                        <a:cubicBezTo>
                          <a:pt x="46923" y="114769"/>
                          <a:pt x="46538" y="114479"/>
                          <a:pt x="46538" y="114479"/>
                        </a:cubicBezTo>
                        <a:cubicBezTo>
                          <a:pt x="46153" y="114479"/>
                          <a:pt x="45384" y="113898"/>
                          <a:pt x="45384" y="113898"/>
                        </a:cubicBezTo>
                        <a:cubicBezTo>
                          <a:pt x="45384" y="113898"/>
                          <a:pt x="45384" y="113898"/>
                          <a:pt x="45000" y="113898"/>
                        </a:cubicBezTo>
                        <a:cubicBezTo>
                          <a:pt x="45000" y="113898"/>
                          <a:pt x="44615" y="113607"/>
                          <a:pt x="44615" y="113607"/>
                        </a:cubicBezTo>
                        <a:cubicBezTo>
                          <a:pt x="44230" y="113607"/>
                          <a:pt x="44230" y="113607"/>
                          <a:pt x="44230" y="113607"/>
                        </a:cubicBezTo>
                        <a:cubicBezTo>
                          <a:pt x="44230" y="113607"/>
                          <a:pt x="44230" y="113607"/>
                          <a:pt x="44230" y="113607"/>
                        </a:cubicBezTo>
                        <a:cubicBezTo>
                          <a:pt x="43846" y="113607"/>
                          <a:pt x="43846" y="113607"/>
                          <a:pt x="43461" y="113317"/>
                        </a:cubicBezTo>
                        <a:cubicBezTo>
                          <a:pt x="42692" y="113317"/>
                          <a:pt x="43076" y="113317"/>
                          <a:pt x="42307" y="113317"/>
                        </a:cubicBezTo>
                        <a:cubicBezTo>
                          <a:pt x="41923" y="113317"/>
                          <a:pt x="41538" y="113317"/>
                          <a:pt x="41538" y="113317"/>
                        </a:cubicBezTo>
                        <a:cubicBezTo>
                          <a:pt x="41538" y="113317"/>
                          <a:pt x="41153" y="113026"/>
                          <a:pt x="40384" y="113026"/>
                        </a:cubicBezTo>
                        <a:cubicBezTo>
                          <a:pt x="40000" y="113317"/>
                          <a:pt x="39230" y="113607"/>
                          <a:pt x="38846" y="113607"/>
                        </a:cubicBezTo>
                        <a:cubicBezTo>
                          <a:pt x="38846" y="113607"/>
                          <a:pt x="38461" y="113317"/>
                          <a:pt x="38461" y="113317"/>
                        </a:cubicBezTo>
                        <a:cubicBezTo>
                          <a:pt x="38461" y="113317"/>
                          <a:pt x="38461" y="113026"/>
                          <a:pt x="38461" y="113026"/>
                        </a:cubicBezTo>
                        <a:cubicBezTo>
                          <a:pt x="38461" y="113026"/>
                          <a:pt x="38076" y="112736"/>
                          <a:pt x="37692" y="112445"/>
                        </a:cubicBezTo>
                        <a:cubicBezTo>
                          <a:pt x="37692" y="112445"/>
                          <a:pt x="37307" y="112445"/>
                          <a:pt x="37307" y="112445"/>
                        </a:cubicBezTo>
                        <a:cubicBezTo>
                          <a:pt x="37307" y="112445"/>
                          <a:pt x="37307" y="112445"/>
                          <a:pt x="37307" y="112736"/>
                        </a:cubicBezTo>
                        <a:cubicBezTo>
                          <a:pt x="37307" y="113026"/>
                          <a:pt x="38076" y="113026"/>
                          <a:pt x="37307" y="113026"/>
                        </a:cubicBezTo>
                        <a:cubicBezTo>
                          <a:pt x="36923" y="112736"/>
                          <a:pt x="36538" y="112736"/>
                          <a:pt x="36538" y="112736"/>
                        </a:cubicBezTo>
                        <a:cubicBezTo>
                          <a:pt x="35384" y="113026"/>
                          <a:pt x="35384" y="113026"/>
                          <a:pt x="35384" y="113026"/>
                        </a:cubicBezTo>
                        <a:cubicBezTo>
                          <a:pt x="35769" y="112736"/>
                          <a:pt x="35769" y="112736"/>
                          <a:pt x="35769" y="112736"/>
                        </a:cubicBezTo>
                        <a:cubicBezTo>
                          <a:pt x="35769" y="112736"/>
                          <a:pt x="36153" y="112736"/>
                          <a:pt x="36153" y="112736"/>
                        </a:cubicBezTo>
                        <a:cubicBezTo>
                          <a:pt x="36153" y="112445"/>
                          <a:pt x="36153" y="112445"/>
                          <a:pt x="36153" y="112445"/>
                        </a:cubicBezTo>
                        <a:cubicBezTo>
                          <a:pt x="36153" y="112445"/>
                          <a:pt x="36153" y="112154"/>
                          <a:pt x="36153" y="112154"/>
                        </a:cubicBezTo>
                        <a:cubicBezTo>
                          <a:pt x="36538" y="112154"/>
                          <a:pt x="36923" y="111864"/>
                          <a:pt x="36538" y="111864"/>
                        </a:cubicBezTo>
                        <a:cubicBezTo>
                          <a:pt x="36153" y="111864"/>
                          <a:pt x="35769" y="111864"/>
                          <a:pt x="35769" y="111864"/>
                        </a:cubicBezTo>
                        <a:cubicBezTo>
                          <a:pt x="35769" y="111573"/>
                          <a:pt x="35769" y="111573"/>
                          <a:pt x="35769" y="111573"/>
                        </a:cubicBezTo>
                        <a:cubicBezTo>
                          <a:pt x="35769" y="111573"/>
                          <a:pt x="35384" y="111283"/>
                          <a:pt x="35384" y="111283"/>
                        </a:cubicBezTo>
                        <a:cubicBezTo>
                          <a:pt x="35384" y="111573"/>
                          <a:pt x="35384" y="111864"/>
                          <a:pt x="35384" y="111864"/>
                        </a:cubicBezTo>
                        <a:cubicBezTo>
                          <a:pt x="35000" y="111864"/>
                          <a:pt x="35000" y="111864"/>
                          <a:pt x="35000" y="111573"/>
                        </a:cubicBezTo>
                        <a:cubicBezTo>
                          <a:pt x="35000" y="111283"/>
                          <a:pt x="35000" y="111283"/>
                          <a:pt x="35000" y="111283"/>
                        </a:cubicBezTo>
                        <a:cubicBezTo>
                          <a:pt x="34615" y="111283"/>
                          <a:pt x="34230" y="111283"/>
                          <a:pt x="34230" y="111283"/>
                        </a:cubicBezTo>
                        <a:cubicBezTo>
                          <a:pt x="34230" y="111283"/>
                          <a:pt x="34615" y="111573"/>
                          <a:pt x="33846" y="111573"/>
                        </a:cubicBezTo>
                        <a:cubicBezTo>
                          <a:pt x="33461" y="111573"/>
                          <a:pt x="33076" y="111864"/>
                          <a:pt x="32692" y="111864"/>
                        </a:cubicBezTo>
                        <a:cubicBezTo>
                          <a:pt x="32307" y="112154"/>
                          <a:pt x="32307" y="112445"/>
                          <a:pt x="32307" y="112445"/>
                        </a:cubicBezTo>
                        <a:cubicBezTo>
                          <a:pt x="32307" y="112736"/>
                          <a:pt x="31538" y="112736"/>
                          <a:pt x="31538" y="113026"/>
                        </a:cubicBezTo>
                        <a:cubicBezTo>
                          <a:pt x="31923" y="113026"/>
                          <a:pt x="31538" y="113026"/>
                          <a:pt x="32307" y="113317"/>
                        </a:cubicBezTo>
                        <a:cubicBezTo>
                          <a:pt x="32692" y="113317"/>
                          <a:pt x="32692" y="113317"/>
                          <a:pt x="33076" y="113317"/>
                        </a:cubicBezTo>
                        <a:cubicBezTo>
                          <a:pt x="33461" y="113607"/>
                          <a:pt x="33846" y="113317"/>
                          <a:pt x="33846" y="113317"/>
                        </a:cubicBezTo>
                        <a:cubicBezTo>
                          <a:pt x="33846" y="113317"/>
                          <a:pt x="33846" y="113317"/>
                          <a:pt x="34230" y="113607"/>
                        </a:cubicBezTo>
                        <a:cubicBezTo>
                          <a:pt x="34230" y="113607"/>
                          <a:pt x="34615" y="113317"/>
                          <a:pt x="34615" y="113607"/>
                        </a:cubicBezTo>
                        <a:cubicBezTo>
                          <a:pt x="34615" y="113898"/>
                          <a:pt x="35000" y="114188"/>
                          <a:pt x="34615" y="114188"/>
                        </a:cubicBezTo>
                        <a:cubicBezTo>
                          <a:pt x="34230" y="114188"/>
                          <a:pt x="33846" y="114479"/>
                          <a:pt x="33846" y="114188"/>
                        </a:cubicBezTo>
                        <a:cubicBezTo>
                          <a:pt x="33846" y="114188"/>
                          <a:pt x="33846" y="113898"/>
                          <a:pt x="33461" y="113898"/>
                        </a:cubicBezTo>
                        <a:cubicBezTo>
                          <a:pt x="33461" y="113898"/>
                          <a:pt x="33076" y="113898"/>
                          <a:pt x="33076" y="113898"/>
                        </a:cubicBezTo>
                        <a:cubicBezTo>
                          <a:pt x="32692" y="114479"/>
                          <a:pt x="32692" y="114479"/>
                          <a:pt x="32692" y="114479"/>
                        </a:cubicBezTo>
                        <a:cubicBezTo>
                          <a:pt x="32692" y="114479"/>
                          <a:pt x="32692" y="114769"/>
                          <a:pt x="32307" y="114769"/>
                        </a:cubicBezTo>
                        <a:cubicBezTo>
                          <a:pt x="31923" y="114769"/>
                          <a:pt x="32307" y="114769"/>
                          <a:pt x="31538" y="114769"/>
                        </a:cubicBezTo>
                        <a:cubicBezTo>
                          <a:pt x="30769" y="114769"/>
                          <a:pt x="30769" y="114479"/>
                          <a:pt x="30384" y="114479"/>
                        </a:cubicBezTo>
                        <a:cubicBezTo>
                          <a:pt x="30384" y="114479"/>
                          <a:pt x="30384" y="114479"/>
                          <a:pt x="30000" y="114479"/>
                        </a:cubicBezTo>
                        <a:cubicBezTo>
                          <a:pt x="30000" y="114479"/>
                          <a:pt x="29230" y="113898"/>
                          <a:pt x="28846" y="114479"/>
                        </a:cubicBezTo>
                        <a:cubicBezTo>
                          <a:pt x="28461" y="114769"/>
                          <a:pt x="28076" y="115060"/>
                          <a:pt x="28076" y="115060"/>
                        </a:cubicBezTo>
                        <a:cubicBezTo>
                          <a:pt x="26923" y="115060"/>
                          <a:pt x="26923" y="115060"/>
                          <a:pt x="26923" y="115060"/>
                        </a:cubicBezTo>
                        <a:cubicBezTo>
                          <a:pt x="26923" y="115060"/>
                          <a:pt x="26538" y="115060"/>
                          <a:pt x="26153" y="115060"/>
                        </a:cubicBezTo>
                        <a:cubicBezTo>
                          <a:pt x="25769" y="115060"/>
                          <a:pt x="25384" y="115060"/>
                          <a:pt x="25384" y="115060"/>
                        </a:cubicBezTo>
                        <a:cubicBezTo>
                          <a:pt x="25000" y="115351"/>
                          <a:pt x="24615" y="114479"/>
                          <a:pt x="24615" y="114479"/>
                        </a:cubicBezTo>
                        <a:cubicBezTo>
                          <a:pt x="24615" y="114479"/>
                          <a:pt x="25000" y="113898"/>
                          <a:pt x="23846" y="114479"/>
                        </a:cubicBezTo>
                        <a:cubicBezTo>
                          <a:pt x="22692" y="115060"/>
                          <a:pt x="22307" y="115060"/>
                          <a:pt x="22307" y="115060"/>
                        </a:cubicBezTo>
                        <a:cubicBezTo>
                          <a:pt x="22307" y="115060"/>
                          <a:pt x="21923" y="115060"/>
                          <a:pt x="21923" y="115351"/>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923" y="115060"/>
                          <a:pt x="21923" y="115060"/>
                          <a:pt x="21923" y="115060"/>
                        </a:cubicBezTo>
                        <a:cubicBezTo>
                          <a:pt x="21538" y="115060"/>
                          <a:pt x="21538" y="115060"/>
                          <a:pt x="21538" y="114769"/>
                        </a:cubicBezTo>
                        <a:cubicBezTo>
                          <a:pt x="21538" y="114769"/>
                          <a:pt x="21538" y="114769"/>
                          <a:pt x="21538" y="114769"/>
                        </a:cubicBezTo>
                        <a:cubicBezTo>
                          <a:pt x="21538" y="114769"/>
                          <a:pt x="21153" y="114769"/>
                          <a:pt x="21153" y="114479"/>
                        </a:cubicBezTo>
                        <a:cubicBezTo>
                          <a:pt x="20384" y="113898"/>
                          <a:pt x="19230" y="112736"/>
                          <a:pt x="19230" y="112736"/>
                        </a:cubicBezTo>
                        <a:cubicBezTo>
                          <a:pt x="20000" y="111573"/>
                          <a:pt x="20000" y="111573"/>
                          <a:pt x="20000" y="111573"/>
                        </a:cubicBezTo>
                        <a:cubicBezTo>
                          <a:pt x="20000" y="111573"/>
                          <a:pt x="20384" y="109539"/>
                          <a:pt x="20384" y="108958"/>
                        </a:cubicBezTo>
                        <a:cubicBezTo>
                          <a:pt x="20384" y="108668"/>
                          <a:pt x="20384" y="106924"/>
                          <a:pt x="20384" y="106924"/>
                        </a:cubicBezTo>
                        <a:cubicBezTo>
                          <a:pt x="20384" y="106924"/>
                          <a:pt x="18846" y="106634"/>
                          <a:pt x="20000" y="105762"/>
                        </a:cubicBezTo>
                        <a:cubicBezTo>
                          <a:pt x="21153" y="104600"/>
                          <a:pt x="22307" y="103147"/>
                          <a:pt x="22307" y="103147"/>
                        </a:cubicBezTo>
                        <a:cubicBezTo>
                          <a:pt x="22307" y="100242"/>
                          <a:pt x="22307" y="100242"/>
                          <a:pt x="22307" y="100242"/>
                        </a:cubicBezTo>
                        <a:cubicBezTo>
                          <a:pt x="22307" y="100242"/>
                          <a:pt x="21153" y="99370"/>
                          <a:pt x="22692" y="98789"/>
                        </a:cubicBezTo>
                        <a:cubicBezTo>
                          <a:pt x="24230" y="97917"/>
                          <a:pt x="26923" y="95302"/>
                          <a:pt x="26923" y="95302"/>
                        </a:cubicBezTo>
                        <a:cubicBezTo>
                          <a:pt x="29615" y="92978"/>
                          <a:pt x="29615" y="92978"/>
                          <a:pt x="29615" y="92978"/>
                        </a:cubicBezTo>
                        <a:cubicBezTo>
                          <a:pt x="25000" y="92106"/>
                          <a:pt x="25000" y="92106"/>
                          <a:pt x="25000" y="92106"/>
                        </a:cubicBezTo>
                        <a:cubicBezTo>
                          <a:pt x="22307" y="91815"/>
                          <a:pt x="22307" y="91815"/>
                          <a:pt x="22307" y="91815"/>
                        </a:cubicBezTo>
                        <a:cubicBezTo>
                          <a:pt x="20384" y="90944"/>
                          <a:pt x="20384" y="90944"/>
                          <a:pt x="20384" y="90944"/>
                        </a:cubicBezTo>
                        <a:cubicBezTo>
                          <a:pt x="19230" y="89491"/>
                          <a:pt x="19230" y="89491"/>
                          <a:pt x="19230" y="89491"/>
                        </a:cubicBezTo>
                        <a:cubicBezTo>
                          <a:pt x="18076" y="90072"/>
                          <a:pt x="18076" y="90072"/>
                          <a:pt x="18076" y="90072"/>
                        </a:cubicBezTo>
                        <a:cubicBezTo>
                          <a:pt x="16923" y="90653"/>
                          <a:pt x="16923" y="90653"/>
                          <a:pt x="16923" y="90653"/>
                        </a:cubicBezTo>
                        <a:cubicBezTo>
                          <a:pt x="14230" y="90363"/>
                          <a:pt x="14230" y="90363"/>
                          <a:pt x="14230" y="90363"/>
                        </a:cubicBezTo>
                        <a:cubicBezTo>
                          <a:pt x="12307" y="88910"/>
                          <a:pt x="12307" y="88910"/>
                          <a:pt x="12307" y="88910"/>
                        </a:cubicBezTo>
                        <a:cubicBezTo>
                          <a:pt x="10769" y="89782"/>
                          <a:pt x="10769" y="89782"/>
                          <a:pt x="10769" y="89782"/>
                        </a:cubicBezTo>
                        <a:cubicBezTo>
                          <a:pt x="9230" y="88910"/>
                          <a:pt x="9230" y="88910"/>
                          <a:pt x="9230" y="88910"/>
                        </a:cubicBezTo>
                        <a:cubicBezTo>
                          <a:pt x="8076" y="87457"/>
                          <a:pt x="8076" y="87457"/>
                          <a:pt x="8076" y="87457"/>
                        </a:cubicBezTo>
                        <a:cubicBezTo>
                          <a:pt x="7692" y="86295"/>
                          <a:pt x="7692" y="86295"/>
                          <a:pt x="7692" y="86295"/>
                        </a:cubicBezTo>
                        <a:cubicBezTo>
                          <a:pt x="5769" y="84842"/>
                          <a:pt x="5769" y="84842"/>
                          <a:pt x="5769" y="84842"/>
                        </a:cubicBezTo>
                        <a:cubicBezTo>
                          <a:pt x="5000" y="84842"/>
                          <a:pt x="5000" y="84842"/>
                          <a:pt x="5000" y="84842"/>
                        </a:cubicBezTo>
                        <a:cubicBezTo>
                          <a:pt x="5000" y="84552"/>
                          <a:pt x="5000" y="84552"/>
                          <a:pt x="5000" y="84552"/>
                        </a:cubicBezTo>
                        <a:cubicBezTo>
                          <a:pt x="4615" y="82808"/>
                          <a:pt x="4615" y="82808"/>
                          <a:pt x="4615" y="82808"/>
                        </a:cubicBezTo>
                        <a:cubicBezTo>
                          <a:pt x="5769" y="82227"/>
                          <a:pt x="5769" y="82227"/>
                          <a:pt x="5769" y="82227"/>
                        </a:cubicBezTo>
                        <a:cubicBezTo>
                          <a:pt x="6538" y="81355"/>
                          <a:pt x="6538" y="81355"/>
                          <a:pt x="6538" y="81355"/>
                        </a:cubicBezTo>
                        <a:cubicBezTo>
                          <a:pt x="7307" y="80484"/>
                          <a:pt x="7307" y="80484"/>
                          <a:pt x="7307" y="80484"/>
                        </a:cubicBezTo>
                        <a:cubicBezTo>
                          <a:pt x="6923" y="79322"/>
                          <a:pt x="6923" y="79322"/>
                          <a:pt x="6923" y="79322"/>
                        </a:cubicBezTo>
                        <a:cubicBezTo>
                          <a:pt x="6923" y="79322"/>
                          <a:pt x="5384" y="79322"/>
                          <a:pt x="5000" y="79031"/>
                        </a:cubicBezTo>
                        <a:cubicBezTo>
                          <a:pt x="4615" y="79031"/>
                          <a:pt x="3461" y="78450"/>
                          <a:pt x="3461" y="78450"/>
                        </a:cubicBezTo>
                        <a:cubicBezTo>
                          <a:pt x="3076" y="76997"/>
                          <a:pt x="3076" y="76997"/>
                          <a:pt x="3076" y="76997"/>
                        </a:cubicBezTo>
                        <a:cubicBezTo>
                          <a:pt x="2307" y="76125"/>
                          <a:pt x="2307" y="76125"/>
                          <a:pt x="2307" y="76125"/>
                        </a:cubicBezTo>
                        <a:cubicBezTo>
                          <a:pt x="1923" y="74673"/>
                          <a:pt x="1923" y="74673"/>
                          <a:pt x="1923" y="74673"/>
                        </a:cubicBezTo>
                        <a:cubicBezTo>
                          <a:pt x="2307" y="73220"/>
                          <a:pt x="2307" y="73220"/>
                          <a:pt x="2307" y="73220"/>
                        </a:cubicBezTo>
                        <a:cubicBezTo>
                          <a:pt x="2307" y="73220"/>
                          <a:pt x="2307" y="73220"/>
                          <a:pt x="2307" y="73220"/>
                        </a:cubicBezTo>
                        <a:cubicBezTo>
                          <a:pt x="2307" y="73220"/>
                          <a:pt x="2307" y="73220"/>
                          <a:pt x="2307" y="73220"/>
                        </a:cubicBezTo>
                        <a:cubicBezTo>
                          <a:pt x="2692" y="73220"/>
                          <a:pt x="2692" y="73220"/>
                          <a:pt x="2692" y="73220"/>
                        </a:cubicBezTo>
                        <a:cubicBezTo>
                          <a:pt x="3076" y="72639"/>
                          <a:pt x="3076" y="72639"/>
                          <a:pt x="3076" y="72639"/>
                        </a:cubicBezTo>
                        <a:cubicBezTo>
                          <a:pt x="3076" y="72348"/>
                          <a:pt x="3076" y="72348"/>
                          <a:pt x="3076" y="72348"/>
                        </a:cubicBezTo>
                        <a:cubicBezTo>
                          <a:pt x="3076" y="72348"/>
                          <a:pt x="3461" y="72058"/>
                          <a:pt x="3846" y="72058"/>
                        </a:cubicBezTo>
                        <a:cubicBezTo>
                          <a:pt x="3846" y="72058"/>
                          <a:pt x="4230" y="72058"/>
                          <a:pt x="4230" y="72058"/>
                        </a:cubicBezTo>
                        <a:cubicBezTo>
                          <a:pt x="4615" y="72058"/>
                          <a:pt x="4615" y="71186"/>
                          <a:pt x="4615" y="71186"/>
                        </a:cubicBezTo>
                        <a:cubicBezTo>
                          <a:pt x="5384" y="71186"/>
                          <a:pt x="5384" y="71186"/>
                          <a:pt x="5384" y="71186"/>
                        </a:cubicBezTo>
                        <a:cubicBezTo>
                          <a:pt x="5384" y="71186"/>
                          <a:pt x="5769" y="70895"/>
                          <a:pt x="5769" y="70895"/>
                        </a:cubicBezTo>
                        <a:cubicBezTo>
                          <a:pt x="5769" y="70605"/>
                          <a:pt x="5769" y="70314"/>
                          <a:pt x="5769" y="70314"/>
                        </a:cubicBezTo>
                        <a:cubicBezTo>
                          <a:pt x="5769" y="70314"/>
                          <a:pt x="6153" y="69733"/>
                          <a:pt x="6153" y="69443"/>
                        </a:cubicBezTo>
                        <a:cubicBezTo>
                          <a:pt x="6153" y="69152"/>
                          <a:pt x="5769" y="68861"/>
                          <a:pt x="5769" y="68861"/>
                        </a:cubicBezTo>
                        <a:cubicBezTo>
                          <a:pt x="5769" y="68861"/>
                          <a:pt x="5384" y="68280"/>
                          <a:pt x="5000" y="68280"/>
                        </a:cubicBezTo>
                        <a:cubicBezTo>
                          <a:pt x="5000" y="68280"/>
                          <a:pt x="4230" y="68280"/>
                          <a:pt x="4230" y="68280"/>
                        </a:cubicBezTo>
                        <a:cubicBezTo>
                          <a:pt x="3846" y="68280"/>
                          <a:pt x="3461" y="67699"/>
                          <a:pt x="3461" y="67699"/>
                        </a:cubicBezTo>
                        <a:cubicBezTo>
                          <a:pt x="3461" y="67699"/>
                          <a:pt x="3846" y="67409"/>
                          <a:pt x="3846" y="67118"/>
                        </a:cubicBezTo>
                        <a:cubicBezTo>
                          <a:pt x="4230" y="67118"/>
                          <a:pt x="4230" y="66246"/>
                          <a:pt x="4230" y="66246"/>
                        </a:cubicBezTo>
                        <a:cubicBezTo>
                          <a:pt x="4230" y="66246"/>
                          <a:pt x="3846" y="65956"/>
                          <a:pt x="3461" y="65956"/>
                        </a:cubicBezTo>
                        <a:cubicBezTo>
                          <a:pt x="3461" y="65956"/>
                          <a:pt x="2692" y="65956"/>
                          <a:pt x="2692" y="65956"/>
                        </a:cubicBezTo>
                        <a:cubicBezTo>
                          <a:pt x="2692" y="65084"/>
                          <a:pt x="2692" y="65084"/>
                          <a:pt x="2692" y="65084"/>
                        </a:cubicBezTo>
                        <a:cubicBezTo>
                          <a:pt x="2692" y="65084"/>
                          <a:pt x="1923" y="64794"/>
                          <a:pt x="1538" y="64794"/>
                        </a:cubicBezTo>
                        <a:cubicBezTo>
                          <a:pt x="1538" y="64794"/>
                          <a:pt x="1538" y="64503"/>
                          <a:pt x="1153" y="64503"/>
                        </a:cubicBezTo>
                        <a:cubicBezTo>
                          <a:pt x="1538" y="64503"/>
                          <a:pt x="1538" y="64503"/>
                          <a:pt x="1538" y="64503"/>
                        </a:cubicBezTo>
                        <a:cubicBezTo>
                          <a:pt x="1538" y="64503"/>
                          <a:pt x="1538" y="64503"/>
                          <a:pt x="1538" y="64503"/>
                        </a:cubicBezTo>
                        <a:cubicBezTo>
                          <a:pt x="1538" y="64213"/>
                          <a:pt x="1153" y="63922"/>
                          <a:pt x="1153" y="63631"/>
                        </a:cubicBezTo>
                        <a:cubicBezTo>
                          <a:pt x="1153" y="63631"/>
                          <a:pt x="1538" y="63631"/>
                          <a:pt x="1538" y="63631"/>
                        </a:cubicBezTo>
                        <a:cubicBezTo>
                          <a:pt x="1538" y="63631"/>
                          <a:pt x="1538" y="63341"/>
                          <a:pt x="1923" y="63050"/>
                        </a:cubicBezTo>
                        <a:cubicBezTo>
                          <a:pt x="1923" y="63050"/>
                          <a:pt x="1923" y="63050"/>
                          <a:pt x="2307" y="63050"/>
                        </a:cubicBezTo>
                        <a:cubicBezTo>
                          <a:pt x="2307" y="63050"/>
                          <a:pt x="2307" y="62760"/>
                          <a:pt x="2692" y="62760"/>
                        </a:cubicBezTo>
                        <a:cubicBezTo>
                          <a:pt x="2692" y="62469"/>
                          <a:pt x="2692" y="61888"/>
                          <a:pt x="2692" y="61888"/>
                        </a:cubicBezTo>
                        <a:cubicBezTo>
                          <a:pt x="2692" y="61888"/>
                          <a:pt x="2692" y="61888"/>
                          <a:pt x="2307" y="61598"/>
                        </a:cubicBezTo>
                        <a:cubicBezTo>
                          <a:pt x="1923" y="61598"/>
                          <a:pt x="1923" y="61598"/>
                          <a:pt x="1923" y="61307"/>
                        </a:cubicBezTo>
                        <a:cubicBezTo>
                          <a:pt x="1538" y="61307"/>
                          <a:pt x="1923" y="61016"/>
                          <a:pt x="1923" y="61016"/>
                        </a:cubicBezTo>
                        <a:cubicBezTo>
                          <a:pt x="1923" y="61016"/>
                          <a:pt x="1153" y="60726"/>
                          <a:pt x="1153" y="60726"/>
                        </a:cubicBezTo>
                        <a:cubicBezTo>
                          <a:pt x="1153" y="60726"/>
                          <a:pt x="384" y="60726"/>
                          <a:pt x="384" y="60726"/>
                        </a:cubicBezTo>
                        <a:cubicBezTo>
                          <a:pt x="384" y="60726"/>
                          <a:pt x="384" y="60726"/>
                          <a:pt x="384" y="60726"/>
                        </a:cubicBezTo>
                        <a:cubicBezTo>
                          <a:pt x="384" y="60145"/>
                          <a:pt x="384" y="60145"/>
                          <a:pt x="384" y="60145"/>
                        </a:cubicBezTo>
                        <a:cubicBezTo>
                          <a:pt x="0" y="59564"/>
                          <a:pt x="0" y="59564"/>
                          <a:pt x="0" y="59564"/>
                        </a:cubicBezTo>
                        <a:cubicBezTo>
                          <a:pt x="384" y="59273"/>
                          <a:pt x="384" y="59273"/>
                          <a:pt x="384" y="59273"/>
                        </a:cubicBezTo>
                        <a:cubicBezTo>
                          <a:pt x="1153" y="59854"/>
                          <a:pt x="1153" y="59854"/>
                          <a:pt x="1153" y="59854"/>
                        </a:cubicBezTo>
                        <a:cubicBezTo>
                          <a:pt x="1153" y="59854"/>
                          <a:pt x="1153" y="59564"/>
                          <a:pt x="1153" y="59273"/>
                        </a:cubicBezTo>
                        <a:cubicBezTo>
                          <a:pt x="1538" y="59273"/>
                          <a:pt x="1923" y="58692"/>
                          <a:pt x="1923" y="58692"/>
                        </a:cubicBezTo>
                        <a:cubicBezTo>
                          <a:pt x="2692" y="58692"/>
                          <a:pt x="2692" y="58692"/>
                          <a:pt x="2692" y="58692"/>
                        </a:cubicBezTo>
                        <a:cubicBezTo>
                          <a:pt x="2692" y="58692"/>
                          <a:pt x="4230" y="58692"/>
                          <a:pt x="4230" y="58692"/>
                        </a:cubicBezTo>
                        <a:cubicBezTo>
                          <a:pt x="4615" y="58401"/>
                          <a:pt x="3846" y="57820"/>
                          <a:pt x="3846" y="57820"/>
                        </a:cubicBezTo>
                        <a:cubicBezTo>
                          <a:pt x="3846" y="57820"/>
                          <a:pt x="3076" y="58401"/>
                          <a:pt x="3076" y="58401"/>
                        </a:cubicBezTo>
                        <a:cubicBezTo>
                          <a:pt x="2692" y="58401"/>
                          <a:pt x="2692" y="57530"/>
                          <a:pt x="2692" y="57530"/>
                        </a:cubicBezTo>
                        <a:cubicBezTo>
                          <a:pt x="2692" y="56949"/>
                          <a:pt x="2692" y="56949"/>
                          <a:pt x="2692" y="56949"/>
                        </a:cubicBezTo>
                        <a:cubicBezTo>
                          <a:pt x="3461" y="56658"/>
                          <a:pt x="3461" y="56658"/>
                          <a:pt x="3461" y="56658"/>
                        </a:cubicBezTo>
                        <a:cubicBezTo>
                          <a:pt x="3846" y="56077"/>
                          <a:pt x="3846" y="56077"/>
                          <a:pt x="3846" y="56077"/>
                        </a:cubicBezTo>
                        <a:cubicBezTo>
                          <a:pt x="3846" y="56077"/>
                          <a:pt x="4615" y="55496"/>
                          <a:pt x="4615" y="55496"/>
                        </a:cubicBezTo>
                        <a:cubicBezTo>
                          <a:pt x="5000" y="55205"/>
                          <a:pt x="4615" y="54624"/>
                          <a:pt x="4615" y="54624"/>
                        </a:cubicBezTo>
                        <a:cubicBezTo>
                          <a:pt x="5000" y="53753"/>
                          <a:pt x="5000" y="53753"/>
                          <a:pt x="5000" y="53753"/>
                        </a:cubicBezTo>
                        <a:cubicBezTo>
                          <a:pt x="4230" y="52881"/>
                          <a:pt x="4230" y="52881"/>
                          <a:pt x="4230" y="52881"/>
                        </a:cubicBezTo>
                        <a:cubicBezTo>
                          <a:pt x="4230" y="52009"/>
                          <a:pt x="4230" y="52009"/>
                          <a:pt x="4230" y="52009"/>
                        </a:cubicBezTo>
                        <a:cubicBezTo>
                          <a:pt x="3461" y="51138"/>
                          <a:pt x="3461" y="51138"/>
                          <a:pt x="3461" y="51138"/>
                        </a:cubicBezTo>
                        <a:cubicBezTo>
                          <a:pt x="3461" y="50847"/>
                          <a:pt x="3461" y="50847"/>
                          <a:pt x="3461" y="50847"/>
                        </a:cubicBezTo>
                        <a:cubicBezTo>
                          <a:pt x="3076" y="50266"/>
                          <a:pt x="3076" y="50266"/>
                          <a:pt x="3076" y="50266"/>
                        </a:cubicBezTo>
                        <a:cubicBezTo>
                          <a:pt x="3076" y="49685"/>
                          <a:pt x="3076" y="49685"/>
                          <a:pt x="3076" y="49685"/>
                        </a:cubicBezTo>
                        <a:cubicBezTo>
                          <a:pt x="3076" y="49685"/>
                          <a:pt x="2307" y="49104"/>
                          <a:pt x="1923" y="49104"/>
                        </a:cubicBezTo>
                        <a:cubicBezTo>
                          <a:pt x="1538" y="49104"/>
                          <a:pt x="1923" y="48813"/>
                          <a:pt x="1923" y="48813"/>
                        </a:cubicBezTo>
                        <a:cubicBezTo>
                          <a:pt x="1923" y="48232"/>
                          <a:pt x="1923" y="48232"/>
                          <a:pt x="1923" y="48232"/>
                        </a:cubicBezTo>
                        <a:cubicBezTo>
                          <a:pt x="1923" y="47360"/>
                          <a:pt x="1923" y="47360"/>
                          <a:pt x="1923" y="47360"/>
                        </a:cubicBezTo>
                        <a:cubicBezTo>
                          <a:pt x="3846" y="47651"/>
                          <a:pt x="3846" y="47651"/>
                          <a:pt x="3846" y="47651"/>
                        </a:cubicBezTo>
                        <a:cubicBezTo>
                          <a:pt x="4615" y="47651"/>
                          <a:pt x="4615" y="47651"/>
                          <a:pt x="4615" y="47651"/>
                        </a:cubicBezTo>
                        <a:cubicBezTo>
                          <a:pt x="3461" y="47070"/>
                          <a:pt x="3461" y="47070"/>
                          <a:pt x="3461" y="47070"/>
                        </a:cubicBezTo>
                        <a:cubicBezTo>
                          <a:pt x="4615" y="46779"/>
                          <a:pt x="4615" y="46779"/>
                          <a:pt x="4615" y="46779"/>
                        </a:cubicBezTo>
                        <a:cubicBezTo>
                          <a:pt x="5384" y="47360"/>
                          <a:pt x="5384" y="47360"/>
                          <a:pt x="5384" y="47360"/>
                        </a:cubicBezTo>
                        <a:cubicBezTo>
                          <a:pt x="6538" y="47651"/>
                          <a:pt x="6538" y="47651"/>
                          <a:pt x="6538" y="47651"/>
                        </a:cubicBezTo>
                        <a:cubicBezTo>
                          <a:pt x="6923" y="48232"/>
                          <a:pt x="6923" y="48232"/>
                          <a:pt x="6923" y="48232"/>
                        </a:cubicBezTo>
                        <a:cubicBezTo>
                          <a:pt x="7307" y="47651"/>
                          <a:pt x="7307" y="47651"/>
                          <a:pt x="7307" y="47651"/>
                        </a:cubicBezTo>
                        <a:cubicBezTo>
                          <a:pt x="8461" y="47651"/>
                          <a:pt x="8461" y="47651"/>
                          <a:pt x="8461" y="47651"/>
                        </a:cubicBezTo>
                        <a:cubicBezTo>
                          <a:pt x="8846" y="47651"/>
                          <a:pt x="8846" y="47651"/>
                          <a:pt x="8846" y="47651"/>
                        </a:cubicBezTo>
                        <a:cubicBezTo>
                          <a:pt x="10000" y="47360"/>
                          <a:pt x="10000" y="47360"/>
                          <a:pt x="10000" y="47360"/>
                        </a:cubicBezTo>
                        <a:cubicBezTo>
                          <a:pt x="11153" y="47360"/>
                          <a:pt x="11153" y="47360"/>
                          <a:pt x="11153" y="47360"/>
                        </a:cubicBezTo>
                        <a:cubicBezTo>
                          <a:pt x="11538" y="46779"/>
                          <a:pt x="11538" y="46779"/>
                          <a:pt x="11538" y="46779"/>
                        </a:cubicBezTo>
                        <a:cubicBezTo>
                          <a:pt x="12307" y="46489"/>
                          <a:pt x="12307" y="46489"/>
                          <a:pt x="12307" y="46489"/>
                        </a:cubicBezTo>
                        <a:cubicBezTo>
                          <a:pt x="12692" y="46198"/>
                          <a:pt x="12692" y="46198"/>
                          <a:pt x="12692" y="46198"/>
                        </a:cubicBezTo>
                        <a:cubicBezTo>
                          <a:pt x="11538" y="45617"/>
                          <a:pt x="11538" y="45617"/>
                          <a:pt x="11538" y="45617"/>
                        </a:cubicBezTo>
                        <a:cubicBezTo>
                          <a:pt x="10769" y="44745"/>
                          <a:pt x="10769" y="44745"/>
                          <a:pt x="10769" y="44745"/>
                        </a:cubicBezTo>
                        <a:cubicBezTo>
                          <a:pt x="11538" y="44745"/>
                          <a:pt x="11538" y="44745"/>
                          <a:pt x="11538" y="44745"/>
                        </a:cubicBezTo>
                        <a:cubicBezTo>
                          <a:pt x="11538" y="43874"/>
                          <a:pt x="11538" y="43874"/>
                          <a:pt x="11538" y="43874"/>
                        </a:cubicBezTo>
                        <a:cubicBezTo>
                          <a:pt x="11538" y="43874"/>
                          <a:pt x="13076" y="44164"/>
                          <a:pt x="13076" y="44164"/>
                        </a:cubicBezTo>
                        <a:cubicBezTo>
                          <a:pt x="13076" y="43874"/>
                          <a:pt x="13076" y="43874"/>
                          <a:pt x="13461" y="43583"/>
                        </a:cubicBezTo>
                        <a:cubicBezTo>
                          <a:pt x="13846" y="43583"/>
                          <a:pt x="14615" y="43292"/>
                          <a:pt x="14615" y="43292"/>
                        </a:cubicBezTo>
                        <a:cubicBezTo>
                          <a:pt x="15000" y="42711"/>
                          <a:pt x="15000" y="42711"/>
                          <a:pt x="15000" y="42711"/>
                        </a:cubicBezTo>
                        <a:cubicBezTo>
                          <a:pt x="15000" y="42711"/>
                          <a:pt x="15769" y="42421"/>
                          <a:pt x="15769" y="42421"/>
                        </a:cubicBezTo>
                        <a:cubicBezTo>
                          <a:pt x="16153" y="42421"/>
                          <a:pt x="15769" y="42130"/>
                          <a:pt x="15769" y="41840"/>
                        </a:cubicBezTo>
                        <a:cubicBezTo>
                          <a:pt x="15769" y="41549"/>
                          <a:pt x="15769" y="40968"/>
                          <a:pt x="15769" y="40968"/>
                        </a:cubicBezTo>
                        <a:cubicBezTo>
                          <a:pt x="16153" y="40387"/>
                          <a:pt x="16153" y="40387"/>
                          <a:pt x="16153" y="40387"/>
                        </a:cubicBezTo>
                        <a:cubicBezTo>
                          <a:pt x="15384" y="39225"/>
                          <a:pt x="15384" y="39225"/>
                          <a:pt x="15384" y="39225"/>
                        </a:cubicBezTo>
                        <a:cubicBezTo>
                          <a:pt x="14230" y="39515"/>
                          <a:pt x="14230" y="39515"/>
                          <a:pt x="14230" y="39515"/>
                        </a:cubicBezTo>
                        <a:cubicBezTo>
                          <a:pt x="13461" y="38934"/>
                          <a:pt x="13461" y="38934"/>
                          <a:pt x="13461" y="38934"/>
                        </a:cubicBezTo>
                        <a:cubicBezTo>
                          <a:pt x="13461" y="38934"/>
                          <a:pt x="12307" y="38934"/>
                          <a:pt x="12307" y="38644"/>
                        </a:cubicBezTo>
                        <a:cubicBezTo>
                          <a:pt x="11923" y="38353"/>
                          <a:pt x="11538" y="37772"/>
                          <a:pt x="11538" y="37772"/>
                        </a:cubicBezTo>
                        <a:cubicBezTo>
                          <a:pt x="11538" y="37191"/>
                          <a:pt x="11538" y="37191"/>
                          <a:pt x="11538" y="37191"/>
                        </a:cubicBezTo>
                        <a:cubicBezTo>
                          <a:pt x="12692" y="37191"/>
                          <a:pt x="12692" y="37191"/>
                          <a:pt x="12692" y="37191"/>
                        </a:cubicBezTo>
                        <a:cubicBezTo>
                          <a:pt x="11923" y="36900"/>
                          <a:pt x="11923" y="36900"/>
                          <a:pt x="11923" y="36900"/>
                        </a:cubicBezTo>
                        <a:cubicBezTo>
                          <a:pt x="11923" y="36029"/>
                          <a:pt x="11923" y="36029"/>
                          <a:pt x="11923" y="36029"/>
                        </a:cubicBezTo>
                        <a:cubicBezTo>
                          <a:pt x="13461" y="35738"/>
                          <a:pt x="13461" y="35738"/>
                          <a:pt x="13461" y="35738"/>
                        </a:cubicBezTo>
                        <a:cubicBezTo>
                          <a:pt x="13461" y="35738"/>
                          <a:pt x="15384" y="36319"/>
                          <a:pt x="15769" y="36319"/>
                        </a:cubicBezTo>
                        <a:cubicBezTo>
                          <a:pt x="16153" y="36610"/>
                          <a:pt x="16153" y="35447"/>
                          <a:pt x="16153" y="35447"/>
                        </a:cubicBezTo>
                        <a:cubicBezTo>
                          <a:pt x="16538" y="33995"/>
                          <a:pt x="16538" y="33995"/>
                          <a:pt x="16538" y="33995"/>
                        </a:cubicBezTo>
                        <a:cubicBezTo>
                          <a:pt x="16538" y="33995"/>
                          <a:pt x="16153" y="32832"/>
                          <a:pt x="16538" y="32542"/>
                        </a:cubicBezTo>
                        <a:cubicBezTo>
                          <a:pt x="16923" y="32542"/>
                          <a:pt x="18076" y="30799"/>
                          <a:pt x="18076" y="30799"/>
                        </a:cubicBezTo>
                        <a:cubicBezTo>
                          <a:pt x="18076" y="30799"/>
                          <a:pt x="18076" y="29055"/>
                          <a:pt x="18076" y="28765"/>
                        </a:cubicBezTo>
                        <a:cubicBezTo>
                          <a:pt x="18076" y="28474"/>
                          <a:pt x="18076" y="27312"/>
                          <a:pt x="18076" y="27312"/>
                        </a:cubicBezTo>
                        <a:cubicBezTo>
                          <a:pt x="18076" y="27021"/>
                          <a:pt x="18076" y="27021"/>
                          <a:pt x="18076" y="27021"/>
                        </a:cubicBezTo>
                        <a:cubicBezTo>
                          <a:pt x="18076" y="27021"/>
                          <a:pt x="16923" y="26731"/>
                          <a:pt x="16538" y="26731"/>
                        </a:cubicBezTo>
                        <a:cubicBezTo>
                          <a:pt x="16538" y="26440"/>
                          <a:pt x="16923" y="25859"/>
                          <a:pt x="16923" y="25859"/>
                        </a:cubicBezTo>
                        <a:cubicBezTo>
                          <a:pt x="15000" y="25569"/>
                          <a:pt x="15000" y="25569"/>
                          <a:pt x="15000" y="25569"/>
                        </a:cubicBezTo>
                        <a:cubicBezTo>
                          <a:pt x="15384" y="24697"/>
                          <a:pt x="15769" y="23244"/>
                          <a:pt x="16153" y="23244"/>
                        </a:cubicBezTo>
                        <a:cubicBezTo>
                          <a:pt x="16538" y="22953"/>
                          <a:pt x="17307" y="22372"/>
                          <a:pt x="17307" y="22372"/>
                        </a:cubicBezTo>
                        <a:cubicBezTo>
                          <a:pt x="17307" y="21210"/>
                          <a:pt x="17307" y="21210"/>
                          <a:pt x="17307" y="21210"/>
                        </a:cubicBezTo>
                        <a:cubicBezTo>
                          <a:pt x="16538" y="20338"/>
                          <a:pt x="16538" y="20338"/>
                          <a:pt x="16538" y="20338"/>
                        </a:cubicBezTo>
                        <a:cubicBezTo>
                          <a:pt x="17307" y="19467"/>
                          <a:pt x="17307" y="19467"/>
                          <a:pt x="17307" y="19467"/>
                        </a:cubicBezTo>
                        <a:cubicBezTo>
                          <a:pt x="17307" y="19467"/>
                          <a:pt x="18846" y="18886"/>
                          <a:pt x="18846" y="18886"/>
                        </a:cubicBezTo>
                        <a:cubicBezTo>
                          <a:pt x="19230" y="18886"/>
                          <a:pt x="21538" y="18886"/>
                          <a:pt x="21538" y="18886"/>
                        </a:cubicBezTo>
                        <a:cubicBezTo>
                          <a:pt x="23076" y="18305"/>
                          <a:pt x="23076" y="18305"/>
                          <a:pt x="23076" y="18305"/>
                        </a:cubicBezTo>
                        <a:cubicBezTo>
                          <a:pt x="25384" y="18305"/>
                          <a:pt x="25384" y="18305"/>
                          <a:pt x="25384" y="18305"/>
                        </a:cubicBezTo>
                        <a:cubicBezTo>
                          <a:pt x="26923" y="18014"/>
                          <a:pt x="26923" y="18014"/>
                          <a:pt x="26923" y="18014"/>
                        </a:cubicBezTo>
                        <a:cubicBezTo>
                          <a:pt x="28076" y="18595"/>
                          <a:pt x="28076" y="18595"/>
                          <a:pt x="28076" y="18595"/>
                        </a:cubicBezTo>
                        <a:cubicBezTo>
                          <a:pt x="28076" y="18595"/>
                          <a:pt x="28846" y="19176"/>
                          <a:pt x="28846" y="19467"/>
                        </a:cubicBezTo>
                        <a:cubicBezTo>
                          <a:pt x="28846" y="19467"/>
                          <a:pt x="29615" y="20048"/>
                          <a:pt x="29615" y="20338"/>
                        </a:cubicBezTo>
                        <a:cubicBezTo>
                          <a:pt x="29230" y="20338"/>
                          <a:pt x="30000" y="21210"/>
                          <a:pt x="30000" y="21210"/>
                        </a:cubicBezTo>
                        <a:cubicBezTo>
                          <a:pt x="30000" y="21210"/>
                          <a:pt x="29615" y="21791"/>
                          <a:pt x="29615" y="22082"/>
                        </a:cubicBezTo>
                        <a:cubicBezTo>
                          <a:pt x="29615" y="22082"/>
                          <a:pt x="30000" y="23244"/>
                          <a:pt x="30000" y="23244"/>
                        </a:cubicBezTo>
                        <a:cubicBezTo>
                          <a:pt x="30000" y="23535"/>
                          <a:pt x="30769" y="23825"/>
                          <a:pt x="30769" y="23825"/>
                        </a:cubicBezTo>
                        <a:cubicBezTo>
                          <a:pt x="31538" y="23535"/>
                          <a:pt x="31538" y="23535"/>
                          <a:pt x="31538" y="23535"/>
                        </a:cubicBezTo>
                        <a:cubicBezTo>
                          <a:pt x="31923" y="22953"/>
                          <a:pt x="31923" y="22953"/>
                          <a:pt x="31923" y="22953"/>
                        </a:cubicBezTo>
                        <a:cubicBezTo>
                          <a:pt x="31153" y="22082"/>
                          <a:pt x="31153" y="22082"/>
                          <a:pt x="31153" y="22082"/>
                        </a:cubicBezTo>
                        <a:cubicBezTo>
                          <a:pt x="30769" y="22082"/>
                          <a:pt x="30769" y="22082"/>
                          <a:pt x="30769" y="22082"/>
                        </a:cubicBezTo>
                        <a:cubicBezTo>
                          <a:pt x="31153" y="20920"/>
                          <a:pt x="31153" y="20920"/>
                          <a:pt x="31153" y="20920"/>
                        </a:cubicBezTo>
                        <a:cubicBezTo>
                          <a:pt x="31153" y="20920"/>
                          <a:pt x="31923" y="20629"/>
                          <a:pt x="32307" y="20920"/>
                        </a:cubicBezTo>
                        <a:cubicBezTo>
                          <a:pt x="32692" y="20920"/>
                          <a:pt x="33846" y="21791"/>
                          <a:pt x="33846" y="21791"/>
                        </a:cubicBezTo>
                        <a:cubicBezTo>
                          <a:pt x="34615" y="22082"/>
                          <a:pt x="34615" y="22082"/>
                          <a:pt x="34615" y="22082"/>
                        </a:cubicBezTo>
                        <a:cubicBezTo>
                          <a:pt x="34615" y="22082"/>
                          <a:pt x="35769" y="21501"/>
                          <a:pt x="35769" y="21501"/>
                        </a:cubicBezTo>
                        <a:cubicBezTo>
                          <a:pt x="35769" y="21501"/>
                          <a:pt x="34615" y="20338"/>
                          <a:pt x="34615" y="20338"/>
                        </a:cubicBezTo>
                        <a:cubicBezTo>
                          <a:pt x="35000" y="18886"/>
                          <a:pt x="35000" y="18886"/>
                          <a:pt x="35000" y="18886"/>
                        </a:cubicBezTo>
                        <a:cubicBezTo>
                          <a:pt x="35384" y="17723"/>
                          <a:pt x="35384" y="17723"/>
                          <a:pt x="35384" y="17723"/>
                        </a:cubicBezTo>
                        <a:cubicBezTo>
                          <a:pt x="36923" y="16852"/>
                          <a:pt x="36923" y="16852"/>
                          <a:pt x="36923" y="16852"/>
                        </a:cubicBezTo>
                        <a:cubicBezTo>
                          <a:pt x="38076" y="17433"/>
                          <a:pt x="38076" y="17433"/>
                          <a:pt x="38076" y="17433"/>
                        </a:cubicBezTo>
                        <a:cubicBezTo>
                          <a:pt x="40000" y="17433"/>
                          <a:pt x="40000" y="17433"/>
                          <a:pt x="40000" y="17433"/>
                        </a:cubicBezTo>
                        <a:cubicBezTo>
                          <a:pt x="41923" y="17433"/>
                          <a:pt x="41923" y="17433"/>
                          <a:pt x="41923" y="17433"/>
                        </a:cubicBezTo>
                        <a:cubicBezTo>
                          <a:pt x="43076" y="17142"/>
                          <a:pt x="43076" y="17142"/>
                          <a:pt x="43076" y="17142"/>
                        </a:cubicBezTo>
                        <a:cubicBezTo>
                          <a:pt x="44615" y="17142"/>
                          <a:pt x="44615" y="17142"/>
                          <a:pt x="44615" y="17142"/>
                        </a:cubicBezTo>
                        <a:cubicBezTo>
                          <a:pt x="44615" y="17142"/>
                          <a:pt x="43846" y="16561"/>
                          <a:pt x="43846" y="16561"/>
                        </a:cubicBezTo>
                        <a:cubicBezTo>
                          <a:pt x="43461" y="16561"/>
                          <a:pt x="42692" y="15980"/>
                          <a:pt x="42692" y="15980"/>
                        </a:cubicBezTo>
                        <a:cubicBezTo>
                          <a:pt x="42692" y="15980"/>
                          <a:pt x="42307" y="16561"/>
                          <a:pt x="42307" y="16561"/>
                        </a:cubicBezTo>
                        <a:cubicBezTo>
                          <a:pt x="41923" y="16852"/>
                          <a:pt x="40769" y="16852"/>
                          <a:pt x="40769" y="16561"/>
                        </a:cubicBezTo>
                        <a:cubicBezTo>
                          <a:pt x="40384" y="16561"/>
                          <a:pt x="40000" y="15690"/>
                          <a:pt x="40000" y="15690"/>
                        </a:cubicBezTo>
                        <a:cubicBezTo>
                          <a:pt x="40000" y="14818"/>
                          <a:pt x="40000" y="14818"/>
                          <a:pt x="40000" y="14818"/>
                        </a:cubicBezTo>
                        <a:cubicBezTo>
                          <a:pt x="40769" y="14527"/>
                          <a:pt x="40769" y="14527"/>
                          <a:pt x="40769" y="14527"/>
                        </a:cubicBezTo>
                        <a:cubicBezTo>
                          <a:pt x="39615" y="13656"/>
                          <a:pt x="39615" y="13656"/>
                          <a:pt x="39615" y="13656"/>
                        </a:cubicBezTo>
                        <a:cubicBezTo>
                          <a:pt x="39615" y="13656"/>
                          <a:pt x="39615" y="12784"/>
                          <a:pt x="40000" y="12493"/>
                        </a:cubicBezTo>
                        <a:cubicBezTo>
                          <a:pt x="40384" y="12493"/>
                          <a:pt x="40384" y="11912"/>
                          <a:pt x="40384" y="11912"/>
                        </a:cubicBezTo>
                        <a:cubicBezTo>
                          <a:pt x="39230" y="11912"/>
                          <a:pt x="39230" y="11912"/>
                          <a:pt x="39230" y="11912"/>
                        </a:cubicBezTo>
                        <a:cubicBezTo>
                          <a:pt x="39230" y="11912"/>
                          <a:pt x="38846" y="11912"/>
                          <a:pt x="38846" y="11331"/>
                        </a:cubicBezTo>
                        <a:cubicBezTo>
                          <a:pt x="39230" y="10750"/>
                          <a:pt x="39230" y="10460"/>
                          <a:pt x="39230" y="10460"/>
                        </a:cubicBezTo>
                        <a:cubicBezTo>
                          <a:pt x="37692" y="10460"/>
                          <a:pt x="37692" y="10460"/>
                          <a:pt x="37692" y="10460"/>
                        </a:cubicBezTo>
                        <a:cubicBezTo>
                          <a:pt x="36923" y="10460"/>
                          <a:pt x="36923" y="10460"/>
                          <a:pt x="36923" y="10460"/>
                        </a:cubicBezTo>
                        <a:cubicBezTo>
                          <a:pt x="35769" y="9588"/>
                          <a:pt x="35769" y="9588"/>
                          <a:pt x="35769" y="9588"/>
                        </a:cubicBezTo>
                        <a:cubicBezTo>
                          <a:pt x="36153" y="8716"/>
                          <a:pt x="36153" y="8716"/>
                          <a:pt x="36153" y="8716"/>
                        </a:cubicBezTo>
                        <a:cubicBezTo>
                          <a:pt x="38461" y="8426"/>
                          <a:pt x="38461" y="8426"/>
                          <a:pt x="38461" y="8426"/>
                        </a:cubicBezTo>
                        <a:cubicBezTo>
                          <a:pt x="41153" y="7554"/>
                          <a:pt x="41153" y="7554"/>
                          <a:pt x="41153" y="7554"/>
                        </a:cubicBezTo>
                        <a:cubicBezTo>
                          <a:pt x="40769" y="6973"/>
                          <a:pt x="40769" y="6973"/>
                          <a:pt x="40769" y="6973"/>
                        </a:cubicBezTo>
                        <a:cubicBezTo>
                          <a:pt x="40000" y="7263"/>
                          <a:pt x="40000" y="7263"/>
                          <a:pt x="40000" y="7263"/>
                        </a:cubicBezTo>
                        <a:cubicBezTo>
                          <a:pt x="40000" y="7263"/>
                          <a:pt x="39615" y="7554"/>
                          <a:pt x="39615" y="7554"/>
                        </a:cubicBezTo>
                        <a:cubicBezTo>
                          <a:pt x="39230" y="7554"/>
                          <a:pt x="38461" y="7554"/>
                          <a:pt x="38461" y="7554"/>
                        </a:cubicBezTo>
                        <a:cubicBezTo>
                          <a:pt x="38461" y="6973"/>
                          <a:pt x="38461" y="6973"/>
                          <a:pt x="38461" y="6973"/>
                        </a:cubicBezTo>
                        <a:cubicBezTo>
                          <a:pt x="39615" y="6973"/>
                          <a:pt x="39615" y="6973"/>
                          <a:pt x="39615" y="6973"/>
                        </a:cubicBezTo>
                        <a:cubicBezTo>
                          <a:pt x="40384" y="6682"/>
                          <a:pt x="40384" y="6682"/>
                          <a:pt x="40384" y="6682"/>
                        </a:cubicBezTo>
                        <a:cubicBezTo>
                          <a:pt x="39615" y="6392"/>
                          <a:pt x="39615" y="6392"/>
                          <a:pt x="39615" y="6392"/>
                        </a:cubicBezTo>
                        <a:cubicBezTo>
                          <a:pt x="38461" y="5230"/>
                          <a:pt x="38461" y="5230"/>
                          <a:pt x="38461" y="5230"/>
                        </a:cubicBezTo>
                        <a:cubicBezTo>
                          <a:pt x="38076" y="4358"/>
                          <a:pt x="38076" y="4358"/>
                          <a:pt x="38076" y="4358"/>
                        </a:cubicBezTo>
                        <a:cubicBezTo>
                          <a:pt x="37307" y="4067"/>
                          <a:pt x="37307" y="4067"/>
                          <a:pt x="37307" y="4067"/>
                        </a:cubicBezTo>
                        <a:cubicBezTo>
                          <a:pt x="36538" y="3486"/>
                          <a:pt x="36538" y="3486"/>
                          <a:pt x="36538" y="3486"/>
                        </a:cubicBezTo>
                        <a:cubicBezTo>
                          <a:pt x="36538" y="2615"/>
                          <a:pt x="36538" y="2615"/>
                          <a:pt x="36538" y="2615"/>
                        </a:cubicBezTo>
                        <a:cubicBezTo>
                          <a:pt x="36153" y="290"/>
                          <a:pt x="36153" y="290"/>
                          <a:pt x="36153" y="290"/>
                        </a:cubicBezTo>
                        <a:cubicBezTo>
                          <a:pt x="37307" y="290"/>
                          <a:pt x="37307" y="290"/>
                          <a:pt x="37307" y="290"/>
                        </a:cubicBezTo>
                        <a:cubicBezTo>
                          <a:pt x="38076" y="0"/>
                          <a:pt x="38076" y="0"/>
                          <a:pt x="38076" y="0"/>
                        </a:cubicBezTo>
                        <a:cubicBezTo>
                          <a:pt x="38076" y="0"/>
                          <a:pt x="40000" y="581"/>
                          <a:pt x="40384" y="581"/>
                        </a:cubicBezTo>
                        <a:cubicBezTo>
                          <a:pt x="40769" y="581"/>
                          <a:pt x="41538" y="871"/>
                          <a:pt x="41538" y="871"/>
                        </a:cubicBezTo>
                        <a:cubicBezTo>
                          <a:pt x="43076" y="1452"/>
                          <a:pt x="43076" y="1452"/>
                          <a:pt x="43076" y="1452"/>
                        </a:cubicBezTo>
                        <a:cubicBezTo>
                          <a:pt x="44230" y="1743"/>
                          <a:pt x="44230" y="1743"/>
                          <a:pt x="44230" y="1743"/>
                        </a:cubicBezTo>
                        <a:cubicBezTo>
                          <a:pt x="44230" y="1743"/>
                          <a:pt x="44615" y="1743"/>
                          <a:pt x="44615" y="1743"/>
                        </a:cubicBezTo>
                        <a:cubicBezTo>
                          <a:pt x="45000" y="1743"/>
                          <a:pt x="45769" y="1452"/>
                          <a:pt x="45769" y="1452"/>
                        </a:cubicBezTo>
                        <a:cubicBezTo>
                          <a:pt x="45769" y="1452"/>
                          <a:pt x="46923" y="871"/>
                          <a:pt x="47307" y="871"/>
                        </a:cubicBezTo>
                        <a:cubicBezTo>
                          <a:pt x="47307" y="581"/>
                          <a:pt x="47692" y="581"/>
                          <a:pt x="47692" y="581"/>
                        </a:cubicBezTo>
                        <a:cubicBezTo>
                          <a:pt x="48461" y="1743"/>
                          <a:pt x="48461" y="1743"/>
                          <a:pt x="48461" y="1743"/>
                        </a:cubicBezTo>
                        <a:cubicBezTo>
                          <a:pt x="49230" y="1162"/>
                          <a:pt x="49230" y="1162"/>
                          <a:pt x="49230" y="1162"/>
                        </a:cubicBezTo>
                        <a:cubicBezTo>
                          <a:pt x="49615" y="581"/>
                          <a:pt x="49615" y="581"/>
                          <a:pt x="49615" y="581"/>
                        </a:cubicBezTo>
                        <a:cubicBezTo>
                          <a:pt x="52692" y="3196"/>
                          <a:pt x="52692" y="3196"/>
                          <a:pt x="52692" y="3196"/>
                        </a:cubicBezTo>
                        <a:cubicBezTo>
                          <a:pt x="53076" y="4358"/>
                          <a:pt x="53076" y="4358"/>
                          <a:pt x="53076" y="4358"/>
                        </a:cubicBezTo>
                        <a:cubicBezTo>
                          <a:pt x="53076" y="4358"/>
                          <a:pt x="53076" y="5230"/>
                          <a:pt x="53076" y="5230"/>
                        </a:cubicBezTo>
                        <a:cubicBezTo>
                          <a:pt x="52692" y="5230"/>
                          <a:pt x="52307" y="6392"/>
                          <a:pt x="52307" y="6392"/>
                        </a:cubicBezTo>
                        <a:cubicBezTo>
                          <a:pt x="52307" y="7263"/>
                          <a:pt x="52307" y="7263"/>
                          <a:pt x="52307" y="7263"/>
                        </a:cubicBezTo>
                        <a:cubicBezTo>
                          <a:pt x="53076" y="7554"/>
                          <a:pt x="53076" y="7554"/>
                          <a:pt x="53076" y="7554"/>
                        </a:cubicBezTo>
                        <a:cubicBezTo>
                          <a:pt x="54230" y="7554"/>
                          <a:pt x="54230" y="7554"/>
                          <a:pt x="54230" y="7554"/>
                        </a:cubicBezTo>
                        <a:cubicBezTo>
                          <a:pt x="55000" y="8135"/>
                          <a:pt x="55000" y="8135"/>
                          <a:pt x="55000" y="8135"/>
                        </a:cubicBezTo>
                        <a:cubicBezTo>
                          <a:pt x="55384" y="8426"/>
                          <a:pt x="55384" y="8426"/>
                          <a:pt x="55384" y="8426"/>
                        </a:cubicBezTo>
                        <a:cubicBezTo>
                          <a:pt x="56538" y="8426"/>
                          <a:pt x="56538" y="8426"/>
                          <a:pt x="56538" y="8426"/>
                        </a:cubicBezTo>
                        <a:cubicBezTo>
                          <a:pt x="56923" y="8135"/>
                          <a:pt x="56923" y="8135"/>
                          <a:pt x="56923" y="8135"/>
                        </a:cubicBezTo>
                        <a:cubicBezTo>
                          <a:pt x="58461" y="8426"/>
                          <a:pt x="58461" y="8426"/>
                          <a:pt x="58461" y="8426"/>
                        </a:cubicBezTo>
                        <a:cubicBezTo>
                          <a:pt x="59615" y="9007"/>
                          <a:pt x="59615" y="9007"/>
                          <a:pt x="59615" y="9007"/>
                        </a:cubicBezTo>
                        <a:cubicBezTo>
                          <a:pt x="60769" y="9588"/>
                          <a:pt x="60769" y="9588"/>
                          <a:pt x="60769" y="9588"/>
                        </a:cubicBezTo>
                        <a:cubicBezTo>
                          <a:pt x="62692" y="10169"/>
                          <a:pt x="62692" y="10169"/>
                          <a:pt x="62692" y="10169"/>
                        </a:cubicBezTo>
                        <a:cubicBezTo>
                          <a:pt x="63076" y="9297"/>
                          <a:pt x="63076" y="9297"/>
                          <a:pt x="63076" y="9297"/>
                        </a:cubicBezTo>
                        <a:cubicBezTo>
                          <a:pt x="63461" y="9007"/>
                          <a:pt x="63461" y="9007"/>
                          <a:pt x="63461" y="9007"/>
                        </a:cubicBezTo>
                        <a:cubicBezTo>
                          <a:pt x="64615" y="9007"/>
                          <a:pt x="64615" y="9007"/>
                          <a:pt x="64615" y="9007"/>
                        </a:cubicBezTo>
                        <a:cubicBezTo>
                          <a:pt x="65384" y="8716"/>
                          <a:pt x="65384" y="8716"/>
                          <a:pt x="65384" y="8716"/>
                        </a:cubicBezTo>
                        <a:cubicBezTo>
                          <a:pt x="65769" y="8426"/>
                          <a:pt x="65769" y="8426"/>
                          <a:pt x="65769" y="8426"/>
                        </a:cubicBezTo>
                        <a:cubicBezTo>
                          <a:pt x="64615" y="7554"/>
                          <a:pt x="64615" y="7554"/>
                          <a:pt x="64615" y="7554"/>
                        </a:cubicBezTo>
                        <a:cubicBezTo>
                          <a:pt x="64615" y="6682"/>
                          <a:pt x="64615" y="6682"/>
                          <a:pt x="64615" y="6682"/>
                        </a:cubicBezTo>
                        <a:cubicBezTo>
                          <a:pt x="64615" y="6682"/>
                          <a:pt x="65384" y="6101"/>
                          <a:pt x="65384" y="6101"/>
                        </a:cubicBezTo>
                        <a:cubicBezTo>
                          <a:pt x="65769" y="6101"/>
                          <a:pt x="67307" y="6392"/>
                          <a:pt x="67307" y="6392"/>
                        </a:cubicBezTo>
                        <a:cubicBezTo>
                          <a:pt x="67692" y="7263"/>
                          <a:pt x="67692" y="7263"/>
                          <a:pt x="67692" y="7263"/>
                        </a:cubicBezTo>
                        <a:cubicBezTo>
                          <a:pt x="68076" y="8135"/>
                          <a:pt x="68076" y="8135"/>
                          <a:pt x="68076" y="8135"/>
                        </a:cubicBezTo>
                        <a:cubicBezTo>
                          <a:pt x="66538" y="8426"/>
                          <a:pt x="66538" y="8426"/>
                          <a:pt x="66538" y="8426"/>
                        </a:cubicBezTo>
                        <a:cubicBezTo>
                          <a:pt x="66153" y="9007"/>
                          <a:pt x="66153" y="9007"/>
                          <a:pt x="66153" y="9007"/>
                        </a:cubicBezTo>
                        <a:cubicBezTo>
                          <a:pt x="66153" y="10169"/>
                          <a:pt x="66153" y="10169"/>
                          <a:pt x="66153" y="10169"/>
                        </a:cubicBezTo>
                        <a:cubicBezTo>
                          <a:pt x="66153" y="11331"/>
                          <a:pt x="66153" y="11331"/>
                          <a:pt x="66153" y="11331"/>
                        </a:cubicBezTo>
                        <a:cubicBezTo>
                          <a:pt x="66153" y="11331"/>
                          <a:pt x="66153" y="11912"/>
                          <a:pt x="65769" y="11912"/>
                        </a:cubicBezTo>
                        <a:cubicBezTo>
                          <a:pt x="65384" y="12203"/>
                          <a:pt x="64615" y="12203"/>
                          <a:pt x="64615" y="12203"/>
                        </a:cubicBezTo>
                        <a:cubicBezTo>
                          <a:pt x="64615" y="12784"/>
                          <a:pt x="64615" y="12784"/>
                          <a:pt x="64615" y="12784"/>
                        </a:cubicBezTo>
                        <a:cubicBezTo>
                          <a:pt x="63461" y="13365"/>
                          <a:pt x="63461" y="13365"/>
                          <a:pt x="63461" y="13365"/>
                        </a:cubicBezTo>
                        <a:cubicBezTo>
                          <a:pt x="62307" y="13365"/>
                          <a:pt x="62307" y="13365"/>
                          <a:pt x="62307" y="13365"/>
                        </a:cubicBezTo>
                        <a:cubicBezTo>
                          <a:pt x="61923" y="13656"/>
                          <a:pt x="61923" y="13656"/>
                          <a:pt x="61923" y="13656"/>
                        </a:cubicBezTo>
                        <a:cubicBezTo>
                          <a:pt x="62307" y="14527"/>
                          <a:pt x="62307" y="14527"/>
                          <a:pt x="62307" y="14527"/>
                        </a:cubicBezTo>
                        <a:cubicBezTo>
                          <a:pt x="63076" y="15108"/>
                          <a:pt x="63076" y="15108"/>
                          <a:pt x="63076" y="15108"/>
                        </a:cubicBezTo>
                        <a:cubicBezTo>
                          <a:pt x="64230" y="15399"/>
                          <a:pt x="64230" y="15399"/>
                          <a:pt x="64230" y="15399"/>
                        </a:cubicBezTo>
                        <a:cubicBezTo>
                          <a:pt x="65000" y="15108"/>
                          <a:pt x="65000" y="15108"/>
                          <a:pt x="65000" y="15108"/>
                        </a:cubicBezTo>
                        <a:cubicBezTo>
                          <a:pt x="65384" y="14527"/>
                          <a:pt x="65384" y="14527"/>
                          <a:pt x="65384" y="14527"/>
                        </a:cubicBezTo>
                        <a:cubicBezTo>
                          <a:pt x="66538" y="14237"/>
                          <a:pt x="66538" y="14237"/>
                          <a:pt x="66538" y="14237"/>
                        </a:cubicBezTo>
                        <a:cubicBezTo>
                          <a:pt x="68076" y="14818"/>
                          <a:pt x="68076" y="14818"/>
                          <a:pt x="68076" y="14818"/>
                        </a:cubicBezTo>
                        <a:cubicBezTo>
                          <a:pt x="68461" y="15399"/>
                          <a:pt x="68461" y="15399"/>
                          <a:pt x="68461" y="15399"/>
                        </a:cubicBezTo>
                        <a:cubicBezTo>
                          <a:pt x="68461" y="15399"/>
                          <a:pt x="70000" y="15399"/>
                          <a:pt x="70000" y="15399"/>
                        </a:cubicBezTo>
                        <a:cubicBezTo>
                          <a:pt x="70000" y="15399"/>
                          <a:pt x="70384" y="14527"/>
                          <a:pt x="70384" y="14527"/>
                        </a:cubicBezTo>
                        <a:cubicBezTo>
                          <a:pt x="70384" y="14527"/>
                          <a:pt x="70769" y="13946"/>
                          <a:pt x="71153" y="13946"/>
                        </a:cubicBezTo>
                        <a:cubicBezTo>
                          <a:pt x="71538" y="13946"/>
                          <a:pt x="71923" y="13365"/>
                          <a:pt x="72307" y="13365"/>
                        </a:cubicBezTo>
                        <a:cubicBezTo>
                          <a:pt x="72307" y="13075"/>
                          <a:pt x="72692" y="12493"/>
                          <a:pt x="72692" y="12493"/>
                        </a:cubicBezTo>
                        <a:cubicBezTo>
                          <a:pt x="72692" y="12493"/>
                          <a:pt x="73461" y="12203"/>
                          <a:pt x="73846" y="12203"/>
                        </a:cubicBezTo>
                        <a:cubicBezTo>
                          <a:pt x="74230" y="12203"/>
                          <a:pt x="76538" y="11912"/>
                          <a:pt x="76538" y="11912"/>
                        </a:cubicBezTo>
                        <a:cubicBezTo>
                          <a:pt x="76538" y="11912"/>
                          <a:pt x="78076" y="11622"/>
                          <a:pt x="78461" y="11331"/>
                        </a:cubicBezTo>
                        <a:cubicBezTo>
                          <a:pt x="78461" y="11331"/>
                          <a:pt x="80000" y="10460"/>
                          <a:pt x="80000" y="10460"/>
                        </a:cubicBezTo>
                        <a:cubicBezTo>
                          <a:pt x="80384" y="9588"/>
                          <a:pt x="80384" y="9588"/>
                          <a:pt x="80384" y="9588"/>
                        </a:cubicBezTo>
                        <a:cubicBezTo>
                          <a:pt x="81538" y="8716"/>
                          <a:pt x="81538" y="8716"/>
                          <a:pt x="81538" y="8716"/>
                        </a:cubicBezTo>
                        <a:cubicBezTo>
                          <a:pt x="81538" y="8716"/>
                          <a:pt x="81923" y="8716"/>
                          <a:pt x="81923" y="8426"/>
                        </a:cubicBezTo>
                        <a:cubicBezTo>
                          <a:pt x="81923" y="8135"/>
                          <a:pt x="82307" y="7263"/>
                          <a:pt x="82307" y="7263"/>
                        </a:cubicBezTo>
                        <a:cubicBezTo>
                          <a:pt x="83076" y="6973"/>
                          <a:pt x="83076" y="6973"/>
                          <a:pt x="83076" y="6973"/>
                        </a:cubicBezTo>
                        <a:cubicBezTo>
                          <a:pt x="83076" y="6973"/>
                          <a:pt x="83846" y="7263"/>
                          <a:pt x="83846" y="7554"/>
                        </a:cubicBezTo>
                        <a:cubicBezTo>
                          <a:pt x="83846" y="7554"/>
                          <a:pt x="83461" y="8135"/>
                          <a:pt x="83461" y="8135"/>
                        </a:cubicBezTo>
                        <a:cubicBezTo>
                          <a:pt x="83461" y="8135"/>
                          <a:pt x="82692" y="8426"/>
                          <a:pt x="82307" y="8716"/>
                        </a:cubicBezTo>
                        <a:cubicBezTo>
                          <a:pt x="82307" y="8716"/>
                          <a:pt x="82307" y="9297"/>
                          <a:pt x="82307" y="9297"/>
                        </a:cubicBezTo>
                        <a:cubicBezTo>
                          <a:pt x="83076" y="8716"/>
                          <a:pt x="83076" y="8716"/>
                          <a:pt x="83076" y="8716"/>
                        </a:cubicBezTo>
                        <a:cubicBezTo>
                          <a:pt x="83076" y="8716"/>
                          <a:pt x="83461" y="8426"/>
                          <a:pt x="83461" y="8426"/>
                        </a:cubicBezTo>
                        <a:cubicBezTo>
                          <a:pt x="83461" y="8426"/>
                          <a:pt x="85000" y="8135"/>
                          <a:pt x="85000" y="8135"/>
                        </a:cubicBezTo>
                        <a:cubicBezTo>
                          <a:pt x="85000" y="8135"/>
                          <a:pt x="85769" y="8426"/>
                          <a:pt x="85769" y="8426"/>
                        </a:cubicBezTo>
                        <a:cubicBezTo>
                          <a:pt x="85769" y="8426"/>
                          <a:pt x="86538" y="8716"/>
                          <a:pt x="86538" y="8716"/>
                        </a:cubicBezTo>
                        <a:cubicBezTo>
                          <a:pt x="88076" y="8426"/>
                          <a:pt x="88076" y="8426"/>
                          <a:pt x="88076" y="8426"/>
                        </a:cubicBezTo>
                        <a:cubicBezTo>
                          <a:pt x="88076" y="7845"/>
                          <a:pt x="88076" y="7845"/>
                          <a:pt x="88076" y="7845"/>
                        </a:cubicBezTo>
                        <a:cubicBezTo>
                          <a:pt x="88076" y="7845"/>
                          <a:pt x="88076" y="7554"/>
                          <a:pt x="88461" y="7554"/>
                        </a:cubicBezTo>
                        <a:cubicBezTo>
                          <a:pt x="88846" y="7263"/>
                          <a:pt x="89615" y="6973"/>
                          <a:pt x="89615" y="6973"/>
                        </a:cubicBezTo>
                        <a:cubicBezTo>
                          <a:pt x="89615" y="6973"/>
                          <a:pt x="89615" y="6392"/>
                          <a:pt x="89615" y="6101"/>
                        </a:cubicBezTo>
                        <a:cubicBezTo>
                          <a:pt x="89615" y="6101"/>
                          <a:pt x="90000" y="5520"/>
                          <a:pt x="90000" y="5520"/>
                        </a:cubicBezTo>
                        <a:cubicBezTo>
                          <a:pt x="90000" y="5520"/>
                          <a:pt x="90000" y="5520"/>
                          <a:pt x="90000" y="5520"/>
                        </a:cubicBezTo>
                        <a:cubicBezTo>
                          <a:pt x="90000" y="5520"/>
                          <a:pt x="90769" y="5230"/>
                          <a:pt x="90769" y="5230"/>
                        </a:cubicBezTo>
                        <a:cubicBezTo>
                          <a:pt x="90769" y="5230"/>
                          <a:pt x="91153" y="4358"/>
                          <a:pt x="91153" y="4358"/>
                        </a:cubicBezTo>
                        <a:cubicBezTo>
                          <a:pt x="91153" y="4358"/>
                          <a:pt x="91153" y="4067"/>
                          <a:pt x="91538" y="4067"/>
                        </a:cubicBezTo>
                        <a:cubicBezTo>
                          <a:pt x="91538" y="4067"/>
                          <a:pt x="92307" y="3486"/>
                          <a:pt x="92307" y="3486"/>
                        </a:cubicBezTo>
                        <a:cubicBezTo>
                          <a:pt x="92692" y="3196"/>
                          <a:pt x="92692" y="3196"/>
                          <a:pt x="93076" y="3196"/>
                        </a:cubicBezTo>
                        <a:cubicBezTo>
                          <a:pt x="93076" y="3196"/>
                          <a:pt x="93461" y="3777"/>
                          <a:pt x="93461" y="3777"/>
                        </a:cubicBezTo>
                        <a:cubicBezTo>
                          <a:pt x="93461" y="3777"/>
                          <a:pt x="93461" y="4067"/>
                          <a:pt x="93076" y="4358"/>
                        </a:cubicBezTo>
                        <a:cubicBezTo>
                          <a:pt x="92692" y="4358"/>
                          <a:pt x="92307" y="4648"/>
                          <a:pt x="92307" y="4648"/>
                        </a:cubicBezTo>
                        <a:cubicBezTo>
                          <a:pt x="92307" y="4648"/>
                          <a:pt x="93076" y="5230"/>
                          <a:pt x="93076" y="5230"/>
                        </a:cubicBezTo>
                        <a:cubicBezTo>
                          <a:pt x="93076" y="5230"/>
                          <a:pt x="93461" y="5520"/>
                          <a:pt x="93461" y="5520"/>
                        </a:cubicBezTo>
                        <a:cubicBezTo>
                          <a:pt x="93461" y="5811"/>
                          <a:pt x="93076" y="6101"/>
                          <a:pt x="93076" y="6101"/>
                        </a:cubicBezTo>
                        <a:cubicBezTo>
                          <a:pt x="93461" y="6101"/>
                          <a:pt x="94615" y="5811"/>
                          <a:pt x="94615" y="5811"/>
                        </a:cubicBezTo>
                        <a:cubicBezTo>
                          <a:pt x="94615" y="5811"/>
                          <a:pt x="94615" y="5230"/>
                          <a:pt x="94615" y="5230"/>
                        </a:cubicBezTo>
                        <a:cubicBezTo>
                          <a:pt x="94615" y="5230"/>
                          <a:pt x="95384" y="4648"/>
                          <a:pt x="95384" y="4648"/>
                        </a:cubicBezTo>
                        <a:cubicBezTo>
                          <a:pt x="95769" y="4648"/>
                          <a:pt x="96538" y="4939"/>
                          <a:pt x="96538" y="4939"/>
                        </a:cubicBezTo>
                        <a:cubicBezTo>
                          <a:pt x="96538" y="4939"/>
                          <a:pt x="96538" y="5230"/>
                          <a:pt x="96538" y="5520"/>
                        </a:cubicBezTo>
                        <a:cubicBezTo>
                          <a:pt x="96153" y="5520"/>
                          <a:pt x="95384" y="6101"/>
                          <a:pt x="95384" y="6101"/>
                        </a:cubicBezTo>
                        <a:cubicBezTo>
                          <a:pt x="95384" y="6392"/>
                          <a:pt x="95000" y="6392"/>
                          <a:pt x="95384" y="6392"/>
                        </a:cubicBezTo>
                        <a:cubicBezTo>
                          <a:pt x="95384" y="6682"/>
                          <a:pt x="96153" y="7263"/>
                          <a:pt x="96153" y="7263"/>
                        </a:cubicBezTo>
                        <a:cubicBezTo>
                          <a:pt x="97307" y="7845"/>
                          <a:pt x="97307" y="7845"/>
                          <a:pt x="97307" y="7845"/>
                        </a:cubicBezTo>
                        <a:cubicBezTo>
                          <a:pt x="97307" y="7845"/>
                          <a:pt x="97307" y="8135"/>
                          <a:pt x="97307" y="8426"/>
                        </a:cubicBezTo>
                        <a:cubicBezTo>
                          <a:pt x="97307" y="8426"/>
                          <a:pt x="95384" y="8426"/>
                          <a:pt x="95384" y="8426"/>
                        </a:cubicBezTo>
                        <a:cubicBezTo>
                          <a:pt x="95384" y="8426"/>
                          <a:pt x="95384" y="8426"/>
                          <a:pt x="95000" y="8716"/>
                        </a:cubicBezTo>
                        <a:cubicBezTo>
                          <a:pt x="95000" y="8716"/>
                          <a:pt x="94615" y="9007"/>
                          <a:pt x="93846" y="9297"/>
                        </a:cubicBezTo>
                        <a:cubicBezTo>
                          <a:pt x="93076" y="9297"/>
                          <a:pt x="93076" y="9297"/>
                          <a:pt x="93076" y="9588"/>
                        </a:cubicBezTo>
                        <a:cubicBezTo>
                          <a:pt x="93076" y="9878"/>
                          <a:pt x="92692" y="10169"/>
                          <a:pt x="93076" y="10460"/>
                        </a:cubicBezTo>
                        <a:cubicBezTo>
                          <a:pt x="93461" y="10750"/>
                          <a:pt x="94230" y="11041"/>
                          <a:pt x="94230" y="11041"/>
                        </a:cubicBezTo>
                        <a:cubicBezTo>
                          <a:pt x="94230" y="11041"/>
                          <a:pt x="96153" y="11622"/>
                          <a:pt x="96153" y="11331"/>
                        </a:cubicBezTo>
                        <a:cubicBezTo>
                          <a:pt x="96153" y="11331"/>
                          <a:pt x="98846" y="11331"/>
                          <a:pt x="98846" y="11331"/>
                        </a:cubicBezTo>
                        <a:cubicBezTo>
                          <a:pt x="100000" y="11331"/>
                          <a:pt x="100000" y="11331"/>
                          <a:pt x="100000" y="11331"/>
                        </a:cubicBezTo>
                        <a:cubicBezTo>
                          <a:pt x="100000" y="11331"/>
                          <a:pt x="100384" y="11912"/>
                          <a:pt x="100769" y="12203"/>
                        </a:cubicBezTo>
                        <a:cubicBezTo>
                          <a:pt x="100769" y="12203"/>
                          <a:pt x="102307" y="13075"/>
                          <a:pt x="102307" y="13075"/>
                        </a:cubicBezTo>
                        <a:cubicBezTo>
                          <a:pt x="103076" y="13075"/>
                          <a:pt x="103076" y="13075"/>
                          <a:pt x="103076" y="13075"/>
                        </a:cubicBezTo>
                        <a:cubicBezTo>
                          <a:pt x="103461" y="14237"/>
                          <a:pt x="103461" y="14237"/>
                          <a:pt x="103461" y="14237"/>
                        </a:cubicBezTo>
                        <a:cubicBezTo>
                          <a:pt x="103076" y="15108"/>
                          <a:pt x="103076" y="15108"/>
                          <a:pt x="103076" y="15108"/>
                        </a:cubicBezTo>
                        <a:cubicBezTo>
                          <a:pt x="101923" y="15399"/>
                          <a:pt x="101923" y="15399"/>
                          <a:pt x="101923" y="15399"/>
                        </a:cubicBezTo>
                        <a:cubicBezTo>
                          <a:pt x="100384" y="16271"/>
                          <a:pt x="100384" y="16271"/>
                          <a:pt x="100384" y="16271"/>
                        </a:cubicBezTo>
                        <a:cubicBezTo>
                          <a:pt x="99615" y="15980"/>
                          <a:pt x="99615" y="15980"/>
                          <a:pt x="99615" y="15980"/>
                        </a:cubicBezTo>
                        <a:cubicBezTo>
                          <a:pt x="99615" y="15980"/>
                          <a:pt x="100384" y="16561"/>
                          <a:pt x="100769" y="16561"/>
                        </a:cubicBezTo>
                        <a:cubicBezTo>
                          <a:pt x="101153" y="16561"/>
                          <a:pt x="101538" y="16852"/>
                          <a:pt x="101538" y="16852"/>
                        </a:cubicBezTo>
                        <a:cubicBezTo>
                          <a:pt x="101923" y="16852"/>
                          <a:pt x="103461" y="16852"/>
                          <a:pt x="105000" y="16852"/>
                        </a:cubicBezTo>
                        <a:cubicBezTo>
                          <a:pt x="105000" y="17142"/>
                          <a:pt x="105000" y="17142"/>
                          <a:pt x="105000" y="17433"/>
                        </a:cubicBezTo>
                        <a:cubicBezTo>
                          <a:pt x="105384" y="17723"/>
                          <a:pt x="105769" y="18886"/>
                          <a:pt x="105769" y="19176"/>
                        </a:cubicBezTo>
                        <a:cubicBezTo>
                          <a:pt x="105769" y="19176"/>
                          <a:pt x="106153" y="20338"/>
                          <a:pt x="106923" y="21210"/>
                        </a:cubicBezTo>
                        <a:cubicBezTo>
                          <a:pt x="108076" y="22372"/>
                          <a:pt x="107692" y="22663"/>
                          <a:pt x="107692" y="22663"/>
                        </a:cubicBezTo>
                        <a:cubicBezTo>
                          <a:pt x="107692" y="25278"/>
                          <a:pt x="107692" y="25278"/>
                          <a:pt x="107692" y="25278"/>
                        </a:cubicBezTo>
                        <a:cubicBezTo>
                          <a:pt x="107692" y="27602"/>
                          <a:pt x="107692" y="27602"/>
                          <a:pt x="107692" y="27602"/>
                        </a:cubicBezTo>
                        <a:cubicBezTo>
                          <a:pt x="105769" y="28765"/>
                          <a:pt x="105769" y="28765"/>
                          <a:pt x="105769" y="28765"/>
                        </a:cubicBezTo>
                        <a:cubicBezTo>
                          <a:pt x="105000" y="31380"/>
                          <a:pt x="105000" y="31380"/>
                          <a:pt x="105000" y="31380"/>
                        </a:cubicBezTo>
                        <a:cubicBezTo>
                          <a:pt x="105000" y="31380"/>
                          <a:pt x="105384" y="31670"/>
                          <a:pt x="105769" y="31670"/>
                        </a:cubicBezTo>
                        <a:cubicBezTo>
                          <a:pt x="106153" y="31961"/>
                          <a:pt x="107307" y="32832"/>
                          <a:pt x="107307" y="32832"/>
                        </a:cubicBezTo>
                        <a:cubicBezTo>
                          <a:pt x="107692" y="33123"/>
                          <a:pt x="110000" y="33995"/>
                          <a:pt x="111153" y="34285"/>
                        </a:cubicBezTo>
                        <a:cubicBezTo>
                          <a:pt x="112307" y="34866"/>
                          <a:pt x="111923" y="36319"/>
                          <a:pt x="111923" y="36319"/>
                        </a:cubicBezTo>
                        <a:cubicBezTo>
                          <a:pt x="111153" y="38353"/>
                          <a:pt x="111153" y="38353"/>
                          <a:pt x="111153" y="38353"/>
                        </a:cubicBezTo>
                        <a:cubicBezTo>
                          <a:pt x="111153" y="38353"/>
                          <a:pt x="111538" y="39515"/>
                          <a:pt x="112307" y="39515"/>
                        </a:cubicBezTo>
                        <a:cubicBezTo>
                          <a:pt x="112692" y="39225"/>
                          <a:pt x="113076" y="40968"/>
                          <a:pt x="113076" y="40968"/>
                        </a:cubicBezTo>
                        <a:cubicBezTo>
                          <a:pt x="113076" y="40968"/>
                          <a:pt x="113461" y="42711"/>
                          <a:pt x="113461" y="43002"/>
                        </a:cubicBezTo>
                        <a:cubicBezTo>
                          <a:pt x="113076" y="43292"/>
                          <a:pt x="113461" y="43583"/>
                          <a:pt x="113461" y="43583"/>
                        </a:cubicBezTo>
                        <a:cubicBezTo>
                          <a:pt x="114230" y="44745"/>
                          <a:pt x="114230" y="44745"/>
                          <a:pt x="114230" y="44745"/>
                        </a:cubicBezTo>
                        <a:cubicBezTo>
                          <a:pt x="114230" y="44745"/>
                          <a:pt x="113846" y="45617"/>
                          <a:pt x="113461" y="45907"/>
                        </a:cubicBezTo>
                        <a:cubicBezTo>
                          <a:pt x="113461" y="46489"/>
                          <a:pt x="113076" y="47070"/>
                          <a:pt x="113076" y="47070"/>
                        </a:cubicBezTo>
                        <a:cubicBezTo>
                          <a:pt x="113461" y="47941"/>
                          <a:pt x="113461" y="47941"/>
                          <a:pt x="113461" y="47941"/>
                        </a:cubicBezTo>
                        <a:cubicBezTo>
                          <a:pt x="115000" y="49394"/>
                          <a:pt x="115000" y="49394"/>
                          <a:pt x="115000" y="49394"/>
                        </a:cubicBezTo>
                        <a:cubicBezTo>
                          <a:pt x="115000" y="50847"/>
                          <a:pt x="115000" y="50847"/>
                          <a:pt x="115000" y="50847"/>
                        </a:cubicBezTo>
                        <a:cubicBezTo>
                          <a:pt x="115000" y="51719"/>
                          <a:pt x="115000" y="51719"/>
                          <a:pt x="115000" y="51719"/>
                        </a:cubicBezTo>
                        <a:cubicBezTo>
                          <a:pt x="115000" y="51719"/>
                          <a:pt x="116153" y="52009"/>
                          <a:pt x="116538" y="52009"/>
                        </a:cubicBezTo>
                        <a:cubicBezTo>
                          <a:pt x="116923" y="52009"/>
                          <a:pt x="117692" y="52590"/>
                          <a:pt x="117692" y="52590"/>
                        </a:cubicBezTo>
                        <a:cubicBezTo>
                          <a:pt x="117692" y="52590"/>
                          <a:pt x="117692" y="53171"/>
                          <a:pt x="117692" y="53462"/>
                        </a:cubicBezTo>
                        <a:cubicBezTo>
                          <a:pt x="117692" y="53462"/>
                          <a:pt x="118846" y="54624"/>
                          <a:pt x="118846" y="54624"/>
                        </a:cubicBezTo>
                        <a:cubicBezTo>
                          <a:pt x="119230" y="54915"/>
                          <a:pt x="120000" y="55786"/>
                          <a:pt x="120000" y="55786"/>
                        </a:cubicBezTo>
                        <a:cubicBezTo>
                          <a:pt x="120000" y="55786"/>
                          <a:pt x="120000" y="56368"/>
                          <a:pt x="118846" y="57239"/>
                        </a:cubicBezTo>
                        <a:cubicBezTo>
                          <a:pt x="118076" y="58111"/>
                          <a:pt x="118461" y="58111"/>
                          <a:pt x="118461" y="58401"/>
                        </a:cubicBezTo>
                        <a:cubicBezTo>
                          <a:pt x="118461" y="58692"/>
                          <a:pt x="118846" y="59273"/>
                          <a:pt x="118846" y="59273"/>
                        </a:cubicBezTo>
                        <a:cubicBezTo>
                          <a:pt x="118846" y="59273"/>
                          <a:pt x="118461" y="59564"/>
                          <a:pt x="118076" y="59854"/>
                        </a:cubicBezTo>
                        <a:cubicBezTo>
                          <a:pt x="118076" y="59854"/>
                          <a:pt x="117692" y="60435"/>
                          <a:pt x="117692" y="61016"/>
                        </a:cubicBezTo>
                        <a:cubicBezTo>
                          <a:pt x="116153" y="61888"/>
                          <a:pt x="116153" y="61888"/>
                          <a:pt x="116153" y="61888"/>
                        </a:cubicBezTo>
                        <a:cubicBezTo>
                          <a:pt x="116153" y="61888"/>
                          <a:pt x="116153" y="61888"/>
                          <a:pt x="115769" y="62179"/>
                        </a:cubicBezTo>
                        <a:cubicBezTo>
                          <a:pt x="115769" y="61888"/>
                          <a:pt x="115384" y="61888"/>
                          <a:pt x="115000" y="61888"/>
                        </a:cubicBezTo>
                        <a:cubicBezTo>
                          <a:pt x="114615" y="61598"/>
                          <a:pt x="114230" y="61307"/>
                          <a:pt x="114230" y="61307"/>
                        </a:cubicBezTo>
                        <a:cubicBezTo>
                          <a:pt x="114230" y="61307"/>
                          <a:pt x="114230" y="60726"/>
                          <a:pt x="114230" y="60145"/>
                        </a:cubicBezTo>
                        <a:cubicBezTo>
                          <a:pt x="114230" y="59564"/>
                          <a:pt x="114230" y="59854"/>
                          <a:pt x="114230" y="59564"/>
                        </a:cubicBezTo>
                        <a:cubicBezTo>
                          <a:pt x="113846" y="59273"/>
                          <a:pt x="113076" y="58983"/>
                          <a:pt x="112307" y="58692"/>
                        </a:cubicBezTo>
                        <a:cubicBezTo>
                          <a:pt x="111538" y="58692"/>
                          <a:pt x="110000" y="58692"/>
                          <a:pt x="109615" y="58983"/>
                        </a:cubicBezTo>
                        <a:cubicBezTo>
                          <a:pt x="109615" y="58983"/>
                          <a:pt x="109615" y="60145"/>
                          <a:pt x="109615" y="60145"/>
                        </a:cubicBezTo>
                        <a:cubicBezTo>
                          <a:pt x="110384" y="61016"/>
                          <a:pt x="110384" y="61016"/>
                          <a:pt x="110384" y="61016"/>
                        </a:cubicBezTo>
                        <a:cubicBezTo>
                          <a:pt x="110000" y="61598"/>
                          <a:pt x="110000" y="61598"/>
                          <a:pt x="110000" y="61598"/>
                        </a:cubicBezTo>
                        <a:cubicBezTo>
                          <a:pt x="110000" y="61598"/>
                          <a:pt x="106538" y="62179"/>
                          <a:pt x="105384" y="62179"/>
                        </a:cubicBezTo>
                        <a:cubicBezTo>
                          <a:pt x="104230" y="62179"/>
                          <a:pt x="104615" y="62760"/>
                          <a:pt x="104615" y="62760"/>
                        </a:cubicBezTo>
                        <a:cubicBezTo>
                          <a:pt x="103846" y="63922"/>
                          <a:pt x="103846" y="63922"/>
                          <a:pt x="103846" y="63922"/>
                        </a:cubicBezTo>
                        <a:cubicBezTo>
                          <a:pt x="103076" y="64503"/>
                          <a:pt x="103076" y="64503"/>
                          <a:pt x="103076" y="64503"/>
                        </a:cubicBezTo>
                        <a:cubicBezTo>
                          <a:pt x="100769" y="65084"/>
                          <a:pt x="100769" y="65084"/>
                          <a:pt x="100769" y="65084"/>
                        </a:cubicBezTo>
                        <a:cubicBezTo>
                          <a:pt x="100769" y="65084"/>
                          <a:pt x="98461" y="66537"/>
                          <a:pt x="98076" y="66537"/>
                        </a:cubicBezTo>
                        <a:cubicBezTo>
                          <a:pt x="96538" y="67409"/>
                          <a:pt x="96538" y="67409"/>
                          <a:pt x="96538" y="67409"/>
                        </a:cubicBezTo>
                        <a:cubicBezTo>
                          <a:pt x="96538" y="67409"/>
                          <a:pt x="96153" y="67409"/>
                          <a:pt x="95000" y="67990"/>
                        </a:cubicBezTo>
                        <a:cubicBezTo>
                          <a:pt x="93461" y="68280"/>
                          <a:pt x="94230" y="68861"/>
                          <a:pt x="93846" y="69152"/>
                        </a:cubicBezTo>
                        <a:cubicBezTo>
                          <a:pt x="93846" y="69733"/>
                          <a:pt x="93461" y="69733"/>
                          <a:pt x="92692" y="70024"/>
                        </a:cubicBezTo>
                        <a:cubicBezTo>
                          <a:pt x="92307" y="70024"/>
                          <a:pt x="91153" y="69733"/>
                          <a:pt x="90384" y="69733"/>
                        </a:cubicBezTo>
                        <a:cubicBezTo>
                          <a:pt x="90000" y="69733"/>
                          <a:pt x="88846" y="70314"/>
                          <a:pt x="88076" y="70314"/>
                        </a:cubicBezTo>
                        <a:cubicBezTo>
                          <a:pt x="86923" y="70314"/>
                          <a:pt x="86923" y="70314"/>
                          <a:pt x="86923" y="70314"/>
                        </a:cubicBezTo>
                        <a:cubicBezTo>
                          <a:pt x="85384" y="71767"/>
                          <a:pt x="85384" y="71767"/>
                          <a:pt x="85384" y="71767"/>
                        </a:cubicBezTo>
                        <a:cubicBezTo>
                          <a:pt x="84230" y="73510"/>
                          <a:pt x="84230" y="73510"/>
                          <a:pt x="84230" y="73510"/>
                        </a:cubicBezTo>
                        <a:cubicBezTo>
                          <a:pt x="83846" y="72639"/>
                          <a:pt x="83846" y="72639"/>
                          <a:pt x="83846" y="72639"/>
                        </a:cubicBezTo>
                        <a:cubicBezTo>
                          <a:pt x="83461" y="71476"/>
                          <a:pt x="83461" y="71476"/>
                          <a:pt x="83461" y="71476"/>
                        </a:cubicBezTo>
                        <a:cubicBezTo>
                          <a:pt x="81538" y="71476"/>
                          <a:pt x="81538" y="71476"/>
                          <a:pt x="81538" y="71476"/>
                        </a:cubicBezTo>
                        <a:cubicBezTo>
                          <a:pt x="81923" y="72348"/>
                          <a:pt x="81923" y="72348"/>
                          <a:pt x="81923" y="72348"/>
                        </a:cubicBezTo>
                        <a:cubicBezTo>
                          <a:pt x="81923" y="72348"/>
                          <a:pt x="82692" y="74382"/>
                          <a:pt x="83076" y="74673"/>
                        </a:cubicBezTo>
                        <a:cubicBezTo>
                          <a:pt x="83461" y="74963"/>
                          <a:pt x="83846" y="74963"/>
                          <a:pt x="84615" y="75254"/>
                        </a:cubicBezTo>
                        <a:cubicBezTo>
                          <a:pt x="85769" y="75835"/>
                          <a:pt x="85769" y="75835"/>
                          <a:pt x="86923" y="76416"/>
                        </a:cubicBezTo>
                        <a:cubicBezTo>
                          <a:pt x="88076" y="76997"/>
                          <a:pt x="87692" y="77578"/>
                          <a:pt x="87692" y="77869"/>
                        </a:cubicBezTo>
                        <a:cubicBezTo>
                          <a:pt x="87692" y="78450"/>
                          <a:pt x="87692" y="78450"/>
                          <a:pt x="86923" y="79031"/>
                        </a:cubicBezTo>
                        <a:cubicBezTo>
                          <a:pt x="86153" y="79903"/>
                          <a:pt x="86923" y="80484"/>
                          <a:pt x="86923" y="80484"/>
                        </a:cubicBezTo>
                        <a:cubicBezTo>
                          <a:pt x="86923" y="80484"/>
                          <a:pt x="87307" y="81065"/>
                          <a:pt x="88076" y="81646"/>
                        </a:cubicBezTo>
                        <a:cubicBezTo>
                          <a:pt x="88846" y="82227"/>
                          <a:pt x="88461" y="82518"/>
                          <a:pt x="88846" y="83389"/>
                        </a:cubicBezTo>
                        <a:cubicBezTo>
                          <a:pt x="88846" y="84261"/>
                          <a:pt x="88846" y="83970"/>
                          <a:pt x="89615" y="84842"/>
                        </a:cubicBezTo>
                        <a:cubicBezTo>
                          <a:pt x="90384" y="85423"/>
                          <a:pt x="90000" y="85133"/>
                          <a:pt x="90769" y="85714"/>
                        </a:cubicBezTo>
                        <a:cubicBezTo>
                          <a:pt x="91538" y="86295"/>
                          <a:pt x="91538" y="86585"/>
                          <a:pt x="91538" y="86585"/>
                        </a:cubicBezTo>
                        <a:cubicBezTo>
                          <a:pt x="91538" y="86585"/>
                          <a:pt x="93846" y="86004"/>
                          <a:pt x="94615" y="86585"/>
                        </a:cubicBezTo>
                        <a:cubicBezTo>
                          <a:pt x="95384" y="87167"/>
                          <a:pt x="95000" y="86876"/>
                          <a:pt x="96538" y="87748"/>
                        </a:cubicBezTo>
                        <a:cubicBezTo>
                          <a:pt x="97692" y="88910"/>
                          <a:pt x="96538" y="88329"/>
                          <a:pt x="96923" y="89200"/>
                        </a:cubicBezTo>
                        <a:cubicBezTo>
                          <a:pt x="97307" y="89782"/>
                          <a:pt x="97692" y="89491"/>
                          <a:pt x="97692" y="89491"/>
                        </a:cubicBezTo>
                        <a:cubicBezTo>
                          <a:pt x="97692" y="89491"/>
                          <a:pt x="98076" y="89782"/>
                          <a:pt x="98846" y="89782"/>
                        </a:cubicBezTo>
                        <a:cubicBezTo>
                          <a:pt x="99615" y="89782"/>
                          <a:pt x="99615" y="90363"/>
                          <a:pt x="99615" y="90944"/>
                        </a:cubicBezTo>
                        <a:cubicBezTo>
                          <a:pt x="100000" y="91525"/>
                          <a:pt x="100000" y="91525"/>
                          <a:pt x="100769" y="92106"/>
                        </a:cubicBezTo>
                        <a:cubicBezTo>
                          <a:pt x="101153" y="92397"/>
                          <a:pt x="101538" y="92106"/>
                          <a:pt x="102692" y="91815"/>
                        </a:cubicBezTo>
                        <a:cubicBezTo>
                          <a:pt x="103461" y="91815"/>
                          <a:pt x="103076" y="92397"/>
                          <a:pt x="103076" y="92687"/>
                        </a:cubicBezTo>
                        <a:cubicBezTo>
                          <a:pt x="103076" y="92978"/>
                          <a:pt x="103846" y="92978"/>
                          <a:pt x="104615" y="93268"/>
                        </a:cubicBezTo>
                        <a:cubicBezTo>
                          <a:pt x="105384" y="93559"/>
                          <a:pt x="105000" y="93559"/>
                          <a:pt x="105769" y="94140"/>
                        </a:cubicBezTo>
                        <a:cubicBezTo>
                          <a:pt x="105769" y="94140"/>
                          <a:pt x="105769" y="94140"/>
                          <a:pt x="105769" y="94430"/>
                        </a:cubicBezTo>
                        <a:close/>
                        <a:moveTo>
                          <a:pt x="21153" y="114479"/>
                        </a:moveTo>
                        <a:cubicBezTo>
                          <a:pt x="21153" y="114479"/>
                          <a:pt x="21153" y="114479"/>
                          <a:pt x="21153" y="114479"/>
                        </a:cubicBezTo>
                        <a:cubicBezTo>
                          <a:pt x="21153" y="114479"/>
                          <a:pt x="21153" y="114479"/>
                          <a:pt x="21153" y="114479"/>
                        </a:cubicBezTo>
                        <a:cubicBezTo>
                          <a:pt x="21153" y="114479"/>
                          <a:pt x="21153" y="114479"/>
                          <a:pt x="21153" y="114479"/>
                        </a:cubicBezTo>
                        <a:close/>
                        <a:moveTo>
                          <a:pt x="49230" y="116222"/>
                        </a:moveTo>
                        <a:cubicBezTo>
                          <a:pt x="49230" y="116222"/>
                          <a:pt x="49230" y="116222"/>
                          <a:pt x="49230" y="116222"/>
                        </a:cubicBezTo>
                        <a:cubicBezTo>
                          <a:pt x="49230" y="116222"/>
                          <a:pt x="49230" y="116222"/>
                          <a:pt x="49230" y="116222"/>
                        </a:cubicBezTo>
                        <a:cubicBezTo>
                          <a:pt x="49230" y="116222"/>
                          <a:pt x="49230" y="116222"/>
                          <a:pt x="49230" y="116222"/>
                        </a:cubicBezTo>
                        <a:cubicBezTo>
                          <a:pt x="49230" y="116222"/>
                          <a:pt x="49230" y="116222"/>
                          <a:pt x="49230" y="116222"/>
                        </a:cubicBezTo>
                        <a:close/>
                        <a:moveTo>
                          <a:pt x="120000" y="59273"/>
                        </a:moveTo>
                        <a:cubicBezTo>
                          <a:pt x="120000" y="59273"/>
                          <a:pt x="120000" y="59273"/>
                          <a:pt x="120000" y="59273"/>
                        </a:cubicBezTo>
                        <a:cubicBezTo>
                          <a:pt x="120000" y="59273"/>
                          <a:pt x="120000" y="59273"/>
                          <a:pt x="120000" y="59273"/>
                        </a:cubicBezTo>
                        <a:cubicBezTo>
                          <a:pt x="120000" y="59273"/>
                          <a:pt x="120000" y="59273"/>
                          <a:pt x="120000" y="59273"/>
                        </a:cubicBezTo>
                        <a:close/>
                      </a:path>
                    </a:pathLst>
                  </a:custGeom>
                  <a:solidFill>
                    <a:sysClr val="window" lastClr="FFFFFF">
                      <a:lumMod val="75000"/>
                    </a:sys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1" name="Shape 2047"/>
                  <p:cNvSpPr/>
                  <p:nvPr/>
                </p:nvSpPr>
                <p:spPr>
                  <a:xfrm>
                    <a:off x="4736816" y="3211660"/>
                    <a:ext cx="1121418" cy="1240146"/>
                  </a:xfrm>
                  <a:custGeom>
                    <a:avLst/>
                    <a:gdLst/>
                    <a:ahLst/>
                    <a:cxnLst/>
                    <a:rect l="0" t="0" r="0" b="0"/>
                    <a:pathLst>
                      <a:path w="120000" h="120000" extrusionOk="0">
                        <a:moveTo>
                          <a:pt x="91707" y="101818"/>
                        </a:moveTo>
                        <a:cubicBezTo>
                          <a:pt x="91951" y="103315"/>
                          <a:pt x="91951" y="103315"/>
                          <a:pt x="91951" y="103315"/>
                        </a:cubicBezTo>
                        <a:cubicBezTo>
                          <a:pt x="91951" y="103315"/>
                          <a:pt x="90487" y="105454"/>
                          <a:pt x="90487" y="105668"/>
                        </a:cubicBezTo>
                        <a:cubicBezTo>
                          <a:pt x="90487" y="105882"/>
                          <a:pt x="90000" y="106737"/>
                          <a:pt x="89512" y="107379"/>
                        </a:cubicBezTo>
                        <a:cubicBezTo>
                          <a:pt x="89268" y="107807"/>
                          <a:pt x="87804" y="109518"/>
                          <a:pt x="87804" y="109518"/>
                        </a:cubicBezTo>
                        <a:cubicBezTo>
                          <a:pt x="87804" y="109518"/>
                          <a:pt x="87804" y="110160"/>
                          <a:pt x="88292" y="110588"/>
                        </a:cubicBezTo>
                        <a:cubicBezTo>
                          <a:pt x="88536" y="111016"/>
                          <a:pt x="89268" y="111657"/>
                          <a:pt x="89268" y="112299"/>
                        </a:cubicBezTo>
                        <a:cubicBezTo>
                          <a:pt x="89268" y="112727"/>
                          <a:pt x="90487" y="113368"/>
                          <a:pt x="90487" y="113368"/>
                        </a:cubicBezTo>
                        <a:cubicBezTo>
                          <a:pt x="90731" y="114652"/>
                          <a:pt x="90731" y="114652"/>
                          <a:pt x="90731" y="114652"/>
                        </a:cubicBezTo>
                        <a:cubicBezTo>
                          <a:pt x="90731" y="114652"/>
                          <a:pt x="91463" y="115294"/>
                          <a:pt x="91463" y="115508"/>
                        </a:cubicBezTo>
                        <a:cubicBezTo>
                          <a:pt x="91219" y="115721"/>
                          <a:pt x="90000" y="116791"/>
                          <a:pt x="90000" y="116791"/>
                        </a:cubicBezTo>
                        <a:cubicBezTo>
                          <a:pt x="89756" y="118074"/>
                          <a:pt x="89756" y="118074"/>
                          <a:pt x="89756" y="118074"/>
                        </a:cubicBezTo>
                        <a:cubicBezTo>
                          <a:pt x="89756" y="118716"/>
                          <a:pt x="89756" y="118716"/>
                          <a:pt x="89756" y="118716"/>
                        </a:cubicBezTo>
                        <a:cubicBezTo>
                          <a:pt x="89756" y="118716"/>
                          <a:pt x="90000" y="118716"/>
                          <a:pt x="89756" y="119358"/>
                        </a:cubicBezTo>
                        <a:cubicBezTo>
                          <a:pt x="89512" y="119786"/>
                          <a:pt x="89512" y="119786"/>
                          <a:pt x="89268" y="119786"/>
                        </a:cubicBezTo>
                        <a:cubicBezTo>
                          <a:pt x="89024" y="120000"/>
                          <a:pt x="86585" y="119786"/>
                          <a:pt x="86585" y="119786"/>
                        </a:cubicBezTo>
                        <a:cubicBezTo>
                          <a:pt x="84146" y="119358"/>
                          <a:pt x="84146" y="119358"/>
                          <a:pt x="84146" y="119358"/>
                        </a:cubicBezTo>
                        <a:cubicBezTo>
                          <a:pt x="84146" y="119358"/>
                          <a:pt x="82926" y="119144"/>
                          <a:pt x="82439" y="118930"/>
                        </a:cubicBezTo>
                        <a:cubicBezTo>
                          <a:pt x="82195" y="118716"/>
                          <a:pt x="81707" y="118502"/>
                          <a:pt x="81707" y="118502"/>
                        </a:cubicBezTo>
                        <a:cubicBezTo>
                          <a:pt x="80975" y="116577"/>
                          <a:pt x="80975" y="116577"/>
                          <a:pt x="80975" y="116577"/>
                        </a:cubicBezTo>
                        <a:cubicBezTo>
                          <a:pt x="79024" y="116363"/>
                          <a:pt x="79024" y="116363"/>
                          <a:pt x="79024" y="116363"/>
                        </a:cubicBezTo>
                        <a:cubicBezTo>
                          <a:pt x="74146" y="115721"/>
                          <a:pt x="74146" y="115721"/>
                          <a:pt x="74146" y="115721"/>
                        </a:cubicBezTo>
                        <a:cubicBezTo>
                          <a:pt x="74146" y="115721"/>
                          <a:pt x="72439" y="114438"/>
                          <a:pt x="72195" y="114224"/>
                        </a:cubicBezTo>
                        <a:cubicBezTo>
                          <a:pt x="71707" y="114010"/>
                          <a:pt x="71219" y="113368"/>
                          <a:pt x="71219" y="113368"/>
                        </a:cubicBezTo>
                        <a:cubicBezTo>
                          <a:pt x="70243" y="113155"/>
                          <a:pt x="70243" y="113155"/>
                          <a:pt x="70243" y="113155"/>
                        </a:cubicBezTo>
                        <a:cubicBezTo>
                          <a:pt x="68292" y="111443"/>
                          <a:pt x="68292" y="111443"/>
                          <a:pt x="68292" y="111443"/>
                        </a:cubicBezTo>
                        <a:cubicBezTo>
                          <a:pt x="66341" y="111443"/>
                          <a:pt x="66341" y="111443"/>
                          <a:pt x="66341" y="111443"/>
                        </a:cubicBezTo>
                        <a:cubicBezTo>
                          <a:pt x="64878" y="110588"/>
                          <a:pt x="64878" y="110588"/>
                          <a:pt x="64878" y="110588"/>
                        </a:cubicBezTo>
                        <a:cubicBezTo>
                          <a:pt x="63170" y="110588"/>
                          <a:pt x="63170" y="110588"/>
                          <a:pt x="63170" y="110588"/>
                        </a:cubicBezTo>
                        <a:cubicBezTo>
                          <a:pt x="63170" y="110588"/>
                          <a:pt x="61951" y="110374"/>
                          <a:pt x="61951" y="110160"/>
                        </a:cubicBezTo>
                        <a:cubicBezTo>
                          <a:pt x="61707" y="109732"/>
                          <a:pt x="60243" y="109090"/>
                          <a:pt x="60243" y="109090"/>
                        </a:cubicBezTo>
                        <a:cubicBezTo>
                          <a:pt x="60243" y="109090"/>
                          <a:pt x="60243" y="107807"/>
                          <a:pt x="60243" y="107593"/>
                        </a:cubicBezTo>
                        <a:cubicBezTo>
                          <a:pt x="60243" y="107379"/>
                          <a:pt x="60487" y="105240"/>
                          <a:pt x="60487" y="105240"/>
                        </a:cubicBezTo>
                        <a:cubicBezTo>
                          <a:pt x="61463" y="104171"/>
                          <a:pt x="61463" y="104171"/>
                          <a:pt x="61463" y="104171"/>
                        </a:cubicBezTo>
                        <a:cubicBezTo>
                          <a:pt x="62926" y="103743"/>
                          <a:pt x="62926" y="103743"/>
                          <a:pt x="62926" y="103743"/>
                        </a:cubicBezTo>
                        <a:cubicBezTo>
                          <a:pt x="63414" y="104598"/>
                          <a:pt x="63414" y="104598"/>
                          <a:pt x="63414" y="104598"/>
                        </a:cubicBezTo>
                        <a:cubicBezTo>
                          <a:pt x="65121" y="105240"/>
                          <a:pt x="65121" y="105240"/>
                          <a:pt x="65121" y="105240"/>
                        </a:cubicBezTo>
                        <a:cubicBezTo>
                          <a:pt x="66097" y="104598"/>
                          <a:pt x="66097" y="104598"/>
                          <a:pt x="66097" y="104598"/>
                        </a:cubicBezTo>
                        <a:cubicBezTo>
                          <a:pt x="66585" y="103315"/>
                          <a:pt x="66585" y="103315"/>
                          <a:pt x="66585" y="103315"/>
                        </a:cubicBezTo>
                        <a:cubicBezTo>
                          <a:pt x="68048" y="102887"/>
                          <a:pt x="68048" y="102887"/>
                          <a:pt x="68048" y="102887"/>
                        </a:cubicBezTo>
                        <a:cubicBezTo>
                          <a:pt x="69756" y="103529"/>
                          <a:pt x="69756" y="103529"/>
                          <a:pt x="69756" y="103529"/>
                        </a:cubicBezTo>
                        <a:cubicBezTo>
                          <a:pt x="70975" y="104598"/>
                          <a:pt x="70975" y="104598"/>
                          <a:pt x="70975" y="104598"/>
                        </a:cubicBezTo>
                        <a:cubicBezTo>
                          <a:pt x="73414" y="105240"/>
                          <a:pt x="73414" y="105240"/>
                          <a:pt x="73414" y="105240"/>
                        </a:cubicBezTo>
                        <a:cubicBezTo>
                          <a:pt x="75609" y="104812"/>
                          <a:pt x="75609" y="104812"/>
                          <a:pt x="75609" y="104812"/>
                        </a:cubicBezTo>
                        <a:cubicBezTo>
                          <a:pt x="77560" y="104598"/>
                          <a:pt x="77560" y="104598"/>
                          <a:pt x="77560" y="104598"/>
                        </a:cubicBezTo>
                        <a:cubicBezTo>
                          <a:pt x="77560" y="104598"/>
                          <a:pt x="78536" y="104598"/>
                          <a:pt x="79024" y="104598"/>
                        </a:cubicBezTo>
                        <a:cubicBezTo>
                          <a:pt x="79268" y="104385"/>
                          <a:pt x="80731" y="103957"/>
                          <a:pt x="80731" y="103957"/>
                        </a:cubicBezTo>
                        <a:cubicBezTo>
                          <a:pt x="83170" y="103315"/>
                          <a:pt x="83170" y="103315"/>
                          <a:pt x="83170" y="103315"/>
                        </a:cubicBezTo>
                        <a:cubicBezTo>
                          <a:pt x="84634" y="101604"/>
                          <a:pt x="84634" y="101604"/>
                          <a:pt x="84634" y="101604"/>
                        </a:cubicBezTo>
                        <a:cubicBezTo>
                          <a:pt x="86585" y="102245"/>
                          <a:pt x="86585" y="102245"/>
                          <a:pt x="86585" y="102245"/>
                        </a:cubicBezTo>
                        <a:cubicBezTo>
                          <a:pt x="88292" y="102459"/>
                          <a:pt x="88292" y="102459"/>
                          <a:pt x="88292" y="102459"/>
                        </a:cubicBezTo>
                        <a:cubicBezTo>
                          <a:pt x="89024" y="101390"/>
                          <a:pt x="89024" y="101390"/>
                          <a:pt x="89024" y="101390"/>
                        </a:cubicBezTo>
                        <a:cubicBezTo>
                          <a:pt x="90731" y="100534"/>
                          <a:pt x="90731" y="100534"/>
                          <a:pt x="90731" y="100534"/>
                        </a:cubicBezTo>
                        <a:cubicBezTo>
                          <a:pt x="91707" y="101818"/>
                          <a:pt x="91707" y="101818"/>
                          <a:pt x="91707" y="101818"/>
                        </a:cubicBezTo>
                        <a:close/>
                        <a:moveTo>
                          <a:pt x="94634" y="100320"/>
                        </a:moveTo>
                        <a:cubicBezTo>
                          <a:pt x="94634" y="100320"/>
                          <a:pt x="94634" y="100320"/>
                          <a:pt x="94634" y="100320"/>
                        </a:cubicBezTo>
                        <a:cubicBezTo>
                          <a:pt x="93658" y="101176"/>
                          <a:pt x="93658" y="101176"/>
                          <a:pt x="93658" y="101176"/>
                        </a:cubicBezTo>
                        <a:cubicBezTo>
                          <a:pt x="92682" y="101818"/>
                          <a:pt x="92682" y="101818"/>
                          <a:pt x="92682" y="101818"/>
                        </a:cubicBezTo>
                        <a:cubicBezTo>
                          <a:pt x="92682" y="101818"/>
                          <a:pt x="92926" y="102673"/>
                          <a:pt x="92926" y="103101"/>
                        </a:cubicBezTo>
                        <a:cubicBezTo>
                          <a:pt x="93170" y="103529"/>
                          <a:pt x="93902" y="104598"/>
                          <a:pt x="93902" y="104598"/>
                        </a:cubicBezTo>
                        <a:cubicBezTo>
                          <a:pt x="96341" y="104598"/>
                          <a:pt x="96341" y="104598"/>
                          <a:pt x="96341" y="104598"/>
                        </a:cubicBezTo>
                        <a:cubicBezTo>
                          <a:pt x="98048" y="103743"/>
                          <a:pt x="98048" y="103743"/>
                          <a:pt x="98048" y="103743"/>
                        </a:cubicBezTo>
                        <a:cubicBezTo>
                          <a:pt x="98292" y="102245"/>
                          <a:pt x="98292" y="102245"/>
                          <a:pt x="98292" y="102245"/>
                        </a:cubicBezTo>
                        <a:cubicBezTo>
                          <a:pt x="99024" y="100748"/>
                          <a:pt x="99024" y="100748"/>
                          <a:pt x="99024" y="100748"/>
                        </a:cubicBezTo>
                        <a:cubicBezTo>
                          <a:pt x="100487" y="99893"/>
                          <a:pt x="100487" y="99893"/>
                          <a:pt x="100487" y="99893"/>
                        </a:cubicBezTo>
                        <a:cubicBezTo>
                          <a:pt x="101707" y="98823"/>
                          <a:pt x="101707" y="98823"/>
                          <a:pt x="101707" y="98823"/>
                        </a:cubicBezTo>
                        <a:cubicBezTo>
                          <a:pt x="102439" y="97754"/>
                          <a:pt x="102439" y="97754"/>
                          <a:pt x="102439" y="97754"/>
                        </a:cubicBezTo>
                        <a:cubicBezTo>
                          <a:pt x="102682" y="94973"/>
                          <a:pt x="102682" y="94973"/>
                          <a:pt x="102682" y="94973"/>
                        </a:cubicBezTo>
                        <a:cubicBezTo>
                          <a:pt x="103414" y="92834"/>
                          <a:pt x="103414" y="92834"/>
                          <a:pt x="103414" y="92834"/>
                        </a:cubicBezTo>
                        <a:cubicBezTo>
                          <a:pt x="107317" y="91550"/>
                          <a:pt x="107317" y="91550"/>
                          <a:pt x="107317" y="91550"/>
                        </a:cubicBezTo>
                        <a:cubicBezTo>
                          <a:pt x="108048" y="91122"/>
                          <a:pt x="108048" y="91122"/>
                          <a:pt x="108048" y="91122"/>
                        </a:cubicBezTo>
                        <a:cubicBezTo>
                          <a:pt x="108048" y="91122"/>
                          <a:pt x="108048" y="90695"/>
                          <a:pt x="107804" y="90267"/>
                        </a:cubicBezTo>
                        <a:cubicBezTo>
                          <a:pt x="107804" y="90053"/>
                          <a:pt x="107073" y="89411"/>
                          <a:pt x="107073" y="89411"/>
                        </a:cubicBezTo>
                        <a:cubicBezTo>
                          <a:pt x="107073" y="89411"/>
                          <a:pt x="107317" y="88770"/>
                          <a:pt x="107317" y="88556"/>
                        </a:cubicBezTo>
                        <a:cubicBezTo>
                          <a:pt x="107317" y="88342"/>
                          <a:pt x="107073" y="86844"/>
                          <a:pt x="107073" y="86844"/>
                        </a:cubicBezTo>
                        <a:cubicBezTo>
                          <a:pt x="106585" y="85347"/>
                          <a:pt x="106585" y="85347"/>
                          <a:pt x="106585" y="85347"/>
                        </a:cubicBezTo>
                        <a:cubicBezTo>
                          <a:pt x="106585" y="85347"/>
                          <a:pt x="106097" y="85347"/>
                          <a:pt x="105365" y="84919"/>
                        </a:cubicBezTo>
                        <a:cubicBezTo>
                          <a:pt x="104634" y="84705"/>
                          <a:pt x="103414" y="84064"/>
                          <a:pt x="103414" y="84064"/>
                        </a:cubicBezTo>
                        <a:cubicBezTo>
                          <a:pt x="102195" y="83636"/>
                          <a:pt x="102195" y="83636"/>
                          <a:pt x="102195" y="83636"/>
                        </a:cubicBezTo>
                        <a:cubicBezTo>
                          <a:pt x="100731" y="83422"/>
                          <a:pt x="100731" y="83422"/>
                          <a:pt x="100731" y="83422"/>
                        </a:cubicBezTo>
                        <a:cubicBezTo>
                          <a:pt x="100243" y="82352"/>
                          <a:pt x="100243" y="82352"/>
                          <a:pt x="100243" y="82352"/>
                        </a:cubicBezTo>
                        <a:cubicBezTo>
                          <a:pt x="101219" y="79358"/>
                          <a:pt x="101219" y="79358"/>
                          <a:pt x="101219" y="79358"/>
                        </a:cubicBezTo>
                        <a:cubicBezTo>
                          <a:pt x="100487" y="77860"/>
                          <a:pt x="100487" y="77860"/>
                          <a:pt x="100487" y="77860"/>
                        </a:cubicBezTo>
                        <a:cubicBezTo>
                          <a:pt x="102682" y="75721"/>
                          <a:pt x="102682" y="75721"/>
                          <a:pt x="102682" y="75721"/>
                        </a:cubicBezTo>
                        <a:cubicBezTo>
                          <a:pt x="103658" y="74224"/>
                          <a:pt x="103658" y="74224"/>
                          <a:pt x="103658" y="74224"/>
                        </a:cubicBezTo>
                        <a:cubicBezTo>
                          <a:pt x="104878" y="73368"/>
                          <a:pt x="104878" y="73368"/>
                          <a:pt x="104878" y="73368"/>
                        </a:cubicBezTo>
                        <a:cubicBezTo>
                          <a:pt x="106829" y="73796"/>
                          <a:pt x="106829" y="73796"/>
                          <a:pt x="106829" y="73796"/>
                        </a:cubicBezTo>
                        <a:cubicBezTo>
                          <a:pt x="107560" y="74652"/>
                          <a:pt x="107560" y="74652"/>
                          <a:pt x="107560" y="74652"/>
                        </a:cubicBezTo>
                        <a:cubicBezTo>
                          <a:pt x="108780" y="74866"/>
                          <a:pt x="108780" y="74866"/>
                          <a:pt x="108780" y="74866"/>
                        </a:cubicBezTo>
                        <a:cubicBezTo>
                          <a:pt x="110975" y="74866"/>
                          <a:pt x="110975" y="74866"/>
                          <a:pt x="110975" y="74866"/>
                        </a:cubicBezTo>
                        <a:cubicBezTo>
                          <a:pt x="113414" y="75294"/>
                          <a:pt x="113414" y="75294"/>
                          <a:pt x="113414" y="75294"/>
                        </a:cubicBezTo>
                        <a:cubicBezTo>
                          <a:pt x="114390" y="76577"/>
                          <a:pt x="114390" y="76577"/>
                          <a:pt x="114390" y="76577"/>
                        </a:cubicBezTo>
                        <a:cubicBezTo>
                          <a:pt x="115365" y="78074"/>
                          <a:pt x="115365" y="78074"/>
                          <a:pt x="115365" y="78074"/>
                        </a:cubicBezTo>
                        <a:cubicBezTo>
                          <a:pt x="115365" y="78074"/>
                          <a:pt x="115853" y="78716"/>
                          <a:pt x="116097" y="78930"/>
                        </a:cubicBezTo>
                        <a:cubicBezTo>
                          <a:pt x="116097" y="78930"/>
                          <a:pt x="117073" y="79572"/>
                          <a:pt x="117317" y="79572"/>
                        </a:cubicBezTo>
                        <a:cubicBezTo>
                          <a:pt x="117560" y="79786"/>
                          <a:pt x="119024" y="80000"/>
                          <a:pt x="119024" y="80000"/>
                        </a:cubicBezTo>
                        <a:cubicBezTo>
                          <a:pt x="119024" y="80000"/>
                          <a:pt x="119024" y="78502"/>
                          <a:pt x="119268" y="78074"/>
                        </a:cubicBezTo>
                        <a:cubicBezTo>
                          <a:pt x="119512" y="77860"/>
                          <a:pt x="120000" y="77005"/>
                          <a:pt x="120000" y="76791"/>
                        </a:cubicBezTo>
                        <a:cubicBezTo>
                          <a:pt x="120000" y="76577"/>
                          <a:pt x="119512" y="75080"/>
                          <a:pt x="119512" y="75080"/>
                        </a:cubicBezTo>
                        <a:cubicBezTo>
                          <a:pt x="117804" y="73368"/>
                          <a:pt x="117804" y="73368"/>
                          <a:pt x="117804" y="73368"/>
                        </a:cubicBezTo>
                        <a:cubicBezTo>
                          <a:pt x="116097" y="72299"/>
                          <a:pt x="116097" y="72299"/>
                          <a:pt x="116097" y="72299"/>
                        </a:cubicBezTo>
                        <a:cubicBezTo>
                          <a:pt x="111951" y="69946"/>
                          <a:pt x="111951" y="69946"/>
                          <a:pt x="111951" y="69946"/>
                        </a:cubicBezTo>
                        <a:cubicBezTo>
                          <a:pt x="106097" y="68235"/>
                          <a:pt x="106097" y="68235"/>
                          <a:pt x="106097" y="68235"/>
                        </a:cubicBezTo>
                        <a:cubicBezTo>
                          <a:pt x="102195" y="66096"/>
                          <a:pt x="102195" y="66096"/>
                          <a:pt x="102195" y="66096"/>
                        </a:cubicBezTo>
                        <a:cubicBezTo>
                          <a:pt x="99024" y="65454"/>
                          <a:pt x="99024" y="65454"/>
                          <a:pt x="99024" y="65454"/>
                        </a:cubicBezTo>
                        <a:cubicBezTo>
                          <a:pt x="99024" y="65454"/>
                          <a:pt x="95609" y="63957"/>
                          <a:pt x="95365" y="63957"/>
                        </a:cubicBezTo>
                        <a:cubicBezTo>
                          <a:pt x="95121" y="63957"/>
                          <a:pt x="94390" y="63743"/>
                          <a:pt x="94390" y="63743"/>
                        </a:cubicBezTo>
                        <a:cubicBezTo>
                          <a:pt x="94390" y="63743"/>
                          <a:pt x="92439" y="63315"/>
                          <a:pt x="92439" y="63101"/>
                        </a:cubicBezTo>
                        <a:cubicBezTo>
                          <a:pt x="92195" y="62887"/>
                          <a:pt x="91951" y="62245"/>
                          <a:pt x="91707" y="62032"/>
                        </a:cubicBezTo>
                        <a:cubicBezTo>
                          <a:pt x="91707" y="61818"/>
                          <a:pt x="91951" y="61176"/>
                          <a:pt x="91951" y="61176"/>
                        </a:cubicBezTo>
                        <a:cubicBezTo>
                          <a:pt x="92926" y="60320"/>
                          <a:pt x="92926" y="60320"/>
                          <a:pt x="92926" y="60320"/>
                        </a:cubicBezTo>
                        <a:cubicBezTo>
                          <a:pt x="92926" y="60320"/>
                          <a:pt x="93902" y="59465"/>
                          <a:pt x="93902" y="59251"/>
                        </a:cubicBezTo>
                        <a:cubicBezTo>
                          <a:pt x="93902" y="59037"/>
                          <a:pt x="94146" y="57754"/>
                          <a:pt x="94146" y="57754"/>
                        </a:cubicBezTo>
                        <a:cubicBezTo>
                          <a:pt x="92926" y="57326"/>
                          <a:pt x="92926" y="57326"/>
                          <a:pt x="92926" y="57326"/>
                        </a:cubicBezTo>
                        <a:cubicBezTo>
                          <a:pt x="90000" y="57540"/>
                          <a:pt x="90000" y="57540"/>
                          <a:pt x="90000" y="57540"/>
                        </a:cubicBezTo>
                        <a:cubicBezTo>
                          <a:pt x="85365" y="57967"/>
                          <a:pt x="85365" y="57967"/>
                          <a:pt x="85365" y="57967"/>
                        </a:cubicBezTo>
                        <a:cubicBezTo>
                          <a:pt x="82926" y="57967"/>
                          <a:pt x="82926" y="57967"/>
                          <a:pt x="82926" y="57967"/>
                        </a:cubicBezTo>
                        <a:cubicBezTo>
                          <a:pt x="79756" y="56256"/>
                          <a:pt x="79756" y="56256"/>
                          <a:pt x="79756" y="56256"/>
                        </a:cubicBezTo>
                        <a:cubicBezTo>
                          <a:pt x="77073" y="54331"/>
                          <a:pt x="77073" y="54331"/>
                          <a:pt x="77073" y="54331"/>
                        </a:cubicBezTo>
                        <a:cubicBezTo>
                          <a:pt x="75365" y="53475"/>
                          <a:pt x="75365" y="53475"/>
                          <a:pt x="75365" y="53475"/>
                        </a:cubicBezTo>
                        <a:cubicBezTo>
                          <a:pt x="72926" y="51122"/>
                          <a:pt x="72926" y="51122"/>
                          <a:pt x="72926" y="51122"/>
                        </a:cubicBezTo>
                        <a:cubicBezTo>
                          <a:pt x="71707" y="49625"/>
                          <a:pt x="71707" y="49625"/>
                          <a:pt x="71707" y="49625"/>
                        </a:cubicBezTo>
                        <a:cubicBezTo>
                          <a:pt x="71707" y="49625"/>
                          <a:pt x="70975" y="47486"/>
                          <a:pt x="70731" y="46631"/>
                        </a:cubicBezTo>
                        <a:cubicBezTo>
                          <a:pt x="70487" y="45989"/>
                          <a:pt x="68536" y="43636"/>
                          <a:pt x="68536" y="43636"/>
                        </a:cubicBezTo>
                        <a:cubicBezTo>
                          <a:pt x="68536" y="43636"/>
                          <a:pt x="67560" y="41711"/>
                          <a:pt x="67560" y="41497"/>
                        </a:cubicBezTo>
                        <a:cubicBezTo>
                          <a:pt x="67560" y="41283"/>
                          <a:pt x="67073" y="39786"/>
                          <a:pt x="67073" y="39786"/>
                        </a:cubicBezTo>
                        <a:cubicBezTo>
                          <a:pt x="63902" y="38502"/>
                          <a:pt x="63902" y="38502"/>
                          <a:pt x="63902" y="38502"/>
                        </a:cubicBezTo>
                        <a:cubicBezTo>
                          <a:pt x="59756" y="36363"/>
                          <a:pt x="59756" y="36363"/>
                          <a:pt x="59756" y="36363"/>
                        </a:cubicBezTo>
                        <a:cubicBezTo>
                          <a:pt x="56341" y="34438"/>
                          <a:pt x="56341" y="34438"/>
                          <a:pt x="56341" y="34438"/>
                        </a:cubicBezTo>
                        <a:cubicBezTo>
                          <a:pt x="54634" y="32299"/>
                          <a:pt x="54634" y="32299"/>
                          <a:pt x="54634" y="32299"/>
                        </a:cubicBezTo>
                        <a:cubicBezTo>
                          <a:pt x="53170" y="28877"/>
                          <a:pt x="53170" y="28877"/>
                          <a:pt x="53170" y="28877"/>
                        </a:cubicBezTo>
                        <a:cubicBezTo>
                          <a:pt x="52926" y="26096"/>
                          <a:pt x="52926" y="26096"/>
                          <a:pt x="52926" y="26096"/>
                        </a:cubicBezTo>
                        <a:cubicBezTo>
                          <a:pt x="54634" y="25454"/>
                          <a:pt x="54634" y="25454"/>
                          <a:pt x="54634" y="25454"/>
                        </a:cubicBezTo>
                        <a:cubicBezTo>
                          <a:pt x="54634" y="24171"/>
                          <a:pt x="54634" y="24171"/>
                          <a:pt x="54634" y="24171"/>
                        </a:cubicBezTo>
                        <a:cubicBezTo>
                          <a:pt x="53170" y="23315"/>
                          <a:pt x="53170" y="23315"/>
                          <a:pt x="53170" y="23315"/>
                        </a:cubicBezTo>
                        <a:cubicBezTo>
                          <a:pt x="53170" y="22032"/>
                          <a:pt x="53170" y="22032"/>
                          <a:pt x="53170" y="22032"/>
                        </a:cubicBezTo>
                        <a:cubicBezTo>
                          <a:pt x="52439" y="21604"/>
                          <a:pt x="52439" y="21604"/>
                          <a:pt x="52439" y="21604"/>
                        </a:cubicBezTo>
                        <a:cubicBezTo>
                          <a:pt x="51463" y="20534"/>
                          <a:pt x="51463" y="20534"/>
                          <a:pt x="51463" y="20534"/>
                        </a:cubicBezTo>
                        <a:cubicBezTo>
                          <a:pt x="53414" y="19679"/>
                          <a:pt x="53414" y="19679"/>
                          <a:pt x="53414" y="19679"/>
                        </a:cubicBezTo>
                        <a:cubicBezTo>
                          <a:pt x="53414" y="19679"/>
                          <a:pt x="54146" y="18823"/>
                          <a:pt x="55121" y="18823"/>
                        </a:cubicBezTo>
                        <a:cubicBezTo>
                          <a:pt x="56097" y="18823"/>
                          <a:pt x="56829" y="17967"/>
                          <a:pt x="56829" y="17967"/>
                        </a:cubicBezTo>
                        <a:cubicBezTo>
                          <a:pt x="56829" y="17967"/>
                          <a:pt x="57560" y="17326"/>
                          <a:pt x="57804" y="17326"/>
                        </a:cubicBezTo>
                        <a:cubicBezTo>
                          <a:pt x="58292" y="17326"/>
                          <a:pt x="58780" y="17112"/>
                          <a:pt x="59268" y="16898"/>
                        </a:cubicBezTo>
                        <a:cubicBezTo>
                          <a:pt x="59512" y="16898"/>
                          <a:pt x="60243" y="16684"/>
                          <a:pt x="60243" y="16684"/>
                        </a:cubicBezTo>
                        <a:cubicBezTo>
                          <a:pt x="60243" y="16470"/>
                          <a:pt x="60487" y="14973"/>
                          <a:pt x="60731" y="14973"/>
                        </a:cubicBezTo>
                        <a:cubicBezTo>
                          <a:pt x="60975" y="14973"/>
                          <a:pt x="61463" y="15828"/>
                          <a:pt x="62195" y="15828"/>
                        </a:cubicBezTo>
                        <a:cubicBezTo>
                          <a:pt x="62439" y="15828"/>
                          <a:pt x="62926" y="16256"/>
                          <a:pt x="63170" y="16042"/>
                        </a:cubicBezTo>
                        <a:cubicBezTo>
                          <a:pt x="63658" y="15828"/>
                          <a:pt x="63902" y="15187"/>
                          <a:pt x="63902" y="15187"/>
                        </a:cubicBezTo>
                        <a:cubicBezTo>
                          <a:pt x="64146" y="14973"/>
                          <a:pt x="64390" y="14759"/>
                          <a:pt x="65121" y="14545"/>
                        </a:cubicBezTo>
                        <a:cubicBezTo>
                          <a:pt x="65121" y="14545"/>
                          <a:pt x="65121" y="14545"/>
                          <a:pt x="65121" y="14545"/>
                        </a:cubicBezTo>
                        <a:cubicBezTo>
                          <a:pt x="65121" y="14545"/>
                          <a:pt x="64634" y="14331"/>
                          <a:pt x="64634" y="14331"/>
                        </a:cubicBezTo>
                        <a:cubicBezTo>
                          <a:pt x="64634" y="14117"/>
                          <a:pt x="64634" y="14117"/>
                          <a:pt x="64878" y="13903"/>
                        </a:cubicBezTo>
                        <a:cubicBezTo>
                          <a:pt x="64878" y="13689"/>
                          <a:pt x="64878" y="13689"/>
                          <a:pt x="65121" y="13475"/>
                        </a:cubicBezTo>
                        <a:cubicBezTo>
                          <a:pt x="65121" y="13475"/>
                          <a:pt x="65121" y="13048"/>
                          <a:pt x="65121" y="13048"/>
                        </a:cubicBezTo>
                        <a:cubicBezTo>
                          <a:pt x="65121" y="13048"/>
                          <a:pt x="65365" y="12834"/>
                          <a:pt x="65121" y="12834"/>
                        </a:cubicBezTo>
                        <a:cubicBezTo>
                          <a:pt x="65121" y="12620"/>
                          <a:pt x="64878" y="12406"/>
                          <a:pt x="64878" y="12406"/>
                        </a:cubicBezTo>
                        <a:cubicBezTo>
                          <a:pt x="64878" y="12406"/>
                          <a:pt x="64878" y="12406"/>
                          <a:pt x="64634" y="12406"/>
                        </a:cubicBezTo>
                        <a:cubicBezTo>
                          <a:pt x="64634" y="12620"/>
                          <a:pt x="64634" y="12620"/>
                          <a:pt x="64634" y="12620"/>
                        </a:cubicBezTo>
                        <a:cubicBezTo>
                          <a:pt x="64146" y="12834"/>
                          <a:pt x="64146" y="12834"/>
                          <a:pt x="64146" y="12834"/>
                        </a:cubicBezTo>
                        <a:cubicBezTo>
                          <a:pt x="64146" y="12834"/>
                          <a:pt x="63902" y="12406"/>
                          <a:pt x="63902" y="12406"/>
                        </a:cubicBezTo>
                        <a:cubicBezTo>
                          <a:pt x="63658" y="12406"/>
                          <a:pt x="63658" y="12406"/>
                          <a:pt x="63658" y="12192"/>
                        </a:cubicBezTo>
                        <a:cubicBezTo>
                          <a:pt x="63658" y="12192"/>
                          <a:pt x="63902" y="11978"/>
                          <a:pt x="63902" y="11978"/>
                        </a:cubicBezTo>
                        <a:cubicBezTo>
                          <a:pt x="63902" y="11978"/>
                          <a:pt x="63658" y="11764"/>
                          <a:pt x="63658" y="11764"/>
                        </a:cubicBezTo>
                        <a:cubicBezTo>
                          <a:pt x="63658" y="11764"/>
                          <a:pt x="63902" y="11336"/>
                          <a:pt x="64146" y="11336"/>
                        </a:cubicBezTo>
                        <a:cubicBezTo>
                          <a:pt x="64390" y="11122"/>
                          <a:pt x="64878" y="10695"/>
                          <a:pt x="64878" y="10695"/>
                        </a:cubicBezTo>
                        <a:cubicBezTo>
                          <a:pt x="65121" y="10267"/>
                          <a:pt x="65121" y="10267"/>
                          <a:pt x="65121" y="10267"/>
                        </a:cubicBezTo>
                        <a:cubicBezTo>
                          <a:pt x="64878" y="10053"/>
                          <a:pt x="64878" y="10053"/>
                          <a:pt x="64878" y="10053"/>
                        </a:cubicBezTo>
                        <a:cubicBezTo>
                          <a:pt x="64878" y="10053"/>
                          <a:pt x="64634" y="10267"/>
                          <a:pt x="64634" y="10267"/>
                        </a:cubicBezTo>
                        <a:cubicBezTo>
                          <a:pt x="64146" y="10053"/>
                          <a:pt x="64146" y="10053"/>
                          <a:pt x="64146" y="10053"/>
                        </a:cubicBezTo>
                        <a:cubicBezTo>
                          <a:pt x="63658" y="9839"/>
                          <a:pt x="63658" y="9839"/>
                          <a:pt x="63658" y="9839"/>
                        </a:cubicBezTo>
                        <a:cubicBezTo>
                          <a:pt x="62926" y="9839"/>
                          <a:pt x="62926" y="9839"/>
                          <a:pt x="62926" y="9839"/>
                        </a:cubicBezTo>
                        <a:cubicBezTo>
                          <a:pt x="62439" y="9411"/>
                          <a:pt x="62439" y="9411"/>
                          <a:pt x="62439" y="9411"/>
                        </a:cubicBezTo>
                        <a:cubicBezTo>
                          <a:pt x="62682" y="8983"/>
                          <a:pt x="62682" y="8983"/>
                          <a:pt x="62682" y="8983"/>
                        </a:cubicBezTo>
                        <a:cubicBezTo>
                          <a:pt x="62682" y="8556"/>
                          <a:pt x="62682" y="8556"/>
                          <a:pt x="62682" y="8556"/>
                        </a:cubicBezTo>
                        <a:cubicBezTo>
                          <a:pt x="62682" y="8556"/>
                          <a:pt x="63170" y="8128"/>
                          <a:pt x="63170" y="8128"/>
                        </a:cubicBezTo>
                        <a:cubicBezTo>
                          <a:pt x="63414" y="7914"/>
                          <a:pt x="63902" y="7700"/>
                          <a:pt x="63902" y="7700"/>
                        </a:cubicBezTo>
                        <a:cubicBezTo>
                          <a:pt x="64146" y="7272"/>
                          <a:pt x="64146" y="7272"/>
                          <a:pt x="64146" y="7272"/>
                        </a:cubicBezTo>
                        <a:cubicBezTo>
                          <a:pt x="64146" y="7272"/>
                          <a:pt x="64390" y="7058"/>
                          <a:pt x="64634" y="7058"/>
                        </a:cubicBezTo>
                        <a:cubicBezTo>
                          <a:pt x="64878" y="7058"/>
                          <a:pt x="64878" y="7272"/>
                          <a:pt x="64878" y="7058"/>
                        </a:cubicBezTo>
                        <a:cubicBezTo>
                          <a:pt x="65121" y="7058"/>
                          <a:pt x="65121" y="6631"/>
                          <a:pt x="65121" y="6417"/>
                        </a:cubicBezTo>
                        <a:cubicBezTo>
                          <a:pt x="65121" y="5775"/>
                          <a:pt x="65121" y="5775"/>
                          <a:pt x="65121" y="5775"/>
                        </a:cubicBezTo>
                        <a:cubicBezTo>
                          <a:pt x="63902" y="5989"/>
                          <a:pt x="63902" y="5989"/>
                          <a:pt x="63902" y="5989"/>
                        </a:cubicBezTo>
                        <a:cubicBezTo>
                          <a:pt x="63902" y="5989"/>
                          <a:pt x="62682" y="5775"/>
                          <a:pt x="61951" y="5775"/>
                        </a:cubicBezTo>
                        <a:cubicBezTo>
                          <a:pt x="60975" y="5775"/>
                          <a:pt x="59024" y="5347"/>
                          <a:pt x="59024" y="5347"/>
                        </a:cubicBezTo>
                        <a:cubicBezTo>
                          <a:pt x="56585" y="4705"/>
                          <a:pt x="56585" y="4705"/>
                          <a:pt x="56585" y="4705"/>
                        </a:cubicBezTo>
                        <a:cubicBezTo>
                          <a:pt x="55121" y="4705"/>
                          <a:pt x="55121" y="4705"/>
                          <a:pt x="55121" y="4705"/>
                        </a:cubicBezTo>
                        <a:cubicBezTo>
                          <a:pt x="52926" y="4491"/>
                          <a:pt x="52926" y="4491"/>
                          <a:pt x="52926" y="4491"/>
                        </a:cubicBezTo>
                        <a:cubicBezTo>
                          <a:pt x="52926" y="4491"/>
                          <a:pt x="52682" y="4064"/>
                          <a:pt x="52439" y="3850"/>
                        </a:cubicBezTo>
                        <a:cubicBezTo>
                          <a:pt x="52439" y="3636"/>
                          <a:pt x="51707" y="3208"/>
                          <a:pt x="51707" y="3208"/>
                        </a:cubicBezTo>
                        <a:cubicBezTo>
                          <a:pt x="51707" y="2780"/>
                          <a:pt x="51707" y="2780"/>
                          <a:pt x="51707" y="2780"/>
                        </a:cubicBezTo>
                        <a:cubicBezTo>
                          <a:pt x="51219" y="1711"/>
                          <a:pt x="51219" y="1711"/>
                          <a:pt x="51219" y="1711"/>
                        </a:cubicBezTo>
                        <a:cubicBezTo>
                          <a:pt x="50731" y="855"/>
                          <a:pt x="50731" y="855"/>
                          <a:pt x="50731" y="855"/>
                        </a:cubicBezTo>
                        <a:cubicBezTo>
                          <a:pt x="51219" y="213"/>
                          <a:pt x="51219" y="213"/>
                          <a:pt x="51219" y="213"/>
                        </a:cubicBezTo>
                        <a:cubicBezTo>
                          <a:pt x="50731" y="0"/>
                          <a:pt x="50731" y="0"/>
                          <a:pt x="50731" y="0"/>
                        </a:cubicBezTo>
                        <a:cubicBezTo>
                          <a:pt x="50731" y="0"/>
                          <a:pt x="49756" y="213"/>
                          <a:pt x="49268" y="213"/>
                        </a:cubicBezTo>
                        <a:cubicBezTo>
                          <a:pt x="49024" y="427"/>
                          <a:pt x="47560" y="641"/>
                          <a:pt x="47560" y="641"/>
                        </a:cubicBezTo>
                        <a:cubicBezTo>
                          <a:pt x="47073" y="855"/>
                          <a:pt x="47073" y="855"/>
                          <a:pt x="47073" y="855"/>
                        </a:cubicBezTo>
                        <a:cubicBezTo>
                          <a:pt x="45121" y="855"/>
                          <a:pt x="45121" y="855"/>
                          <a:pt x="45121" y="855"/>
                        </a:cubicBezTo>
                        <a:cubicBezTo>
                          <a:pt x="43170" y="1069"/>
                          <a:pt x="43170" y="1069"/>
                          <a:pt x="43170" y="1069"/>
                        </a:cubicBezTo>
                        <a:cubicBezTo>
                          <a:pt x="42439" y="1497"/>
                          <a:pt x="42439" y="1497"/>
                          <a:pt x="42439" y="1497"/>
                        </a:cubicBezTo>
                        <a:cubicBezTo>
                          <a:pt x="40975" y="2139"/>
                          <a:pt x="40975" y="2139"/>
                          <a:pt x="40975" y="2139"/>
                        </a:cubicBezTo>
                        <a:cubicBezTo>
                          <a:pt x="40975" y="2994"/>
                          <a:pt x="40975" y="2994"/>
                          <a:pt x="40975" y="2994"/>
                        </a:cubicBezTo>
                        <a:cubicBezTo>
                          <a:pt x="40243" y="3850"/>
                          <a:pt x="40243" y="3850"/>
                          <a:pt x="40243" y="3850"/>
                        </a:cubicBezTo>
                        <a:cubicBezTo>
                          <a:pt x="39024" y="3850"/>
                          <a:pt x="39024" y="3850"/>
                          <a:pt x="39024" y="3850"/>
                        </a:cubicBezTo>
                        <a:cubicBezTo>
                          <a:pt x="37804" y="2994"/>
                          <a:pt x="37804" y="2994"/>
                          <a:pt x="37804" y="2994"/>
                        </a:cubicBezTo>
                        <a:cubicBezTo>
                          <a:pt x="37317" y="3422"/>
                          <a:pt x="37317" y="3422"/>
                          <a:pt x="37317" y="3422"/>
                        </a:cubicBezTo>
                        <a:cubicBezTo>
                          <a:pt x="36097" y="3208"/>
                          <a:pt x="36097" y="3208"/>
                          <a:pt x="36097" y="3208"/>
                        </a:cubicBezTo>
                        <a:cubicBezTo>
                          <a:pt x="35853" y="3208"/>
                          <a:pt x="35853" y="3208"/>
                          <a:pt x="35853" y="3208"/>
                        </a:cubicBezTo>
                        <a:cubicBezTo>
                          <a:pt x="35609" y="3208"/>
                          <a:pt x="35609" y="3208"/>
                          <a:pt x="35609" y="3208"/>
                        </a:cubicBezTo>
                        <a:cubicBezTo>
                          <a:pt x="35609" y="3208"/>
                          <a:pt x="35365" y="3422"/>
                          <a:pt x="35365" y="3422"/>
                        </a:cubicBezTo>
                        <a:cubicBezTo>
                          <a:pt x="35609" y="3850"/>
                          <a:pt x="35609" y="3850"/>
                          <a:pt x="35609" y="3850"/>
                        </a:cubicBezTo>
                        <a:cubicBezTo>
                          <a:pt x="35365" y="4064"/>
                          <a:pt x="35365" y="4064"/>
                          <a:pt x="35365" y="4064"/>
                        </a:cubicBezTo>
                        <a:cubicBezTo>
                          <a:pt x="35609" y="4491"/>
                          <a:pt x="35609" y="4491"/>
                          <a:pt x="35609" y="4491"/>
                        </a:cubicBezTo>
                        <a:cubicBezTo>
                          <a:pt x="35609" y="4491"/>
                          <a:pt x="35365" y="4705"/>
                          <a:pt x="35121" y="4919"/>
                        </a:cubicBezTo>
                        <a:cubicBezTo>
                          <a:pt x="34878" y="4919"/>
                          <a:pt x="35365" y="5347"/>
                          <a:pt x="35365" y="5347"/>
                        </a:cubicBezTo>
                        <a:cubicBezTo>
                          <a:pt x="35365" y="5347"/>
                          <a:pt x="35609" y="5347"/>
                          <a:pt x="36097" y="5561"/>
                        </a:cubicBezTo>
                        <a:cubicBezTo>
                          <a:pt x="36341" y="5775"/>
                          <a:pt x="36097" y="5775"/>
                          <a:pt x="36097" y="5775"/>
                        </a:cubicBezTo>
                        <a:cubicBezTo>
                          <a:pt x="36097" y="5989"/>
                          <a:pt x="36097" y="6203"/>
                          <a:pt x="35853" y="6203"/>
                        </a:cubicBezTo>
                        <a:cubicBezTo>
                          <a:pt x="35853" y="6417"/>
                          <a:pt x="35853" y="6417"/>
                          <a:pt x="35853" y="6417"/>
                        </a:cubicBezTo>
                        <a:cubicBezTo>
                          <a:pt x="35609" y="6417"/>
                          <a:pt x="35609" y="6417"/>
                          <a:pt x="35609" y="6417"/>
                        </a:cubicBezTo>
                        <a:cubicBezTo>
                          <a:pt x="35609" y="6417"/>
                          <a:pt x="34878" y="6631"/>
                          <a:pt x="34878" y="6417"/>
                        </a:cubicBezTo>
                        <a:cubicBezTo>
                          <a:pt x="34634" y="6417"/>
                          <a:pt x="34878" y="6417"/>
                          <a:pt x="34878" y="6417"/>
                        </a:cubicBezTo>
                        <a:cubicBezTo>
                          <a:pt x="34634" y="6417"/>
                          <a:pt x="34634" y="6417"/>
                          <a:pt x="34634" y="6417"/>
                        </a:cubicBezTo>
                        <a:cubicBezTo>
                          <a:pt x="34634" y="6417"/>
                          <a:pt x="33902" y="5989"/>
                          <a:pt x="33902" y="5989"/>
                        </a:cubicBezTo>
                        <a:cubicBezTo>
                          <a:pt x="33902" y="5775"/>
                          <a:pt x="33902" y="5775"/>
                          <a:pt x="33902" y="5775"/>
                        </a:cubicBezTo>
                        <a:cubicBezTo>
                          <a:pt x="33902" y="5775"/>
                          <a:pt x="33658" y="5561"/>
                          <a:pt x="33658" y="5561"/>
                        </a:cubicBezTo>
                        <a:cubicBezTo>
                          <a:pt x="33414" y="5561"/>
                          <a:pt x="33414" y="5775"/>
                          <a:pt x="33414" y="5775"/>
                        </a:cubicBezTo>
                        <a:cubicBezTo>
                          <a:pt x="33170" y="5775"/>
                          <a:pt x="32926" y="5775"/>
                          <a:pt x="32682" y="5775"/>
                        </a:cubicBezTo>
                        <a:cubicBezTo>
                          <a:pt x="32682" y="5775"/>
                          <a:pt x="32682" y="5989"/>
                          <a:pt x="32439" y="5989"/>
                        </a:cubicBezTo>
                        <a:cubicBezTo>
                          <a:pt x="32439" y="6203"/>
                          <a:pt x="32439" y="6203"/>
                          <a:pt x="32439" y="6417"/>
                        </a:cubicBezTo>
                        <a:cubicBezTo>
                          <a:pt x="32195" y="6417"/>
                          <a:pt x="32195" y="6631"/>
                          <a:pt x="32195" y="6631"/>
                        </a:cubicBezTo>
                        <a:cubicBezTo>
                          <a:pt x="32195" y="6844"/>
                          <a:pt x="32195" y="6844"/>
                          <a:pt x="32195" y="6844"/>
                        </a:cubicBezTo>
                        <a:cubicBezTo>
                          <a:pt x="31951" y="7272"/>
                          <a:pt x="31951" y="7272"/>
                          <a:pt x="31951" y="7272"/>
                        </a:cubicBezTo>
                        <a:cubicBezTo>
                          <a:pt x="32195" y="7272"/>
                          <a:pt x="32195" y="7272"/>
                          <a:pt x="32195" y="7272"/>
                        </a:cubicBezTo>
                        <a:cubicBezTo>
                          <a:pt x="32195" y="7272"/>
                          <a:pt x="32195" y="7700"/>
                          <a:pt x="32195" y="7700"/>
                        </a:cubicBezTo>
                        <a:cubicBezTo>
                          <a:pt x="32195" y="7914"/>
                          <a:pt x="32195" y="7914"/>
                          <a:pt x="32195" y="7914"/>
                        </a:cubicBezTo>
                        <a:cubicBezTo>
                          <a:pt x="32439" y="8128"/>
                          <a:pt x="32682" y="7914"/>
                          <a:pt x="32682" y="7914"/>
                        </a:cubicBezTo>
                        <a:cubicBezTo>
                          <a:pt x="32682" y="7914"/>
                          <a:pt x="32926" y="8128"/>
                          <a:pt x="32926" y="8342"/>
                        </a:cubicBezTo>
                        <a:cubicBezTo>
                          <a:pt x="33170" y="8342"/>
                          <a:pt x="32926" y="8556"/>
                          <a:pt x="32926" y="8556"/>
                        </a:cubicBezTo>
                        <a:cubicBezTo>
                          <a:pt x="32926" y="8556"/>
                          <a:pt x="32682" y="8770"/>
                          <a:pt x="32682" y="8770"/>
                        </a:cubicBezTo>
                        <a:cubicBezTo>
                          <a:pt x="32439" y="8770"/>
                          <a:pt x="32439" y="8770"/>
                          <a:pt x="32682" y="8983"/>
                        </a:cubicBezTo>
                        <a:cubicBezTo>
                          <a:pt x="32682" y="9197"/>
                          <a:pt x="32926" y="9197"/>
                          <a:pt x="32926" y="9197"/>
                        </a:cubicBezTo>
                        <a:cubicBezTo>
                          <a:pt x="33170" y="9197"/>
                          <a:pt x="33170" y="9839"/>
                          <a:pt x="33170" y="9839"/>
                        </a:cubicBezTo>
                        <a:cubicBezTo>
                          <a:pt x="33170" y="10053"/>
                          <a:pt x="32926" y="10267"/>
                          <a:pt x="32926" y="10267"/>
                        </a:cubicBezTo>
                        <a:cubicBezTo>
                          <a:pt x="32926" y="10267"/>
                          <a:pt x="32926" y="10267"/>
                          <a:pt x="32926" y="10267"/>
                        </a:cubicBezTo>
                        <a:cubicBezTo>
                          <a:pt x="32682" y="10267"/>
                          <a:pt x="32682" y="10267"/>
                          <a:pt x="32682" y="10481"/>
                        </a:cubicBezTo>
                        <a:cubicBezTo>
                          <a:pt x="32682" y="10481"/>
                          <a:pt x="32195" y="10481"/>
                          <a:pt x="32195" y="10481"/>
                        </a:cubicBezTo>
                        <a:cubicBezTo>
                          <a:pt x="32195" y="10481"/>
                          <a:pt x="32439" y="10053"/>
                          <a:pt x="32195" y="10053"/>
                        </a:cubicBezTo>
                        <a:cubicBezTo>
                          <a:pt x="32195" y="9839"/>
                          <a:pt x="31951" y="9839"/>
                          <a:pt x="31707" y="9625"/>
                        </a:cubicBezTo>
                        <a:cubicBezTo>
                          <a:pt x="31463" y="9197"/>
                          <a:pt x="31707" y="9197"/>
                          <a:pt x="31707" y="9197"/>
                        </a:cubicBezTo>
                        <a:cubicBezTo>
                          <a:pt x="31707" y="9197"/>
                          <a:pt x="31707" y="9197"/>
                          <a:pt x="31463" y="8983"/>
                        </a:cubicBezTo>
                        <a:cubicBezTo>
                          <a:pt x="31463" y="8770"/>
                          <a:pt x="31463" y="8556"/>
                          <a:pt x="31463" y="8556"/>
                        </a:cubicBezTo>
                        <a:cubicBezTo>
                          <a:pt x="31463" y="8556"/>
                          <a:pt x="30975" y="8556"/>
                          <a:pt x="30731" y="8556"/>
                        </a:cubicBezTo>
                        <a:cubicBezTo>
                          <a:pt x="30243" y="8556"/>
                          <a:pt x="30487" y="8770"/>
                          <a:pt x="30487" y="8770"/>
                        </a:cubicBezTo>
                        <a:cubicBezTo>
                          <a:pt x="30000" y="8770"/>
                          <a:pt x="30000" y="8770"/>
                          <a:pt x="30000" y="8770"/>
                        </a:cubicBezTo>
                        <a:cubicBezTo>
                          <a:pt x="30000" y="8770"/>
                          <a:pt x="29756" y="8983"/>
                          <a:pt x="29756" y="8983"/>
                        </a:cubicBezTo>
                        <a:cubicBezTo>
                          <a:pt x="29512" y="9197"/>
                          <a:pt x="29512" y="8983"/>
                          <a:pt x="29268" y="8983"/>
                        </a:cubicBezTo>
                        <a:cubicBezTo>
                          <a:pt x="29268" y="8983"/>
                          <a:pt x="29024" y="8983"/>
                          <a:pt x="29024" y="8983"/>
                        </a:cubicBezTo>
                        <a:cubicBezTo>
                          <a:pt x="29024" y="8983"/>
                          <a:pt x="28780" y="9197"/>
                          <a:pt x="29024" y="9411"/>
                        </a:cubicBezTo>
                        <a:cubicBezTo>
                          <a:pt x="29024" y="9625"/>
                          <a:pt x="29024" y="9625"/>
                          <a:pt x="28780" y="9625"/>
                        </a:cubicBezTo>
                        <a:cubicBezTo>
                          <a:pt x="28780" y="9839"/>
                          <a:pt x="28292" y="9625"/>
                          <a:pt x="27804" y="9625"/>
                        </a:cubicBezTo>
                        <a:cubicBezTo>
                          <a:pt x="27073" y="9625"/>
                          <a:pt x="27560" y="9411"/>
                          <a:pt x="27317" y="9411"/>
                        </a:cubicBezTo>
                        <a:cubicBezTo>
                          <a:pt x="27317" y="9197"/>
                          <a:pt x="26829" y="9197"/>
                          <a:pt x="26829" y="8983"/>
                        </a:cubicBezTo>
                        <a:cubicBezTo>
                          <a:pt x="26829" y="8556"/>
                          <a:pt x="26829" y="8556"/>
                          <a:pt x="26829" y="8342"/>
                        </a:cubicBezTo>
                        <a:cubicBezTo>
                          <a:pt x="26829" y="8128"/>
                          <a:pt x="26585" y="7914"/>
                          <a:pt x="26585" y="7914"/>
                        </a:cubicBezTo>
                        <a:cubicBezTo>
                          <a:pt x="26341" y="7700"/>
                          <a:pt x="26585" y="7486"/>
                          <a:pt x="26829" y="7486"/>
                        </a:cubicBezTo>
                        <a:cubicBezTo>
                          <a:pt x="26829" y="7272"/>
                          <a:pt x="26585" y="7272"/>
                          <a:pt x="26585" y="7272"/>
                        </a:cubicBezTo>
                        <a:cubicBezTo>
                          <a:pt x="26097" y="7486"/>
                          <a:pt x="26097" y="7486"/>
                          <a:pt x="26097" y="7486"/>
                        </a:cubicBezTo>
                        <a:cubicBezTo>
                          <a:pt x="25853" y="7486"/>
                          <a:pt x="25853" y="7486"/>
                          <a:pt x="25853" y="7486"/>
                        </a:cubicBezTo>
                        <a:cubicBezTo>
                          <a:pt x="25853" y="7486"/>
                          <a:pt x="25609" y="7272"/>
                          <a:pt x="25365" y="7272"/>
                        </a:cubicBezTo>
                        <a:cubicBezTo>
                          <a:pt x="25365" y="7058"/>
                          <a:pt x="25121" y="7272"/>
                          <a:pt x="25121" y="7272"/>
                        </a:cubicBezTo>
                        <a:cubicBezTo>
                          <a:pt x="24634" y="7700"/>
                          <a:pt x="24634" y="7700"/>
                          <a:pt x="24634" y="7700"/>
                        </a:cubicBezTo>
                        <a:cubicBezTo>
                          <a:pt x="24634" y="7914"/>
                          <a:pt x="24634" y="7914"/>
                          <a:pt x="24634" y="7914"/>
                        </a:cubicBezTo>
                        <a:cubicBezTo>
                          <a:pt x="24878" y="8342"/>
                          <a:pt x="24878" y="8342"/>
                          <a:pt x="24878" y="8342"/>
                        </a:cubicBezTo>
                        <a:cubicBezTo>
                          <a:pt x="24878" y="8770"/>
                          <a:pt x="24878" y="8770"/>
                          <a:pt x="24878" y="8770"/>
                        </a:cubicBezTo>
                        <a:cubicBezTo>
                          <a:pt x="24878" y="8770"/>
                          <a:pt x="24878" y="8983"/>
                          <a:pt x="24878" y="9197"/>
                        </a:cubicBezTo>
                        <a:cubicBezTo>
                          <a:pt x="24878" y="9197"/>
                          <a:pt x="24878" y="9411"/>
                          <a:pt x="24878" y="9411"/>
                        </a:cubicBezTo>
                        <a:cubicBezTo>
                          <a:pt x="24878" y="9625"/>
                          <a:pt x="24878" y="9625"/>
                          <a:pt x="24878" y="9625"/>
                        </a:cubicBezTo>
                        <a:cubicBezTo>
                          <a:pt x="24878" y="9625"/>
                          <a:pt x="24634" y="9839"/>
                          <a:pt x="24634" y="10053"/>
                        </a:cubicBezTo>
                        <a:cubicBezTo>
                          <a:pt x="24634" y="10053"/>
                          <a:pt x="24634" y="10267"/>
                          <a:pt x="24634" y="10481"/>
                        </a:cubicBezTo>
                        <a:cubicBezTo>
                          <a:pt x="24390" y="10695"/>
                          <a:pt x="24390" y="10695"/>
                          <a:pt x="24390" y="10695"/>
                        </a:cubicBezTo>
                        <a:cubicBezTo>
                          <a:pt x="24390" y="10695"/>
                          <a:pt x="24146" y="10909"/>
                          <a:pt x="24146" y="11122"/>
                        </a:cubicBezTo>
                        <a:cubicBezTo>
                          <a:pt x="24146" y="11122"/>
                          <a:pt x="23658" y="11122"/>
                          <a:pt x="23658" y="11122"/>
                        </a:cubicBezTo>
                        <a:cubicBezTo>
                          <a:pt x="23658" y="11122"/>
                          <a:pt x="23414" y="11550"/>
                          <a:pt x="23170" y="11550"/>
                        </a:cubicBezTo>
                        <a:cubicBezTo>
                          <a:pt x="23170" y="11550"/>
                          <a:pt x="23170" y="11978"/>
                          <a:pt x="23170" y="12192"/>
                        </a:cubicBezTo>
                        <a:cubicBezTo>
                          <a:pt x="23170" y="12192"/>
                          <a:pt x="23170" y="12406"/>
                          <a:pt x="23170" y="12406"/>
                        </a:cubicBezTo>
                        <a:cubicBezTo>
                          <a:pt x="22682" y="12620"/>
                          <a:pt x="22682" y="12620"/>
                          <a:pt x="22682" y="12620"/>
                        </a:cubicBezTo>
                        <a:cubicBezTo>
                          <a:pt x="22682" y="12620"/>
                          <a:pt x="22926" y="13048"/>
                          <a:pt x="22926" y="13048"/>
                        </a:cubicBezTo>
                        <a:cubicBezTo>
                          <a:pt x="22926" y="13262"/>
                          <a:pt x="22682" y="13262"/>
                          <a:pt x="22682" y="13262"/>
                        </a:cubicBezTo>
                        <a:cubicBezTo>
                          <a:pt x="22439" y="13475"/>
                          <a:pt x="22682" y="13475"/>
                          <a:pt x="22682" y="13689"/>
                        </a:cubicBezTo>
                        <a:cubicBezTo>
                          <a:pt x="22439" y="13903"/>
                          <a:pt x="22682" y="13903"/>
                          <a:pt x="22682" y="13903"/>
                        </a:cubicBezTo>
                        <a:cubicBezTo>
                          <a:pt x="22682" y="14117"/>
                          <a:pt x="23414" y="14331"/>
                          <a:pt x="23414" y="14331"/>
                        </a:cubicBezTo>
                        <a:cubicBezTo>
                          <a:pt x="23414" y="14331"/>
                          <a:pt x="23414" y="14331"/>
                          <a:pt x="23170" y="14545"/>
                        </a:cubicBezTo>
                        <a:cubicBezTo>
                          <a:pt x="22682" y="14759"/>
                          <a:pt x="22926" y="15187"/>
                          <a:pt x="22926" y="15187"/>
                        </a:cubicBezTo>
                        <a:cubicBezTo>
                          <a:pt x="22682" y="15401"/>
                          <a:pt x="22682" y="15401"/>
                          <a:pt x="22682" y="15401"/>
                        </a:cubicBezTo>
                        <a:cubicBezTo>
                          <a:pt x="22682" y="15401"/>
                          <a:pt x="22439" y="15187"/>
                          <a:pt x="22195" y="15187"/>
                        </a:cubicBezTo>
                        <a:cubicBezTo>
                          <a:pt x="22195" y="15187"/>
                          <a:pt x="22195" y="15187"/>
                          <a:pt x="21707" y="15187"/>
                        </a:cubicBezTo>
                        <a:cubicBezTo>
                          <a:pt x="21219" y="15187"/>
                          <a:pt x="21707" y="14973"/>
                          <a:pt x="21707" y="14973"/>
                        </a:cubicBezTo>
                        <a:cubicBezTo>
                          <a:pt x="21707" y="14973"/>
                          <a:pt x="21707" y="14545"/>
                          <a:pt x="21707" y="14331"/>
                        </a:cubicBezTo>
                        <a:cubicBezTo>
                          <a:pt x="21707" y="14331"/>
                          <a:pt x="21707" y="14331"/>
                          <a:pt x="21707" y="14331"/>
                        </a:cubicBezTo>
                        <a:cubicBezTo>
                          <a:pt x="21707" y="14331"/>
                          <a:pt x="21707" y="14117"/>
                          <a:pt x="21463" y="13903"/>
                        </a:cubicBezTo>
                        <a:cubicBezTo>
                          <a:pt x="21463" y="13689"/>
                          <a:pt x="21219" y="13689"/>
                          <a:pt x="21219" y="13689"/>
                        </a:cubicBezTo>
                        <a:cubicBezTo>
                          <a:pt x="20487" y="13262"/>
                          <a:pt x="20487" y="13262"/>
                          <a:pt x="20487" y="13262"/>
                        </a:cubicBezTo>
                        <a:cubicBezTo>
                          <a:pt x="20487" y="13262"/>
                          <a:pt x="20731" y="12834"/>
                          <a:pt x="20975" y="12620"/>
                        </a:cubicBezTo>
                        <a:cubicBezTo>
                          <a:pt x="20975" y="12620"/>
                          <a:pt x="20975" y="12620"/>
                          <a:pt x="20975" y="12620"/>
                        </a:cubicBezTo>
                        <a:cubicBezTo>
                          <a:pt x="20975" y="12620"/>
                          <a:pt x="20975" y="12620"/>
                          <a:pt x="21219" y="12406"/>
                        </a:cubicBezTo>
                        <a:cubicBezTo>
                          <a:pt x="21219" y="12192"/>
                          <a:pt x="20975" y="12192"/>
                          <a:pt x="20975" y="12192"/>
                        </a:cubicBezTo>
                        <a:cubicBezTo>
                          <a:pt x="20731" y="12192"/>
                          <a:pt x="20731" y="12192"/>
                          <a:pt x="20731" y="12192"/>
                        </a:cubicBezTo>
                        <a:cubicBezTo>
                          <a:pt x="20487" y="11978"/>
                          <a:pt x="20487" y="11978"/>
                          <a:pt x="20487" y="11978"/>
                        </a:cubicBezTo>
                        <a:cubicBezTo>
                          <a:pt x="20487" y="11978"/>
                          <a:pt x="20000" y="12192"/>
                          <a:pt x="20000" y="11978"/>
                        </a:cubicBezTo>
                        <a:cubicBezTo>
                          <a:pt x="19756" y="11978"/>
                          <a:pt x="19268" y="11978"/>
                          <a:pt x="19268" y="11764"/>
                        </a:cubicBezTo>
                        <a:cubicBezTo>
                          <a:pt x="19268" y="11764"/>
                          <a:pt x="19024" y="11764"/>
                          <a:pt x="18780" y="11764"/>
                        </a:cubicBezTo>
                        <a:cubicBezTo>
                          <a:pt x="18780" y="11764"/>
                          <a:pt x="18536" y="11764"/>
                          <a:pt x="18536" y="11764"/>
                        </a:cubicBezTo>
                        <a:cubicBezTo>
                          <a:pt x="18292" y="11550"/>
                          <a:pt x="18048" y="11336"/>
                          <a:pt x="18048" y="11336"/>
                        </a:cubicBezTo>
                        <a:cubicBezTo>
                          <a:pt x="18048" y="11122"/>
                          <a:pt x="17804" y="10909"/>
                          <a:pt x="17804" y="10909"/>
                        </a:cubicBezTo>
                        <a:cubicBezTo>
                          <a:pt x="17560" y="10909"/>
                          <a:pt x="17560" y="10909"/>
                          <a:pt x="17560" y="10909"/>
                        </a:cubicBezTo>
                        <a:cubicBezTo>
                          <a:pt x="17560" y="10909"/>
                          <a:pt x="17317" y="10481"/>
                          <a:pt x="17073" y="10481"/>
                        </a:cubicBezTo>
                        <a:cubicBezTo>
                          <a:pt x="17073" y="10481"/>
                          <a:pt x="17073" y="10267"/>
                          <a:pt x="17073" y="10267"/>
                        </a:cubicBezTo>
                        <a:cubicBezTo>
                          <a:pt x="16829" y="10053"/>
                          <a:pt x="16829" y="10053"/>
                          <a:pt x="16829" y="10053"/>
                        </a:cubicBezTo>
                        <a:cubicBezTo>
                          <a:pt x="16829" y="10053"/>
                          <a:pt x="16829" y="9839"/>
                          <a:pt x="16829" y="9625"/>
                        </a:cubicBezTo>
                        <a:cubicBezTo>
                          <a:pt x="16829" y="9625"/>
                          <a:pt x="17073" y="9197"/>
                          <a:pt x="17073" y="9197"/>
                        </a:cubicBezTo>
                        <a:cubicBezTo>
                          <a:pt x="17073" y="9197"/>
                          <a:pt x="16829" y="8770"/>
                          <a:pt x="16829" y="8556"/>
                        </a:cubicBezTo>
                        <a:cubicBezTo>
                          <a:pt x="16829" y="8342"/>
                          <a:pt x="17073" y="7914"/>
                          <a:pt x="17073" y="7914"/>
                        </a:cubicBezTo>
                        <a:cubicBezTo>
                          <a:pt x="17073" y="7914"/>
                          <a:pt x="16097" y="8128"/>
                          <a:pt x="15853" y="8342"/>
                        </a:cubicBezTo>
                        <a:cubicBezTo>
                          <a:pt x="15609" y="8342"/>
                          <a:pt x="15609" y="8556"/>
                          <a:pt x="15609" y="8556"/>
                        </a:cubicBezTo>
                        <a:cubicBezTo>
                          <a:pt x="15609" y="8556"/>
                          <a:pt x="15609" y="8770"/>
                          <a:pt x="15609" y="8983"/>
                        </a:cubicBezTo>
                        <a:cubicBezTo>
                          <a:pt x="15365" y="8983"/>
                          <a:pt x="15365" y="8983"/>
                          <a:pt x="15365" y="8983"/>
                        </a:cubicBezTo>
                        <a:cubicBezTo>
                          <a:pt x="15365" y="8983"/>
                          <a:pt x="14878" y="9411"/>
                          <a:pt x="14634" y="9411"/>
                        </a:cubicBezTo>
                        <a:cubicBezTo>
                          <a:pt x="14634" y="9625"/>
                          <a:pt x="14634" y="9625"/>
                          <a:pt x="14390" y="9625"/>
                        </a:cubicBezTo>
                        <a:cubicBezTo>
                          <a:pt x="14146" y="9625"/>
                          <a:pt x="13902" y="9839"/>
                          <a:pt x="13902" y="9839"/>
                        </a:cubicBezTo>
                        <a:cubicBezTo>
                          <a:pt x="13658" y="10053"/>
                          <a:pt x="13658" y="10053"/>
                          <a:pt x="13658" y="10053"/>
                        </a:cubicBezTo>
                        <a:cubicBezTo>
                          <a:pt x="13902" y="10267"/>
                          <a:pt x="13902" y="10267"/>
                          <a:pt x="13902" y="10267"/>
                        </a:cubicBezTo>
                        <a:cubicBezTo>
                          <a:pt x="14146" y="10909"/>
                          <a:pt x="14146" y="10909"/>
                          <a:pt x="14146" y="10909"/>
                        </a:cubicBezTo>
                        <a:cubicBezTo>
                          <a:pt x="13902" y="11336"/>
                          <a:pt x="13902" y="11336"/>
                          <a:pt x="13902" y="11336"/>
                        </a:cubicBezTo>
                        <a:cubicBezTo>
                          <a:pt x="13902" y="11336"/>
                          <a:pt x="13902" y="11336"/>
                          <a:pt x="13902" y="11550"/>
                        </a:cubicBezTo>
                        <a:cubicBezTo>
                          <a:pt x="13658" y="11978"/>
                          <a:pt x="13658" y="11978"/>
                          <a:pt x="13658" y="11978"/>
                        </a:cubicBezTo>
                        <a:cubicBezTo>
                          <a:pt x="13414" y="12192"/>
                          <a:pt x="13414" y="12192"/>
                          <a:pt x="13414" y="12192"/>
                        </a:cubicBezTo>
                        <a:cubicBezTo>
                          <a:pt x="13170" y="12406"/>
                          <a:pt x="13170" y="12406"/>
                          <a:pt x="13170" y="12406"/>
                        </a:cubicBezTo>
                        <a:cubicBezTo>
                          <a:pt x="13170" y="12406"/>
                          <a:pt x="13170" y="12620"/>
                          <a:pt x="13170" y="12834"/>
                        </a:cubicBezTo>
                        <a:cubicBezTo>
                          <a:pt x="13170" y="12834"/>
                          <a:pt x="13170" y="13048"/>
                          <a:pt x="12926" y="13262"/>
                        </a:cubicBezTo>
                        <a:cubicBezTo>
                          <a:pt x="12682" y="13475"/>
                          <a:pt x="12682" y="13475"/>
                          <a:pt x="12682" y="13475"/>
                        </a:cubicBezTo>
                        <a:cubicBezTo>
                          <a:pt x="12682" y="13475"/>
                          <a:pt x="12439" y="13475"/>
                          <a:pt x="12195" y="13475"/>
                        </a:cubicBezTo>
                        <a:cubicBezTo>
                          <a:pt x="11951" y="13475"/>
                          <a:pt x="11951" y="13689"/>
                          <a:pt x="11707" y="13689"/>
                        </a:cubicBezTo>
                        <a:cubicBezTo>
                          <a:pt x="11219" y="13689"/>
                          <a:pt x="11463" y="13903"/>
                          <a:pt x="11463" y="14117"/>
                        </a:cubicBezTo>
                        <a:cubicBezTo>
                          <a:pt x="11463" y="14117"/>
                          <a:pt x="11463" y="14117"/>
                          <a:pt x="11463" y="14331"/>
                        </a:cubicBezTo>
                        <a:cubicBezTo>
                          <a:pt x="11219" y="14331"/>
                          <a:pt x="10731" y="14331"/>
                          <a:pt x="10731" y="14117"/>
                        </a:cubicBezTo>
                        <a:cubicBezTo>
                          <a:pt x="10487" y="14117"/>
                          <a:pt x="10487" y="14117"/>
                          <a:pt x="10243" y="14117"/>
                        </a:cubicBezTo>
                        <a:cubicBezTo>
                          <a:pt x="10243" y="14331"/>
                          <a:pt x="10000" y="13903"/>
                          <a:pt x="10000" y="13903"/>
                        </a:cubicBezTo>
                        <a:cubicBezTo>
                          <a:pt x="10000" y="13903"/>
                          <a:pt x="9756" y="13689"/>
                          <a:pt x="9756" y="13689"/>
                        </a:cubicBezTo>
                        <a:cubicBezTo>
                          <a:pt x="9756" y="13475"/>
                          <a:pt x="9268" y="13689"/>
                          <a:pt x="9268" y="13689"/>
                        </a:cubicBezTo>
                        <a:cubicBezTo>
                          <a:pt x="9024" y="13475"/>
                          <a:pt x="8536" y="13475"/>
                          <a:pt x="8536" y="13475"/>
                        </a:cubicBezTo>
                        <a:cubicBezTo>
                          <a:pt x="8292" y="13475"/>
                          <a:pt x="8536" y="13689"/>
                          <a:pt x="8536" y="13689"/>
                        </a:cubicBezTo>
                        <a:cubicBezTo>
                          <a:pt x="8536" y="13689"/>
                          <a:pt x="8292" y="13689"/>
                          <a:pt x="8048" y="13689"/>
                        </a:cubicBezTo>
                        <a:cubicBezTo>
                          <a:pt x="7804" y="13689"/>
                          <a:pt x="7804" y="13903"/>
                          <a:pt x="7804" y="13903"/>
                        </a:cubicBezTo>
                        <a:cubicBezTo>
                          <a:pt x="7804" y="14331"/>
                          <a:pt x="7804" y="14331"/>
                          <a:pt x="7804" y="14331"/>
                        </a:cubicBezTo>
                        <a:cubicBezTo>
                          <a:pt x="7804" y="14331"/>
                          <a:pt x="7073" y="14331"/>
                          <a:pt x="6829" y="14331"/>
                        </a:cubicBezTo>
                        <a:cubicBezTo>
                          <a:pt x="6585" y="14331"/>
                          <a:pt x="6341" y="14117"/>
                          <a:pt x="6097" y="14117"/>
                        </a:cubicBezTo>
                        <a:cubicBezTo>
                          <a:pt x="5853" y="14117"/>
                          <a:pt x="5609" y="14331"/>
                          <a:pt x="5609" y="14331"/>
                        </a:cubicBezTo>
                        <a:cubicBezTo>
                          <a:pt x="5609" y="14331"/>
                          <a:pt x="5121" y="14545"/>
                          <a:pt x="5121" y="14545"/>
                        </a:cubicBezTo>
                        <a:cubicBezTo>
                          <a:pt x="5121" y="14545"/>
                          <a:pt x="4878" y="14759"/>
                          <a:pt x="4634" y="14759"/>
                        </a:cubicBezTo>
                        <a:cubicBezTo>
                          <a:pt x="4390" y="14759"/>
                          <a:pt x="4390" y="14545"/>
                          <a:pt x="4390" y="14545"/>
                        </a:cubicBezTo>
                        <a:cubicBezTo>
                          <a:pt x="4390" y="14545"/>
                          <a:pt x="3902" y="14117"/>
                          <a:pt x="3902" y="14117"/>
                        </a:cubicBezTo>
                        <a:cubicBezTo>
                          <a:pt x="3902" y="14117"/>
                          <a:pt x="3902" y="14117"/>
                          <a:pt x="3902" y="14117"/>
                        </a:cubicBezTo>
                        <a:cubicBezTo>
                          <a:pt x="2926" y="14545"/>
                          <a:pt x="2926" y="14545"/>
                          <a:pt x="2926" y="14545"/>
                        </a:cubicBezTo>
                        <a:cubicBezTo>
                          <a:pt x="1707" y="15401"/>
                          <a:pt x="1707" y="15401"/>
                          <a:pt x="1707" y="15401"/>
                        </a:cubicBezTo>
                        <a:cubicBezTo>
                          <a:pt x="1707" y="16470"/>
                          <a:pt x="1707" y="16470"/>
                          <a:pt x="1707" y="16470"/>
                        </a:cubicBezTo>
                        <a:cubicBezTo>
                          <a:pt x="2682" y="16898"/>
                          <a:pt x="2195" y="17326"/>
                          <a:pt x="4390" y="18181"/>
                        </a:cubicBezTo>
                        <a:cubicBezTo>
                          <a:pt x="4634" y="18181"/>
                          <a:pt x="5121" y="19251"/>
                          <a:pt x="5121" y="19251"/>
                        </a:cubicBezTo>
                        <a:cubicBezTo>
                          <a:pt x="5121" y="19465"/>
                          <a:pt x="4634" y="21176"/>
                          <a:pt x="4390" y="21390"/>
                        </a:cubicBezTo>
                        <a:cubicBezTo>
                          <a:pt x="3902" y="21604"/>
                          <a:pt x="3414" y="22459"/>
                          <a:pt x="3414" y="22459"/>
                        </a:cubicBezTo>
                        <a:cubicBezTo>
                          <a:pt x="3414" y="22459"/>
                          <a:pt x="2439" y="23315"/>
                          <a:pt x="2195" y="23315"/>
                        </a:cubicBezTo>
                        <a:cubicBezTo>
                          <a:pt x="1951" y="23315"/>
                          <a:pt x="1219" y="23529"/>
                          <a:pt x="975" y="23529"/>
                        </a:cubicBezTo>
                        <a:cubicBezTo>
                          <a:pt x="975" y="23529"/>
                          <a:pt x="0" y="23529"/>
                          <a:pt x="243" y="23743"/>
                        </a:cubicBezTo>
                        <a:cubicBezTo>
                          <a:pt x="243" y="23743"/>
                          <a:pt x="243" y="24171"/>
                          <a:pt x="243" y="24171"/>
                        </a:cubicBezTo>
                        <a:cubicBezTo>
                          <a:pt x="487" y="24385"/>
                          <a:pt x="1219" y="25240"/>
                          <a:pt x="1219" y="25240"/>
                        </a:cubicBezTo>
                        <a:cubicBezTo>
                          <a:pt x="2439" y="25882"/>
                          <a:pt x="2439" y="25882"/>
                          <a:pt x="2439" y="25882"/>
                        </a:cubicBezTo>
                        <a:cubicBezTo>
                          <a:pt x="3170" y="26524"/>
                          <a:pt x="3170" y="26524"/>
                          <a:pt x="3170" y="26524"/>
                        </a:cubicBezTo>
                        <a:cubicBezTo>
                          <a:pt x="3414" y="28663"/>
                          <a:pt x="3414" y="28663"/>
                          <a:pt x="3414" y="28663"/>
                        </a:cubicBezTo>
                        <a:cubicBezTo>
                          <a:pt x="2439" y="29946"/>
                          <a:pt x="2439" y="29946"/>
                          <a:pt x="2439" y="29946"/>
                        </a:cubicBezTo>
                        <a:cubicBezTo>
                          <a:pt x="1463" y="31016"/>
                          <a:pt x="1951" y="30374"/>
                          <a:pt x="2195" y="31871"/>
                        </a:cubicBezTo>
                        <a:cubicBezTo>
                          <a:pt x="2926" y="31871"/>
                          <a:pt x="2926" y="31871"/>
                          <a:pt x="2926" y="31871"/>
                        </a:cubicBezTo>
                        <a:cubicBezTo>
                          <a:pt x="4146" y="33582"/>
                          <a:pt x="4146" y="33582"/>
                          <a:pt x="4146" y="33582"/>
                        </a:cubicBezTo>
                        <a:cubicBezTo>
                          <a:pt x="6585" y="34438"/>
                          <a:pt x="6585" y="34438"/>
                          <a:pt x="6585" y="34438"/>
                        </a:cubicBezTo>
                        <a:cubicBezTo>
                          <a:pt x="8780" y="34438"/>
                          <a:pt x="8780" y="34438"/>
                          <a:pt x="8780" y="34438"/>
                        </a:cubicBezTo>
                        <a:cubicBezTo>
                          <a:pt x="9756" y="35080"/>
                          <a:pt x="9756" y="35080"/>
                          <a:pt x="9756" y="35080"/>
                        </a:cubicBezTo>
                        <a:cubicBezTo>
                          <a:pt x="9024" y="37433"/>
                          <a:pt x="9024" y="37433"/>
                          <a:pt x="9024" y="37433"/>
                        </a:cubicBezTo>
                        <a:cubicBezTo>
                          <a:pt x="7560" y="38502"/>
                          <a:pt x="7560" y="38502"/>
                          <a:pt x="7560" y="38502"/>
                        </a:cubicBezTo>
                        <a:cubicBezTo>
                          <a:pt x="7560" y="38502"/>
                          <a:pt x="7560" y="38502"/>
                          <a:pt x="7317" y="38502"/>
                        </a:cubicBezTo>
                        <a:cubicBezTo>
                          <a:pt x="7317" y="38502"/>
                          <a:pt x="7560" y="38716"/>
                          <a:pt x="8292" y="38930"/>
                        </a:cubicBezTo>
                        <a:cubicBezTo>
                          <a:pt x="8780" y="38930"/>
                          <a:pt x="8780" y="39358"/>
                          <a:pt x="9512" y="39144"/>
                        </a:cubicBezTo>
                        <a:cubicBezTo>
                          <a:pt x="10243" y="38930"/>
                          <a:pt x="11219" y="38716"/>
                          <a:pt x="11463" y="38502"/>
                        </a:cubicBezTo>
                        <a:cubicBezTo>
                          <a:pt x="11707" y="38074"/>
                          <a:pt x="12195" y="37860"/>
                          <a:pt x="12439" y="37647"/>
                        </a:cubicBezTo>
                        <a:cubicBezTo>
                          <a:pt x="12682" y="37219"/>
                          <a:pt x="14146" y="35721"/>
                          <a:pt x="14390" y="35721"/>
                        </a:cubicBezTo>
                        <a:cubicBezTo>
                          <a:pt x="14390" y="35721"/>
                          <a:pt x="15853" y="34010"/>
                          <a:pt x="16097" y="33796"/>
                        </a:cubicBezTo>
                        <a:cubicBezTo>
                          <a:pt x="16341" y="33582"/>
                          <a:pt x="18292" y="32299"/>
                          <a:pt x="18292" y="32299"/>
                        </a:cubicBezTo>
                        <a:cubicBezTo>
                          <a:pt x="20975" y="31443"/>
                          <a:pt x="20975" y="31443"/>
                          <a:pt x="20975" y="31443"/>
                        </a:cubicBezTo>
                        <a:cubicBezTo>
                          <a:pt x="20975" y="31443"/>
                          <a:pt x="22195" y="32513"/>
                          <a:pt x="22439" y="32727"/>
                        </a:cubicBezTo>
                        <a:cubicBezTo>
                          <a:pt x="22682" y="32727"/>
                          <a:pt x="25365" y="33796"/>
                          <a:pt x="25365" y="33796"/>
                        </a:cubicBezTo>
                        <a:cubicBezTo>
                          <a:pt x="25365" y="33796"/>
                          <a:pt x="27073" y="34438"/>
                          <a:pt x="27317" y="34652"/>
                        </a:cubicBezTo>
                        <a:cubicBezTo>
                          <a:pt x="27317" y="34866"/>
                          <a:pt x="28780" y="35935"/>
                          <a:pt x="28780" y="35935"/>
                        </a:cubicBezTo>
                        <a:cubicBezTo>
                          <a:pt x="29756" y="36363"/>
                          <a:pt x="29756" y="36363"/>
                          <a:pt x="29756" y="36363"/>
                        </a:cubicBezTo>
                        <a:cubicBezTo>
                          <a:pt x="30487" y="35721"/>
                          <a:pt x="30487" y="35721"/>
                          <a:pt x="30487" y="35721"/>
                        </a:cubicBezTo>
                        <a:cubicBezTo>
                          <a:pt x="31463" y="36149"/>
                          <a:pt x="31463" y="36149"/>
                          <a:pt x="31463" y="36149"/>
                        </a:cubicBezTo>
                        <a:cubicBezTo>
                          <a:pt x="33170" y="37005"/>
                          <a:pt x="33170" y="37005"/>
                          <a:pt x="33170" y="37005"/>
                        </a:cubicBezTo>
                        <a:cubicBezTo>
                          <a:pt x="33902" y="38288"/>
                          <a:pt x="33902" y="38288"/>
                          <a:pt x="33902" y="38288"/>
                        </a:cubicBezTo>
                        <a:cubicBezTo>
                          <a:pt x="33902" y="38288"/>
                          <a:pt x="34390" y="40000"/>
                          <a:pt x="34390" y="40641"/>
                        </a:cubicBezTo>
                        <a:cubicBezTo>
                          <a:pt x="34390" y="41283"/>
                          <a:pt x="34634" y="42352"/>
                          <a:pt x="34634" y="42352"/>
                        </a:cubicBezTo>
                        <a:cubicBezTo>
                          <a:pt x="36829" y="43208"/>
                          <a:pt x="36829" y="43208"/>
                          <a:pt x="36829" y="43208"/>
                        </a:cubicBezTo>
                        <a:cubicBezTo>
                          <a:pt x="36829" y="43208"/>
                          <a:pt x="36829" y="45133"/>
                          <a:pt x="36829" y="45347"/>
                        </a:cubicBezTo>
                        <a:cubicBezTo>
                          <a:pt x="36829" y="45775"/>
                          <a:pt x="37073" y="46417"/>
                          <a:pt x="37073" y="47058"/>
                        </a:cubicBezTo>
                        <a:cubicBezTo>
                          <a:pt x="37073" y="47700"/>
                          <a:pt x="37073" y="48342"/>
                          <a:pt x="37073" y="48342"/>
                        </a:cubicBezTo>
                        <a:cubicBezTo>
                          <a:pt x="38048" y="48983"/>
                          <a:pt x="38048" y="48983"/>
                          <a:pt x="38048" y="48983"/>
                        </a:cubicBezTo>
                        <a:cubicBezTo>
                          <a:pt x="39268" y="49625"/>
                          <a:pt x="39268" y="49625"/>
                          <a:pt x="39268" y="49625"/>
                        </a:cubicBezTo>
                        <a:cubicBezTo>
                          <a:pt x="39512" y="50695"/>
                          <a:pt x="39512" y="50695"/>
                          <a:pt x="39512" y="50695"/>
                        </a:cubicBezTo>
                        <a:cubicBezTo>
                          <a:pt x="41463" y="51336"/>
                          <a:pt x="41463" y="51336"/>
                          <a:pt x="41463" y="51336"/>
                        </a:cubicBezTo>
                        <a:cubicBezTo>
                          <a:pt x="41951" y="52620"/>
                          <a:pt x="41951" y="52620"/>
                          <a:pt x="41951" y="52620"/>
                        </a:cubicBezTo>
                        <a:cubicBezTo>
                          <a:pt x="43170" y="53689"/>
                          <a:pt x="43170" y="53689"/>
                          <a:pt x="43170" y="53689"/>
                        </a:cubicBezTo>
                        <a:cubicBezTo>
                          <a:pt x="43170" y="54545"/>
                          <a:pt x="43170" y="54545"/>
                          <a:pt x="43170" y="54545"/>
                        </a:cubicBezTo>
                        <a:cubicBezTo>
                          <a:pt x="43170" y="54545"/>
                          <a:pt x="43170" y="54973"/>
                          <a:pt x="43658" y="54973"/>
                        </a:cubicBezTo>
                        <a:cubicBezTo>
                          <a:pt x="44146" y="54973"/>
                          <a:pt x="45853" y="54759"/>
                          <a:pt x="45853" y="54759"/>
                        </a:cubicBezTo>
                        <a:cubicBezTo>
                          <a:pt x="47560" y="56042"/>
                          <a:pt x="47560" y="56042"/>
                          <a:pt x="47560" y="56042"/>
                        </a:cubicBezTo>
                        <a:cubicBezTo>
                          <a:pt x="49512" y="57540"/>
                          <a:pt x="49512" y="57540"/>
                          <a:pt x="49512" y="57540"/>
                        </a:cubicBezTo>
                        <a:cubicBezTo>
                          <a:pt x="50487" y="59037"/>
                          <a:pt x="50487" y="59037"/>
                          <a:pt x="50487" y="59037"/>
                        </a:cubicBezTo>
                        <a:cubicBezTo>
                          <a:pt x="51951" y="59465"/>
                          <a:pt x="51951" y="59465"/>
                          <a:pt x="51951" y="59465"/>
                        </a:cubicBezTo>
                        <a:cubicBezTo>
                          <a:pt x="53902" y="60534"/>
                          <a:pt x="53902" y="60534"/>
                          <a:pt x="53902" y="60534"/>
                        </a:cubicBezTo>
                        <a:cubicBezTo>
                          <a:pt x="54634" y="62032"/>
                          <a:pt x="54634" y="62032"/>
                          <a:pt x="54634" y="62032"/>
                        </a:cubicBezTo>
                        <a:cubicBezTo>
                          <a:pt x="56341" y="63529"/>
                          <a:pt x="56341" y="63529"/>
                          <a:pt x="56341" y="63529"/>
                        </a:cubicBezTo>
                        <a:cubicBezTo>
                          <a:pt x="57317" y="63957"/>
                          <a:pt x="57317" y="63957"/>
                          <a:pt x="57317" y="63957"/>
                        </a:cubicBezTo>
                        <a:cubicBezTo>
                          <a:pt x="57804" y="64812"/>
                          <a:pt x="57804" y="64812"/>
                          <a:pt x="57804" y="64812"/>
                        </a:cubicBezTo>
                        <a:cubicBezTo>
                          <a:pt x="58780" y="65240"/>
                          <a:pt x="58780" y="65240"/>
                          <a:pt x="58780" y="65240"/>
                        </a:cubicBezTo>
                        <a:cubicBezTo>
                          <a:pt x="59756" y="65454"/>
                          <a:pt x="59756" y="65454"/>
                          <a:pt x="59756" y="65454"/>
                        </a:cubicBezTo>
                        <a:cubicBezTo>
                          <a:pt x="61219" y="65668"/>
                          <a:pt x="61219" y="65668"/>
                          <a:pt x="61219" y="65668"/>
                        </a:cubicBezTo>
                        <a:cubicBezTo>
                          <a:pt x="62195" y="66524"/>
                          <a:pt x="62195" y="66524"/>
                          <a:pt x="62195" y="66524"/>
                        </a:cubicBezTo>
                        <a:cubicBezTo>
                          <a:pt x="62195" y="66524"/>
                          <a:pt x="62682" y="66951"/>
                          <a:pt x="62682" y="67165"/>
                        </a:cubicBezTo>
                        <a:cubicBezTo>
                          <a:pt x="62682" y="67593"/>
                          <a:pt x="62195" y="67807"/>
                          <a:pt x="62926" y="67807"/>
                        </a:cubicBezTo>
                        <a:cubicBezTo>
                          <a:pt x="63658" y="67807"/>
                          <a:pt x="64390" y="67593"/>
                          <a:pt x="64390" y="67593"/>
                        </a:cubicBezTo>
                        <a:cubicBezTo>
                          <a:pt x="65853" y="67379"/>
                          <a:pt x="65853" y="67379"/>
                          <a:pt x="65853" y="67379"/>
                        </a:cubicBezTo>
                        <a:cubicBezTo>
                          <a:pt x="66829" y="67379"/>
                          <a:pt x="66829" y="67379"/>
                          <a:pt x="66829" y="67379"/>
                        </a:cubicBezTo>
                        <a:cubicBezTo>
                          <a:pt x="67804" y="67379"/>
                          <a:pt x="67804" y="67379"/>
                          <a:pt x="67804" y="67379"/>
                        </a:cubicBezTo>
                        <a:cubicBezTo>
                          <a:pt x="69512" y="67165"/>
                          <a:pt x="69512" y="67165"/>
                          <a:pt x="69512" y="67165"/>
                        </a:cubicBezTo>
                        <a:cubicBezTo>
                          <a:pt x="70487" y="67807"/>
                          <a:pt x="70487" y="67807"/>
                          <a:pt x="70487" y="67807"/>
                        </a:cubicBezTo>
                        <a:cubicBezTo>
                          <a:pt x="73170" y="70588"/>
                          <a:pt x="73170" y="70588"/>
                          <a:pt x="73170" y="70588"/>
                        </a:cubicBezTo>
                        <a:cubicBezTo>
                          <a:pt x="73170" y="70588"/>
                          <a:pt x="73902" y="71657"/>
                          <a:pt x="73902" y="72085"/>
                        </a:cubicBezTo>
                        <a:cubicBezTo>
                          <a:pt x="73902" y="72299"/>
                          <a:pt x="74878" y="72085"/>
                          <a:pt x="75121" y="72085"/>
                        </a:cubicBezTo>
                        <a:cubicBezTo>
                          <a:pt x="75365" y="72085"/>
                          <a:pt x="77317" y="72085"/>
                          <a:pt x="77317" y="72085"/>
                        </a:cubicBezTo>
                        <a:cubicBezTo>
                          <a:pt x="78780" y="72941"/>
                          <a:pt x="78780" y="72941"/>
                          <a:pt x="78780" y="72941"/>
                        </a:cubicBezTo>
                        <a:cubicBezTo>
                          <a:pt x="77804" y="74010"/>
                          <a:pt x="77804" y="74010"/>
                          <a:pt x="77804" y="74010"/>
                        </a:cubicBezTo>
                        <a:cubicBezTo>
                          <a:pt x="79268" y="74652"/>
                          <a:pt x="79268" y="74652"/>
                          <a:pt x="79268" y="74652"/>
                        </a:cubicBezTo>
                        <a:cubicBezTo>
                          <a:pt x="80000" y="73796"/>
                          <a:pt x="80000" y="73796"/>
                          <a:pt x="80000" y="73796"/>
                        </a:cubicBezTo>
                        <a:cubicBezTo>
                          <a:pt x="81463" y="74010"/>
                          <a:pt x="81463" y="74010"/>
                          <a:pt x="81463" y="74010"/>
                        </a:cubicBezTo>
                        <a:cubicBezTo>
                          <a:pt x="82682" y="74866"/>
                          <a:pt x="82682" y="74866"/>
                          <a:pt x="82682" y="74866"/>
                        </a:cubicBezTo>
                        <a:cubicBezTo>
                          <a:pt x="82926" y="75508"/>
                          <a:pt x="82926" y="75508"/>
                          <a:pt x="82926" y="75508"/>
                        </a:cubicBezTo>
                        <a:cubicBezTo>
                          <a:pt x="83658" y="75935"/>
                          <a:pt x="83658" y="75935"/>
                          <a:pt x="83658" y="75935"/>
                        </a:cubicBezTo>
                        <a:cubicBezTo>
                          <a:pt x="83414" y="77005"/>
                          <a:pt x="83414" y="77005"/>
                          <a:pt x="83414" y="77005"/>
                        </a:cubicBezTo>
                        <a:cubicBezTo>
                          <a:pt x="83414" y="77647"/>
                          <a:pt x="83414" y="77647"/>
                          <a:pt x="83414" y="77647"/>
                        </a:cubicBezTo>
                        <a:cubicBezTo>
                          <a:pt x="83902" y="78502"/>
                          <a:pt x="83902" y="78502"/>
                          <a:pt x="83902" y="78502"/>
                        </a:cubicBezTo>
                        <a:cubicBezTo>
                          <a:pt x="85121" y="78930"/>
                          <a:pt x="85121" y="78930"/>
                          <a:pt x="85121" y="78930"/>
                        </a:cubicBezTo>
                        <a:cubicBezTo>
                          <a:pt x="86341" y="79572"/>
                          <a:pt x="86341" y="79572"/>
                          <a:pt x="86341" y="79572"/>
                        </a:cubicBezTo>
                        <a:cubicBezTo>
                          <a:pt x="87073" y="80000"/>
                          <a:pt x="87073" y="80000"/>
                          <a:pt x="87073" y="80000"/>
                        </a:cubicBezTo>
                        <a:cubicBezTo>
                          <a:pt x="88048" y="80000"/>
                          <a:pt x="88048" y="80000"/>
                          <a:pt x="88048" y="80000"/>
                        </a:cubicBezTo>
                        <a:cubicBezTo>
                          <a:pt x="89512" y="79786"/>
                          <a:pt x="89512" y="79786"/>
                          <a:pt x="89512" y="79786"/>
                        </a:cubicBezTo>
                        <a:cubicBezTo>
                          <a:pt x="91219" y="80000"/>
                          <a:pt x="91219" y="80000"/>
                          <a:pt x="91219" y="80000"/>
                        </a:cubicBezTo>
                        <a:cubicBezTo>
                          <a:pt x="92682" y="82139"/>
                          <a:pt x="92682" y="82139"/>
                          <a:pt x="92682" y="82139"/>
                        </a:cubicBezTo>
                        <a:cubicBezTo>
                          <a:pt x="93414" y="84064"/>
                          <a:pt x="93414" y="84064"/>
                          <a:pt x="93414" y="84064"/>
                        </a:cubicBezTo>
                        <a:cubicBezTo>
                          <a:pt x="94390" y="85775"/>
                          <a:pt x="94390" y="85775"/>
                          <a:pt x="94390" y="85775"/>
                        </a:cubicBezTo>
                        <a:cubicBezTo>
                          <a:pt x="95121" y="86844"/>
                          <a:pt x="95121" y="86844"/>
                          <a:pt x="95121" y="86844"/>
                        </a:cubicBezTo>
                        <a:cubicBezTo>
                          <a:pt x="95609" y="88556"/>
                          <a:pt x="95609" y="88556"/>
                          <a:pt x="95609" y="88556"/>
                        </a:cubicBezTo>
                        <a:cubicBezTo>
                          <a:pt x="96341" y="89411"/>
                          <a:pt x="96341" y="89411"/>
                          <a:pt x="96341" y="89411"/>
                        </a:cubicBezTo>
                        <a:cubicBezTo>
                          <a:pt x="97560" y="91550"/>
                          <a:pt x="97560" y="91550"/>
                          <a:pt x="97560" y="91550"/>
                        </a:cubicBezTo>
                        <a:cubicBezTo>
                          <a:pt x="98048" y="92406"/>
                          <a:pt x="98048" y="92406"/>
                          <a:pt x="98048" y="92406"/>
                        </a:cubicBezTo>
                        <a:cubicBezTo>
                          <a:pt x="97560" y="93475"/>
                          <a:pt x="97560" y="93475"/>
                          <a:pt x="97560" y="93475"/>
                        </a:cubicBezTo>
                        <a:cubicBezTo>
                          <a:pt x="97560" y="93475"/>
                          <a:pt x="97073" y="94545"/>
                          <a:pt x="96829" y="94545"/>
                        </a:cubicBezTo>
                        <a:cubicBezTo>
                          <a:pt x="96829" y="94759"/>
                          <a:pt x="96097" y="94973"/>
                          <a:pt x="95853" y="94973"/>
                        </a:cubicBezTo>
                        <a:cubicBezTo>
                          <a:pt x="95609" y="95187"/>
                          <a:pt x="95365" y="95187"/>
                          <a:pt x="95121" y="95401"/>
                        </a:cubicBezTo>
                        <a:cubicBezTo>
                          <a:pt x="94878" y="95614"/>
                          <a:pt x="94634" y="96256"/>
                          <a:pt x="94634" y="96256"/>
                        </a:cubicBezTo>
                        <a:cubicBezTo>
                          <a:pt x="95365" y="97540"/>
                          <a:pt x="95365" y="97540"/>
                          <a:pt x="95365" y="97540"/>
                        </a:cubicBezTo>
                        <a:cubicBezTo>
                          <a:pt x="95121" y="99037"/>
                          <a:pt x="95121" y="99037"/>
                          <a:pt x="95121" y="99037"/>
                        </a:cubicBezTo>
                        <a:cubicBezTo>
                          <a:pt x="94634" y="100320"/>
                          <a:pt x="94634" y="100320"/>
                          <a:pt x="94634" y="100320"/>
                        </a:cubicBezTo>
                        <a:close/>
                        <a:moveTo>
                          <a:pt x="13902" y="73796"/>
                        </a:moveTo>
                        <a:cubicBezTo>
                          <a:pt x="13902" y="73796"/>
                          <a:pt x="13902" y="73796"/>
                          <a:pt x="13902" y="73796"/>
                        </a:cubicBezTo>
                        <a:cubicBezTo>
                          <a:pt x="14634" y="71657"/>
                          <a:pt x="14634" y="71657"/>
                          <a:pt x="14634" y="71657"/>
                        </a:cubicBezTo>
                        <a:cubicBezTo>
                          <a:pt x="15609" y="70802"/>
                          <a:pt x="15609" y="70802"/>
                          <a:pt x="15609" y="70802"/>
                        </a:cubicBezTo>
                        <a:cubicBezTo>
                          <a:pt x="15365" y="71871"/>
                          <a:pt x="15365" y="71871"/>
                          <a:pt x="15365" y="71871"/>
                        </a:cubicBezTo>
                        <a:cubicBezTo>
                          <a:pt x="15121" y="73155"/>
                          <a:pt x="15121" y="73155"/>
                          <a:pt x="15121" y="73155"/>
                        </a:cubicBezTo>
                        <a:cubicBezTo>
                          <a:pt x="15121" y="73155"/>
                          <a:pt x="17073" y="73796"/>
                          <a:pt x="17317" y="73796"/>
                        </a:cubicBezTo>
                        <a:cubicBezTo>
                          <a:pt x="17560" y="73796"/>
                          <a:pt x="17804" y="73368"/>
                          <a:pt x="18292" y="73155"/>
                        </a:cubicBezTo>
                        <a:cubicBezTo>
                          <a:pt x="18536" y="72941"/>
                          <a:pt x="20243" y="72941"/>
                          <a:pt x="20243" y="72941"/>
                        </a:cubicBezTo>
                        <a:cubicBezTo>
                          <a:pt x="20243" y="72941"/>
                          <a:pt x="20487" y="72299"/>
                          <a:pt x="20731" y="71871"/>
                        </a:cubicBezTo>
                        <a:cubicBezTo>
                          <a:pt x="20975" y="71443"/>
                          <a:pt x="22195" y="70374"/>
                          <a:pt x="22439" y="70160"/>
                        </a:cubicBezTo>
                        <a:cubicBezTo>
                          <a:pt x="22682" y="70160"/>
                          <a:pt x="23170" y="69732"/>
                          <a:pt x="23414" y="69732"/>
                        </a:cubicBezTo>
                        <a:cubicBezTo>
                          <a:pt x="23658" y="69518"/>
                          <a:pt x="24878" y="69090"/>
                          <a:pt x="24878" y="69090"/>
                        </a:cubicBezTo>
                        <a:cubicBezTo>
                          <a:pt x="28048" y="70160"/>
                          <a:pt x="28048" y="70160"/>
                          <a:pt x="28048" y="70160"/>
                        </a:cubicBezTo>
                        <a:cubicBezTo>
                          <a:pt x="28536" y="71871"/>
                          <a:pt x="28536" y="71871"/>
                          <a:pt x="28536" y="71871"/>
                        </a:cubicBezTo>
                        <a:cubicBezTo>
                          <a:pt x="30243" y="74652"/>
                          <a:pt x="30243" y="74652"/>
                          <a:pt x="30243" y="74652"/>
                        </a:cubicBezTo>
                        <a:cubicBezTo>
                          <a:pt x="30731" y="75935"/>
                          <a:pt x="30731" y="75935"/>
                          <a:pt x="30731" y="75935"/>
                        </a:cubicBezTo>
                        <a:cubicBezTo>
                          <a:pt x="30731" y="75935"/>
                          <a:pt x="31463" y="76577"/>
                          <a:pt x="31219" y="77219"/>
                        </a:cubicBezTo>
                        <a:cubicBezTo>
                          <a:pt x="30975" y="78074"/>
                          <a:pt x="29512" y="80213"/>
                          <a:pt x="29512" y="80213"/>
                        </a:cubicBezTo>
                        <a:cubicBezTo>
                          <a:pt x="29512" y="81497"/>
                          <a:pt x="29512" y="81497"/>
                          <a:pt x="29512" y="81497"/>
                        </a:cubicBezTo>
                        <a:cubicBezTo>
                          <a:pt x="30487" y="83208"/>
                          <a:pt x="30487" y="83208"/>
                          <a:pt x="30487" y="83208"/>
                        </a:cubicBezTo>
                        <a:cubicBezTo>
                          <a:pt x="29024" y="86417"/>
                          <a:pt x="29024" y="86417"/>
                          <a:pt x="29024" y="86417"/>
                        </a:cubicBezTo>
                        <a:cubicBezTo>
                          <a:pt x="29756" y="88770"/>
                          <a:pt x="29756" y="88770"/>
                          <a:pt x="29756" y="88770"/>
                        </a:cubicBezTo>
                        <a:cubicBezTo>
                          <a:pt x="29268" y="91978"/>
                          <a:pt x="29268" y="91978"/>
                          <a:pt x="29268" y="91978"/>
                        </a:cubicBezTo>
                        <a:cubicBezTo>
                          <a:pt x="29024" y="93689"/>
                          <a:pt x="29024" y="93689"/>
                          <a:pt x="29024" y="93689"/>
                        </a:cubicBezTo>
                        <a:cubicBezTo>
                          <a:pt x="29024" y="93689"/>
                          <a:pt x="28048" y="94545"/>
                          <a:pt x="27560" y="94331"/>
                        </a:cubicBezTo>
                        <a:cubicBezTo>
                          <a:pt x="27073" y="94117"/>
                          <a:pt x="24634" y="92620"/>
                          <a:pt x="24634" y="92620"/>
                        </a:cubicBezTo>
                        <a:cubicBezTo>
                          <a:pt x="23658" y="92406"/>
                          <a:pt x="23658" y="92406"/>
                          <a:pt x="23658" y="92406"/>
                        </a:cubicBezTo>
                        <a:cubicBezTo>
                          <a:pt x="22926" y="93903"/>
                          <a:pt x="22926" y="93903"/>
                          <a:pt x="22926" y="93903"/>
                        </a:cubicBezTo>
                        <a:cubicBezTo>
                          <a:pt x="23170" y="94973"/>
                          <a:pt x="23170" y="94973"/>
                          <a:pt x="23170" y="94973"/>
                        </a:cubicBezTo>
                        <a:cubicBezTo>
                          <a:pt x="21951" y="96898"/>
                          <a:pt x="21951" y="96898"/>
                          <a:pt x="21951" y="96898"/>
                        </a:cubicBezTo>
                        <a:cubicBezTo>
                          <a:pt x="20731" y="96898"/>
                          <a:pt x="20731" y="96898"/>
                          <a:pt x="20731" y="96898"/>
                        </a:cubicBezTo>
                        <a:cubicBezTo>
                          <a:pt x="19268" y="96470"/>
                          <a:pt x="19268" y="96470"/>
                          <a:pt x="19268" y="96470"/>
                        </a:cubicBezTo>
                        <a:cubicBezTo>
                          <a:pt x="17804" y="94759"/>
                          <a:pt x="17804" y="94759"/>
                          <a:pt x="17804" y="94759"/>
                        </a:cubicBezTo>
                        <a:cubicBezTo>
                          <a:pt x="17804" y="94759"/>
                          <a:pt x="17804" y="95187"/>
                          <a:pt x="17317" y="95401"/>
                        </a:cubicBezTo>
                        <a:cubicBezTo>
                          <a:pt x="16829" y="95401"/>
                          <a:pt x="16097" y="95187"/>
                          <a:pt x="16097" y="95187"/>
                        </a:cubicBezTo>
                        <a:cubicBezTo>
                          <a:pt x="16585" y="93903"/>
                          <a:pt x="16585" y="93903"/>
                          <a:pt x="16585" y="93903"/>
                        </a:cubicBezTo>
                        <a:cubicBezTo>
                          <a:pt x="16097" y="92406"/>
                          <a:pt x="16097" y="92406"/>
                          <a:pt x="16097" y="92406"/>
                        </a:cubicBezTo>
                        <a:cubicBezTo>
                          <a:pt x="16585" y="90909"/>
                          <a:pt x="16585" y="90909"/>
                          <a:pt x="16585" y="90909"/>
                        </a:cubicBezTo>
                        <a:cubicBezTo>
                          <a:pt x="16585" y="88770"/>
                          <a:pt x="16585" y="88770"/>
                          <a:pt x="16585" y="88770"/>
                        </a:cubicBezTo>
                        <a:cubicBezTo>
                          <a:pt x="17073" y="87914"/>
                          <a:pt x="17073" y="87914"/>
                          <a:pt x="17073" y="87914"/>
                        </a:cubicBezTo>
                        <a:cubicBezTo>
                          <a:pt x="17317" y="86844"/>
                          <a:pt x="17317" y="86844"/>
                          <a:pt x="17317" y="86844"/>
                        </a:cubicBezTo>
                        <a:cubicBezTo>
                          <a:pt x="18048" y="85561"/>
                          <a:pt x="18048" y="85561"/>
                          <a:pt x="18048" y="85561"/>
                        </a:cubicBezTo>
                        <a:cubicBezTo>
                          <a:pt x="17804" y="84491"/>
                          <a:pt x="17804" y="84491"/>
                          <a:pt x="17804" y="84491"/>
                        </a:cubicBezTo>
                        <a:cubicBezTo>
                          <a:pt x="17317" y="84705"/>
                          <a:pt x="17317" y="84705"/>
                          <a:pt x="17317" y="84705"/>
                        </a:cubicBezTo>
                        <a:cubicBezTo>
                          <a:pt x="15853" y="83422"/>
                          <a:pt x="15853" y="83422"/>
                          <a:pt x="15853" y="83422"/>
                        </a:cubicBezTo>
                        <a:cubicBezTo>
                          <a:pt x="15853" y="83422"/>
                          <a:pt x="16341" y="82994"/>
                          <a:pt x="16829" y="82566"/>
                        </a:cubicBezTo>
                        <a:cubicBezTo>
                          <a:pt x="17317" y="82139"/>
                          <a:pt x="17317" y="81925"/>
                          <a:pt x="17317" y="81497"/>
                        </a:cubicBezTo>
                        <a:cubicBezTo>
                          <a:pt x="17317" y="81069"/>
                          <a:pt x="17073" y="80000"/>
                          <a:pt x="16829" y="80000"/>
                        </a:cubicBezTo>
                        <a:cubicBezTo>
                          <a:pt x="16585" y="79786"/>
                          <a:pt x="16097" y="79358"/>
                          <a:pt x="16097" y="79358"/>
                        </a:cubicBezTo>
                        <a:cubicBezTo>
                          <a:pt x="16097" y="78074"/>
                          <a:pt x="16097" y="78074"/>
                          <a:pt x="16097" y="78074"/>
                        </a:cubicBezTo>
                        <a:cubicBezTo>
                          <a:pt x="16097" y="78074"/>
                          <a:pt x="15853" y="77433"/>
                          <a:pt x="15609" y="77433"/>
                        </a:cubicBezTo>
                        <a:cubicBezTo>
                          <a:pt x="15121" y="77219"/>
                          <a:pt x="13902" y="76577"/>
                          <a:pt x="13902" y="76577"/>
                        </a:cubicBezTo>
                        <a:cubicBezTo>
                          <a:pt x="14146" y="75080"/>
                          <a:pt x="14146" y="75080"/>
                          <a:pt x="14146" y="75080"/>
                        </a:cubicBezTo>
                        <a:cubicBezTo>
                          <a:pt x="13658" y="74652"/>
                          <a:pt x="13658" y="74652"/>
                          <a:pt x="13658" y="74652"/>
                        </a:cubicBezTo>
                        <a:lnTo>
                          <a:pt x="13902" y="73796"/>
                        </a:lnTo>
                        <a:close/>
                      </a:path>
                    </a:pathLst>
                  </a:custGeom>
                  <a:solidFill>
                    <a:sysClr val="window" lastClr="FFFFFF">
                      <a:lumMod val="75000"/>
                    </a:sysClr>
                  </a:solid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2" name="Shape 2048"/>
                  <p:cNvSpPr/>
                  <p:nvPr/>
                </p:nvSpPr>
                <p:spPr>
                  <a:xfrm>
                    <a:off x="5904410" y="2909082"/>
                    <a:ext cx="841064" cy="588110"/>
                  </a:xfrm>
                  <a:custGeom>
                    <a:avLst/>
                    <a:gdLst/>
                    <a:ahLst/>
                    <a:cxnLst/>
                    <a:rect l="0" t="0" r="0" b="0"/>
                    <a:pathLst>
                      <a:path w="120000" h="120000" extrusionOk="0">
                        <a:moveTo>
                          <a:pt x="22439" y="27518"/>
                        </a:moveTo>
                        <a:cubicBezTo>
                          <a:pt x="22439" y="27518"/>
                          <a:pt x="22439" y="27518"/>
                          <a:pt x="22439" y="27518"/>
                        </a:cubicBezTo>
                        <a:cubicBezTo>
                          <a:pt x="21463" y="27969"/>
                          <a:pt x="21463" y="27969"/>
                          <a:pt x="21463" y="27969"/>
                        </a:cubicBezTo>
                        <a:cubicBezTo>
                          <a:pt x="20813" y="28872"/>
                          <a:pt x="20813" y="28872"/>
                          <a:pt x="20813" y="28872"/>
                        </a:cubicBezTo>
                        <a:cubicBezTo>
                          <a:pt x="20162" y="31578"/>
                          <a:pt x="20162" y="31578"/>
                          <a:pt x="20162" y="31578"/>
                        </a:cubicBezTo>
                        <a:cubicBezTo>
                          <a:pt x="20162" y="31578"/>
                          <a:pt x="20162" y="31578"/>
                          <a:pt x="20162" y="31578"/>
                        </a:cubicBezTo>
                        <a:cubicBezTo>
                          <a:pt x="19186" y="32932"/>
                          <a:pt x="19186" y="32932"/>
                          <a:pt x="19186" y="32932"/>
                        </a:cubicBezTo>
                        <a:cubicBezTo>
                          <a:pt x="19186" y="32932"/>
                          <a:pt x="19186" y="32932"/>
                          <a:pt x="19186" y="32932"/>
                        </a:cubicBezTo>
                        <a:cubicBezTo>
                          <a:pt x="18861" y="35187"/>
                          <a:pt x="18861" y="35187"/>
                          <a:pt x="18861" y="35187"/>
                        </a:cubicBezTo>
                        <a:cubicBezTo>
                          <a:pt x="18861" y="35187"/>
                          <a:pt x="19186" y="36992"/>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9186" y="37443"/>
                          <a:pt x="19186" y="37443"/>
                          <a:pt x="19186" y="37443"/>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861" y="37894"/>
                          <a:pt x="18861" y="37894"/>
                          <a:pt x="18861" y="37894"/>
                        </a:cubicBezTo>
                        <a:cubicBezTo>
                          <a:pt x="18536"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7894"/>
                          <a:pt x="18211" y="37894"/>
                          <a:pt x="18211" y="37894"/>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8211" y="38345"/>
                          <a:pt x="18211" y="38345"/>
                          <a:pt x="18211" y="38345"/>
                        </a:cubicBezTo>
                        <a:cubicBezTo>
                          <a:pt x="17886" y="41954"/>
                          <a:pt x="17886" y="41954"/>
                          <a:pt x="17886" y="41954"/>
                        </a:cubicBezTo>
                        <a:cubicBezTo>
                          <a:pt x="16585" y="43759"/>
                          <a:pt x="16585" y="43759"/>
                          <a:pt x="16585" y="43759"/>
                        </a:cubicBezTo>
                        <a:cubicBezTo>
                          <a:pt x="16260" y="46015"/>
                          <a:pt x="16260" y="46015"/>
                          <a:pt x="16260" y="46015"/>
                        </a:cubicBezTo>
                        <a:cubicBezTo>
                          <a:pt x="16260" y="47368"/>
                          <a:pt x="16260" y="47368"/>
                          <a:pt x="16260" y="47368"/>
                        </a:cubicBezTo>
                        <a:cubicBezTo>
                          <a:pt x="16260" y="47368"/>
                          <a:pt x="16260" y="47368"/>
                          <a:pt x="16260" y="47368"/>
                        </a:cubicBezTo>
                        <a:cubicBezTo>
                          <a:pt x="16260" y="47368"/>
                          <a:pt x="16260" y="47368"/>
                          <a:pt x="16260" y="47368"/>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7819"/>
                          <a:pt x="16260" y="47819"/>
                          <a:pt x="16260" y="47819"/>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270"/>
                          <a:pt x="16260" y="48270"/>
                          <a:pt x="16260" y="48270"/>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8721"/>
                          <a:pt x="16260" y="48721"/>
                          <a:pt x="16260" y="48721"/>
                        </a:cubicBezTo>
                        <a:cubicBezTo>
                          <a:pt x="16260" y="49172"/>
                          <a:pt x="16260" y="49172"/>
                          <a:pt x="15934" y="49172"/>
                        </a:cubicBezTo>
                        <a:cubicBezTo>
                          <a:pt x="15284" y="49624"/>
                          <a:pt x="14959" y="50526"/>
                          <a:pt x="14959" y="50526"/>
                        </a:cubicBezTo>
                        <a:cubicBezTo>
                          <a:pt x="14959" y="53684"/>
                          <a:pt x="14959" y="53684"/>
                          <a:pt x="14959" y="53684"/>
                        </a:cubicBezTo>
                        <a:cubicBezTo>
                          <a:pt x="14634" y="54586"/>
                          <a:pt x="14634" y="54586"/>
                          <a:pt x="14634" y="54586"/>
                        </a:cubicBezTo>
                        <a:cubicBezTo>
                          <a:pt x="13983" y="55939"/>
                          <a:pt x="13983" y="55939"/>
                          <a:pt x="13983" y="55939"/>
                        </a:cubicBezTo>
                        <a:cubicBezTo>
                          <a:pt x="14308" y="57744"/>
                          <a:pt x="14308" y="57744"/>
                          <a:pt x="14308" y="57744"/>
                        </a:cubicBezTo>
                        <a:cubicBezTo>
                          <a:pt x="14308" y="57744"/>
                          <a:pt x="14308" y="57744"/>
                          <a:pt x="14308" y="57744"/>
                        </a:cubicBezTo>
                        <a:cubicBezTo>
                          <a:pt x="13658" y="59097"/>
                          <a:pt x="13658" y="59097"/>
                          <a:pt x="13658" y="59097"/>
                        </a:cubicBezTo>
                        <a:cubicBezTo>
                          <a:pt x="13983" y="61353"/>
                          <a:pt x="13983" y="61353"/>
                          <a:pt x="13983" y="61353"/>
                        </a:cubicBezTo>
                        <a:cubicBezTo>
                          <a:pt x="13333" y="62706"/>
                          <a:pt x="13333" y="62706"/>
                          <a:pt x="13333" y="62706"/>
                        </a:cubicBezTo>
                        <a:cubicBezTo>
                          <a:pt x="13008" y="63157"/>
                          <a:pt x="13008" y="63157"/>
                          <a:pt x="13008" y="63157"/>
                        </a:cubicBezTo>
                        <a:cubicBezTo>
                          <a:pt x="12682" y="64511"/>
                          <a:pt x="12682" y="64511"/>
                          <a:pt x="12682" y="64511"/>
                        </a:cubicBezTo>
                        <a:cubicBezTo>
                          <a:pt x="12032" y="66766"/>
                          <a:pt x="12032" y="66766"/>
                          <a:pt x="12032" y="66766"/>
                        </a:cubicBezTo>
                        <a:cubicBezTo>
                          <a:pt x="9430" y="69924"/>
                          <a:pt x="9430" y="69924"/>
                          <a:pt x="9430" y="69924"/>
                        </a:cubicBezTo>
                        <a:cubicBezTo>
                          <a:pt x="8455" y="69473"/>
                          <a:pt x="8455" y="69473"/>
                          <a:pt x="8455" y="69473"/>
                        </a:cubicBezTo>
                        <a:cubicBezTo>
                          <a:pt x="7804" y="69924"/>
                          <a:pt x="7804" y="69924"/>
                          <a:pt x="7804" y="69924"/>
                        </a:cubicBezTo>
                        <a:cubicBezTo>
                          <a:pt x="7154" y="70827"/>
                          <a:pt x="7154" y="70827"/>
                          <a:pt x="7154" y="70827"/>
                        </a:cubicBezTo>
                        <a:cubicBezTo>
                          <a:pt x="7154" y="70827"/>
                          <a:pt x="7479" y="70827"/>
                          <a:pt x="6829" y="71729"/>
                        </a:cubicBezTo>
                        <a:cubicBezTo>
                          <a:pt x="6178" y="72180"/>
                          <a:pt x="4878" y="72631"/>
                          <a:pt x="4878" y="72631"/>
                        </a:cubicBezTo>
                        <a:cubicBezTo>
                          <a:pt x="4227" y="72631"/>
                          <a:pt x="4227" y="72631"/>
                          <a:pt x="4227" y="72631"/>
                        </a:cubicBezTo>
                        <a:cubicBezTo>
                          <a:pt x="1951" y="72631"/>
                          <a:pt x="1951" y="72631"/>
                          <a:pt x="1951" y="72631"/>
                        </a:cubicBezTo>
                        <a:cubicBezTo>
                          <a:pt x="1951" y="72631"/>
                          <a:pt x="1951" y="72631"/>
                          <a:pt x="1951" y="72631"/>
                        </a:cubicBezTo>
                        <a:cubicBezTo>
                          <a:pt x="1951" y="72631"/>
                          <a:pt x="1951" y="72631"/>
                          <a:pt x="1951" y="72631"/>
                        </a:cubicBezTo>
                        <a:cubicBezTo>
                          <a:pt x="1951" y="72631"/>
                          <a:pt x="1626" y="72180"/>
                          <a:pt x="1300" y="72631"/>
                        </a:cubicBezTo>
                        <a:cubicBezTo>
                          <a:pt x="1300" y="72631"/>
                          <a:pt x="975" y="72631"/>
                          <a:pt x="975" y="72631"/>
                        </a:cubicBezTo>
                        <a:cubicBezTo>
                          <a:pt x="975" y="72631"/>
                          <a:pt x="975" y="72631"/>
                          <a:pt x="975"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650" y="72631"/>
                          <a:pt x="650" y="72631"/>
                          <a:pt x="650"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325" y="72631"/>
                          <a:pt x="325" y="72631"/>
                          <a:pt x="325"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0" y="72631"/>
                          <a:pt x="0" y="72631"/>
                        </a:cubicBezTo>
                        <a:cubicBezTo>
                          <a:pt x="0" y="72631"/>
                          <a:pt x="325" y="73082"/>
                          <a:pt x="650" y="73082"/>
                        </a:cubicBezTo>
                        <a:cubicBezTo>
                          <a:pt x="1300" y="73533"/>
                          <a:pt x="1626" y="74887"/>
                          <a:pt x="1951" y="74887"/>
                        </a:cubicBezTo>
                        <a:cubicBezTo>
                          <a:pt x="2601" y="75338"/>
                          <a:pt x="3252" y="75338"/>
                          <a:pt x="3577" y="75338"/>
                        </a:cubicBezTo>
                        <a:cubicBezTo>
                          <a:pt x="3902" y="75789"/>
                          <a:pt x="4552" y="76240"/>
                          <a:pt x="4552" y="76240"/>
                        </a:cubicBezTo>
                        <a:cubicBezTo>
                          <a:pt x="4552" y="76240"/>
                          <a:pt x="6178" y="78496"/>
                          <a:pt x="6504" y="78496"/>
                        </a:cubicBezTo>
                        <a:cubicBezTo>
                          <a:pt x="6829" y="78496"/>
                          <a:pt x="6829" y="78496"/>
                          <a:pt x="7154" y="79398"/>
                        </a:cubicBezTo>
                        <a:cubicBezTo>
                          <a:pt x="7479" y="79849"/>
                          <a:pt x="8455" y="79398"/>
                          <a:pt x="8455" y="79398"/>
                        </a:cubicBezTo>
                        <a:cubicBezTo>
                          <a:pt x="8455" y="79398"/>
                          <a:pt x="8780" y="80751"/>
                          <a:pt x="8455" y="81203"/>
                        </a:cubicBezTo>
                        <a:cubicBezTo>
                          <a:pt x="8455" y="81654"/>
                          <a:pt x="8455" y="83007"/>
                          <a:pt x="8455" y="83007"/>
                        </a:cubicBezTo>
                        <a:cubicBezTo>
                          <a:pt x="8455" y="83007"/>
                          <a:pt x="8455" y="83458"/>
                          <a:pt x="8455" y="83909"/>
                        </a:cubicBezTo>
                        <a:cubicBezTo>
                          <a:pt x="8780" y="84812"/>
                          <a:pt x="9105" y="84812"/>
                          <a:pt x="9105" y="85714"/>
                        </a:cubicBezTo>
                        <a:cubicBezTo>
                          <a:pt x="9430" y="86165"/>
                          <a:pt x="9105" y="86165"/>
                          <a:pt x="9430" y="86616"/>
                        </a:cubicBezTo>
                        <a:cubicBezTo>
                          <a:pt x="9756" y="87067"/>
                          <a:pt x="10081" y="87969"/>
                          <a:pt x="10406" y="87969"/>
                        </a:cubicBezTo>
                        <a:cubicBezTo>
                          <a:pt x="10731" y="87969"/>
                          <a:pt x="11056" y="87969"/>
                          <a:pt x="12032" y="88421"/>
                        </a:cubicBezTo>
                        <a:cubicBezTo>
                          <a:pt x="13008" y="89323"/>
                          <a:pt x="13333" y="89323"/>
                          <a:pt x="13658" y="89774"/>
                        </a:cubicBezTo>
                        <a:cubicBezTo>
                          <a:pt x="14308" y="90225"/>
                          <a:pt x="13983" y="89774"/>
                          <a:pt x="14959" y="90225"/>
                        </a:cubicBezTo>
                        <a:cubicBezTo>
                          <a:pt x="16260" y="90676"/>
                          <a:pt x="15934" y="90225"/>
                          <a:pt x="16260" y="90676"/>
                        </a:cubicBezTo>
                        <a:cubicBezTo>
                          <a:pt x="16585" y="90676"/>
                          <a:pt x="16260" y="90225"/>
                          <a:pt x="16910" y="90676"/>
                        </a:cubicBezTo>
                        <a:cubicBezTo>
                          <a:pt x="17886" y="90676"/>
                          <a:pt x="18536" y="91127"/>
                          <a:pt x="18536" y="91127"/>
                        </a:cubicBezTo>
                        <a:cubicBezTo>
                          <a:pt x="18536" y="92030"/>
                          <a:pt x="18536" y="92030"/>
                          <a:pt x="18536" y="92030"/>
                        </a:cubicBezTo>
                        <a:cubicBezTo>
                          <a:pt x="17886" y="93834"/>
                          <a:pt x="17886" y="93834"/>
                          <a:pt x="17886" y="93834"/>
                        </a:cubicBezTo>
                        <a:cubicBezTo>
                          <a:pt x="17886" y="95187"/>
                          <a:pt x="17886" y="95187"/>
                          <a:pt x="17886" y="95187"/>
                        </a:cubicBezTo>
                        <a:cubicBezTo>
                          <a:pt x="17886" y="95187"/>
                          <a:pt x="17235" y="95187"/>
                          <a:pt x="17886" y="95639"/>
                        </a:cubicBezTo>
                        <a:cubicBezTo>
                          <a:pt x="18536" y="96090"/>
                          <a:pt x="19837" y="96541"/>
                          <a:pt x="19837" y="96541"/>
                        </a:cubicBezTo>
                        <a:cubicBezTo>
                          <a:pt x="20813" y="97443"/>
                          <a:pt x="20813" y="97443"/>
                          <a:pt x="20813" y="97443"/>
                        </a:cubicBezTo>
                        <a:cubicBezTo>
                          <a:pt x="20813" y="97443"/>
                          <a:pt x="20162" y="98796"/>
                          <a:pt x="19837" y="99248"/>
                        </a:cubicBezTo>
                        <a:cubicBezTo>
                          <a:pt x="19512" y="99248"/>
                          <a:pt x="18536" y="99248"/>
                          <a:pt x="18536" y="99248"/>
                        </a:cubicBezTo>
                        <a:cubicBezTo>
                          <a:pt x="18536" y="99248"/>
                          <a:pt x="18211" y="100601"/>
                          <a:pt x="18861" y="100601"/>
                        </a:cubicBezTo>
                        <a:cubicBezTo>
                          <a:pt x="19186" y="101052"/>
                          <a:pt x="19837" y="101052"/>
                          <a:pt x="20162" y="101052"/>
                        </a:cubicBezTo>
                        <a:cubicBezTo>
                          <a:pt x="20487" y="101052"/>
                          <a:pt x="21138" y="101503"/>
                          <a:pt x="21138" y="101503"/>
                        </a:cubicBezTo>
                        <a:cubicBezTo>
                          <a:pt x="21138" y="101503"/>
                          <a:pt x="21463" y="101503"/>
                          <a:pt x="21788" y="101954"/>
                        </a:cubicBezTo>
                        <a:cubicBezTo>
                          <a:pt x="21788" y="102857"/>
                          <a:pt x="22113" y="103308"/>
                          <a:pt x="22439" y="103308"/>
                        </a:cubicBezTo>
                        <a:cubicBezTo>
                          <a:pt x="22764" y="103308"/>
                          <a:pt x="23414" y="103308"/>
                          <a:pt x="23739" y="103308"/>
                        </a:cubicBezTo>
                        <a:cubicBezTo>
                          <a:pt x="24065" y="103308"/>
                          <a:pt x="24065" y="102857"/>
                          <a:pt x="24390" y="102857"/>
                        </a:cubicBezTo>
                        <a:cubicBezTo>
                          <a:pt x="24715" y="103308"/>
                          <a:pt x="26666" y="102857"/>
                          <a:pt x="26666" y="102857"/>
                        </a:cubicBezTo>
                        <a:cubicBezTo>
                          <a:pt x="26666" y="102857"/>
                          <a:pt x="26666" y="102857"/>
                          <a:pt x="26991" y="103759"/>
                        </a:cubicBezTo>
                        <a:cubicBezTo>
                          <a:pt x="27642" y="105112"/>
                          <a:pt x="28617" y="105563"/>
                          <a:pt x="28617" y="105563"/>
                        </a:cubicBezTo>
                        <a:cubicBezTo>
                          <a:pt x="28617" y="105563"/>
                          <a:pt x="28943" y="106015"/>
                          <a:pt x="28943" y="105563"/>
                        </a:cubicBezTo>
                        <a:cubicBezTo>
                          <a:pt x="28943" y="105112"/>
                          <a:pt x="29268" y="104661"/>
                          <a:pt x="29268" y="104661"/>
                        </a:cubicBezTo>
                        <a:cubicBezTo>
                          <a:pt x="29268" y="104661"/>
                          <a:pt x="29918" y="103308"/>
                          <a:pt x="29918" y="102857"/>
                        </a:cubicBezTo>
                        <a:cubicBezTo>
                          <a:pt x="30243" y="102406"/>
                          <a:pt x="30569" y="101052"/>
                          <a:pt x="30894" y="101052"/>
                        </a:cubicBezTo>
                        <a:cubicBezTo>
                          <a:pt x="31219" y="100601"/>
                          <a:pt x="32195" y="99699"/>
                          <a:pt x="32195" y="99699"/>
                        </a:cubicBezTo>
                        <a:cubicBezTo>
                          <a:pt x="32195" y="99699"/>
                          <a:pt x="32195" y="99248"/>
                          <a:pt x="32845" y="99699"/>
                        </a:cubicBezTo>
                        <a:cubicBezTo>
                          <a:pt x="33170" y="100601"/>
                          <a:pt x="34146" y="101503"/>
                          <a:pt x="34146" y="101503"/>
                        </a:cubicBezTo>
                        <a:cubicBezTo>
                          <a:pt x="35772" y="101503"/>
                          <a:pt x="35772" y="101503"/>
                          <a:pt x="35772" y="101503"/>
                        </a:cubicBezTo>
                        <a:cubicBezTo>
                          <a:pt x="35772" y="101503"/>
                          <a:pt x="36747" y="101954"/>
                          <a:pt x="36747" y="102406"/>
                        </a:cubicBezTo>
                        <a:cubicBezTo>
                          <a:pt x="36747" y="102857"/>
                          <a:pt x="36422" y="102857"/>
                          <a:pt x="35772" y="103308"/>
                        </a:cubicBezTo>
                        <a:cubicBezTo>
                          <a:pt x="35447" y="103308"/>
                          <a:pt x="34471" y="101954"/>
                          <a:pt x="34471" y="102406"/>
                        </a:cubicBezTo>
                        <a:cubicBezTo>
                          <a:pt x="34146" y="102857"/>
                          <a:pt x="34146" y="103759"/>
                          <a:pt x="34146" y="103759"/>
                        </a:cubicBezTo>
                        <a:cubicBezTo>
                          <a:pt x="32845" y="104661"/>
                          <a:pt x="32845" y="104661"/>
                          <a:pt x="32845" y="104661"/>
                        </a:cubicBezTo>
                        <a:cubicBezTo>
                          <a:pt x="33170" y="105563"/>
                          <a:pt x="33170" y="105563"/>
                          <a:pt x="33170" y="105563"/>
                        </a:cubicBezTo>
                        <a:cubicBezTo>
                          <a:pt x="33170" y="105563"/>
                          <a:pt x="34796" y="106466"/>
                          <a:pt x="34796" y="106917"/>
                        </a:cubicBezTo>
                        <a:cubicBezTo>
                          <a:pt x="34796" y="107368"/>
                          <a:pt x="34796" y="108270"/>
                          <a:pt x="34796" y="108270"/>
                        </a:cubicBezTo>
                        <a:cubicBezTo>
                          <a:pt x="35772" y="108721"/>
                          <a:pt x="35772" y="108721"/>
                          <a:pt x="35772" y="108721"/>
                        </a:cubicBezTo>
                        <a:cubicBezTo>
                          <a:pt x="36422" y="108270"/>
                          <a:pt x="36422" y="108270"/>
                          <a:pt x="36422" y="108270"/>
                        </a:cubicBezTo>
                        <a:cubicBezTo>
                          <a:pt x="36422" y="110075"/>
                          <a:pt x="36422" y="110075"/>
                          <a:pt x="36422" y="110075"/>
                        </a:cubicBezTo>
                        <a:cubicBezTo>
                          <a:pt x="36422" y="111879"/>
                          <a:pt x="36422" y="111879"/>
                          <a:pt x="36422" y="111879"/>
                        </a:cubicBezTo>
                        <a:cubicBezTo>
                          <a:pt x="36422" y="111879"/>
                          <a:pt x="36422" y="111879"/>
                          <a:pt x="36422" y="111879"/>
                        </a:cubicBezTo>
                        <a:cubicBezTo>
                          <a:pt x="36422" y="111879"/>
                          <a:pt x="36422" y="111879"/>
                          <a:pt x="36422" y="111879"/>
                        </a:cubicBezTo>
                        <a:cubicBezTo>
                          <a:pt x="38699" y="110977"/>
                          <a:pt x="40650" y="112781"/>
                          <a:pt x="41626" y="112781"/>
                        </a:cubicBezTo>
                        <a:cubicBezTo>
                          <a:pt x="43577" y="113233"/>
                          <a:pt x="39349" y="116390"/>
                          <a:pt x="40000" y="116390"/>
                        </a:cubicBezTo>
                        <a:cubicBezTo>
                          <a:pt x="40650" y="115939"/>
                          <a:pt x="40000" y="118646"/>
                          <a:pt x="40975" y="119097"/>
                        </a:cubicBezTo>
                        <a:cubicBezTo>
                          <a:pt x="42601" y="119548"/>
                          <a:pt x="43902" y="117744"/>
                          <a:pt x="45853" y="117744"/>
                        </a:cubicBezTo>
                        <a:cubicBezTo>
                          <a:pt x="47479" y="117293"/>
                          <a:pt x="49430" y="118646"/>
                          <a:pt x="50081" y="117744"/>
                        </a:cubicBezTo>
                        <a:cubicBezTo>
                          <a:pt x="51382" y="115488"/>
                          <a:pt x="56585" y="120000"/>
                          <a:pt x="59186" y="117744"/>
                        </a:cubicBezTo>
                        <a:cubicBezTo>
                          <a:pt x="60813" y="115939"/>
                          <a:pt x="67317" y="115037"/>
                          <a:pt x="69593" y="115037"/>
                        </a:cubicBezTo>
                        <a:cubicBezTo>
                          <a:pt x="75447" y="114586"/>
                          <a:pt x="75772" y="114586"/>
                          <a:pt x="78373" y="112330"/>
                        </a:cubicBezTo>
                        <a:cubicBezTo>
                          <a:pt x="78373" y="112330"/>
                          <a:pt x="80000" y="107368"/>
                          <a:pt x="80975" y="105112"/>
                        </a:cubicBezTo>
                        <a:cubicBezTo>
                          <a:pt x="81626" y="103308"/>
                          <a:pt x="83577" y="102406"/>
                          <a:pt x="85528" y="100601"/>
                        </a:cubicBezTo>
                        <a:cubicBezTo>
                          <a:pt x="87154" y="98796"/>
                          <a:pt x="91382" y="96992"/>
                          <a:pt x="92357" y="96541"/>
                        </a:cubicBezTo>
                        <a:cubicBezTo>
                          <a:pt x="93333" y="96541"/>
                          <a:pt x="100162" y="96992"/>
                          <a:pt x="100162" y="96992"/>
                        </a:cubicBezTo>
                        <a:cubicBezTo>
                          <a:pt x="103739" y="95639"/>
                          <a:pt x="103739" y="95639"/>
                          <a:pt x="103739" y="95639"/>
                        </a:cubicBezTo>
                        <a:cubicBezTo>
                          <a:pt x="103739" y="95639"/>
                          <a:pt x="104390" y="99248"/>
                          <a:pt x="105365" y="99699"/>
                        </a:cubicBezTo>
                        <a:cubicBezTo>
                          <a:pt x="109593" y="100601"/>
                          <a:pt x="112195" y="100150"/>
                          <a:pt x="112520" y="96992"/>
                        </a:cubicBezTo>
                        <a:cubicBezTo>
                          <a:pt x="112845" y="94736"/>
                          <a:pt x="111219" y="90676"/>
                          <a:pt x="110894" y="87518"/>
                        </a:cubicBezTo>
                        <a:cubicBezTo>
                          <a:pt x="110569" y="83909"/>
                          <a:pt x="111869" y="80300"/>
                          <a:pt x="111869" y="77142"/>
                        </a:cubicBezTo>
                        <a:cubicBezTo>
                          <a:pt x="111869" y="76691"/>
                          <a:pt x="111219" y="75789"/>
                          <a:pt x="113170" y="72180"/>
                        </a:cubicBezTo>
                        <a:cubicBezTo>
                          <a:pt x="114796" y="68571"/>
                          <a:pt x="119349" y="70375"/>
                          <a:pt x="120000" y="68120"/>
                        </a:cubicBezTo>
                        <a:cubicBezTo>
                          <a:pt x="118048" y="55488"/>
                          <a:pt x="118048" y="55488"/>
                          <a:pt x="118048" y="55488"/>
                        </a:cubicBezTo>
                        <a:cubicBezTo>
                          <a:pt x="117723" y="55488"/>
                          <a:pt x="117723" y="55488"/>
                          <a:pt x="117723" y="55488"/>
                        </a:cubicBezTo>
                        <a:cubicBezTo>
                          <a:pt x="117398" y="55488"/>
                          <a:pt x="117398" y="55488"/>
                          <a:pt x="117398" y="55488"/>
                        </a:cubicBezTo>
                        <a:cubicBezTo>
                          <a:pt x="116747" y="55037"/>
                          <a:pt x="116747" y="55037"/>
                          <a:pt x="116747" y="55037"/>
                        </a:cubicBezTo>
                        <a:cubicBezTo>
                          <a:pt x="116097" y="55037"/>
                          <a:pt x="116097" y="55037"/>
                          <a:pt x="116097" y="55037"/>
                        </a:cubicBezTo>
                        <a:cubicBezTo>
                          <a:pt x="115447" y="54586"/>
                          <a:pt x="115447" y="54586"/>
                          <a:pt x="115447" y="54586"/>
                        </a:cubicBezTo>
                        <a:cubicBezTo>
                          <a:pt x="114796" y="54135"/>
                          <a:pt x="114796" y="54135"/>
                          <a:pt x="114796" y="54135"/>
                        </a:cubicBezTo>
                        <a:cubicBezTo>
                          <a:pt x="114146" y="54135"/>
                          <a:pt x="114146" y="54135"/>
                          <a:pt x="114146" y="54135"/>
                        </a:cubicBezTo>
                        <a:cubicBezTo>
                          <a:pt x="114146" y="54135"/>
                          <a:pt x="114146" y="54135"/>
                          <a:pt x="114146" y="54135"/>
                        </a:cubicBezTo>
                        <a:cubicBezTo>
                          <a:pt x="113821" y="54135"/>
                          <a:pt x="113821" y="54135"/>
                          <a:pt x="113821" y="54135"/>
                        </a:cubicBezTo>
                        <a:cubicBezTo>
                          <a:pt x="111544" y="53684"/>
                          <a:pt x="108617" y="60902"/>
                          <a:pt x="108617" y="60902"/>
                        </a:cubicBezTo>
                        <a:cubicBezTo>
                          <a:pt x="107317" y="64060"/>
                          <a:pt x="107317" y="64060"/>
                          <a:pt x="107317" y="64060"/>
                        </a:cubicBezTo>
                        <a:cubicBezTo>
                          <a:pt x="104065" y="63157"/>
                          <a:pt x="100813" y="62706"/>
                          <a:pt x="98536" y="59097"/>
                        </a:cubicBezTo>
                        <a:cubicBezTo>
                          <a:pt x="98536" y="57744"/>
                          <a:pt x="98536" y="57744"/>
                          <a:pt x="98536" y="57744"/>
                        </a:cubicBezTo>
                        <a:cubicBezTo>
                          <a:pt x="98536" y="57744"/>
                          <a:pt x="98536" y="57744"/>
                          <a:pt x="98536" y="57744"/>
                        </a:cubicBezTo>
                        <a:cubicBezTo>
                          <a:pt x="98536" y="57744"/>
                          <a:pt x="98536" y="57744"/>
                          <a:pt x="98536" y="57744"/>
                        </a:cubicBezTo>
                        <a:cubicBezTo>
                          <a:pt x="98211" y="57293"/>
                          <a:pt x="98211" y="57293"/>
                          <a:pt x="98211" y="57293"/>
                        </a:cubicBezTo>
                        <a:cubicBezTo>
                          <a:pt x="98211" y="57293"/>
                          <a:pt x="97886" y="57293"/>
                          <a:pt x="97886" y="57293"/>
                        </a:cubicBezTo>
                        <a:cubicBezTo>
                          <a:pt x="97560" y="57293"/>
                          <a:pt x="97235" y="56842"/>
                          <a:pt x="97235" y="56842"/>
                        </a:cubicBezTo>
                        <a:cubicBezTo>
                          <a:pt x="97560" y="55939"/>
                          <a:pt x="97560" y="55939"/>
                          <a:pt x="97560" y="55939"/>
                        </a:cubicBezTo>
                        <a:cubicBezTo>
                          <a:pt x="97560" y="55939"/>
                          <a:pt x="97886" y="55488"/>
                          <a:pt x="97886" y="55488"/>
                        </a:cubicBezTo>
                        <a:cubicBezTo>
                          <a:pt x="98211" y="55488"/>
                          <a:pt x="97886" y="55488"/>
                          <a:pt x="97886" y="55037"/>
                        </a:cubicBezTo>
                        <a:cubicBezTo>
                          <a:pt x="97886" y="55037"/>
                          <a:pt x="97886" y="54135"/>
                          <a:pt x="97886" y="53684"/>
                        </a:cubicBezTo>
                        <a:cubicBezTo>
                          <a:pt x="97560" y="53233"/>
                          <a:pt x="97560" y="53233"/>
                          <a:pt x="97560" y="53233"/>
                        </a:cubicBezTo>
                        <a:cubicBezTo>
                          <a:pt x="97560" y="53233"/>
                          <a:pt x="97235" y="52330"/>
                          <a:pt x="96910" y="51879"/>
                        </a:cubicBezTo>
                        <a:cubicBezTo>
                          <a:pt x="96585" y="51879"/>
                          <a:pt x="96910" y="51428"/>
                          <a:pt x="96910" y="51428"/>
                        </a:cubicBezTo>
                        <a:cubicBezTo>
                          <a:pt x="96585" y="50977"/>
                          <a:pt x="96910" y="50977"/>
                          <a:pt x="96910" y="50526"/>
                        </a:cubicBezTo>
                        <a:cubicBezTo>
                          <a:pt x="96910" y="50526"/>
                          <a:pt x="96585" y="49624"/>
                          <a:pt x="96585" y="49624"/>
                        </a:cubicBezTo>
                        <a:cubicBezTo>
                          <a:pt x="96585" y="49624"/>
                          <a:pt x="95934" y="48270"/>
                          <a:pt x="95609" y="47368"/>
                        </a:cubicBezTo>
                        <a:cubicBezTo>
                          <a:pt x="95609" y="46917"/>
                          <a:pt x="95609" y="46466"/>
                          <a:pt x="95609" y="46466"/>
                        </a:cubicBezTo>
                        <a:cubicBezTo>
                          <a:pt x="95934" y="46015"/>
                          <a:pt x="95284" y="45563"/>
                          <a:pt x="95284" y="45563"/>
                        </a:cubicBezTo>
                        <a:cubicBezTo>
                          <a:pt x="95284" y="45563"/>
                          <a:pt x="95284" y="44661"/>
                          <a:pt x="95284" y="44661"/>
                        </a:cubicBezTo>
                        <a:cubicBezTo>
                          <a:pt x="95284" y="44661"/>
                          <a:pt x="95284" y="43759"/>
                          <a:pt x="95284" y="43759"/>
                        </a:cubicBezTo>
                        <a:cubicBezTo>
                          <a:pt x="95609" y="43308"/>
                          <a:pt x="95284" y="42857"/>
                          <a:pt x="95284" y="42406"/>
                        </a:cubicBezTo>
                        <a:cubicBezTo>
                          <a:pt x="95284" y="42406"/>
                          <a:pt x="94634" y="41954"/>
                          <a:pt x="94634" y="41954"/>
                        </a:cubicBezTo>
                        <a:cubicBezTo>
                          <a:pt x="94959" y="41052"/>
                          <a:pt x="94959" y="41052"/>
                          <a:pt x="94959" y="41052"/>
                        </a:cubicBezTo>
                        <a:cubicBezTo>
                          <a:pt x="94959" y="40601"/>
                          <a:pt x="94959" y="40601"/>
                          <a:pt x="94959" y="40601"/>
                        </a:cubicBezTo>
                        <a:cubicBezTo>
                          <a:pt x="94959" y="40601"/>
                          <a:pt x="95284" y="39699"/>
                          <a:pt x="95284" y="39699"/>
                        </a:cubicBezTo>
                        <a:cubicBezTo>
                          <a:pt x="95609" y="39248"/>
                          <a:pt x="95284" y="38796"/>
                          <a:pt x="94959" y="38796"/>
                        </a:cubicBezTo>
                        <a:cubicBezTo>
                          <a:pt x="94634" y="38796"/>
                          <a:pt x="94959" y="38345"/>
                          <a:pt x="94959" y="38345"/>
                        </a:cubicBezTo>
                        <a:cubicBezTo>
                          <a:pt x="95284" y="37443"/>
                          <a:pt x="95284" y="37443"/>
                          <a:pt x="95284" y="37443"/>
                        </a:cubicBezTo>
                        <a:cubicBezTo>
                          <a:pt x="94959" y="36090"/>
                          <a:pt x="94959" y="36090"/>
                          <a:pt x="94959" y="36090"/>
                        </a:cubicBezTo>
                        <a:cubicBezTo>
                          <a:pt x="94959" y="35639"/>
                          <a:pt x="94959" y="35639"/>
                          <a:pt x="94959" y="35639"/>
                        </a:cubicBezTo>
                        <a:cubicBezTo>
                          <a:pt x="94959" y="35639"/>
                          <a:pt x="94634" y="34736"/>
                          <a:pt x="94634" y="34736"/>
                        </a:cubicBezTo>
                        <a:cubicBezTo>
                          <a:pt x="94634" y="34285"/>
                          <a:pt x="94308" y="33383"/>
                          <a:pt x="94308" y="33383"/>
                        </a:cubicBezTo>
                        <a:cubicBezTo>
                          <a:pt x="94308" y="33383"/>
                          <a:pt x="94308" y="32932"/>
                          <a:pt x="94308" y="32932"/>
                        </a:cubicBezTo>
                        <a:cubicBezTo>
                          <a:pt x="94308" y="32481"/>
                          <a:pt x="94308" y="32481"/>
                          <a:pt x="94308" y="32481"/>
                        </a:cubicBezTo>
                        <a:cubicBezTo>
                          <a:pt x="94308" y="32030"/>
                          <a:pt x="93983" y="31578"/>
                          <a:pt x="93658" y="31127"/>
                        </a:cubicBezTo>
                        <a:cubicBezTo>
                          <a:pt x="93333" y="30225"/>
                          <a:pt x="93333" y="30225"/>
                          <a:pt x="93333" y="30225"/>
                        </a:cubicBezTo>
                        <a:cubicBezTo>
                          <a:pt x="93333" y="30225"/>
                          <a:pt x="92682" y="29323"/>
                          <a:pt x="92357" y="28872"/>
                        </a:cubicBezTo>
                        <a:cubicBezTo>
                          <a:pt x="92357" y="27969"/>
                          <a:pt x="92357" y="27969"/>
                          <a:pt x="92032" y="27518"/>
                        </a:cubicBezTo>
                        <a:cubicBezTo>
                          <a:pt x="92032" y="26616"/>
                          <a:pt x="91382" y="25714"/>
                          <a:pt x="91056" y="25714"/>
                        </a:cubicBezTo>
                        <a:cubicBezTo>
                          <a:pt x="91056" y="25714"/>
                          <a:pt x="90731" y="24360"/>
                          <a:pt x="90731" y="23909"/>
                        </a:cubicBezTo>
                        <a:cubicBezTo>
                          <a:pt x="90406" y="23909"/>
                          <a:pt x="89756" y="23458"/>
                          <a:pt x="89756" y="23458"/>
                        </a:cubicBezTo>
                        <a:cubicBezTo>
                          <a:pt x="89430" y="23458"/>
                          <a:pt x="88780" y="23007"/>
                          <a:pt x="88780" y="23007"/>
                        </a:cubicBezTo>
                        <a:cubicBezTo>
                          <a:pt x="87804" y="22556"/>
                          <a:pt x="87804" y="22556"/>
                          <a:pt x="87804" y="22556"/>
                        </a:cubicBezTo>
                        <a:cubicBezTo>
                          <a:pt x="86829" y="21203"/>
                          <a:pt x="86829" y="21203"/>
                          <a:pt x="86829" y="21203"/>
                        </a:cubicBezTo>
                        <a:cubicBezTo>
                          <a:pt x="86829" y="21203"/>
                          <a:pt x="86504" y="21203"/>
                          <a:pt x="86178" y="20751"/>
                        </a:cubicBezTo>
                        <a:cubicBezTo>
                          <a:pt x="86178" y="20751"/>
                          <a:pt x="85853" y="19849"/>
                          <a:pt x="85853" y="19849"/>
                        </a:cubicBezTo>
                        <a:cubicBezTo>
                          <a:pt x="85528" y="18947"/>
                          <a:pt x="85528" y="18947"/>
                          <a:pt x="85528" y="18947"/>
                        </a:cubicBezTo>
                        <a:cubicBezTo>
                          <a:pt x="83577" y="18045"/>
                          <a:pt x="83577" y="18045"/>
                          <a:pt x="83577" y="18045"/>
                        </a:cubicBezTo>
                        <a:cubicBezTo>
                          <a:pt x="83577" y="18045"/>
                          <a:pt x="83252" y="17142"/>
                          <a:pt x="83252" y="17142"/>
                        </a:cubicBezTo>
                        <a:cubicBezTo>
                          <a:pt x="83252" y="16691"/>
                          <a:pt x="82926" y="16691"/>
                          <a:pt x="82926" y="16240"/>
                        </a:cubicBezTo>
                        <a:cubicBezTo>
                          <a:pt x="82926" y="15789"/>
                          <a:pt x="82601" y="15789"/>
                          <a:pt x="82601" y="15338"/>
                        </a:cubicBezTo>
                        <a:cubicBezTo>
                          <a:pt x="82601" y="14887"/>
                          <a:pt x="82276" y="14887"/>
                          <a:pt x="82276" y="14887"/>
                        </a:cubicBezTo>
                        <a:cubicBezTo>
                          <a:pt x="81951" y="14887"/>
                          <a:pt x="81626" y="14887"/>
                          <a:pt x="81626" y="14887"/>
                        </a:cubicBezTo>
                        <a:cubicBezTo>
                          <a:pt x="81626" y="14887"/>
                          <a:pt x="81300" y="14436"/>
                          <a:pt x="81300" y="14436"/>
                        </a:cubicBezTo>
                        <a:cubicBezTo>
                          <a:pt x="81300" y="14436"/>
                          <a:pt x="80650" y="13533"/>
                          <a:pt x="80325" y="13533"/>
                        </a:cubicBezTo>
                        <a:cubicBezTo>
                          <a:pt x="80325" y="13082"/>
                          <a:pt x="80325" y="13082"/>
                          <a:pt x="80325" y="13082"/>
                        </a:cubicBezTo>
                        <a:cubicBezTo>
                          <a:pt x="80325" y="13082"/>
                          <a:pt x="80325" y="13082"/>
                          <a:pt x="80000" y="13082"/>
                        </a:cubicBezTo>
                        <a:cubicBezTo>
                          <a:pt x="79674" y="13082"/>
                          <a:pt x="79674" y="13082"/>
                          <a:pt x="79674" y="12631"/>
                        </a:cubicBezTo>
                        <a:cubicBezTo>
                          <a:pt x="79349" y="12631"/>
                          <a:pt x="79349" y="11729"/>
                          <a:pt x="79024" y="11729"/>
                        </a:cubicBezTo>
                        <a:cubicBezTo>
                          <a:pt x="79024" y="11729"/>
                          <a:pt x="79024" y="11729"/>
                          <a:pt x="78699" y="11729"/>
                        </a:cubicBezTo>
                        <a:cubicBezTo>
                          <a:pt x="78373" y="11729"/>
                          <a:pt x="78048" y="10827"/>
                          <a:pt x="78048" y="10827"/>
                        </a:cubicBezTo>
                        <a:cubicBezTo>
                          <a:pt x="77723" y="10827"/>
                          <a:pt x="78048" y="10375"/>
                          <a:pt x="78048" y="9924"/>
                        </a:cubicBezTo>
                        <a:cubicBezTo>
                          <a:pt x="78048" y="9473"/>
                          <a:pt x="77723" y="9473"/>
                          <a:pt x="77723" y="9473"/>
                        </a:cubicBezTo>
                        <a:cubicBezTo>
                          <a:pt x="77723" y="9473"/>
                          <a:pt x="77723" y="9473"/>
                          <a:pt x="77723" y="9473"/>
                        </a:cubicBezTo>
                        <a:cubicBezTo>
                          <a:pt x="77723" y="9473"/>
                          <a:pt x="77398" y="9473"/>
                          <a:pt x="77398" y="9022"/>
                        </a:cubicBezTo>
                        <a:cubicBezTo>
                          <a:pt x="77398" y="9022"/>
                          <a:pt x="77073" y="8571"/>
                          <a:pt x="77073" y="8120"/>
                        </a:cubicBezTo>
                        <a:cubicBezTo>
                          <a:pt x="77073" y="7669"/>
                          <a:pt x="77073" y="7669"/>
                          <a:pt x="77073" y="7669"/>
                        </a:cubicBezTo>
                        <a:cubicBezTo>
                          <a:pt x="77073" y="7669"/>
                          <a:pt x="76747" y="7218"/>
                          <a:pt x="76747" y="7218"/>
                        </a:cubicBezTo>
                        <a:cubicBezTo>
                          <a:pt x="76422" y="6766"/>
                          <a:pt x="76422" y="6766"/>
                          <a:pt x="76422" y="6766"/>
                        </a:cubicBezTo>
                        <a:cubicBezTo>
                          <a:pt x="76422" y="6315"/>
                          <a:pt x="76422" y="6315"/>
                          <a:pt x="76422" y="6315"/>
                        </a:cubicBezTo>
                        <a:cubicBezTo>
                          <a:pt x="76097" y="6315"/>
                          <a:pt x="76097" y="6315"/>
                          <a:pt x="76097" y="6315"/>
                        </a:cubicBezTo>
                        <a:cubicBezTo>
                          <a:pt x="75772" y="6315"/>
                          <a:pt x="75772" y="5864"/>
                          <a:pt x="75772" y="5413"/>
                        </a:cubicBezTo>
                        <a:cubicBezTo>
                          <a:pt x="75772" y="5413"/>
                          <a:pt x="75772" y="5413"/>
                          <a:pt x="75772" y="5413"/>
                        </a:cubicBezTo>
                        <a:cubicBezTo>
                          <a:pt x="75447" y="4962"/>
                          <a:pt x="75447" y="4962"/>
                          <a:pt x="75447" y="4962"/>
                        </a:cubicBezTo>
                        <a:cubicBezTo>
                          <a:pt x="75121" y="4511"/>
                          <a:pt x="75121" y="4511"/>
                          <a:pt x="75121" y="4511"/>
                        </a:cubicBezTo>
                        <a:cubicBezTo>
                          <a:pt x="74796" y="4060"/>
                          <a:pt x="74796" y="4060"/>
                          <a:pt x="74796" y="4060"/>
                        </a:cubicBezTo>
                        <a:cubicBezTo>
                          <a:pt x="74796" y="4060"/>
                          <a:pt x="74471" y="3609"/>
                          <a:pt x="74471" y="3609"/>
                        </a:cubicBezTo>
                        <a:cubicBezTo>
                          <a:pt x="74146" y="3157"/>
                          <a:pt x="73821" y="2706"/>
                          <a:pt x="73821" y="2706"/>
                        </a:cubicBezTo>
                        <a:cubicBezTo>
                          <a:pt x="73821" y="2706"/>
                          <a:pt x="73821" y="2255"/>
                          <a:pt x="73821" y="2255"/>
                        </a:cubicBezTo>
                        <a:cubicBezTo>
                          <a:pt x="73821" y="2255"/>
                          <a:pt x="73495" y="2255"/>
                          <a:pt x="73495" y="2255"/>
                        </a:cubicBezTo>
                        <a:cubicBezTo>
                          <a:pt x="72845" y="2255"/>
                          <a:pt x="72845" y="2255"/>
                          <a:pt x="72845" y="2255"/>
                        </a:cubicBezTo>
                        <a:cubicBezTo>
                          <a:pt x="72845" y="1353"/>
                          <a:pt x="72845" y="1353"/>
                          <a:pt x="72845" y="1353"/>
                        </a:cubicBezTo>
                        <a:cubicBezTo>
                          <a:pt x="72845" y="1353"/>
                          <a:pt x="72845" y="1353"/>
                          <a:pt x="72520" y="1353"/>
                        </a:cubicBezTo>
                        <a:cubicBezTo>
                          <a:pt x="72195" y="1353"/>
                          <a:pt x="72195" y="902"/>
                          <a:pt x="72195" y="902"/>
                        </a:cubicBezTo>
                        <a:cubicBezTo>
                          <a:pt x="72195" y="451"/>
                          <a:pt x="72195" y="451"/>
                          <a:pt x="72195" y="451"/>
                        </a:cubicBezTo>
                        <a:cubicBezTo>
                          <a:pt x="71219" y="902"/>
                          <a:pt x="71219" y="902"/>
                          <a:pt x="71219" y="902"/>
                        </a:cubicBezTo>
                        <a:cubicBezTo>
                          <a:pt x="71219" y="902"/>
                          <a:pt x="71219" y="902"/>
                          <a:pt x="71219" y="902"/>
                        </a:cubicBezTo>
                        <a:cubicBezTo>
                          <a:pt x="71219" y="902"/>
                          <a:pt x="70569" y="451"/>
                          <a:pt x="70569" y="451"/>
                        </a:cubicBezTo>
                        <a:cubicBezTo>
                          <a:pt x="70569" y="0"/>
                          <a:pt x="70243" y="0"/>
                          <a:pt x="70243" y="0"/>
                        </a:cubicBezTo>
                        <a:cubicBezTo>
                          <a:pt x="69918" y="451"/>
                          <a:pt x="69918" y="451"/>
                          <a:pt x="69918" y="451"/>
                        </a:cubicBezTo>
                        <a:cubicBezTo>
                          <a:pt x="69268" y="451"/>
                          <a:pt x="69268" y="451"/>
                          <a:pt x="69268" y="451"/>
                        </a:cubicBezTo>
                        <a:cubicBezTo>
                          <a:pt x="68943" y="451"/>
                          <a:pt x="68943" y="451"/>
                          <a:pt x="68943" y="451"/>
                        </a:cubicBezTo>
                        <a:cubicBezTo>
                          <a:pt x="68617" y="0"/>
                          <a:pt x="68617" y="0"/>
                          <a:pt x="68617" y="0"/>
                        </a:cubicBezTo>
                        <a:cubicBezTo>
                          <a:pt x="67642" y="451"/>
                          <a:pt x="67317" y="451"/>
                          <a:pt x="67317" y="451"/>
                        </a:cubicBezTo>
                        <a:cubicBezTo>
                          <a:pt x="66341" y="902"/>
                          <a:pt x="64715" y="2255"/>
                          <a:pt x="64715" y="3157"/>
                        </a:cubicBezTo>
                        <a:cubicBezTo>
                          <a:pt x="64390" y="4060"/>
                          <a:pt x="64715" y="6315"/>
                          <a:pt x="64065" y="6766"/>
                        </a:cubicBezTo>
                        <a:cubicBezTo>
                          <a:pt x="63089" y="6766"/>
                          <a:pt x="62113" y="9022"/>
                          <a:pt x="61788" y="9022"/>
                        </a:cubicBezTo>
                        <a:cubicBezTo>
                          <a:pt x="58861" y="11278"/>
                          <a:pt x="58861" y="11278"/>
                          <a:pt x="58861" y="11278"/>
                        </a:cubicBezTo>
                        <a:cubicBezTo>
                          <a:pt x="58861" y="11278"/>
                          <a:pt x="56585" y="12631"/>
                          <a:pt x="55284" y="12631"/>
                        </a:cubicBezTo>
                        <a:cubicBezTo>
                          <a:pt x="53983" y="13082"/>
                          <a:pt x="53008" y="14436"/>
                          <a:pt x="53008" y="14436"/>
                        </a:cubicBezTo>
                        <a:cubicBezTo>
                          <a:pt x="51382" y="17593"/>
                          <a:pt x="51382" y="17593"/>
                          <a:pt x="51382" y="17593"/>
                        </a:cubicBezTo>
                        <a:cubicBezTo>
                          <a:pt x="48780" y="18045"/>
                          <a:pt x="48780" y="18045"/>
                          <a:pt x="48780" y="18045"/>
                        </a:cubicBezTo>
                        <a:cubicBezTo>
                          <a:pt x="47479" y="16240"/>
                          <a:pt x="47479" y="16240"/>
                          <a:pt x="47479" y="16240"/>
                        </a:cubicBezTo>
                        <a:cubicBezTo>
                          <a:pt x="46178" y="16691"/>
                          <a:pt x="46178" y="16691"/>
                          <a:pt x="46178" y="16691"/>
                        </a:cubicBezTo>
                        <a:cubicBezTo>
                          <a:pt x="45853" y="16240"/>
                          <a:pt x="45853" y="16240"/>
                          <a:pt x="45853" y="16240"/>
                        </a:cubicBezTo>
                        <a:cubicBezTo>
                          <a:pt x="45203" y="16691"/>
                          <a:pt x="45203" y="16691"/>
                          <a:pt x="45203" y="16691"/>
                        </a:cubicBezTo>
                        <a:cubicBezTo>
                          <a:pt x="41300" y="16240"/>
                          <a:pt x="41300" y="16240"/>
                          <a:pt x="41300" y="16240"/>
                        </a:cubicBezTo>
                        <a:cubicBezTo>
                          <a:pt x="39349" y="17593"/>
                          <a:pt x="39349" y="17593"/>
                          <a:pt x="39349" y="17593"/>
                        </a:cubicBezTo>
                        <a:cubicBezTo>
                          <a:pt x="35772" y="17142"/>
                          <a:pt x="35772" y="17142"/>
                          <a:pt x="35772" y="17142"/>
                        </a:cubicBezTo>
                        <a:cubicBezTo>
                          <a:pt x="35772" y="17142"/>
                          <a:pt x="33170" y="17593"/>
                          <a:pt x="32520" y="17593"/>
                        </a:cubicBezTo>
                        <a:cubicBezTo>
                          <a:pt x="31544" y="17593"/>
                          <a:pt x="31544" y="17593"/>
                          <a:pt x="31544" y="17593"/>
                        </a:cubicBezTo>
                        <a:cubicBezTo>
                          <a:pt x="30894" y="17142"/>
                          <a:pt x="30243" y="16240"/>
                          <a:pt x="30243" y="16240"/>
                        </a:cubicBezTo>
                        <a:cubicBezTo>
                          <a:pt x="30243" y="16240"/>
                          <a:pt x="28943" y="16691"/>
                          <a:pt x="28617" y="17142"/>
                        </a:cubicBezTo>
                        <a:cubicBezTo>
                          <a:pt x="28292" y="17593"/>
                          <a:pt x="26991" y="19849"/>
                          <a:pt x="26991" y="19849"/>
                        </a:cubicBezTo>
                        <a:cubicBezTo>
                          <a:pt x="26991" y="20300"/>
                          <a:pt x="26991" y="20300"/>
                          <a:pt x="26991" y="20300"/>
                        </a:cubicBezTo>
                        <a:cubicBezTo>
                          <a:pt x="27642" y="22556"/>
                          <a:pt x="27642" y="22556"/>
                          <a:pt x="27642" y="22556"/>
                        </a:cubicBezTo>
                        <a:cubicBezTo>
                          <a:pt x="26341" y="23909"/>
                          <a:pt x="26341" y="23909"/>
                          <a:pt x="26341" y="23909"/>
                        </a:cubicBezTo>
                        <a:cubicBezTo>
                          <a:pt x="26341" y="23909"/>
                          <a:pt x="26341" y="23909"/>
                          <a:pt x="26341" y="23909"/>
                        </a:cubicBezTo>
                        <a:cubicBezTo>
                          <a:pt x="26341" y="23909"/>
                          <a:pt x="26341" y="23909"/>
                          <a:pt x="26341" y="23909"/>
                        </a:cubicBezTo>
                        <a:cubicBezTo>
                          <a:pt x="26341" y="23909"/>
                          <a:pt x="26341" y="23909"/>
                          <a:pt x="26341" y="23909"/>
                        </a:cubicBezTo>
                        <a:cubicBezTo>
                          <a:pt x="26341" y="23909"/>
                          <a:pt x="26341" y="23909"/>
                          <a:pt x="26341" y="23909"/>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360"/>
                          <a:pt x="26341" y="24360"/>
                          <a:pt x="26341" y="24360"/>
                        </a:cubicBezTo>
                        <a:cubicBezTo>
                          <a:pt x="26341" y="24812"/>
                          <a:pt x="26016" y="24812"/>
                          <a:pt x="25691" y="24812"/>
                        </a:cubicBezTo>
                        <a:cubicBezTo>
                          <a:pt x="25691" y="25263"/>
                          <a:pt x="25365"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5040" y="25263"/>
                          <a:pt x="25040" y="25263"/>
                          <a:pt x="25040" y="25263"/>
                        </a:cubicBezTo>
                        <a:cubicBezTo>
                          <a:pt x="24715" y="25714"/>
                          <a:pt x="24715" y="25714"/>
                          <a:pt x="24715" y="25714"/>
                        </a:cubicBezTo>
                        <a:cubicBezTo>
                          <a:pt x="23739" y="27067"/>
                          <a:pt x="23739" y="27067"/>
                          <a:pt x="23739" y="27067"/>
                        </a:cubicBezTo>
                        <a:cubicBezTo>
                          <a:pt x="22439" y="27518"/>
                          <a:pt x="22439" y="27518"/>
                          <a:pt x="22439" y="27518"/>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3" name="Shape 2049"/>
                  <p:cNvSpPr/>
                  <p:nvPr/>
                </p:nvSpPr>
                <p:spPr>
                  <a:xfrm>
                    <a:off x="6015453" y="2278355"/>
                    <a:ext cx="1400673" cy="943960"/>
                  </a:xfrm>
                  <a:custGeom>
                    <a:avLst/>
                    <a:gdLst/>
                    <a:ahLst/>
                    <a:cxnLst/>
                    <a:rect l="0" t="0" r="0" b="0"/>
                    <a:pathLst>
                      <a:path w="120000" h="120000" extrusionOk="0">
                        <a:moveTo>
                          <a:pt x="27557" y="85714"/>
                        </a:moveTo>
                        <a:cubicBezTo>
                          <a:pt x="27752" y="85714"/>
                          <a:pt x="28338" y="84309"/>
                          <a:pt x="28925" y="84309"/>
                        </a:cubicBezTo>
                        <a:cubicBezTo>
                          <a:pt x="29315" y="84028"/>
                          <a:pt x="29120" y="82622"/>
                          <a:pt x="29315" y="82060"/>
                        </a:cubicBezTo>
                        <a:cubicBezTo>
                          <a:pt x="29511" y="81498"/>
                          <a:pt x="30488" y="80374"/>
                          <a:pt x="31074" y="80093"/>
                        </a:cubicBezTo>
                        <a:cubicBezTo>
                          <a:pt x="31270" y="80093"/>
                          <a:pt x="31270" y="80093"/>
                          <a:pt x="31270" y="80093"/>
                        </a:cubicBezTo>
                        <a:cubicBezTo>
                          <a:pt x="31270" y="79531"/>
                          <a:pt x="31270" y="79531"/>
                          <a:pt x="31270" y="79531"/>
                        </a:cubicBezTo>
                        <a:cubicBezTo>
                          <a:pt x="31270" y="79531"/>
                          <a:pt x="31856" y="79250"/>
                          <a:pt x="31856" y="78969"/>
                        </a:cubicBezTo>
                        <a:cubicBezTo>
                          <a:pt x="32052" y="78969"/>
                          <a:pt x="32052" y="79250"/>
                          <a:pt x="32052" y="79250"/>
                        </a:cubicBezTo>
                        <a:cubicBezTo>
                          <a:pt x="32052" y="79250"/>
                          <a:pt x="32247" y="79531"/>
                          <a:pt x="32442" y="79531"/>
                        </a:cubicBezTo>
                        <a:cubicBezTo>
                          <a:pt x="32442" y="79531"/>
                          <a:pt x="32638" y="79250"/>
                          <a:pt x="32638" y="79250"/>
                        </a:cubicBezTo>
                        <a:cubicBezTo>
                          <a:pt x="32638" y="78969"/>
                          <a:pt x="32638" y="78688"/>
                          <a:pt x="32638" y="78688"/>
                        </a:cubicBezTo>
                        <a:cubicBezTo>
                          <a:pt x="32442" y="78407"/>
                          <a:pt x="32442" y="78126"/>
                          <a:pt x="32442" y="78126"/>
                        </a:cubicBezTo>
                        <a:cubicBezTo>
                          <a:pt x="32442" y="78126"/>
                          <a:pt x="32442" y="78126"/>
                          <a:pt x="32442" y="78126"/>
                        </a:cubicBezTo>
                        <a:cubicBezTo>
                          <a:pt x="32442" y="78126"/>
                          <a:pt x="32638" y="78126"/>
                          <a:pt x="32638" y="78126"/>
                        </a:cubicBezTo>
                        <a:cubicBezTo>
                          <a:pt x="32638" y="78126"/>
                          <a:pt x="32833" y="77845"/>
                          <a:pt x="32833" y="77845"/>
                        </a:cubicBezTo>
                        <a:cubicBezTo>
                          <a:pt x="33224" y="78126"/>
                          <a:pt x="33224" y="78126"/>
                          <a:pt x="33224" y="78126"/>
                        </a:cubicBezTo>
                        <a:cubicBezTo>
                          <a:pt x="33224" y="78126"/>
                          <a:pt x="33420" y="78126"/>
                          <a:pt x="33420" y="78126"/>
                        </a:cubicBezTo>
                        <a:cubicBezTo>
                          <a:pt x="33615" y="78407"/>
                          <a:pt x="33811" y="77845"/>
                          <a:pt x="33811" y="77845"/>
                        </a:cubicBezTo>
                        <a:cubicBezTo>
                          <a:pt x="34006" y="77564"/>
                          <a:pt x="34006" y="77564"/>
                          <a:pt x="34006" y="77564"/>
                        </a:cubicBezTo>
                        <a:cubicBezTo>
                          <a:pt x="34006" y="77564"/>
                          <a:pt x="34006" y="77564"/>
                          <a:pt x="34006" y="77283"/>
                        </a:cubicBezTo>
                        <a:cubicBezTo>
                          <a:pt x="34006" y="77283"/>
                          <a:pt x="34201" y="77283"/>
                          <a:pt x="34397" y="77283"/>
                        </a:cubicBezTo>
                        <a:cubicBezTo>
                          <a:pt x="34397" y="77283"/>
                          <a:pt x="34788" y="77283"/>
                          <a:pt x="34983" y="77283"/>
                        </a:cubicBezTo>
                        <a:cubicBezTo>
                          <a:pt x="35179" y="77283"/>
                          <a:pt x="35179" y="77283"/>
                          <a:pt x="35179" y="77283"/>
                        </a:cubicBezTo>
                        <a:cubicBezTo>
                          <a:pt x="35570" y="77002"/>
                          <a:pt x="35570" y="77002"/>
                          <a:pt x="35570" y="77002"/>
                        </a:cubicBezTo>
                        <a:cubicBezTo>
                          <a:pt x="35570" y="77002"/>
                          <a:pt x="35765" y="76721"/>
                          <a:pt x="35765" y="76721"/>
                        </a:cubicBezTo>
                        <a:cubicBezTo>
                          <a:pt x="35765" y="76440"/>
                          <a:pt x="35765" y="76159"/>
                          <a:pt x="35765" y="76159"/>
                        </a:cubicBezTo>
                        <a:cubicBezTo>
                          <a:pt x="35765" y="75878"/>
                          <a:pt x="36156" y="75878"/>
                          <a:pt x="36156" y="75878"/>
                        </a:cubicBezTo>
                        <a:cubicBezTo>
                          <a:pt x="36156" y="75878"/>
                          <a:pt x="36156" y="75878"/>
                          <a:pt x="36156" y="75878"/>
                        </a:cubicBezTo>
                        <a:cubicBezTo>
                          <a:pt x="36351" y="75878"/>
                          <a:pt x="36351" y="76159"/>
                          <a:pt x="36351" y="76159"/>
                        </a:cubicBezTo>
                        <a:cubicBezTo>
                          <a:pt x="36351" y="76159"/>
                          <a:pt x="36547" y="75878"/>
                          <a:pt x="36547" y="75878"/>
                        </a:cubicBezTo>
                        <a:cubicBezTo>
                          <a:pt x="36547" y="75597"/>
                          <a:pt x="36742" y="75597"/>
                          <a:pt x="36742" y="75597"/>
                        </a:cubicBezTo>
                        <a:cubicBezTo>
                          <a:pt x="36742" y="75597"/>
                          <a:pt x="37133" y="75316"/>
                          <a:pt x="37133" y="75035"/>
                        </a:cubicBezTo>
                        <a:cubicBezTo>
                          <a:pt x="37328" y="74754"/>
                          <a:pt x="37328" y="75035"/>
                          <a:pt x="37328" y="74473"/>
                        </a:cubicBezTo>
                        <a:cubicBezTo>
                          <a:pt x="37328" y="74192"/>
                          <a:pt x="37524" y="74473"/>
                          <a:pt x="37524" y="74754"/>
                        </a:cubicBezTo>
                        <a:cubicBezTo>
                          <a:pt x="37524" y="74754"/>
                          <a:pt x="37524" y="74754"/>
                          <a:pt x="37719" y="75035"/>
                        </a:cubicBezTo>
                        <a:cubicBezTo>
                          <a:pt x="37719" y="75035"/>
                          <a:pt x="37719" y="75035"/>
                          <a:pt x="38110" y="75035"/>
                        </a:cubicBezTo>
                        <a:cubicBezTo>
                          <a:pt x="38306" y="75316"/>
                          <a:pt x="38306" y="74754"/>
                          <a:pt x="38697" y="74754"/>
                        </a:cubicBezTo>
                        <a:cubicBezTo>
                          <a:pt x="39087" y="74754"/>
                          <a:pt x="38892" y="74754"/>
                          <a:pt x="39087" y="75035"/>
                        </a:cubicBezTo>
                        <a:cubicBezTo>
                          <a:pt x="39283" y="75035"/>
                          <a:pt x="39283" y="75035"/>
                          <a:pt x="39478" y="75035"/>
                        </a:cubicBezTo>
                        <a:cubicBezTo>
                          <a:pt x="39674" y="75316"/>
                          <a:pt x="39674" y="75316"/>
                          <a:pt x="39674" y="75316"/>
                        </a:cubicBezTo>
                        <a:cubicBezTo>
                          <a:pt x="39674" y="75316"/>
                          <a:pt x="39869" y="75316"/>
                          <a:pt x="40065" y="75597"/>
                        </a:cubicBezTo>
                        <a:cubicBezTo>
                          <a:pt x="40065"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456" y="75878"/>
                          <a:pt x="40456" y="75878"/>
                          <a:pt x="40456"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651" y="75878"/>
                          <a:pt x="40651" y="75878"/>
                          <a:pt x="40651"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0846" y="75878"/>
                          <a:pt x="40846" y="75878"/>
                          <a:pt x="40846"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042" y="75878"/>
                          <a:pt x="41042" y="75878"/>
                          <a:pt x="41042"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237" y="75878"/>
                          <a:pt x="41237" y="75878"/>
                          <a:pt x="41237" y="75878"/>
                        </a:cubicBezTo>
                        <a:cubicBezTo>
                          <a:pt x="41433" y="76159"/>
                          <a:pt x="41433" y="76159"/>
                          <a:pt x="41433" y="76159"/>
                        </a:cubicBezTo>
                        <a:cubicBezTo>
                          <a:pt x="41433" y="76159"/>
                          <a:pt x="41433" y="76721"/>
                          <a:pt x="41628" y="76721"/>
                        </a:cubicBezTo>
                        <a:cubicBezTo>
                          <a:pt x="41628" y="77002"/>
                          <a:pt x="41628" y="77002"/>
                          <a:pt x="41824" y="77002"/>
                        </a:cubicBezTo>
                        <a:cubicBezTo>
                          <a:pt x="41824" y="77002"/>
                          <a:pt x="42019" y="76440"/>
                          <a:pt x="42019" y="76159"/>
                        </a:cubicBezTo>
                        <a:cubicBezTo>
                          <a:pt x="42019" y="76159"/>
                          <a:pt x="42214" y="76440"/>
                          <a:pt x="42214" y="76440"/>
                        </a:cubicBezTo>
                        <a:cubicBezTo>
                          <a:pt x="42214" y="76440"/>
                          <a:pt x="42214" y="77002"/>
                          <a:pt x="42410" y="77002"/>
                        </a:cubicBezTo>
                        <a:cubicBezTo>
                          <a:pt x="42410" y="76721"/>
                          <a:pt x="42605" y="76721"/>
                          <a:pt x="42605" y="76721"/>
                        </a:cubicBezTo>
                        <a:cubicBezTo>
                          <a:pt x="42801" y="76721"/>
                          <a:pt x="42605" y="76440"/>
                          <a:pt x="42605" y="76440"/>
                        </a:cubicBezTo>
                        <a:cubicBezTo>
                          <a:pt x="42605" y="76440"/>
                          <a:pt x="42801" y="76159"/>
                          <a:pt x="42801" y="76159"/>
                        </a:cubicBezTo>
                        <a:cubicBezTo>
                          <a:pt x="42996" y="76159"/>
                          <a:pt x="43387" y="76159"/>
                          <a:pt x="43387" y="76159"/>
                        </a:cubicBezTo>
                        <a:cubicBezTo>
                          <a:pt x="43583" y="76159"/>
                          <a:pt x="43583" y="76721"/>
                          <a:pt x="43583" y="76721"/>
                        </a:cubicBezTo>
                        <a:cubicBezTo>
                          <a:pt x="43583" y="76721"/>
                          <a:pt x="43387" y="77283"/>
                          <a:pt x="43387" y="77283"/>
                        </a:cubicBezTo>
                        <a:cubicBezTo>
                          <a:pt x="43387" y="77283"/>
                          <a:pt x="43192" y="77564"/>
                          <a:pt x="43192" y="77845"/>
                        </a:cubicBezTo>
                        <a:cubicBezTo>
                          <a:pt x="43192" y="77845"/>
                          <a:pt x="43192" y="77845"/>
                          <a:pt x="43387" y="77564"/>
                        </a:cubicBezTo>
                        <a:cubicBezTo>
                          <a:pt x="43778" y="77564"/>
                          <a:pt x="43583" y="77283"/>
                          <a:pt x="43583" y="77283"/>
                        </a:cubicBezTo>
                        <a:cubicBezTo>
                          <a:pt x="43778" y="76721"/>
                          <a:pt x="43778" y="76721"/>
                          <a:pt x="43778" y="76721"/>
                        </a:cubicBezTo>
                        <a:cubicBezTo>
                          <a:pt x="43778" y="76721"/>
                          <a:pt x="44169" y="77002"/>
                          <a:pt x="44169" y="77283"/>
                        </a:cubicBezTo>
                        <a:cubicBezTo>
                          <a:pt x="44169" y="77283"/>
                          <a:pt x="44169" y="77564"/>
                          <a:pt x="44169" y="77564"/>
                        </a:cubicBezTo>
                        <a:cubicBezTo>
                          <a:pt x="44169" y="77845"/>
                          <a:pt x="44364" y="77845"/>
                          <a:pt x="44364" y="78126"/>
                        </a:cubicBezTo>
                        <a:cubicBezTo>
                          <a:pt x="44560" y="78407"/>
                          <a:pt x="44364" y="78126"/>
                          <a:pt x="44364" y="78126"/>
                        </a:cubicBezTo>
                        <a:cubicBezTo>
                          <a:pt x="44364" y="77845"/>
                          <a:pt x="44560" y="77283"/>
                          <a:pt x="44560" y="77283"/>
                        </a:cubicBezTo>
                        <a:cubicBezTo>
                          <a:pt x="44755" y="76721"/>
                          <a:pt x="44755" y="76721"/>
                          <a:pt x="44755" y="76721"/>
                        </a:cubicBezTo>
                        <a:cubicBezTo>
                          <a:pt x="44755" y="76721"/>
                          <a:pt x="45537" y="76721"/>
                          <a:pt x="46319" y="76721"/>
                        </a:cubicBezTo>
                        <a:cubicBezTo>
                          <a:pt x="47100" y="76721"/>
                          <a:pt x="46514" y="76440"/>
                          <a:pt x="46514" y="76440"/>
                        </a:cubicBezTo>
                        <a:cubicBezTo>
                          <a:pt x="46905" y="76440"/>
                          <a:pt x="46905" y="76440"/>
                          <a:pt x="46905" y="76440"/>
                        </a:cubicBezTo>
                        <a:cubicBezTo>
                          <a:pt x="47100" y="77564"/>
                          <a:pt x="47100" y="77564"/>
                          <a:pt x="47100" y="77564"/>
                        </a:cubicBezTo>
                        <a:cubicBezTo>
                          <a:pt x="47100" y="77564"/>
                          <a:pt x="47491" y="78126"/>
                          <a:pt x="47687" y="78126"/>
                        </a:cubicBezTo>
                        <a:cubicBezTo>
                          <a:pt x="47882" y="78407"/>
                          <a:pt x="47882" y="78407"/>
                          <a:pt x="48273" y="78688"/>
                        </a:cubicBezTo>
                        <a:cubicBezTo>
                          <a:pt x="48859" y="78688"/>
                          <a:pt x="48664" y="78688"/>
                          <a:pt x="48664" y="78688"/>
                        </a:cubicBezTo>
                        <a:cubicBezTo>
                          <a:pt x="48859" y="78688"/>
                          <a:pt x="48859" y="78126"/>
                          <a:pt x="49055" y="77845"/>
                        </a:cubicBezTo>
                        <a:cubicBezTo>
                          <a:pt x="49055" y="77564"/>
                          <a:pt x="49250" y="77564"/>
                          <a:pt x="49250" y="77564"/>
                        </a:cubicBezTo>
                        <a:cubicBezTo>
                          <a:pt x="49250" y="77564"/>
                          <a:pt x="49641" y="78126"/>
                          <a:pt x="49641" y="78126"/>
                        </a:cubicBezTo>
                        <a:cubicBezTo>
                          <a:pt x="49837" y="78407"/>
                          <a:pt x="49837" y="78688"/>
                          <a:pt x="49837" y="78688"/>
                        </a:cubicBezTo>
                        <a:cubicBezTo>
                          <a:pt x="50423" y="78969"/>
                          <a:pt x="50423" y="78969"/>
                          <a:pt x="50423" y="78969"/>
                        </a:cubicBezTo>
                        <a:cubicBezTo>
                          <a:pt x="50423" y="79250"/>
                          <a:pt x="50423" y="79250"/>
                          <a:pt x="50423" y="79250"/>
                        </a:cubicBezTo>
                        <a:cubicBezTo>
                          <a:pt x="50423" y="80093"/>
                          <a:pt x="50423" y="80093"/>
                          <a:pt x="50423" y="80093"/>
                        </a:cubicBezTo>
                        <a:cubicBezTo>
                          <a:pt x="50814" y="80374"/>
                          <a:pt x="50814" y="80374"/>
                          <a:pt x="50814" y="80374"/>
                        </a:cubicBezTo>
                        <a:cubicBezTo>
                          <a:pt x="50618" y="80936"/>
                          <a:pt x="50618" y="80936"/>
                          <a:pt x="50618" y="80936"/>
                        </a:cubicBezTo>
                        <a:cubicBezTo>
                          <a:pt x="50618" y="80936"/>
                          <a:pt x="50814" y="81498"/>
                          <a:pt x="50814" y="81779"/>
                        </a:cubicBezTo>
                        <a:cubicBezTo>
                          <a:pt x="50814" y="81779"/>
                          <a:pt x="51009" y="82341"/>
                          <a:pt x="51009" y="82341"/>
                        </a:cubicBezTo>
                        <a:cubicBezTo>
                          <a:pt x="51009" y="83185"/>
                          <a:pt x="51009" y="83185"/>
                          <a:pt x="51009" y="83185"/>
                        </a:cubicBezTo>
                        <a:cubicBezTo>
                          <a:pt x="50814" y="83747"/>
                          <a:pt x="50814" y="83747"/>
                          <a:pt x="50814" y="83747"/>
                        </a:cubicBezTo>
                        <a:cubicBezTo>
                          <a:pt x="51009" y="84028"/>
                          <a:pt x="51009" y="84028"/>
                          <a:pt x="51009" y="84028"/>
                        </a:cubicBezTo>
                        <a:cubicBezTo>
                          <a:pt x="51009" y="84028"/>
                          <a:pt x="51009" y="84871"/>
                          <a:pt x="51205" y="85152"/>
                        </a:cubicBezTo>
                        <a:cubicBezTo>
                          <a:pt x="51400" y="85714"/>
                          <a:pt x="51596" y="84871"/>
                          <a:pt x="51596" y="84871"/>
                        </a:cubicBezTo>
                        <a:cubicBezTo>
                          <a:pt x="51986" y="84871"/>
                          <a:pt x="51986" y="84871"/>
                          <a:pt x="51986" y="84871"/>
                        </a:cubicBezTo>
                        <a:cubicBezTo>
                          <a:pt x="52377" y="85714"/>
                          <a:pt x="52377" y="85714"/>
                          <a:pt x="52377" y="85714"/>
                        </a:cubicBezTo>
                        <a:cubicBezTo>
                          <a:pt x="52573" y="85714"/>
                          <a:pt x="52573" y="85714"/>
                          <a:pt x="52573" y="85714"/>
                        </a:cubicBezTo>
                        <a:cubicBezTo>
                          <a:pt x="52964" y="85995"/>
                          <a:pt x="52964" y="85995"/>
                          <a:pt x="52964" y="85995"/>
                        </a:cubicBezTo>
                        <a:cubicBezTo>
                          <a:pt x="53159" y="86838"/>
                          <a:pt x="53159" y="86838"/>
                          <a:pt x="53159" y="86838"/>
                        </a:cubicBezTo>
                        <a:cubicBezTo>
                          <a:pt x="53550" y="86557"/>
                          <a:pt x="53550" y="86557"/>
                          <a:pt x="53550" y="86557"/>
                        </a:cubicBezTo>
                        <a:cubicBezTo>
                          <a:pt x="53745" y="85714"/>
                          <a:pt x="53745" y="85714"/>
                          <a:pt x="53745" y="85714"/>
                        </a:cubicBezTo>
                        <a:cubicBezTo>
                          <a:pt x="54136" y="85995"/>
                          <a:pt x="54136" y="85995"/>
                          <a:pt x="54136" y="85995"/>
                        </a:cubicBezTo>
                        <a:cubicBezTo>
                          <a:pt x="54527" y="85995"/>
                          <a:pt x="54527" y="85995"/>
                          <a:pt x="54527" y="85995"/>
                        </a:cubicBezTo>
                        <a:cubicBezTo>
                          <a:pt x="54527" y="87119"/>
                          <a:pt x="54527" y="87119"/>
                          <a:pt x="54527" y="87119"/>
                        </a:cubicBezTo>
                        <a:cubicBezTo>
                          <a:pt x="54527" y="87119"/>
                          <a:pt x="54723" y="87400"/>
                          <a:pt x="54723" y="87681"/>
                        </a:cubicBezTo>
                        <a:cubicBezTo>
                          <a:pt x="54723" y="87681"/>
                          <a:pt x="54723" y="88243"/>
                          <a:pt x="54723" y="88243"/>
                        </a:cubicBezTo>
                        <a:cubicBezTo>
                          <a:pt x="54918" y="88805"/>
                          <a:pt x="54918" y="88805"/>
                          <a:pt x="54918" y="88805"/>
                        </a:cubicBezTo>
                        <a:cubicBezTo>
                          <a:pt x="54332" y="89086"/>
                          <a:pt x="54332" y="89086"/>
                          <a:pt x="54332" y="89086"/>
                        </a:cubicBezTo>
                        <a:cubicBezTo>
                          <a:pt x="54723" y="89367"/>
                          <a:pt x="54723" y="89367"/>
                          <a:pt x="54723" y="89367"/>
                        </a:cubicBezTo>
                        <a:cubicBezTo>
                          <a:pt x="54723" y="89367"/>
                          <a:pt x="55114" y="89367"/>
                          <a:pt x="55309" y="89367"/>
                        </a:cubicBezTo>
                        <a:cubicBezTo>
                          <a:pt x="55504" y="89367"/>
                          <a:pt x="55504" y="90210"/>
                          <a:pt x="55504" y="90210"/>
                        </a:cubicBezTo>
                        <a:cubicBezTo>
                          <a:pt x="55504" y="90210"/>
                          <a:pt x="55504" y="90491"/>
                          <a:pt x="55309" y="90772"/>
                        </a:cubicBezTo>
                        <a:cubicBezTo>
                          <a:pt x="55309" y="90772"/>
                          <a:pt x="55309" y="91053"/>
                          <a:pt x="55309" y="91334"/>
                        </a:cubicBezTo>
                        <a:cubicBezTo>
                          <a:pt x="55504" y="91334"/>
                          <a:pt x="55895" y="91615"/>
                          <a:pt x="56091" y="91615"/>
                        </a:cubicBezTo>
                        <a:cubicBezTo>
                          <a:pt x="56482" y="91615"/>
                          <a:pt x="56482" y="91615"/>
                          <a:pt x="56482" y="91615"/>
                        </a:cubicBezTo>
                        <a:cubicBezTo>
                          <a:pt x="56872" y="91615"/>
                          <a:pt x="56872" y="91615"/>
                          <a:pt x="56872" y="91615"/>
                        </a:cubicBezTo>
                        <a:cubicBezTo>
                          <a:pt x="56872" y="91615"/>
                          <a:pt x="57068" y="91896"/>
                          <a:pt x="57263" y="91896"/>
                        </a:cubicBezTo>
                        <a:cubicBezTo>
                          <a:pt x="57263" y="91615"/>
                          <a:pt x="57654" y="91615"/>
                          <a:pt x="57654" y="91615"/>
                        </a:cubicBezTo>
                        <a:cubicBezTo>
                          <a:pt x="58045" y="92177"/>
                          <a:pt x="58045" y="92177"/>
                          <a:pt x="58045" y="92177"/>
                        </a:cubicBezTo>
                        <a:cubicBezTo>
                          <a:pt x="58436" y="91896"/>
                          <a:pt x="58436" y="91896"/>
                          <a:pt x="58436" y="91896"/>
                        </a:cubicBezTo>
                        <a:cubicBezTo>
                          <a:pt x="58436" y="92459"/>
                          <a:pt x="58436" y="92459"/>
                          <a:pt x="58436" y="92459"/>
                        </a:cubicBezTo>
                        <a:cubicBezTo>
                          <a:pt x="58436" y="92459"/>
                          <a:pt x="58827" y="93583"/>
                          <a:pt x="58827" y="93583"/>
                        </a:cubicBezTo>
                        <a:cubicBezTo>
                          <a:pt x="59022" y="93864"/>
                          <a:pt x="59022" y="94426"/>
                          <a:pt x="59022" y="94707"/>
                        </a:cubicBezTo>
                        <a:cubicBezTo>
                          <a:pt x="59022" y="94988"/>
                          <a:pt x="59218" y="95550"/>
                          <a:pt x="59218" y="95550"/>
                        </a:cubicBezTo>
                        <a:cubicBezTo>
                          <a:pt x="59218" y="95550"/>
                          <a:pt x="59022" y="95550"/>
                          <a:pt x="58827" y="95831"/>
                        </a:cubicBezTo>
                        <a:cubicBezTo>
                          <a:pt x="58631" y="96112"/>
                          <a:pt x="59022" y="96393"/>
                          <a:pt x="59022" y="96393"/>
                        </a:cubicBezTo>
                        <a:cubicBezTo>
                          <a:pt x="59413" y="96393"/>
                          <a:pt x="59413" y="96393"/>
                          <a:pt x="59413" y="96393"/>
                        </a:cubicBezTo>
                        <a:cubicBezTo>
                          <a:pt x="59413" y="96393"/>
                          <a:pt x="59804" y="96955"/>
                          <a:pt x="59804" y="97236"/>
                        </a:cubicBezTo>
                        <a:cubicBezTo>
                          <a:pt x="59999" y="97517"/>
                          <a:pt x="60390" y="97236"/>
                          <a:pt x="60586" y="97236"/>
                        </a:cubicBezTo>
                        <a:cubicBezTo>
                          <a:pt x="60781" y="96955"/>
                          <a:pt x="61172" y="97236"/>
                          <a:pt x="61172" y="97517"/>
                        </a:cubicBezTo>
                        <a:cubicBezTo>
                          <a:pt x="61172" y="97517"/>
                          <a:pt x="60586" y="97798"/>
                          <a:pt x="60390" y="97798"/>
                        </a:cubicBezTo>
                        <a:cubicBezTo>
                          <a:pt x="60195" y="98079"/>
                          <a:pt x="59609" y="98079"/>
                          <a:pt x="59609" y="98079"/>
                        </a:cubicBezTo>
                        <a:cubicBezTo>
                          <a:pt x="59413" y="98922"/>
                          <a:pt x="59413" y="98922"/>
                          <a:pt x="59413" y="98922"/>
                        </a:cubicBezTo>
                        <a:cubicBezTo>
                          <a:pt x="59022" y="99203"/>
                          <a:pt x="59022" y="99203"/>
                          <a:pt x="59022" y="99203"/>
                        </a:cubicBezTo>
                        <a:cubicBezTo>
                          <a:pt x="58827" y="98360"/>
                          <a:pt x="58827" y="98360"/>
                          <a:pt x="58827" y="98360"/>
                        </a:cubicBezTo>
                        <a:cubicBezTo>
                          <a:pt x="58045" y="97517"/>
                          <a:pt x="58045" y="97517"/>
                          <a:pt x="58045" y="97517"/>
                        </a:cubicBezTo>
                        <a:cubicBezTo>
                          <a:pt x="58045" y="98360"/>
                          <a:pt x="58045" y="98360"/>
                          <a:pt x="58045" y="98360"/>
                        </a:cubicBezTo>
                        <a:cubicBezTo>
                          <a:pt x="57654" y="98641"/>
                          <a:pt x="57654" y="98641"/>
                          <a:pt x="57654" y="98641"/>
                        </a:cubicBezTo>
                        <a:cubicBezTo>
                          <a:pt x="57654" y="98641"/>
                          <a:pt x="57654" y="98922"/>
                          <a:pt x="57654" y="99203"/>
                        </a:cubicBezTo>
                        <a:cubicBezTo>
                          <a:pt x="57654" y="99484"/>
                          <a:pt x="57459" y="99484"/>
                          <a:pt x="57459" y="99484"/>
                        </a:cubicBezTo>
                        <a:cubicBezTo>
                          <a:pt x="57068" y="99203"/>
                          <a:pt x="57068" y="99203"/>
                          <a:pt x="57068" y="99203"/>
                        </a:cubicBezTo>
                        <a:cubicBezTo>
                          <a:pt x="57068" y="99203"/>
                          <a:pt x="56677" y="99203"/>
                          <a:pt x="56482" y="99203"/>
                        </a:cubicBezTo>
                        <a:cubicBezTo>
                          <a:pt x="56286" y="99203"/>
                          <a:pt x="56286" y="98641"/>
                          <a:pt x="56286" y="98641"/>
                        </a:cubicBezTo>
                        <a:cubicBezTo>
                          <a:pt x="56091" y="98922"/>
                          <a:pt x="56091" y="98922"/>
                          <a:pt x="56091" y="98922"/>
                        </a:cubicBezTo>
                        <a:cubicBezTo>
                          <a:pt x="56091" y="98922"/>
                          <a:pt x="56091" y="99203"/>
                          <a:pt x="55895" y="99484"/>
                        </a:cubicBezTo>
                        <a:cubicBezTo>
                          <a:pt x="55895" y="99765"/>
                          <a:pt x="55895" y="99484"/>
                          <a:pt x="55504" y="99484"/>
                        </a:cubicBezTo>
                        <a:cubicBezTo>
                          <a:pt x="55309" y="99765"/>
                          <a:pt x="55309" y="99203"/>
                          <a:pt x="55114" y="98922"/>
                        </a:cubicBezTo>
                        <a:cubicBezTo>
                          <a:pt x="55114" y="98360"/>
                          <a:pt x="55114" y="98922"/>
                          <a:pt x="54918" y="98922"/>
                        </a:cubicBezTo>
                        <a:cubicBezTo>
                          <a:pt x="54723" y="98922"/>
                          <a:pt x="55114" y="99765"/>
                          <a:pt x="55114" y="99765"/>
                        </a:cubicBezTo>
                        <a:cubicBezTo>
                          <a:pt x="54918" y="100046"/>
                          <a:pt x="54918" y="100046"/>
                          <a:pt x="54918" y="100046"/>
                        </a:cubicBezTo>
                        <a:cubicBezTo>
                          <a:pt x="54918" y="100046"/>
                          <a:pt x="54918" y="100608"/>
                          <a:pt x="54527" y="100889"/>
                        </a:cubicBezTo>
                        <a:cubicBezTo>
                          <a:pt x="54332" y="100889"/>
                          <a:pt x="54527" y="100327"/>
                          <a:pt x="54527" y="100327"/>
                        </a:cubicBezTo>
                        <a:cubicBezTo>
                          <a:pt x="54527" y="99203"/>
                          <a:pt x="54527" y="99203"/>
                          <a:pt x="54527" y="99203"/>
                        </a:cubicBezTo>
                        <a:cubicBezTo>
                          <a:pt x="54136" y="97798"/>
                          <a:pt x="54136" y="97798"/>
                          <a:pt x="54136" y="97798"/>
                        </a:cubicBezTo>
                        <a:cubicBezTo>
                          <a:pt x="54136" y="97798"/>
                          <a:pt x="53355" y="98922"/>
                          <a:pt x="53159" y="98922"/>
                        </a:cubicBezTo>
                        <a:cubicBezTo>
                          <a:pt x="53159" y="99203"/>
                          <a:pt x="52768" y="100327"/>
                          <a:pt x="52573" y="100327"/>
                        </a:cubicBezTo>
                        <a:cubicBezTo>
                          <a:pt x="52573" y="100608"/>
                          <a:pt x="52573" y="101170"/>
                          <a:pt x="52573" y="101170"/>
                        </a:cubicBezTo>
                        <a:cubicBezTo>
                          <a:pt x="52964" y="102014"/>
                          <a:pt x="52964" y="102014"/>
                          <a:pt x="52964" y="102014"/>
                        </a:cubicBezTo>
                        <a:cubicBezTo>
                          <a:pt x="52964" y="102857"/>
                          <a:pt x="52964" y="102857"/>
                          <a:pt x="52964" y="102857"/>
                        </a:cubicBezTo>
                        <a:cubicBezTo>
                          <a:pt x="53355" y="103419"/>
                          <a:pt x="53355" y="103419"/>
                          <a:pt x="53355" y="103419"/>
                        </a:cubicBezTo>
                        <a:cubicBezTo>
                          <a:pt x="53355" y="103419"/>
                          <a:pt x="53745" y="103419"/>
                          <a:pt x="53941" y="103700"/>
                        </a:cubicBezTo>
                        <a:cubicBezTo>
                          <a:pt x="54136" y="103700"/>
                          <a:pt x="53941" y="104262"/>
                          <a:pt x="53941" y="104262"/>
                        </a:cubicBezTo>
                        <a:cubicBezTo>
                          <a:pt x="53745" y="105386"/>
                          <a:pt x="53745" y="105386"/>
                          <a:pt x="53745" y="105386"/>
                        </a:cubicBezTo>
                        <a:cubicBezTo>
                          <a:pt x="53745" y="105386"/>
                          <a:pt x="53941" y="105667"/>
                          <a:pt x="54136" y="105948"/>
                        </a:cubicBezTo>
                        <a:cubicBezTo>
                          <a:pt x="54136" y="106229"/>
                          <a:pt x="53745" y="106791"/>
                          <a:pt x="53745" y="106791"/>
                        </a:cubicBezTo>
                        <a:cubicBezTo>
                          <a:pt x="53550" y="106791"/>
                          <a:pt x="52964" y="107634"/>
                          <a:pt x="52964" y="107634"/>
                        </a:cubicBezTo>
                        <a:cubicBezTo>
                          <a:pt x="52964" y="107634"/>
                          <a:pt x="52768" y="107915"/>
                          <a:pt x="52573" y="107915"/>
                        </a:cubicBezTo>
                        <a:cubicBezTo>
                          <a:pt x="52377" y="107915"/>
                          <a:pt x="52768" y="108758"/>
                          <a:pt x="52768" y="108758"/>
                        </a:cubicBezTo>
                        <a:cubicBezTo>
                          <a:pt x="52964" y="109601"/>
                          <a:pt x="52964" y="109601"/>
                          <a:pt x="52964" y="109601"/>
                        </a:cubicBezTo>
                        <a:cubicBezTo>
                          <a:pt x="52964" y="109601"/>
                          <a:pt x="52768" y="109882"/>
                          <a:pt x="52768" y="109882"/>
                        </a:cubicBezTo>
                        <a:cubicBezTo>
                          <a:pt x="52573" y="110163"/>
                          <a:pt x="52573" y="110725"/>
                          <a:pt x="52573" y="110725"/>
                        </a:cubicBezTo>
                        <a:cubicBezTo>
                          <a:pt x="52182" y="110725"/>
                          <a:pt x="52182" y="110725"/>
                          <a:pt x="52182" y="110725"/>
                        </a:cubicBezTo>
                        <a:cubicBezTo>
                          <a:pt x="51986" y="111288"/>
                          <a:pt x="51986" y="111288"/>
                          <a:pt x="51986" y="111288"/>
                        </a:cubicBezTo>
                        <a:cubicBezTo>
                          <a:pt x="51986" y="111288"/>
                          <a:pt x="51986" y="112131"/>
                          <a:pt x="51791" y="112131"/>
                        </a:cubicBezTo>
                        <a:cubicBezTo>
                          <a:pt x="51596" y="112131"/>
                          <a:pt x="51791" y="112693"/>
                          <a:pt x="51791" y="112693"/>
                        </a:cubicBezTo>
                        <a:cubicBezTo>
                          <a:pt x="51596" y="113255"/>
                          <a:pt x="51596" y="113255"/>
                          <a:pt x="51596" y="113255"/>
                        </a:cubicBezTo>
                        <a:cubicBezTo>
                          <a:pt x="52377" y="113817"/>
                          <a:pt x="52377" y="113817"/>
                          <a:pt x="52377" y="113817"/>
                        </a:cubicBezTo>
                        <a:cubicBezTo>
                          <a:pt x="52182" y="114379"/>
                          <a:pt x="52182" y="114379"/>
                          <a:pt x="52182" y="114379"/>
                        </a:cubicBezTo>
                        <a:cubicBezTo>
                          <a:pt x="52182" y="114941"/>
                          <a:pt x="52182" y="114941"/>
                          <a:pt x="52182" y="114941"/>
                        </a:cubicBezTo>
                        <a:cubicBezTo>
                          <a:pt x="52377" y="114941"/>
                          <a:pt x="52377" y="114941"/>
                          <a:pt x="52377" y="114941"/>
                        </a:cubicBezTo>
                        <a:cubicBezTo>
                          <a:pt x="52377" y="114941"/>
                          <a:pt x="51986" y="115222"/>
                          <a:pt x="51791" y="115222"/>
                        </a:cubicBezTo>
                        <a:cubicBezTo>
                          <a:pt x="51596" y="115503"/>
                          <a:pt x="51400" y="115222"/>
                          <a:pt x="51205" y="115503"/>
                        </a:cubicBezTo>
                        <a:cubicBezTo>
                          <a:pt x="51009" y="115503"/>
                          <a:pt x="50423" y="115784"/>
                          <a:pt x="50423" y="115784"/>
                        </a:cubicBezTo>
                        <a:cubicBezTo>
                          <a:pt x="50228" y="116908"/>
                          <a:pt x="50228" y="116908"/>
                          <a:pt x="50228" y="116908"/>
                        </a:cubicBezTo>
                        <a:cubicBezTo>
                          <a:pt x="49837" y="116908"/>
                          <a:pt x="49837" y="116908"/>
                          <a:pt x="49837" y="116908"/>
                        </a:cubicBezTo>
                        <a:cubicBezTo>
                          <a:pt x="49837" y="116346"/>
                          <a:pt x="49837" y="116346"/>
                          <a:pt x="49837" y="116346"/>
                        </a:cubicBezTo>
                        <a:cubicBezTo>
                          <a:pt x="49641" y="116065"/>
                          <a:pt x="49641" y="116065"/>
                          <a:pt x="49641" y="116065"/>
                        </a:cubicBezTo>
                        <a:cubicBezTo>
                          <a:pt x="49641" y="116627"/>
                          <a:pt x="49641" y="116908"/>
                          <a:pt x="49641" y="116908"/>
                        </a:cubicBezTo>
                        <a:cubicBezTo>
                          <a:pt x="51596" y="118875"/>
                          <a:pt x="51596" y="118875"/>
                          <a:pt x="51596" y="118875"/>
                        </a:cubicBezTo>
                        <a:cubicBezTo>
                          <a:pt x="54918" y="120000"/>
                          <a:pt x="54918" y="120000"/>
                          <a:pt x="54918" y="120000"/>
                        </a:cubicBezTo>
                        <a:cubicBezTo>
                          <a:pt x="55700" y="118032"/>
                          <a:pt x="55700" y="118032"/>
                          <a:pt x="55700" y="118032"/>
                        </a:cubicBezTo>
                        <a:cubicBezTo>
                          <a:pt x="55700" y="118032"/>
                          <a:pt x="57459" y="113536"/>
                          <a:pt x="58827" y="113817"/>
                        </a:cubicBezTo>
                        <a:cubicBezTo>
                          <a:pt x="59804" y="114098"/>
                          <a:pt x="61172" y="114660"/>
                          <a:pt x="61368" y="114660"/>
                        </a:cubicBezTo>
                        <a:cubicBezTo>
                          <a:pt x="61172" y="112974"/>
                          <a:pt x="59022" y="110163"/>
                          <a:pt x="59413" y="109601"/>
                        </a:cubicBezTo>
                        <a:cubicBezTo>
                          <a:pt x="59804" y="108758"/>
                          <a:pt x="60781" y="106791"/>
                          <a:pt x="61368" y="105667"/>
                        </a:cubicBezTo>
                        <a:cubicBezTo>
                          <a:pt x="61758" y="104543"/>
                          <a:pt x="63713" y="103700"/>
                          <a:pt x="63713" y="103700"/>
                        </a:cubicBezTo>
                        <a:cubicBezTo>
                          <a:pt x="65276" y="99484"/>
                          <a:pt x="65276" y="99484"/>
                          <a:pt x="65276" y="99484"/>
                        </a:cubicBezTo>
                        <a:cubicBezTo>
                          <a:pt x="64885" y="93021"/>
                          <a:pt x="64495" y="91334"/>
                          <a:pt x="69185" y="90491"/>
                        </a:cubicBezTo>
                        <a:cubicBezTo>
                          <a:pt x="69967" y="90210"/>
                          <a:pt x="70944" y="89367"/>
                          <a:pt x="70944" y="89367"/>
                        </a:cubicBezTo>
                        <a:cubicBezTo>
                          <a:pt x="72508" y="88524"/>
                          <a:pt x="72508" y="88524"/>
                          <a:pt x="72508" y="88524"/>
                        </a:cubicBezTo>
                        <a:cubicBezTo>
                          <a:pt x="75439" y="87962"/>
                          <a:pt x="75439" y="87962"/>
                          <a:pt x="75439" y="87962"/>
                        </a:cubicBezTo>
                        <a:cubicBezTo>
                          <a:pt x="73094" y="89929"/>
                          <a:pt x="73094" y="89929"/>
                          <a:pt x="73094" y="89929"/>
                        </a:cubicBezTo>
                        <a:cubicBezTo>
                          <a:pt x="71335" y="92740"/>
                          <a:pt x="71335" y="92740"/>
                          <a:pt x="71335" y="92740"/>
                        </a:cubicBezTo>
                        <a:cubicBezTo>
                          <a:pt x="73680" y="93583"/>
                          <a:pt x="73680" y="93583"/>
                          <a:pt x="73680" y="93583"/>
                        </a:cubicBezTo>
                        <a:cubicBezTo>
                          <a:pt x="73680" y="93583"/>
                          <a:pt x="73680" y="96112"/>
                          <a:pt x="74853" y="95550"/>
                        </a:cubicBezTo>
                        <a:cubicBezTo>
                          <a:pt x="75830" y="94988"/>
                          <a:pt x="78175" y="93583"/>
                          <a:pt x="78566" y="93583"/>
                        </a:cubicBezTo>
                        <a:cubicBezTo>
                          <a:pt x="78957" y="93302"/>
                          <a:pt x="81107" y="92459"/>
                          <a:pt x="81693" y="92459"/>
                        </a:cubicBezTo>
                        <a:cubicBezTo>
                          <a:pt x="82280" y="92459"/>
                          <a:pt x="85407" y="91896"/>
                          <a:pt x="85407" y="91896"/>
                        </a:cubicBezTo>
                        <a:cubicBezTo>
                          <a:pt x="85798" y="94426"/>
                          <a:pt x="85798" y="94426"/>
                          <a:pt x="85798" y="94426"/>
                        </a:cubicBezTo>
                        <a:cubicBezTo>
                          <a:pt x="84429" y="96955"/>
                          <a:pt x="84429" y="96955"/>
                          <a:pt x="84429" y="96955"/>
                        </a:cubicBezTo>
                        <a:cubicBezTo>
                          <a:pt x="82671" y="99484"/>
                          <a:pt x="82671" y="99484"/>
                          <a:pt x="82671" y="99484"/>
                        </a:cubicBezTo>
                        <a:cubicBezTo>
                          <a:pt x="79934" y="103138"/>
                          <a:pt x="79934" y="103138"/>
                          <a:pt x="79934" y="103138"/>
                        </a:cubicBezTo>
                        <a:cubicBezTo>
                          <a:pt x="79934" y="103138"/>
                          <a:pt x="79153" y="105105"/>
                          <a:pt x="79543" y="105386"/>
                        </a:cubicBezTo>
                        <a:cubicBezTo>
                          <a:pt x="79934" y="105667"/>
                          <a:pt x="82866" y="105105"/>
                          <a:pt x="82866" y="105105"/>
                        </a:cubicBezTo>
                        <a:cubicBezTo>
                          <a:pt x="86188" y="105386"/>
                          <a:pt x="86188" y="105386"/>
                          <a:pt x="86188" y="105386"/>
                        </a:cubicBezTo>
                        <a:cubicBezTo>
                          <a:pt x="86188" y="105386"/>
                          <a:pt x="86775" y="105667"/>
                          <a:pt x="87166" y="107353"/>
                        </a:cubicBezTo>
                        <a:cubicBezTo>
                          <a:pt x="87752" y="109320"/>
                          <a:pt x="88143" y="110163"/>
                          <a:pt x="88338" y="110725"/>
                        </a:cubicBezTo>
                        <a:cubicBezTo>
                          <a:pt x="88729" y="111569"/>
                          <a:pt x="89511" y="113255"/>
                          <a:pt x="89511" y="113255"/>
                        </a:cubicBezTo>
                        <a:cubicBezTo>
                          <a:pt x="89511" y="113255"/>
                          <a:pt x="88729" y="114379"/>
                          <a:pt x="89706" y="114098"/>
                        </a:cubicBezTo>
                        <a:cubicBezTo>
                          <a:pt x="90879" y="114098"/>
                          <a:pt x="91661" y="113817"/>
                          <a:pt x="91661" y="113817"/>
                        </a:cubicBezTo>
                        <a:cubicBezTo>
                          <a:pt x="91661" y="113817"/>
                          <a:pt x="91856" y="112131"/>
                          <a:pt x="92247" y="111569"/>
                        </a:cubicBezTo>
                        <a:cubicBezTo>
                          <a:pt x="92833" y="111288"/>
                          <a:pt x="93420" y="110444"/>
                          <a:pt x="93420" y="110444"/>
                        </a:cubicBezTo>
                        <a:cubicBezTo>
                          <a:pt x="93420" y="110444"/>
                          <a:pt x="93224" y="108758"/>
                          <a:pt x="93811" y="108196"/>
                        </a:cubicBezTo>
                        <a:cubicBezTo>
                          <a:pt x="94397" y="107915"/>
                          <a:pt x="95179" y="107634"/>
                          <a:pt x="95960" y="107353"/>
                        </a:cubicBezTo>
                        <a:cubicBezTo>
                          <a:pt x="96742" y="106791"/>
                          <a:pt x="97524" y="104824"/>
                          <a:pt x="97524" y="104824"/>
                        </a:cubicBezTo>
                        <a:cubicBezTo>
                          <a:pt x="98501" y="103700"/>
                          <a:pt x="98501" y="103700"/>
                          <a:pt x="98501" y="103700"/>
                        </a:cubicBezTo>
                        <a:cubicBezTo>
                          <a:pt x="100846" y="102576"/>
                          <a:pt x="100846" y="102576"/>
                          <a:pt x="100846" y="102576"/>
                        </a:cubicBezTo>
                        <a:cubicBezTo>
                          <a:pt x="100651" y="99765"/>
                          <a:pt x="100651" y="99765"/>
                          <a:pt x="100651" y="99765"/>
                        </a:cubicBezTo>
                        <a:cubicBezTo>
                          <a:pt x="100651" y="99765"/>
                          <a:pt x="100846" y="99203"/>
                          <a:pt x="101433" y="99203"/>
                        </a:cubicBezTo>
                        <a:cubicBezTo>
                          <a:pt x="101824" y="98922"/>
                          <a:pt x="105928" y="96955"/>
                          <a:pt x="105928" y="96955"/>
                        </a:cubicBezTo>
                        <a:cubicBezTo>
                          <a:pt x="107100" y="94145"/>
                          <a:pt x="107100" y="94145"/>
                          <a:pt x="107100" y="94145"/>
                        </a:cubicBezTo>
                        <a:cubicBezTo>
                          <a:pt x="107100" y="91334"/>
                          <a:pt x="107100" y="91334"/>
                          <a:pt x="107100" y="91334"/>
                        </a:cubicBezTo>
                        <a:cubicBezTo>
                          <a:pt x="107100" y="91334"/>
                          <a:pt x="107491" y="89648"/>
                          <a:pt x="106710" y="89648"/>
                        </a:cubicBezTo>
                        <a:cubicBezTo>
                          <a:pt x="105928" y="89648"/>
                          <a:pt x="103973" y="92459"/>
                          <a:pt x="103973" y="92459"/>
                        </a:cubicBezTo>
                        <a:cubicBezTo>
                          <a:pt x="101824" y="92740"/>
                          <a:pt x="101824" y="92740"/>
                          <a:pt x="101824" y="92740"/>
                        </a:cubicBezTo>
                        <a:cubicBezTo>
                          <a:pt x="101824" y="92740"/>
                          <a:pt x="100846" y="95269"/>
                          <a:pt x="100456" y="95269"/>
                        </a:cubicBezTo>
                        <a:cubicBezTo>
                          <a:pt x="100065" y="95550"/>
                          <a:pt x="98892" y="96112"/>
                          <a:pt x="98501" y="95831"/>
                        </a:cubicBezTo>
                        <a:cubicBezTo>
                          <a:pt x="98110" y="95831"/>
                          <a:pt x="98697" y="98922"/>
                          <a:pt x="97328" y="95269"/>
                        </a:cubicBezTo>
                        <a:cubicBezTo>
                          <a:pt x="95960" y="91615"/>
                          <a:pt x="95374" y="91615"/>
                          <a:pt x="95374" y="91615"/>
                        </a:cubicBezTo>
                        <a:cubicBezTo>
                          <a:pt x="94006" y="91615"/>
                          <a:pt x="94006" y="91615"/>
                          <a:pt x="94006" y="91615"/>
                        </a:cubicBezTo>
                        <a:cubicBezTo>
                          <a:pt x="94006" y="91615"/>
                          <a:pt x="92833" y="92459"/>
                          <a:pt x="92638" y="91896"/>
                        </a:cubicBezTo>
                        <a:cubicBezTo>
                          <a:pt x="92638" y="91334"/>
                          <a:pt x="92052" y="89648"/>
                          <a:pt x="92052" y="89648"/>
                        </a:cubicBezTo>
                        <a:cubicBezTo>
                          <a:pt x="90097" y="89648"/>
                          <a:pt x="90097" y="89648"/>
                          <a:pt x="90097" y="89648"/>
                        </a:cubicBezTo>
                        <a:cubicBezTo>
                          <a:pt x="89315" y="90210"/>
                          <a:pt x="89315" y="90210"/>
                          <a:pt x="89315" y="90210"/>
                        </a:cubicBezTo>
                        <a:cubicBezTo>
                          <a:pt x="86384" y="89929"/>
                          <a:pt x="86384" y="89929"/>
                          <a:pt x="86384" y="89929"/>
                        </a:cubicBezTo>
                        <a:cubicBezTo>
                          <a:pt x="85211" y="88805"/>
                          <a:pt x="85211" y="88805"/>
                          <a:pt x="85211" y="88805"/>
                        </a:cubicBezTo>
                        <a:cubicBezTo>
                          <a:pt x="86775" y="87681"/>
                          <a:pt x="86775" y="87681"/>
                          <a:pt x="86775" y="87681"/>
                        </a:cubicBezTo>
                        <a:cubicBezTo>
                          <a:pt x="86775" y="87681"/>
                          <a:pt x="87361" y="88524"/>
                          <a:pt x="87557" y="88524"/>
                        </a:cubicBezTo>
                        <a:cubicBezTo>
                          <a:pt x="87947" y="88243"/>
                          <a:pt x="87557" y="87400"/>
                          <a:pt x="87947" y="87119"/>
                        </a:cubicBezTo>
                        <a:cubicBezTo>
                          <a:pt x="88534" y="86838"/>
                          <a:pt x="89120" y="85995"/>
                          <a:pt x="89706" y="86557"/>
                        </a:cubicBezTo>
                        <a:cubicBezTo>
                          <a:pt x="90293" y="86838"/>
                          <a:pt x="89706" y="88524"/>
                          <a:pt x="90684" y="87400"/>
                        </a:cubicBezTo>
                        <a:cubicBezTo>
                          <a:pt x="91661" y="86276"/>
                          <a:pt x="92638" y="86557"/>
                          <a:pt x="92638" y="86557"/>
                        </a:cubicBezTo>
                        <a:cubicBezTo>
                          <a:pt x="93811" y="83747"/>
                          <a:pt x="93811" y="83747"/>
                          <a:pt x="93811" y="83747"/>
                        </a:cubicBezTo>
                        <a:cubicBezTo>
                          <a:pt x="94592" y="81217"/>
                          <a:pt x="94592" y="81217"/>
                          <a:pt x="94592" y="81217"/>
                        </a:cubicBezTo>
                        <a:cubicBezTo>
                          <a:pt x="94592" y="81217"/>
                          <a:pt x="94983" y="81498"/>
                          <a:pt x="95374" y="81779"/>
                        </a:cubicBezTo>
                        <a:cubicBezTo>
                          <a:pt x="95960" y="81779"/>
                          <a:pt x="97328" y="78407"/>
                          <a:pt x="97328" y="78407"/>
                        </a:cubicBezTo>
                        <a:cubicBezTo>
                          <a:pt x="97328" y="78407"/>
                          <a:pt x="97524" y="75035"/>
                          <a:pt x="97915" y="75035"/>
                        </a:cubicBezTo>
                        <a:cubicBezTo>
                          <a:pt x="98306" y="74754"/>
                          <a:pt x="101237" y="73348"/>
                          <a:pt x="101237" y="73348"/>
                        </a:cubicBezTo>
                        <a:cubicBezTo>
                          <a:pt x="103192" y="71662"/>
                          <a:pt x="103192" y="71662"/>
                          <a:pt x="103192" y="71662"/>
                        </a:cubicBezTo>
                        <a:cubicBezTo>
                          <a:pt x="103192" y="71662"/>
                          <a:pt x="104169" y="69695"/>
                          <a:pt x="104560" y="69414"/>
                        </a:cubicBezTo>
                        <a:cubicBezTo>
                          <a:pt x="104951" y="69414"/>
                          <a:pt x="105342" y="68290"/>
                          <a:pt x="105732" y="66885"/>
                        </a:cubicBezTo>
                        <a:cubicBezTo>
                          <a:pt x="106319" y="65761"/>
                          <a:pt x="106710" y="64918"/>
                          <a:pt x="106710" y="64918"/>
                        </a:cubicBezTo>
                        <a:cubicBezTo>
                          <a:pt x="106710" y="64918"/>
                          <a:pt x="109055" y="64074"/>
                          <a:pt x="108859" y="63793"/>
                        </a:cubicBezTo>
                        <a:cubicBezTo>
                          <a:pt x="108859" y="63231"/>
                          <a:pt x="107882" y="62107"/>
                          <a:pt x="109055" y="62107"/>
                        </a:cubicBezTo>
                        <a:cubicBezTo>
                          <a:pt x="110228" y="62107"/>
                          <a:pt x="110228" y="62107"/>
                          <a:pt x="110814" y="61545"/>
                        </a:cubicBezTo>
                        <a:cubicBezTo>
                          <a:pt x="111205" y="61264"/>
                          <a:pt x="111009" y="60983"/>
                          <a:pt x="111205" y="60140"/>
                        </a:cubicBezTo>
                        <a:cubicBezTo>
                          <a:pt x="111596" y="59578"/>
                          <a:pt x="111791" y="58735"/>
                          <a:pt x="111791" y="58173"/>
                        </a:cubicBezTo>
                        <a:cubicBezTo>
                          <a:pt x="111596" y="57611"/>
                          <a:pt x="110618" y="55362"/>
                          <a:pt x="110618" y="54800"/>
                        </a:cubicBezTo>
                        <a:cubicBezTo>
                          <a:pt x="110423" y="53957"/>
                          <a:pt x="110618" y="52271"/>
                          <a:pt x="110618" y="52271"/>
                        </a:cubicBezTo>
                        <a:cubicBezTo>
                          <a:pt x="110618" y="52271"/>
                          <a:pt x="111205" y="51990"/>
                          <a:pt x="111791" y="51709"/>
                        </a:cubicBezTo>
                        <a:cubicBezTo>
                          <a:pt x="112182" y="51147"/>
                          <a:pt x="112964" y="49180"/>
                          <a:pt x="112964" y="49180"/>
                        </a:cubicBezTo>
                        <a:cubicBezTo>
                          <a:pt x="113159" y="47775"/>
                          <a:pt x="113159" y="47775"/>
                          <a:pt x="113159" y="47775"/>
                        </a:cubicBezTo>
                        <a:cubicBezTo>
                          <a:pt x="113159" y="47775"/>
                          <a:pt x="113941" y="46932"/>
                          <a:pt x="114136" y="46932"/>
                        </a:cubicBezTo>
                        <a:cubicBezTo>
                          <a:pt x="114527" y="46651"/>
                          <a:pt x="117654" y="44964"/>
                          <a:pt x="117850" y="44964"/>
                        </a:cubicBezTo>
                        <a:cubicBezTo>
                          <a:pt x="118045" y="44964"/>
                          <a:pt x="119999" y="45245"/>
                          <a:pt x="119413" y="43840"/>
                        </a:cubicBezTo>
                        <a:cubicBezTo>
                          <a:pt x="118827" y="42716"/>
                          <a:pt x="118631" y="42154"/>
                          <a:pt x="118436" y="41311"/>
                        </a:cubicBezTo>
                        <a:cubicBezTo>
                          <a:pt x="118241" y="40468"/>
                          <a:pt x="118241" y="38501"/>
                          <a:pt x="118241" y="38220"/>
                        </a:cubicBezTo>
                        <a:cubicBezTo>
                          <a:pt x="118436" y="37939"/>
                          <a:pt x="119999" y="37096"/>
                          <a:pt x="118241" y="36814"/>
                        </a:cubicBezTo>
                        <a:cubicBezTo>
                          <a:pt x="116482" y="36533"/>
                          <a:pt x="117850" y="35690"/>
                          <a:pt x="117459" y="35128"/>
                        </a:cubicBezTo>
                        <a:cubicBezTo>
                          <a:pt x="116872" y="34566"/>
                          <a:pt x="115700" y="33442"/>
                          <a:pt x="115700" y="33442"/>
                        </a:cubicBezTo>
                        <a:cubicBezTo>
                          <a:pt x="115114" y="33442"/>
                          <a:pt x="115114" y="33442"/>
                          <a:pt x="115114" y="33442"/>
                        </a:cubicBezTo>
                        <a:cubicBezTo>
                          <a:pt x="115309" y="30632"/>
                          <a:pt x="115309" y="30632"/>
                          <a:pt x="115309" y="30632"/>
                        </a:cubicBezTo>
                        <a:cubicBezTo>
                          <a:pt x="115309" y="30632"/>
                          <a:pt x="115895" y="29508"/>
                          <a:pt x="116091" y="29508"/>
                        </a:cubicBezTo>
                        <a:cubicBezTo>
                          <a:pt x="116286" y="29227"/>
                          <a:pt x="116482" y="28103"/>
                          <a:pt x="116091" y="28103"/>
                        </a:cubicBezTo>
                        <a:cubicBezTo>
                          <a:pt x="115700" y="28384"/>
                          <a:pt x="114527" y="28665"/>
                          <a:pt x="114527" y="28665"/>
                        </a:cubicBezTo>
                        <a:cubicBezTo>
                          <a:pt x="114527" y="28665"/>
                          <a:pt x="113550" y="28665"/>
                          <a:pt x="113745" y="28103"/>
                        </a:cubicBezTo>
                        <a:cubicBezTo>
                          <a:pt x="113745" y="27259"/>
                          <a:pt x="114136" y="27259"/>
                          <a:pt x="114723" y="26416"/>
                        </a:cubicBezTo>
                        <a:cubicBezTo>
                          <a:pt x="115309" y="25573"/>
                          <a:pt x="115504" y="25011"/>
                          <a:pt x="115504" y="25011"/>
                        </a:cubicBezTo>
                        <a:cubicBezTo>
                          <a:pt x="115309" y="23325"/>
                          <a:pt x="115309" y="23325"/>
                          <a:pt x="115309" y="23325"/>
                        </a:cubicBezTo>
                        <a:cubicBezTo>
                          <a:pt x="115309" y="23325"/>
                          <a:pt x="115309" y="22201"/>
                          <a:pt x="115114" y="22201"/>
                        </a:cubicBezTo>
                        <a:cubicBezTo>
                          <a:pt x="115114" y="21920"/>
                          <a:pt x="113941" y="18548"/>
                          <a:pt x="113941" y="18548"/>
                        </a:cubicBezTo>
                        <a:cubicBezTo>
                          <a:pt x="113941" y="18548"/>
                          <a:pt x="112768" y="17985"/>
                          <a:pt x="112573" y="18548"/>
                        </a:cubicBezTo>
                        <a:cubicBezTo>
                          <a:pt x="112573" y="19110"/>
                          <a:pt x="112182" y="20234"/>
                          <a:pt x="112182" y="20234"/>
                        </a:cubicBezTo>
                        <a:cubicBezTo>
                          <a:pt x="110814" y="20234"/>
                          <a:pt x="110814" y="20234"/>
                          <a:pt x="110814" y="20234"/>
                        </a:cubicBezTo>
                        <a:cubicBezTo>
                          <a:pt x="110032" y="19391"/>
                          <a:pt x="110032" y="19391"/>
                          <a:pt x="110032" y="19391"/>
                        </a:cubicBezTo>
                        <a:cubicBezTo>
                          <a:pt x="108469" y="18829"/>
                          <a:pt x="108469" y="18829"/>
                          <a:pt x="108469" y="18829"/>
                        </a:cubicBezTo>
                        <a:cubicBezTo>
                          <a:pt x="108469" y="18829"/>
                          <a:pt x="108273" y="19110"/>
                          <a:pt x="108078" y="19391"/>
                        </a:cubicBezTo>
                        <a:cubicBezTo>
                          <a:pt x="108078" y="19672"/>
                          <a:pt x="106514" y="18266"/>
                          <a:pt x="106514" y="18266"/>
                        </a:cubicBezTo>
                        <a:cubicBezTo>
                          <a:pt x="106514" y="18266"/>
                          <a:pt x="105928" y="19391"/>
                          <a:pt x="105732" y="19672"/>
                        </a:cubicBezTo>
                        <a:cubicBezTo>
                          <a:pt x="105732" y="19672"/>
                          <a:pt x="104169" y="19110"/>
                          <a:pt x="104169" y="19110"/>
                        </a:cubicBezTo>
                        <a:cubicBezTo>
                          <a:pt x="102605" y="19391"/>
                          <a:pt x="102605" y="19391"/>
                          <a:pt x="102605" y="19391"/>
                        </a:cubicBezTo>
                        <a:cubicBezTo>
                          <a:pt x="101237" y="19672"/>
                          <a:pt x="101237" y="19672"/>
                          <a:pt x="101237" y="19672"/>
                        </a:cubicBezTo>
                        <a:cubicBezTo>
                          <a:pt x="100065" y="18829"/>
                          <a:pt x="100065" y="18829"/>
                          <a:pt x="100065" y="18829"/>
                        </a:cubicBezTo>
                        <a:cubicBezTo>
                          <a:pt x="99674" y="19672"/>
                          <a:pt x="99674" y="19672"/>
                          <a:pt x="99674" y="19672"/>
                        </a:cubicBezTo>
                        <a:cubicBezTo>
                          <a:pt x="99869" y="21077"/>
                          <a:pt x="99869" y="21077"/>
                          <a:pt x="99869" y="21077"/>
                        </a:cubicBezTo>
                        <a:cubicBezTo>
                          <a:pt x="98892" y="21920"/>
                          <a:pt x="98892" y="21920"/>
                          <a:pt x="98892" y="21920"/>
                        </a:cubicBezTo>
                        <a:cubicBezTo>
                          <a:pt x="97719" y="20796"/>
                          <a:pt x="97719" y="20796"/>
                          <a:pt x="97719" y="20796"/>
                        </a:cubicBezTo>
                        <a:cubicBezTo>
                          <a:pt x="96742" y="20515"/>
                          <a:pt x="96742" y="20515"/>
                          <a:pt x="96742" y="20515"/>
                        </a:cubicBezTo>
                        <a:cubicBezTo>
                          <a:pt x="95374" y="18548"/>
                          <a:pt x="95374" y="18548"/>
                          <a:pt x="95374" y="18548"/>
                        </a:cubicBezTo>
                        <a:cubicBezTo>
                          <a:pt x="94201" y="17985"/>
                          <a:pt x="94201" y="17985"/>
                          <a:pt x="94201" y="17985"/>
                        </a:cubicBezTo>
                        <a:cubicBezTo>
                          <a:pt x="93029" y="17142"/>
                          <a:pt x="93029" y="17142"/>
                          <a:pt x="93029" y="17142"/>
                        </a:cubicBezTo>
                        <a:cubicBezTo>
                          <a:pt x="93029" y="17142"/>
                          <a:pt x="92442" y="19391"/>
                          <a:pt x="92247" y="19672"/>
                        </a:cubicBezTo>
                        <a:cubicBezTo>
                          <a:pt x="92052" y="19672"/>
                          <a:pt x="91074" y="20234"/>
                          <a:pt x="90879" y="20234"/>
                        </a:cubicBezTo>
                        <a:cubicBezTo>
                          <a:pt x="90488" y="20515"/>
                          <a:pt x="90293" y="21920"/>
                          <a:pt x="90293" y="21920"/>
                        </a:cubicBezTo>
                        <a:cubicBezTo>
                          <a:pt x="89315" y="22763"/>
                          <a:pt x="89315" y="22763"/>
                          <a:pt x="89315" y="22763"/>
                        </a:cubicBezTo>
                        <a:cubicBezTo>
                          <a:pt x="89315" y="22763"/>
                          <a:pt x="88729" y="22201"/>
                          <a:pt x="88338" y="22201"/>
                        </a:cubicBezTo>
                        <a:cubicBezTo>
                          <a:pt x="88143" y="22201"/>
                          <a:pt x="87947" y="22482"/>
                          <a:pt x="87947" y="22482"/>
                        </a:cubicBezTo>
                        <a:cubicBezTo>
                          <a:pt x="87557" y="23325"/>
                          <a:pt x="87557" y="23325"/>
                          <a:pt x="87557" y="23325"/>
                        </a:cubicBezTo>
                        <a:cubicBezTo>
                          <a:pt x="87557" y="23325"/>
                          <a:pt x="87361" y="23325"/>
                          <a:pt x="86775" y="22763"/>
                        </a:cubicBezTo>
                        <a:cubicBezTo>
                          <a:pt x="86384" y="22482"/>
                          <a:pt x="85798" y="21920"/>
                          <a:pt x="85798" y="21920"/>
                        </a:cubicBezTo>
                        <a:cubicBezTo>
                          <a:pt x="85211" y="21639"/>
                          <a:pt x="85211" y="21639"/>
                          <a:pt x="85211" y="21639"/>
                        </a:cubicBezTo>
                        <a:cubicBezTo>
                          <a:pt x="85211" y="21639"/>
                          <a:pt x="83452" y="22763"/>
                          <a:pt x="83257" y="23044"/>
                        </a:cubicBezTo>
                        <a:cubicBezTo>
                          <a:pt x="83257" y="23325"/>
                          <a:pt x="82866" y="24168"/>
                          <a:pt x="82866" y="24168"/>
                        </a:cubicBezTo>
                        <a:cubicBezTo>
                          <a:pt x="81889" y="23044"/>
                          <a:pt x="81889" y="23044"/>
                          <a:pt x="81889" y="23044"/>
                        </a:cubicBezTo>
                        <a:cubicBezTo>
                          <a:pt x="80716" y="21920"/>
                          <a:pt x="80716" y="21920"/>
                          <a:pt x="80716" y="21920"/>
                        </a:cubicBezTo>
                        <a:cubicBezTo>
                          <a:pt x="80521" y="19953"/>
                          <a:pt x="80521" y="19953"/>
                          <a:pt x="80521" y="19953"/>
                        </a:cubicBezTo>
                        <a:cubicBezTo>
                          <a:pt x="78371" y="17142"/>
                          <a:pt x="78371" y="17142"/>
                          <a:pt x="78371" y="17142"/>
                        </a:cubicBezTo>
                        <a:cubicBezTo>
                          <a:pt x="77980" y="14332"/>
                          <a:pt x="77980" y="14332"/>
                          <a:pt x="77980" y="14332"/>
                        </a:cubicBezTo>
                        <a:cubicBezTo>
                          <a:pt x="76416" y="12646"/>
                          <a:pt x="76416" y="12646"/>
                          <a:pt x="76416" y="12646"/>
                        </a:cubicBezTo>
                        <a:cubicBezTo>
                          <a:pt x="75439" y="14332"/>
                          <a:pt x="75439" y="14332"/>
                          <a:pt x="75439" y="14332"/>
                        </a:cubicBezTo>
                        <a:cubicBezTo>
                          <a:pt x="73876" y="14051"/>
                          <a:pt x="73876" y="14051"/>
                          <a:pt x="73876" y="14051"/>
                        </a:cubicBezTo>
                        <a:cubicBezTo>
                          <a:pt x="72312" y="14613"/>
                          <a:pt x="72312" y="14613"/>
                          <a:pt x="72312" y="14613"/>
                        </a:cubicBezTo>
                        <a:cubicBezTo>
                          <a:pt x="72312" y="14613"/>
                          <a:pt x="71335" y="16018"/>
                          <a:pt x="71335" y="15456"/>
                        </a:cubicBezTo>
                        <a:cubicBezTo>
                          <a:pt x="71140" y="14894"/>
                          <a:pt x="71530" y="13770"/>
                          <a:pt x="71530" y="13208"/>
                        </a:cubicBezTo>
                        <a:cubicBezTo>
                          <a:pt x="71335" y="12927"/>
                          <a:pt x="70358" y="13770"/>
                          <a:pt x="70553" y="12646"/>
                        </a:cubicBezTo>
                        <a:cubicBezTo>
                          <a:pt x="70749" y="12084"/>
                          <a:pt x="70553" y="11241"/>
                          <a:pt x="70358" y="10960"/>
                        </a:cubicBezTo>
                        <a:cubicBezTo>
                          <a:pt x="69967" y="10398"/>
                          <a:pt x="68794" y="10398"/>
                          <a:pt x="69185" y="9274"/>
                        </a:cubicBezTo>
                        <a:cubicBezTo>
                          <a:pt x="69576" y="8430"/>
                          <a:pt x="70553" y="7868"/>
                          <a:pt x="70553" y="7868"/>
                        </a:cubicBezTo>
                        <a:cubicBezTo>
                          <a:pt x="70553" y="7306"/>
                          <a:pt x="70553" y="7306"/>
                          <a:pt x="70553" y="7306"/>
                        </a:cubicBezTo>
                        <a:cubicBezTo>
                          <a:pt x="69771" y="6182"/>
                          <a:pt x="69771" y="6182"/>
                          <a:pt x="69771" y="6182"/>
                        </a:cubicBezTo>
                        <a:cubicBezTo>
                          <a:pt x="67622" y="4777"/>
                          <a:pt x="67622" y="4777"/>
                          <a:pt x="67622" y="4777"/>
                        </a:cubicBezTo>
                        <a:cubicBezTo>
                          <a:pt x="67622" y="4777"/>
                          <a:pt x="67426" y="3091"/>
                          <a:pt x="67035" y="3091"/>
                        </a:cubicBezTo>
                        <a:cubicBezTo>
                          <a:pt x="66840" y="2810"/>
                          <a:pt x="66254" y="1967"/>
                          <a:pt x="66254" y="1967"/>
                        </a:cubicBezTo>
                        <a:cubicBezTo>
                          <a:pt x="66254" y="1967"/>
                          <a:pt x="65667" y="843"/>
                          <a:pt x="64885" y="562"/>
                        </a:cubicBezTo>
                        <a:cubicBezTo>
                          <a:pt x="64104" y="0"/>
                          <a:pt x="63517" y="2529"/>
                          <a:pt x="63517" y="2529"/>
                        </a:cubicBezTo>
                        <a:cubicBezTo>
                          <a:pt x="62736" y="1405"/>
                          <a:pt x="62736" y="1405"/>
                          <a:pt x="62736" y="1405"/>
                        </a:cubicBezTo>
                        <a:cubicBezTo>
                          <a:pt x="61172" y="2248"/>
                          <a:pt x="61172" y="2248"/>
                          <a:pt x="61172" y="2248"/>
                        </a:cubicBezTo>
                        <a:cubicBezTo>
                          <a:pt x="59999" y="4777"/>
                          <a:pt x="59999" y="4777"/>
                          <a:pt x="59999" y="4777"/>
                        </a:cubicBezTo>
                        <a:cubicBezTo>
                          <a:pt x="59218" y="5058"/>
                          <a:pt x="59218" y="5058"/>
                          <a:pt x="59218" y="5058"/>
                        </a:cubicBezTo>
                        <a:cubicBezTo>
                          <a:pt x="58045" y="5339"/>
                          <a:pt x="58045" y="5339"/>
                          <a:pt x="58045" y="5339"/>
                        </a:cubicBezTo>
                        <a:cubicBezTo>
                          <a:pt x="56286" y="5901"/>
                          <a:pt x="56286" y="5901"/>
                          <a:pt x="56286" y="5901"/>
                        </a:cubicBezTo>
                        <a:cubicBezTo>
                          <a:pt x="55895" y="7587"/>
                          <a:pt x="55895" y="7587"/>
                          <a:pt x="55895" y="7587"/>
                        </a:cubicBezTo>
                        <a:cubicBezTo>
                          <a:pt x="56091" y="9274"/>
                          <a:pt x="56091" y="9274"/>
                          <a:pt x="56091" y="9274"/>
                        </a:cubicBezTo>
                        <a:cubicBezTo>
                          <a:pt x="55114" y="10398"/>
                          <a:pt x="55114" y="10398"/>
                          <a:pt x="55114" y="10398"/>
                        </a:cubicBezTo>
                        <a:cubicBezTo>
                          <a:pt x="52768" y="10117"/>
                          <a:pt x="52768" y="10117"/>
                          <a:pt x="52768" y="10117"/>
                        </a:cubicBezTo>
                        <a:cubicBezTo>
                          <a:pt x="51205" y="10679"/>
                          <a:pt x="51205" y="10679"/>
                          <a:pt x="51205" y="10679"/>
                        </a:cubicBezTo>
                        <a:cubicBezTo>
                          <a:pt x="50423" y="12365"/>
                          <a:pt x="50423" y="12365"/>
                          <a:pt x="50423" y="12365"/>
                        </a:cubicBezTo>
                        <a:cubicBezTo>
                          <a:pt x="48078" y="12365"/>
                          <a:pt x="48078" y="12365"/>
                          <a:pt x="48078" y="12365"/>
                        </a:cubicBezTo>
                        <a:cubicBezTo>
                          <a:pt x="47687" y="15737"/>
                          <a:pt x="47687" y="15737"/>
                          <a:pt x="47687" y="15737"/>
                        </a:cubicBezTo>
                        <a:cubicBezTo>
                          <a:pt x="47100" y="17985"/>
                          <a:pt x="47100" y="17985"/>
                          <a:pt x="47100" y="17985"/>
                        </a:cubicBezTo>
                        <a:cubicBezTo>
                          <a:pt x="46514" y="20515"/>
                          <a:pt x="46514" y="20515"/>
                          <a:pt x="46514" y="20515"/>
                        </a:cubicBezTo>
                        <a:cubicBezTo>
                          <a:pt x="46905" y="21920"/>
                          <a:pt x="46905" y="21920"/>
                          <a:pt x="46905" y="21920"/>
                        </a:cubicBezTo>
                        <a:cubicBezTo>
                          <a:pt x="47491" y="23887"/>
                          <a:pt x="47491" y="23887"/>
                          <a:pt x="47491" y="23887"/>
                        </a:cubicBezTo>
                        <a:cubicBezTo>
                          <a:pt x="48664" y="25854"/>
                          <a:pt x="48664" y="25854"/>
                          <a:pt x="48664" y="25854"/>
                        </a:cubicBezTo>
                        <a:cubicBezTo>
                          <a:pt x="48664" y="25854"/>
                          <a:pt x="48664" y="25854"/>
                          <a:pt x="48664" y="25854"/>
                        </a:cubicBezTo>
                        <a:cubicBezTo>
                          <a:pt x="47491" y="26416"/>
                          <a:pt x="47491" y="26416"/>
                          <a:pt x="47491" y="26416"/>
                        </a:cubicBezTo>
                        <a:cubicBezTo>
                          <a:pt x="46710" y="26697"/>
                          <a:pt x="46710" y="26697"/>
                          <a:pt x="46710" y="26697"/>
                        </a:cubicBezTo>
                        <a:cubicBezTo>
                          <a:pt x="45928" y="25011"/>
                          <a:pt x="45928" y="25011"/>
                          <a:pt x="45928" y="25011"/>
                        </a:cubicBezTo>
                        <a:cubicBezTo>
                          <a:pt x="44755" y="24449"/>
                          <a:pt x="44755" y="24449"/>
                          <a:pt x="44755" y="24449"/>
                        </a:cubicBezTo>
                        <a:cubicBezTo>
                          <a:pt x="43387" y="25292"/>
                          <a:pt x="43387" y="25292"/>
                          <a:pt x="43387" y="25292"/>
                        </a:cubicBezTo>
                        <a:cubicBezTo>
                          <a:pt x="42019" y="25854"/>
                          <a:pt x="42019" y="25854"/>
                          <a:pt x="42019" y="25854"/>
                        </a:cubicBezTo>
                        <a:cubicBezTo>
                          <a:pt x="41628" y="25854"/>
                          <a:pt x="41628" y="25854"/>
                          <a:pt x="41628" y="25854"/>
                        </a:cubicBezTo>
                        <a:cubicBezTo>
                          <a:pt x="41237" y="26978"/>
                          <a:pt x="41237" y="26978"/>
                          <a:pt x="41237" y="26978"/>
                        </a:cubicBezTo>
                        <a:cubicBezTo>
                          <a:pt x="40065" y="27822"/>
                          <a:pt x="40065" y="27822"/>
                          <a:pt x="40065" y="27822"/>
                        </a:cubicBezTo>
                        <a:cubicBezTo>
                          <a:pt x="40065" y="27822"/>
                          <a:pt x="39674" y="27259"/>
                          <a:pt x="39478" y="26978"/>
                        </a:cubicBezTo>
                        <a:cubicBezTo>
                          <a:pt x="39283" y="26697"/>
                          <a:pt x="38697" y="26135"/>
                          <a:pt x="38697" y="26135"/>
                        </a:cubicBezTo>
                        <a:cubicBezTo>
                          <a:pt x="38697" y="26135"/>
                          <a:pt x="38501" y="25573"/>
                          <a:pt x="38306" y="25292"/>
                        </a:cubicBezTo>
                        <a:cubicBezTo>
                          <a:pt x="38110" y="25292"/>
                          <a:pt x="36938" y="26416"/>
                          <a:pt x="36938" y="26416"/>
                        </a:cubicBezTo>
                        <a:cubicBezTo>
                          <a:pt x="36938" y="26416"/>
                          <a:pt x="35960" y="27259"/>
                          <a:pt x="35960" y="27540"/>
                        </a:cubicBezTo>
                        <a:cubicBezTo>
                          <a:pt x="36156" y="27540"/>
                          <a:pt x="35960" y="28946"/>
                          <a:pt x="35960" y="28946"/>
                        </a:cubicBezTo>
                        <a:cubicBezTo>
                          <a:pt x="34592" y="27259"/>
                          <a:pt x="34592" y="27259"/>
                          <a:pt x="34592" y="27259"/>
                        </a:cubicBezTo>
                        <a:cubicBezTo>
                          <a:pt x="33615" y="28384"/>
                          <a:pt x="33615" y="28384"/>
                          <a:pt x="33615" y="28384"/>
                        </a:cubicBezTo>
                        <a:cubicBezTo>
                          <a:pt x="32833" y="27540"/>
                          <a:pt x="32833" y="27540"/>
                          <a:pt x="32833" y="27540"/>
                        </a:cubicBezTo>
                        <a:cubicBezTo>
                          <a:pt x="32442" y="27259"/>
                          <a:pt x="32442" y="27259"/>
                          <a:pt x="32442" y="27259"/>
                        </a:cubicBezTo>
                        <a:cubicBezTo>
                          <a:pt x="31270" y="29227"/>
                          <a:pt x="31270" y="29227"/>
                          <a:pt x="31270" y="29227"/>
                        </a:cubicBezTo>
                        <a:cubicBezTo>
                          <a:pt x="30488" y="28665"/>
                          <a:pt x="30488" y="28665"/>
                          <a:pt x="30488" y="28665"/>
                        </a:cubicBezTo>
                        <a:cubicBezTo>
                          <a:pt x="30097" y="30632"/>
                          <a:pt x="30097" y="30632"/>
                          <a:pt x="30097" y="30632"/>
                        </a:cubicBezTo>
                        <a:cubicBezTo>
                          <a:pt x="29120" y="29508"/>
                          <a:pt x="29120" y="29508"/>
                          <a:pt x="29120" y="29508"/>
                        </a:cubicBezTo>
                        <a:cubicBezTo>
                          <a:pt x="29120" y="29508"/>
                          <a:pt x="28143" y="29227"/>
                          <a:pt x="27947" y="29227"/>
                        </a:cubicBezTo>
                        <a:cubicBezTo>
                          <a:pt x="27752" y="29227"/>
                          <a:pt x="27166" y="30351"/>
                          <a:pt x="27166" y="30351"/>
                        </a:cubicBezTo>
                        <a:cubicBezTo>
                          <a:pt x="26188" y="29227"/>
                          <a:pt x="26188" y="29227"/>
                          <a:pt x="26188" y="29227"/>
                        </a:cubicBezTo>
                        <a:cubicBezTo>
                          <a:pt x="25407" y="28384"/>
                          <a:pt x="25407" y="28384"/>
                          <a:pt x="25407" y="28384"/>
                        </a:cubicBezTo>
                        <a:cubicBezTo>
                          <a:pt x="25407" y="28384"/>
                          <a:pt x="23257" y="28665"/>
                          <a:pt x="23061" y="28665"/>
                        </a:cubicBezTo>
                        <a:cubicBezTo>
                          <a:pt x="22866" y="28665"/>
                          <a:pt x="21498" y="28384"/>
                          <a:pt x="21498" y="28384"/>
                        </a:cubicBezTo>
                        <a:cubicBezTo>
                          <a:pt x="19739" y="28946"/>
                          <a:pt x="19739" y="28946"/>
                          <a:pt x="19739" y="28946"/>
                        </a:cubicBezTo>
                        <a:cubicBezTo>
                          <a:pt x="17198" y="28946"/>
                          <a:pt x="17198" y="28946"/>
                          <a:pt x="17198" y="28946"/>
                        </a:cubicBezTo>
                        <a:cubicBezTo>
                          <a:pt x="14853" y="29227"/>
                          <a:pt x="14853" y="29227"/>
                          <a:pt x="14853" y="29227"/>
                        </a:cubicBezTo>
                        <a:cubicBezTo>
                          <a:pt x="13094" y="29227"/>
                          <a:pt x="13094" y="29227"/>
                          <a:pt x="13094" y="29227"/>
                        </a:cubicBezTo>
                        <a:cubicBezTo>
                          <a:pt x="11726" y="30632"/>
                          <a:pt x="11726" y="30632"/>
                          <a:pt x="11726" y="30632"/>
                        </a:cubicBezTo>
                        <a:cubicBezTo>
                          <a:pt x="10358" y="30913"/>
                          <a:pt x="10358" y="30913"/>
                          <a:pt x="10358" y="30913"/>
                        </a:cubicBezTo>
                        <a:cubicBezTo>
                          <a:pt x="8794" y="31194"/>
                          <a:pt x="8794" y="31194"/>
                          <a:pt x="8794" y="31194"/>
                        </a:cubicBezTo>
                        <a:cubicBezTo>
                          <a:pt x="8599" y="31194"/>
                          <a:pt x="8599" y="31194"/>
                          <a:pt x="8599" y="31194"/>
                        </a:cubicBezTo>
                        <a:cubicBezTo>
                          <a:pt x="8403" y="31475"/>
                          <a:pt x="8403" y="31475"/>
                          <a:pt x="8403" y="31475"/>
                        </a:cubicBezTo>
                        <a:cubicBezTo>
                          <a:pt x="7817" y="32037"/>
                          <a:pt x="7817" y="32037"/>
                          <a:pt x="7817" y="32037"/>
                        </a:cubicBezTo>
                        <a:cubicBezTo>
                          <a:pt x="7817" y="32318"/>
                          <a:pt x="7817" y="32318"/>
                          <a:pt x="7817" y="32318"/>
                        </a:cubicBezTo>
                        <a:cubicBezTo>
                          <a:pt x="7426" y="32880"/>
                          <a:pt x="7426" y="32880"/>
                          <a:pt x="7426" y="32880"/>
                        </a:cubicBezTo>
                        <a:cubicBezTo>
                          <a:pt x="7231" y="34285"/>
                          <a:pt x="7231" y="34285"/>
                          <a:pt x="7231" y="34285"/>
                        </a:cubicBezTo>
                        <a:cubicBezTo>
                          <a:pt x="7035" y="34847"/>
                          <a:pt x="6644" y="35409"/>
                          <a:pt x="6449" y="35971"/>
                        </a:cubicBezTo>
                        <a:cubicBezTo>
                          <a:pt x="6449" y="35971"/>
                          <a:pt x="6449" y="35971"/>
                          <a:pt x="6449" y="35971"/>
                        </a:cubicBezTo>
                        <a:cubicBezTo>
                          <a:pt x="6449" y="35971"/>
                          <a:pt x="5863" y="35690"/>
                          <a:pt x="5863" y="36252"/>
                        </a:cubicBezTo>
                        <a:cubicBezTo>
                          <a:pt x="5863" y="36533"/>
                          <a:pt x="5863" y="36533"/>
                          <a:pt x="5863" y="36533"/>
                        </a:cubicBezTo>
                        <a:cubicBezTo>
                          <a:pt x="5276" y="36814"/>
                          <a:pt x="4299" y="36252"/>
                          <a:pt x="4299" y="36252"/>
                        </a:cubicBezTo>
                        <a:cubicBezTo>
                          <a:pt x="3322" y="37096"/>
                          <a:pt x="3322" y="37096"/>
                          <a:pt x="3322" y="37096"/>
                        </a:cubicBezTo>
                        <a:cubicBezTo>
                          <a:pt x="3322" y="37377"/>
                          <a:pt x="3322" y="37658"/>
                          <a:pt x="3517" y="37658"/>
                        </a:cubicBezTo>
                        <a:cubicBezTo>
                          <a:pt x="3713" y="37939"/>
                          <a:pt x="3713" y="37939"/>
                          <a:pt x="3713" y="38220"/>
                        </a:cubicBezTo>
                        <a:cubicBezTo>
                          <a:pt x="3908" y="38220"/>
                          <a:pt x="3908" y="38501"/>
                          <a:pt x="3908" y="38501"/>
                        </a:cubicBezTo>
                        <a:cubicBezTo>
                          <a:pt x="4299" y="39906"/>
                          <a:pt x="4299" y="39906"/>
                          <a:pt x="4299" y="39906"/>
                        </a:cubicBezTo>
                        <a:cubicBezTo>
                          <a:pt x="4299" y="41030"/>
                          <a:pt x="4299" y="41030"/>
                          <a:pt x="4299" y="41030"/>
                        </a:cubicBezTo>
                        <a:cubicBezTo>
                          <a:pt x="4299" y="41030"/>
                          <a:pt x="4299" y="41873"/>
                          <a:pt x="4690" y="41873"/>
                        </a:cubicBezTo>
                        <a:cubicBezTo>
                          <a:pt x="5081" y="41873"/>
                          <a:pt x="5276" y="42154"/>
                          <a:pt x="5276" y="42716"/>
                        </a:cubicBezTo>
                        <a:cubicBezTo>
                          <a:pt x="5276" y="43278"/>
                          <a:pt x="6254" y="43840"/>
                          <a:pt x="6254" y="43840"/>
                        </a:cubicBezTo>
                        <a:cubicBezTo>
                          <a:pt x="6254" y="43840"/>
                          <a:pt x="6254" y="44964"/>
                          <a:pt x="6449" y="45245"/>
                        </a:cubicBezTo>
                        <a:cubicBezTo>
                          <a:pt x="6840" y="45526"/>
                          <a:pt x="7231" y="45807"/>
                          <a:pt x="7817" y="45807"/>
                        </a:cubicBezTo>
                        <a:cubicBezTo>
                          <a:pt x="8403" y="46088"/>
                          <a:pt x="8208" y="47213"/>
                          <a:pt x="8599" y="47494"/>
                        </a:cubicBezTo>
                        <a:cubicBezTo>
                          <a:pt x="8990" y="47775"/>
                          <a:pt x="9381" y="48337"/>
                          <a:pt x="8990" y="48337"/>
                        </a:cubicBezTo>
                        <a:cubicBezTo>
                          <a:pt x="8794" y="48618"/>
                          <a:pt x="8208" y="48618"/>
                          <a:pt x="8208" y="48618"/>
                        </a:cubicBezTo>
                        <a:cubicBezTo>
                          <a:pt x="8208" y="48618"/>
                          <a:pt x="8013" y="48899"/>
                          <a:pt x="8013" y="49461"/>
                        </a:cubicBezTo>
                        <a:cubicBezTo>
                          <a:pt x="8208" y="49742"/>
                          <a:pt x="8208" y="49742"/>
                          <a:pt x="8208" y="49742"/>
                        </a:cubicBezTo>
                        <a:cubicBezTo>
                          <a:pt x="8990" y="51147"/>
                          <a:pt x="8990" y="51147"/>
                          <a:pt x="8990" y="51147"/>
                        </a:cubicBezTo>
                        <a:cubicBezTo>
                          <a:pt x="8990" y="52833"/>
                          <a:pt x="8990" y="52833"/>
                          <a:pt x="8990" y="52833"/>
                        </a:cubicBezTo>
                        <a:cubicBezTo>
                          <a:pt x="8990" y="52833"/>
                          <a:pt x="8990" y="53395"/>
                          <a:pt x="8990" y="53957"/>
                        </a:cubicBezTo>
                        <a:cubicBezTo>
                          <a:pt x="8990" y="54238"/>
                          <a:pt x="8794" y="54800"/>
                          <a:pt x="8403" y="54800"/>
                        </a:cubicBezTo>
                        <a:cubicBezTo>
                          <a:pt x="8403" y="54800"/>
                          <a:pt x="8403" y="54800"/>
                          <a:pt x="8403" y="54800"/>
                        </a:cubicBezTo>
                        <a:cubicBezTo>
                          <a:pt x="8403" y="54800"/>
                          <a:pt x="8403" y="54800"/>
                          <a:pt x="8403" y="54800"/>
                        </a:cubicBezTo>
                        <a:cubicBezTo>
                          <a:pt x="8208" y="54800"/>
                          <a:pt x="8208" y="54800"/>
                          <a:pt x="8208" y="54800"/>
                        </a:cubicBezTo>
                        <a:cubicBezTo>
                          <a:pt x="8013" y="55081"/>
                          <a:pt x="8013" y="55644"/>
                          <a:pt x="7817" y="55644"/>
                        </a:cubicBezTo>
                        <a:cubicBezTo>
                          <a:pt x="7622" y="55925"/>
                          <a:pt x="7231" y="55081"/>
                          <a:pt x="7035" y="55925"/>
                        </a:cubicBezTo>
                        <a:cubicBezTo>
                          <a:pt x="6840" y="57049"/>
                          <a:pt x="6449" y="57892"/>
                          <a:pt x="6449" y="58173"/>
                        </a:cubicBezTo>
                        <a:cubicBezTo>
                          <a:pt x="6254" y="58454"/>
                          <a:pt x="5667" y="58735"/>
                          <a:pt x="5667" y="59297"/>
                        </a:cubicBezTo>
                        <a:cubicBezTo>
                          <a:pt x="5472" y="59859"/>
                          <a:pt x="5472" y="59297"/>
                          <a:pt x="5081" y="60702"/>
                        </a:cubicBezTo>
                        <a:cubicBezTo>
                          <a:pt x="4690" y="62107"/>
                          <a:pt x="4495" y="62669"/>
                          <a:pt x="4495" y="62669"/>
                        </a:cubicBezTo>
                        <a:cubicBezTo>
                          <a:pt x="2736" y="66042"/>
                          <a:pt x="2736" y="66042"/>
                          <a:pt x="2736" y="66042"/>
                        </a:cubicBezTo>
                        <a:cubicBezTo>
                          <a:pt x="2736" y="66042"/>
                          <a:pt x="1758" y="68290"/>
                          <a:pt x="1758" y="68571"/>
                        </a:cubicBezTo>
                        <a:cubicBezTo>
                          <a:pt x="1758" y="68852"/>
                          <a:pt x="1758" y="69976"/>
                          <a:pt x="1758" y="69976"/>
                        </a:cubicBezTo>
                        <a:cubicBezTo>
                          <a:pt x="2540" y="71100"/>
                          <a:pt x="2540" y="71100"/>
                          <a:pt x="2540" y="71100"/>
                        </a:cubicBezTo>
                        <a:cubicBezTo>
                          <a:pt x="2540" y="72224"/>
                          <a:pt x="2540" y="72224"/>
                          <a:pt x="2540" y="72224"/>
                        </a:cubicBezTo>
                        <a:cubicBezTo>
                          <a:pt x="2540" y="72224"/>
                          <a:pt x="2540" y="73067"/>
                          <a:pt x="2736" y="73348"/>
                        </a:cubicBezTo>
                        <a:cubicBezTo>
                          <a:pt x="2931" y="73348"/>
                          <a:pt x="2931" y="73348"/>
                          <a:pt x="2931" y="73348"/>
                        </a:cubicBezTo>
                        <a:cubicBezTo>
                          <a:pt x="2736" y="74192"/>
                          <a:pt x="2736" y="74192"/>
                          <a:pt x="2736" y="74192"/>
                        </a:cubicBezTo>
                        <a:cubicBezTo>
                          <a:pt x="2736" y="74192"/>
                          <a:pt x="2931" y="75035"/>
                          <a:pt x="3127" y="75035"/>
                        </a:cubicBezTo>
                        <a:cubicBezTo>
                          <a:pt x="3127" y="75035"/>
                          <a:pt x="3517" y="75316"/>
                          <a:pt x="3517" y="75316"/>
                        </a:cubicBezTo>
                        <a:cubicBezTo>
                          <a:pt x="3517" y="75316"/>
                          <a:pt x="3908" y="75878"/>
                          <a:pt x="3908" y="75878"/>
                        </a:cubicBezTo>
                        <a:cubicBezTo>
                          <a:pt x="4104" y="76159"/>
                          <a:pt x="3908" y="76721"/>
                          <a:pt x="3908" y="76721"/>
                        </a:cubicBezTo>
                        <a:cubicBezTo>
                          <a:pt x="3908" y="76721"/>
                          <a:pt x="3908" y="77002"/>
                          <a:pt x="3713" y="77002"/>
                        </a:cubicBezTo>
                        <a:cubicBezTo>
                          <a:pt x="3517" y="77002"/>
                          <a:pt x="3517" y="77002"/>
                          <a:pt x="3127" y="77002"/>
                        </a:cubicBezTo>
                        <a:cubicBezTo>
                          <a:pt x="3127" y="76721"/>
                          <a:pt x="3127" y="76721"/>
                          <a:pt x="2931" y="76721"/>
                        </a:cubicBezTo>
                        <a:cubicBezTo>
                          <a:pt x="2540" y="76721"/>
                          <a:pt x="2540" y="76721"/>
                          <a:pt x="2540" y="76721"/>
                        </a:cubicBezTo>
                        <a:cubicBezTo>
                          <a:pt x="2345" y="76721"/>
                          <a:pt x="2345" y="76721"/>
                          <a:pt x="2149" y="76721"/>
                        </a:cubicBezTo>
                        <a:cubicBezTo>
                          <a:pt x="1954" y="76721"/>
                          <a:pt x="1954" y="76721"/>
                          <a:pt x="1954" y="76721"/>
                        </a:cubicBezTo>
                        <a:cubicBezTo>
                          <a:pt x="1758" y="76721"/>
                          <a:pt x="1758" y="76721"/>
                          <a:pt x="1563" y="77002"/>
                        </a:cubicBezTo>
                        <a:cubicBezTo>
                          <a:pt x="1563" y="77283"/>
                          <a:pt x="1563" y="77283"/>
                          <a:pt x="1563" y="77283"/>
                        </a:cubicBezTo>
                        <a:cubicBezTo>
                          <a:pt x="1563" y="77283"/>
                          <a:pt x="1368" y="77564"/>
                          <a:pt x="1368" y="77845"/>
                        </a:cubicBezTo>
                        <a:cubicBezTo>
                          <a:pt x="1172" y="77845"/>
                          <a:pt x="1172" y="78407"/>
                          <a:pt x="1172" y="78407"/>
                        </a:cubicBezTo>
                        <a:cubicBezTo>
                          <a:pt x="1172" y="78407"/>
                          <a:pt x="1172" y="78688"/>
                          <a:pt x="1172" y="78688"/>
                        </a:cubicBezTo>
                        <a:cubicBezTo>
                          <a:pt x="1172" y="78688"/>
                          <a:pt x="1172" y="79250"/>
                          <a:pt x="1172" y="79250"/>
                        </a:cubicBezTo>
                        <a:cubicBezTo>
                          <a:pt x="977" y="79812"/>
                          <a:pt x="977" y="79812"/>
                          <a:pt x="977" y="79812"/>
                        </a:cubicBezTo>
                        <a:cubicBezTo>
                          <a:pt x="977" y="79812"/>
                          <a:pt x="781" y="80093"/>
                          <a:pt x="977" y="80374"/>
                        </a:cubicBezTo>
                        <a:cubicBezTo>
                          <a:pt x="977" y="80374"/>
                          <a:pt x="977" y="80655"/>
                          <a:pt x="977" y="80655"/>
                        </a:cubicBezTo>
                        <a:cubicBezTo>
                          <a:pt x="1172" y="80936"/>
                          <a:pt x="1172" y="80936"/>
                          <a:pt x="1172" y="80936"/>
                        </a:cubicBezTo>
                        <a:cubicBezTo>
                          <a:pt x="781" y="81498"/>
                          <a:pt x="781" y="81498"/>
                          <a:pt x="781" y="81498"/>
                        </a:cubicBezTo>
                        <a:cubicBezTo>
                          <a:pt x="781" y="82060"/>
                          <a:pt x="781" y="82060"/>
                          <a:pt x="781" y="82060"/>
                        </a:cubicBezTo>
                        <a:cubicBezTo>
                          <a:pt x="781" y="82060"/>
                          <a:pt x="977" y="82341"/>
                          <a:pt x="781" y="82622"/>
                        </a:cubicBezTo>
                        <a:cubicBezTo>
                          <a:pt x="781" y="82622"/>
                          <a:pt x="586" y="82903"/>
                          <a:pt x="586" y="82903"/>
                        </a:cubicBezTo>
                        <a:cubicBezTo>
                          <a:pt x="586" y="82903"/>
                          <a:pt x="195" y="83466"/>
                          <a:pt x="195" y="83466"/>
                        </a:cubicBezTo>
                        <a:cubicBezTo>
                          <a:pt x="195" y="83466"/>
                          <a:pt x="195" y="83747"/>
                          <a:pt x="195" y="83747"/>
                        </a:cubicBezTo>
                        <a:cubicBezTo>
                          <a:pt x="195" y="83747"/>
                          <a:pt x="0" y="84309"/>
                          <a:pt x="0" y="84309"/>
                        </a:cubicBezTo>
                        <a:cubicBezTo>
                          <a:pt x="0" y="84309"/>
                          <a:pt x="0" y="85152"/>
                          <a:pt x="0" y="85152"/>
                        </a:cubicBezTo>
                        <a:cubicBezTo>
                          <a:pt x="0" y="85152"/>
                          <a:pt x="195" y="85433"/>
                          <a:pt x="195" y="85433"/>
                        </a:cubicBezTo>
                        <a:cubicBezTo>
                          <a:pt x="195" y="85433"/>
                          <a:pt x="195" y="85714"/>
                          <a:pt x="195" y="85995"/>
                        </a:cubicBezTo>
                        <a:cubicBezTo>
                          <a:pt x="0" y="85995"/>
                          <a:pt x="195" y="86276"/>
                          <a:pt x="195" y="86557"/>
                        </a:cubicBezTo>
                        <a:cubicBezTo>
                          <a:pt x="195" y="86557"/>
                          <a:pt x="195" y="86838"/>
                          <a:pt x="195" y="86838"/>
                        </a:cubicBezTo>
                        <a:cubicBezTo>
                          <a:pt x="0" y="87400"/>
                          <a:pt x="0" y="87400"/>
                          <a:pt x="0" y="87400"/>
                        </a:cubicBezTo>
                        <a:cubicBezTo>
                          <a:pt x="0" y="87400"/>
                          <a:pt x="0" y="87400"/>
                          <a:pt x="0" y="87400"/>
                        </a:cubicBezTo>
                        <a:cubicBezTo>
                          <a:pt x="0" y="87681"/>
                          <a:pt x="0" y="87681"/>
                          <a:pt x="0" y="87681"/>
                        </a:cubicBezTo>
                        <a:cubicBezTo>
                          <a:pt x="0" y="88243"/>
                          <a:pt x="0" y="88243"/>
                          <a:pt x="0" y="88243"/>
                        </a:cubicBezTo>
                        <a:cubicBezTo>
                          <a:pt x="390" y="88243"/>
                          <a:pt x="390" y="88243"/>
                          <a:pt x="390" y="88243"/>
                        </a:cubicBezTo>
                        <a:cubicBezTo>
                          <a:pt x="586" y="87962"/>
                          <a:pt x="586" y="87962"/>
                          <a:pt x="586" y="87962"/>
                        </a:cubicBezTo>
                        <a:cubicBezTo>
                          <a:pt x="1563" y="87400"/>
                          <a:pt x="1563" y="87400"/>
                          <a:pt x="1563" y="87400"/>
                        </a:cubicBezTo>
                        <a:cubicBezTo>
                          <a:pt x="2149" y="88243"/>
                          <a:pt x="2149" y="88243"/>
                          <a:pt x="2149" y="88243"/>
                        </a:cubicBezTo>
                        <a:cubicBezTo>
                          <a:pt x="2736" y="89086"/>
                          <a:pt x="2736" y="89086"/>
                          <a:pt x="2736" y="89086"/>
                        </a:cubicBezTo>
                        <a:cubicBezTo>
                          <a:pt x="3713" y="89086"/>
                          <a:pt x="3713" y="89086"/>
                          <a:pt x="3713" y="89086"/>
                        </a:cubicBezTo>
                        <a:cubicBezTo>
                          <a:pt x="4299" y="90210"/>
                          <a:pt x="4299" y="90210"/>
                          <a:pt x="4299" y="90210"/>
                        </a:cubicBezTo>
                        <a:cubicBezTo>
                          <a:pt x="4885" y="91053"/>
                          <a:pt x="4885" y="91053"/>
                          <a:pt x="4885" y="91053"/>
                        </a:cubicBezTo>
                        <a:cubicBezTo>
                          <a:pt x="5863" y="90772"/>
                          <a:pt x="5863" y="90772"/>
                          <a:pt x="5863" y="90772"/>
                        </a:cubicBezTo>
                        <a:cubicBezTo>
                          <a:pt x="6840" y="91615"/>
                          <a:pt x="6840" y="91615"/>
                          <a:pt x="6840" y="91615"/>
                        </a:cubicBezTo>
                        <a:cubicBezTo>
                          <a:pt x="6644" y="92459"/>
                          <a:pt x="6644" y="92459"/>
                          <a:pt x="6644" y="92459"/>
                        </a:cubicBezTo>
                        <a:cubicBezTo>
                          <a:pt x="6644" y="92459"/>
                          <a:pt x="7426" y="91053"/>
                          <a:pt x="7622" y="90772"/>
                        </a:cubicBezTo>
                        <a:cubicBezTo>
                          <a:pt x="7817" y="90491"/>
                          <a:pt x="8599" y="90210"/>
                          <a:pt x="8599" y="90210"/>
                        </a:cubicBezTo>
                        <a:cubicBezTo>
                          <a:pt x="8599" y="90210"/>
                          <a:pt x="8990" y="90772"/>
                          <a:pt x="9381" y="91053"/>
                        </a:cubicBezTo>
                        <a:cubicBezTo>
                          <a:pt x="9967" y="91053"/>
                          <a:pt x="9967" y="91053"/>
                          <a:pt x="9967" y="91053"/>
                        </a:cubicBezTo>
                        <a:cubicBezTo>
                          <a:pt x="10358" y="91053"/>
                          <a:pt x="11921" y="90772"/>
                          <a:pt x="11921" y="90772"/>
                        </a:cubicBezTo>
                        <a:cubicBezTo>
                          <a:pt x="14071" y="91053"/>
                          <a:pt x="14071" y="91053"/>
                          <a:pt x="14071" y="91053"/>
                        </a:cubicBezTo>
                        <a:cubicBezTo>
                          <a:pt x="15244" y="90210"/>
                          <a:pt x="15244" y="90210"/>
                          <a:pt x="15244" y="90210"/>
                        </a:cubicBezTo>
                        <a:cubicBezTo>
                          <a:pt x="17589" y="90491"/>
                          <a:pt x="17589" y="90491"/>
                          <a:pt x="17589" y="90491"/>
                        </a:cubicBezTo>
                        <a:cubicBezTo>
                          <a:pt x="17980" y="90210"/>
                          <a:pt x="17980" y="90210"/>
                          <a:pt x="17980" y="90210"/>
                        </a:cubicBezTo>
                        <a:cubicBezTo>
                          <a:pt x="18175" y="90491"/>
                          <a:pt x="18175" y="90491"/>
                          <a:pt x="18175" y="90491"/>
                        </a:cubicBezTo>
                        <a:cubicBezTo>
                          <a:pt x="18957" y="90210"/>
                          <a:pt x="18957" y="90210"/>
                          <a:pt x="18957" y="90210"/>
                        </a:cubicBezTo>
                        <a:cubicBezTo>
                          <a:pt x="19739" y="91334"/>
                          <a:pt x="19739" y="91334"/>
                          <a:pt x="19739" y="91334"/>
                        </a:cubicBezTo>
                        <a:cubicBezTo>
                          <a:pt x="21302" y="91053"/>
                          <a:pt x="21302" y="91053"/>
                          <a:pt x="21302" y="91053"/>
                        </a:cubicBezTo>
                        <a:cubicBezTo>
                          <a:pt x="22280" y="89086"/>
                          <a:pt x="22280" y="89086"/>
                          <a:pt x="22280" y="89086"/>
                        </a:cubicBezTo>
                        <a:cubicBezTo>
                          <a:pt x="22280" y="89086"/>
                          <a:pt x="22866" y="88243"/>
                          <a:pt x="23648" y="87962"/>
                        </a:cubicBezTo>
                        <a:cubicBezTo>
                          <a:pt x="24429" y="87962"/>
                          <a:pt x="25798" y="87119"/>
                          <a:pt x="25798" y="87119"/>
                        </a:cubicBezTo>
                        <a:lnTo>
                          <a:pt x="27557" y="85714"/>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4" name="Shape 2050"/>
                  <p:cNvSpPr/>
                  <p:nvPr/>
                </p:nvSpPr>
                <p:spPr>
                  <a:xfrm>
                    <a:off x="5078737" y="538527"/>
                    <a:ext cx="643166" cy="1694015"/>
                  </a:xfrm>
                  <a:custGeom>
                    <a:avLst/>
                    <a:gdLst/>
                    <a:ahLst/>
                    <a:cxnLst/>
                    <a:rect l="0" t="0" r="0" b="0"/>
                    <a:pathLst>
                      <a:path w="120000" h="120000" extrusionOk="0">
                        <a:moveTo>
                          <a:pt x="108510" y="13785"/>
                        </a:moveTo>
                        <a:cubicBezTo>
                          <a:pt x="108510" y="13629"/>
                          <a:pt x="108510" y="13629"/>
                          <a:pt x="108510" y="13629"/>
                        </a:cubicBezTo>
                        <a:cubicBezTo>
                          <a:pt x="108510" y="13629"/>
                          <a:pt x="107659" y="13002"/>
                          <a:pt x="108085" y="12689"/>
                        </a:cubicBezTo>
                        <a:cubicBezTo>
                          <a:pt x="108085" y="12689"/>
                          <a:pt x="108085" y="12689"/>
                          <a:pt x="108085" y="12532"/>
                        </a:cubicBezTo>
                        <a:cubicBezTo>
                          <a:pt x="108085" y="12375"/>
                          <a:pt x="108085" y="12375"/>
                          <a:pt x="108085" y="12375"/>
                        </a:cubicBezTo>
                        <a:cubicBezTo>
                          <a:pt x="106382" y="12532"/>
                          <a:pt x="106382" y="12532"/>
                          <a:pt x="106382" y="12532"/>
                        </a:cubicBezTo>
                        <a:cubicBezTo>
                          <a:pt x="105106" y="11906"/>
                          <a:pt x="105106" y="11906"/>
                          <a:pt x="105106" y="11906"/>
                        </a:cubicBezTo>
                        <a:cubicBezTo>
                          <a:pt x="105531" y="11122"/>
                          <a:pt x="105531" y="11122"/>
                          <a:pt x="105531" y="11122"/>
                        </a:cubicBezTo>
                        <a:cubicBezTo>
                          <a:pt x="104680" y="9242"/>
                          <a:pt x="104680" y="9242"/>
                          <a:pt x="104680" y="9242"/>
                        </a:cubicBezTo>
                        <a:cubicBezTo>
                          <a:pt x="105531" y="8302"/>
                          <a:pt x="105531" y="8302"/>
                          <a:pt x="105531" y="8302"/>
                        </a:cubicBezTo>
                        <a:cubicBezTo>
                          <a:pt x="102978" y="7832"/>
                          <a:pt x="102978" y="7832"/>
                          <a:pt x="102978" y="7832"/>
                        </a:cubicBezTo>
                        <a:cubicBezTo>
                          <a:pt x="101276" y="6892"/>
                          <a:pt x="101276" y="6892"/>
                          <a:pt x="101276" y="6892"/>
                        </a:cubicBezTo>
                        <a:cubicBezTo>
                          <a:pt x="101276" y="6892"/>
                          <a:pt x="100851" y="7206"/>
                          <a:pt x="100425" y="7049"/>
                        </a:cubicBezTo>
                        <a:cubicBezTo>
                          <a:pt x="100000" y="6892"/>
                          <a:pt x="97872" y="5639"/>
                          <a:pt x="97872" y="5639"/>
                        </a:cubicBezTo>
                        <a:cubicBezTo>
                          <a:pt x="94042" y="5169"/>
                          <a:pt x="94042" y="5169"/>
                          <a:pt x="94042" y="5169"/>
                        </a:cubicBezTo>
                        <a:cubicBezTo>
                          <a:pt x="92340" y="4856"/>
                          <a:pt x="92340" y="4856"/>
                          <a:pt x="92340" y="4856"/>
                        </a:cubicBezTo>
                        <a:cubicBezTo>
                          <a:pt x="90212" y="4699"/>
                          <a:pt x="90212" y="4699"/>
                          <a:pt x="90212" y="4699"/>
                        </a:cubicBezTo>
                        <a:cubicBezTo>
                          <a:pt x="90212" y="4699"/>
                          <a:pt x="89787" y="5013"/>
                          <a:pt x="89361" y="4699"/>
                        </a:cubicBezTo>
                        <a:cubicBezTo>
                          <a:pt x="88936" y="4386"/>
                          <a:pt x="88085" y="4073"/>
                          <a:pt x="88085" y="4073"/>
                        </a:cubicBezTo>
                        <a:cubicBezTo>
                          <a:pt x="86382" y="4229"/>
                          <a:pt x="86382" y="4229"/>
                          <a:pt x="86382" y="4229"/>
                        </a:cubicBezTo>
                        <a:cubicBezTo>
                          <a:pt x="85106" y="3603"/>
                          <a:pt x="85106" y="3603"/>
                          <a:pt x="85106" y="3603"/>
                        </a:cubicBezTo>
                        <a:cubicBezTo>
                          <a:pt x="85106" y="3603"/>
                          <a:pt x="84680" y="3603"/>
                          <a:pt x="84255" y="3603"/>
                        </a:cubicBezTo>
                        <a:cubicBezTo>
                          <a:pt x="83829" y="3446"/>
                          <a:pt x="82978" y="3289"/>
                          <a:pt x="82978" y="3289"/>
                        </a:cubicBezTo>
                        <a:cubicBezTo>
                          <a:pt x="81702" y="2506"/>
                          <a:pt x="81702" y="2506"/>
                          <a:pt x="81702" y="2506"/>
                        </a:cubicBezTo>
                        <a:cubicBezTo>
                          <a:pt x="80000" y="2193"/>
                          <a:pt x="80000" y="2193"/>
                          <a:pt x="80000" y="2193"/>
                        </a:cubicBezTo>
                        <a:cubicBezTo>
                          <a:pt x="77872" y="1879"/>
                          <a:pt x="77872" y="1879"/>
                          <a:pt x="77872" y="1879"/>
                        </a:cubicBezTo>
                        <a:cubicBezTo>
                          <a:pt x="77872" y="1253"/>
                          <a:pt x="77872" y="1253"/>
                          <a:pt x="77872" y="1253"/>
                        </a:cubicBezTo>
                        <a:cubicBezTo>
                          <a:pt x="74893" y="626"/>
                          <a:pt x="74893" y="626"/>
                          <a:pt x="74893" y="626"/>
                        </a:cubicBezTo>
                        <a:cubicBezTo>
                          <a:pt x="74893" y="626"/>
                          <a:pt x="74468" y="313"/>
                          <a:pt x="74893" y="313"/>
                        </a:cubicBezTo>
                        <a:cubicBezTo>
                          <a:pt x="75319" y="156"/>
                          <a:pt x="76595" y="156"/>
                          <a:pt x="77446" y="156"/>
                        </a:cubicBezTo>
                        <a:cubicBezTo>
                          <a:pt x="75319" y="0"/>
                          <a:pt x="75319" y="0"/>
                          <a:pt x="75319" y="0"/>
                        </a:cubicBezTo>
                        <a:cubicBezTo>
                          <a:pt x="72765" y="783"/>
                          <a:pt x="72765" y="783"/>
                          <a:pt x="72765" y="783"/>
                        </a:cubicBezTo>
                        <a:cubicBezTo>
                          <a:pt x="71489" y="783"/>
                          <a:pt x="71489" y="783"/>
                          <a:pt x="71489" y="783"/>
                        </a:cubicBezTo>
                        <a:cubicBezTo>
                          <a:pt x="71489" y="783"/>
                          <a:pt x="70638" y="939"/>
                          <a:pt x="70638" y="1096"/>
                        </a:cubicBezTo>
                        <a:cubicBezTo>
                          <a:pt x="71063" y="1253"/>
                          <a:pt x="71914" y="2663"/>
                          <a:pt x="72340" y="2976"/>
                        </a:cubicBezTo>
                        <a:cubicBezTo>
                          <a:pt x="72765" y="3133"/>
                          <a:pt x="72765" y="4229"/>
                          <a:pt x="71063" y="5013"/>
                        </a:cubicBezTo>
                        <a:cubicBezTo>
                          <a:pt x="72765" y="5639"/>
                          <a:pt x="72765" y="5639"/>
                          <a:pt x="72765" y="5639"/>
                        </a:cubicBezTo>
                        <a:cubicBezTo>
                          <a:pt x="71063" y="6422"/>
                          <a:pt x="71063" y="6422"/>
                          <a:pt x="71063" y="6422"/>
                        </a:cubicBezTo>
                        <a:cubicBezTo>
                          <a:pt x="68510" y="6579"/>
                          <a:pt x="68510" y="6579"/>
                          <a:pt x="68510" y="6579"/>
                        </a:cubicBezTo>
                        <a:cubicBezTo>
                          <a:pt x="68510" y="6579"/>
                          <a:pt x="65957" y="6422"/>
                          <a:pt x="65531" y="6266"/>
                        </a:cubicBezTo>
                        <a:cubicBezTo>
                          <a:pt x="65106" y="6109"/>
                          <a:pt x="62978" y="5796"/>
                          <a:pt x="62553" y="5796"/>
                        </a:cubicBezTo>
                        <a:cubicBezTo>
                          <a:pt x="61702" y="5953"/>
                          <a:pt x="55744" y="5796"/>
                          <a:pt x="55744" y="5796"/>
                        </a:cubicBezTo>
                        <a:cubicBezTo>
                          <a:pt x="54468" y="6422"/>
                          <a:pt x="54893" y="9712"/>
                          <a:pt x="55319" y="10182"/>
                        </a:cubicBezTo>
                        <a:cubicBezTo>
                          <a:pt x="54468" y="10809"/>
                          <a:pt x="54468" y="10809"/>
                          <a:pt x="54468" y="10809"/>
                        </a:cubicBezTo>
                        <a:cubicBezTo>
                          <a:pt x="52340" y="10809"/>
                          <a:pt x="52340" y="10809"/>
                          <a:pt x="52340" y="10809"/>
                        </a:cubicBezTo>
                        <a:cubicBezTo>
                          <a:pt x="48085" y="10026"/>
                          <a:pt x="48085" y="10026"/>
                          <a:pt x="48085" y="10026"/>
                        </a:cubicBezTo>
                        <a:cubicBezTo>
                          <a:pt x="46382" y="11279"/>
                          <a:pt x="46382" y="11279"/>
                          <a:pt x="46382" y="11279"/>
                        </a:cubicBezTo>
                        <a:cubicBezTo>
                          <a:pt x="46382" y="11279"/>
                          <a:pt x="44680" y="11906"/>
                          <a:pt x="44680" y="12219"/>
                        </a:cubicBezTo>
                        <a:cubicBezTo>
                          <a:pt x="44680" y="12375"/>
                          <a:pt x="43829" y="13002"/>
                          <a:pt x="43829" y="13002"/>
                        </a:cubicBezTo>
                        <a:cubicBezTo>
                          <a:pt x="43829" y="13159"/>
                          <a:pt x="43829" y="14255"/>
                          <a:pt x="43829" y="14255"/>
                        </a:cubicBezTo>
                        <a:cubicBezTo>
                          <a:pt x="42978" y="14882"/>
                          <a:pt x="42978" y="14882"/>
                          <a:pt x="42978" y="14882"/>
                        </a:cubicBezTo>
                        <a:cubicBezTo>
                          <a:pt x="40425" y="15509"/>
                          <a:pt x="40425" y="15509"/>
                          <a:pt x="40425" y="15509"/>
                        </a:cubicBezTo>
                        <a:cubicBezTo>
                          <a:pt x="40425" y="16292"/>
                          <a:pt x="40425" y="16292"/>
                          <a:pt x="40425" y="16292"/>
                        </a:cubicBezTo>
                        <a:cubicBezTo>
                          <a:pt x="40425" y="16292"/>
                          <a:pt x="41702" y="17232"/>
                          <a:pt x="42553" y="17389"/>
                        </a:cubicBezTo>
                        <a:cubicBezTo>
                          <a:pt x="42978" y="17702"/>
                          <a:pt x="43829" y="18955"/>
                          <a:pt x="43829" y="18955"/>
                        </a:cubicBezTo>
                        <a:cubicBezTo>
                          <a:pt x="43829" y="18955"/>
                          <a:pt x="42553" y="20052"/>
                          <a:pt x="42127" y="20365"/>
                        </a:cubicBezTo>
                        <a:cubicBezTo>
                          <a:pt x="41702" y="20678"/>
                          <a:pt x="38297" y="22245"/>
                          <a:pt x="38297" y="22245"/>
                        </a:cubicBezTo>
                        <a:cubicBezTo>
                          <a:pt x="36170" y="24281"/>
                          <a:pt x="36170" y="24281"/>
                          <a:pt x="36170" y="24281"/>
                        </a:cubicBezTo>
                        <a:cubicBezTo>
                          <a:pt x="36170" y="25691"/>
                          <a:pt x="36170" y="25691"/>
                          <a:pt x="36170" y="25691"/>
                        </a:cubicBezTo>
                        <a:cubicBezTo>
                          <a:pt x="35744" y="26475"/>
                          <a:pt x="35744" y="26475"/>
                          <a:pt x="35744" y="26475"/>
                        </a:cubicBezTo>
                        <a:cubicBezTo>
                          <a:pt x="32765" y="27571"/>
                          <a:pt x="32765" y="27571"/>
                          <a:pt x="32765" y="27571"/>
                        </a:cubicBezTo>
                        <a:cubicBezTo>
                          <a:pt x="28936" y="27728"/>
                          <a:pt x="28936" y="27728"/>
                          <a:pt x="28936" y="27728"/>
                        </a:cubicBezTo>
                        <a:cubicBezTo>
                          <a:pt x="27659" y="28198"/>
                          <a:pt x="27659" y="28198"/>
                          <a:pt x="27659" y="28198"/>
                        </a:cubicBezTo>
                        <a:cubicBezTo>
                          <a:pt x="29787" y="30861"/>
                          <a:pt x="29787" y="30861"/>
                          <a:pt x="29787" y="30861"/>
                        </a:cubicBezTo>
                        <a:cubicBezTo>
                          <a:pt x="28936" y="32114"/>
                          <a:pt x="28936" y="32114"/>
                          <a:pt x="28936" y="32114"/>
                        </a:cubicBezTo>
                        <a:cubicBezTo>
                          <a:pt x="28510" y="33211"/>
                          <a:pt x="28510" y="33211"/>
                          <a:pt x="28510" y="33211"/>
                        </a:cubicBezTo>
                        <a:cubicBezTo>
                          <a:pt x="28510" y="33211"/>
                          <a:pt x="27659" y="34151"/>
                          <a:pt x="28085" y="34308"/>
                        </a:cubicBezTo>
                        <a:cubicBezTo>
                          <a:pt x="28510" y="34621"/>
                          <a:pt x="28936" y="35248"/>
                          <a:pt x="28936" y="35248"/>
                        </a:cubicBezTo>
                        <a:cubicBezTo>
                          <a:pt x="27234" y="35718"/>
                          <a:pt x="27234" y="35718"/>
                          <a:pt x="27234" y="35718"/>
                        </a:cubicBezTo>
                        <a:cubicBezTo>
                          <a:pt x="27659" y="36657"/>
                          <a:pt x="27659" y="36657"/>
                          <a:pt x="27659" y="36657"/>
                        </a:cubicBezTo>
                        <a:cubicBezTo>
                          <a:pt x="21276" y="40731"/>
                          <a:pt x="21276" y="40731"/>
                          <a:pt x="21276" y="40731"/>
                        </a:cubicBezTo>
                        <a:cubicBezTo>
                          <a:pt x="22127" y="41514"/>
                          <a:pt x="22127" y="41514"/>
                          <a:pt x="22127" y="41514"/>
                        </a:cubicBezTo>
                        <a:cubicBezTo>
                          <a:pt x="25957" y="41827"/>
                          <a:pt x="25957" y="41827"/>
                          <a:pt x="25957" y="41827"/>
                        </a:cubicBezTo>
                        <a:cubicBezTo>
                          <a:pt x="26382" y="44334"/>
                          <a:pt x="26382" y="44334"/>
                          <a:pt x="26382" y="44334"/>
                        </a:cubicBezTo>
                        <a:cubicBezTo>
                          <a:pt x="25106" y="45430"/>
                          <a:pt x="25106" y="45430"/>
                          <a:pt x="25106" y="45430"/>
                        </a:cubicBezTo>
                        <a:cubicBezTo>
                          <a:pt x="24680" y="45744"/>
                          <a:pt x="24680" y="45744"/>
                          <a:pt x="24680" y="45744"/>
                        </a:cubicBezTo>
                        <a:cubicBezTo>
                          <a:pt x="14468" y="45900"/>
                          <a:pt x="14468" y="45900"/>
                          <a:pt x="14468" y="45900"/>
                        </a:cubicBezTo>
                        <a:cubicBezTo>
                          <a:pt x="8936" y="48563"/>
                          <a:pt x="8936" y="48563"/>
                          <a:pt x="8936" y="48563"/>
                        </a:cubicBezTo>
                        <a:cubicBezTo>
                          <a:pt x="8085" y="50130"/>
                          <a:pt x="8085" y="50130"/>
                          <a:pt x="8085" y="50130"/>
                        </a:cubicBezTo>
                        <a:cubicBezTo>
                          <a:pt x="7659" y="51227"/>
                          <a:pt x="7659" y="51227"/>
                          <a:pt x="7659" y="51227"/>
                        </a:cubicBezTo>
                        <a:cubicBezTo>
                          <a:pt x="7659" y="51227"/>
                          <a:pt x="6382" y="51853"/>
                          <a:pt x="6382" y="52167"/>
                        </a:cubicBezTo>
                        <a:cubicBezTo>
                          <a:pt x="6382" y="52323"/>
                          <a:pt x="6382" y="53263"/>
                          <a:pt x="6382" y="53263"/>
                        </a:cubicBezTo>
                        <a:cubicBezTo>
                          <a:pt x="8085" y="54516"/>
                          <a:pt x="8085" y="54516"/>
                          <a:pt x="8085" y="54516"/>
                        </a:cubicBezTo>
                        <a:cubicBezTo>
                          <a:pt x="8085" y="55456"/>
                          <a:pt x="8085" y="55456"/>
                          <a:pt x="8085" y="55456"/>
                        </a:cubicBezTo>
                        <a:cubicBezTo>
                          <a:pt x="7234" y="55926"/>
                          <a:pt x="7234" y="55926"/>
                          <a:pt x="7234" y="55926"/>
                        </a:cubicBezTo>
                        <a:cubicBezTo>
                          <a:pt x="7659" y="57023"/>
                          <a:pt x="7659" y="57023"/>
                          <a:pt x="7659" y="57023"/>
                        </a:cubicBezTo>
                        <a:cubicBezTo>
                          <a:pt x="7659" y="57023"/>
                          <a:pt x="8085" y="57336"/>
                          <a:pt x="7659" y="57493"/>
                        </a:cubicBezTo>
                        <a:cubicBezTo>
                          <a:pt x="6808" y="57806"/>
                          <a:pt x="6808" y="58120"/>
                          <a:pt x="7234" y="58433"/>
                        </a:cubicBezTo>
                        <a:cubicBezTo>
                          <a:pt x="7234" y="58590"/>
                          <a:pt x="10212" y="60626"/>
                          <a:pt x="10212" y="60626"/>
                        </a:cubicBezTo>
                        <a:cubicBezTo>
                          <a:pt x="10638" y="65483"/>
                          <a:pt x="10638" y="65483"/>
                          <a:pt x="10638" y="65483"/>
                        </a:cubicBezTo>
                        <a:cubicBezTo>
                          <a:pt x="11914" y="66736"/>
                          <a:pt x="11914" y="66736"/>
                          <a:pt x="11914" y="66736"/>
                        </a:cubicBezTo>
                        <a:cubicBezTo>
                          <a:pt x="14893" y="67519"/>
                          <a:pt x="14893" y="67519"/>
                          <a:pt x="14893" y="67519"/>
                        </a:cubicBezTo>
                        <a:cubicBezTo>
                          <a:pt x="17446" y="68302"/>
                          <a:pt x="17446" y="68302"/>
                          <a:pt x="17446" y="68302"/>
                        </a:cubicBezTo>
                        <a:cubicBezTo>
                          <a:pt x="17872" y="69712"/>
                          <a:pt x="17872" y="69712"/>
                          <a:pt x="17872" y="69712"/>
                        </a:cubicBezTo>
                        <a:cubicBezTo>
                          <a:pt x="17872" y="69712"/>
                          <a:pt x="17021" y="70809"/>
                          <a:pt x="17021" y="70966"/>
                        </a:cubicBezTo>
                        <a:cubicBezTo>
                          <a:pt x="17446" y="71122"/>
                          <a:pt x="14893" y="71122"/>
                          <a:pt x="14893" y="71122"/>
                        </a:cubicBezTo>
                        <a:cubicBezTo>
                          <a:pt x="12765" y="71279"/>
                          <a:pt x="12765" y="71279"/>
                          <a:pt x="12765" y="71279"/>
                        </a:cubicBezTo>
                        <a:cubicBezTo>
                          <a:pt x="10638" y="72062"/>
                          <a:pt x="10638" y="72062"/>
                          <a:pt x="10638" y="72062"/>
                        </a:cubicBezTo>
                        <a:cubicBezTo>
                          <a:pt x="11489" y="73002"/>
                          <a:pt x="11489" y="73002"/>
                          <a:pt x="11489" y="73002"/>
                        </a:cubicBezTo>
                        <a:cubicBezTo>
                          <a:pt x="12765" y="74412"/>
                          <a:pt x="12765" y="74412"/>
                          <a:pt x="12765" y="74412"/>
                        </a:cubicBezTo>
                        <a:cubicBezTo>
                          <a:pt x="15319" y="75509"/>
                          <a:pt x="15319" y="75509"/>
                          <a:pt x="15319" y="75509"/>
                        </a:cubicBezTo>
                        <a:cubicBezTo>
                          <a:pt x="16170" y="76449"/>
                          <a:pt x="16170" y="76449"/>
                          <a:pt x="16170" y="76449"/>
                        </a:cubicBezTo>
                        <a:cubicBezTo>
                          <a:pt x="14893" y="77389"/>
                          <a:pt x="14893" y="77389"/>
                          <a:pt x="14893" y="77389"/>
                        </a:cubicBezTo>
                        <a:cubicBezTo>
                          <a:pt x="14042" y="77859"/>
                          <a:pt x="14042" y="77859"/>
                          <a:pt x="14042" y="77859"/>
                        </a:cubicBezTo>
                        <a:cubicBezTo>
                          <a:pt x="14893" y="78642"/>
                          <a:pt x="14893" y="78642"/>
                          <a:pt x="14893" y="78642"/>
                        </a:cubicBezTo>
                        <a:cubicBezTo>
                          <a:pt x="14893" y="79425"/>
                          <a:pt x="14893" y="79425"/>
                          <a:pt x="14893" y="79425"/>
                        </a:cubicBezTo>
                        <a:cubicBezTo>
                          <a:pt x="14893" y="79425"/>
                          <a:pt x="14042" y="79895"/>
                          <a:pt x="14042" y="80052"/>
                        </a:cubicBezTo>
                        <a:cubicBezTo>
                          <a:pt x="14042" y="80208"/>
                          <a:pt x="12340" y="80678"/>
                          <a:pt x="12340" y="80678"/>
                        </a:cubicBezTo>
                        <a:cubicBezTo>
                          <a:pt x="11063" y="81148"/>
                          <a:pt x="11063" y="81148"/>
                          <a:pt x="11063" y="81148"/>
                        </a:cubicBezTo>
                        <a:cubicBezTo>
                          <a:pt x="9787" y="81305"/>
                          <a:pt x="9787" y="81305"/>
                          <a:pt x="9787" y="81305"/>
                        </a:cubicBezTo>
                        <a:cubicBezTo>
                          <a:pt x="9787" y="81305"/>
                          <a:pt x="8936" y="81148"/>
                          <a:pt x="8510" y="81305"/>
                        </a:cubicBezTo>
                        <a:cubicBezTo>
                          <a:pt x="8510" y="81305"/>
                          <a:pt x="7659" y="81618"/>
                          <a:pt x="7659" y="81618"/>
                        </a:cubicBezTo>
                        <a:cubicBezTo>
                          <a:pt x="7659" y="82088"/>
                          <a:pt x="7659" y="82088"/>
                          <a:pt x="7659" y="82088"/>
                        </a:cubicBezTo>
                        <a:cubicBezTo>
                          <a:pt x="8510" y="82402"/>
                          <a:pt x="8510" y="82402"/>
                          <a:pt x="8510" y="82402"/>
                        </a:cubicBezTo>
                        <a:cubicBezTo>
                          <a:pt x="8085" y="83185"/>
                          <a:pt x="8085" y="83185"/>
                          <a:pt x="8085" y="83185"/>
                        </a:cubicBezTo>
                        <a:cubicBezTo>
                          <a:pt x="6808" y="83655"/>
                          <a:pt x="6808" y="83655"/>
                          <a:pt x="6808" y="83655"/>
                        </a:cubicBezTo>
                        <a:cubicBezTo>
                          <a:pt x="5531" y="83812"/>
                          <a:pt x="5531" y="83812"/>
                          <a:pt x="5531" y="83812"/>
                        </a:cubicBezTo>
                        <a:cubicBezTo>
                          <a:pt x="6382" y="84751"/>
                          <a:pt x="6382" y="84751"/>
                          <a:pt x="6382" y="84751"/>
                        </a:cubicBezTo>
                        <a:cubicBezTo>
                          <a:pt x="8085" y="85848"/>
                          <a:pt x="8085" y="85848"/>
                          <a:pt x="8085" y="85848"/>
                        </a:cubicBezTo>
                        <a:cubicBezTo>
                          <a:pt x="8085" y="86788"/>
                          <a:pt x="8085" y="86788"/>
                          <a:pt x="8085" y="86788"/>
                        </a:cubicBezTo>
                        <a:cubicBezTo>
                          <a:pt x="6808" y="87728"/>
                          <a:pt x="6808" y="87728"/>
                          <a:pt x="6808" y="87728"/>
                        </a:cubicBezTo>
                        <a:cubicBezTo>
                          <a:pt x="6382" y="88825"/>
                          <a:pt x="6382" y="88825"/>
                          <a:pt x="6382" y="88825"/>
                        </a:cubicBezTo>
                        <a:cubicBezTo>
                          <a:pt x="5957" y="89765"/>
                          <a:pt x="5957" y="89765"/>
                          <a:pt x="5957" y="89765"/>
                        </a:cubicBezTo>
                        <a:cubicBezTo>
                          <a:pt x="5106" y="89921"/>
                          <a:pt x="5106" y="89921"/>
                          <a:pt x="5106" y="89921"/>
                        </a:cubicBezTo>
                        <a:cubicBezTo>
                          <a:pt x="3829" y="89921"/>
                          <a:pt x="3829" y="89921"/>
                          <a:pt x="3829" y="89921"/>
                        </a:cubicBezTo>
                        <a:cubicBezTo>
                          <a:pt x="3829" y="89921"/>
                          <a:pt x="3829" y="88981"/>
                          <a:pt x="3404" y="88825"/>
                        </a:cubicBezTo>
                        <a:cubicBezTo>
                          <a:pt x="3404" y="88825"/>
                          <a:pt x="425" y="87885"/>
                          <a:pt x="425" y="87885"/>
                        </a:cubicBezTo>
                        <a:cubicBezTo>
                          <a:pt x="425" y="88825"/>
                          <a:pt x="425" y="88825"/>
                          <a:pt x="425" y="88825"/>
                        </a:cubicBezTo>
                        <a:cubicBezTo>
                          <a:pt x="0" y="89921"/>
                          <a:pt x="0" y="89921"/>
                          <a:pt x="0" y="89921"/>
                        </a:cubicBezTo>
                        <a:cubicBezTo>
                          <a:pt x="0" y="89921"/>
                          <a:pt x="425" y="90548"/>
                          <a:pt x="851" y="90704"/>
                        </a:cubicBezTo>
                        <a:cubicBezTo>
                          <a:pt x="1276" y="90861"/>
                          <a:pt x="1702" y="91958"/>
                          <a:pt x="1702" y="91958"/>
                        </a:cubicBezTo>
                        <a:cubicBezTo>
                          <a:pt x="1276" y="93054"/>
                          <a:pt x="1276" y="93054"/>
                          <a:pt x="1276" y="93054"/>
                        </a:cubicBezTo>
                        <a:cubicBezTo>
                          <a:pt x="1276" y="93054"/>
                          <a:pt x="2127" y="93838"/>
                          <a:pt x="2127" y="93838"/>
                        </a:cubicBezTo>
                        <a:cubicBezTo>
                          <a:pt x="2127" y="93994"/>
                          <a:pt x="2553" y="94621"/>
                          <a:pt x="2553" y="94621"/>
                        </a:cubicBezTo>
                        <a:cubicBezTo>
                          <a:pt x="4255" y="94464"/>
                          <a:pt x="4255" y="94464"/>
                          <a:pt x="4255" y="94464"/>
                        </a:cubicBezTo>
                        <a:cubicBezTo>
                          <a:pt x="3829" y="93994"/>
                          <a:pt x="3829" y="93994"/>
                          <a:pt x="3829" y="93994"/>
                        </a:cubicBezTo>
                        <a:cubicBezTo>
                          <a:pt x="5106" y="94621"/>
                          <a:pt x="5106" y="94621"/>
                          <a:pt x="5106" y="94621"/>
                        </a:cubicBezTo>
                        <a:cubicBezTo>
                          <a:pt x="5106" y="94621"/>
                          <a:pt x="4255" y="94778"/>
                          <a:pt x="5106" y="94621"/>
                        </a:cubicBezTo>
                        <a:cubicBezTo>
                          <a:pt x="5531" y="94621"/>
                          <a:pt x="6382" y="94308"/>
                          <a:pt x="6382" y="94308"/>
                        </a:cubicBezTo>
                        <a:cubicBezTo>
                          <a:pt x="5957" y="94778"/>
                          <a:pt x="5957" y="94778"/>
                          <a:pt x="5957" y="94778"/>
                        </a:cubicBezTo>
                        <a:cubicBezTo>
                          <a:pt x="5106" y="95404"/>
                          <a:pt x="5106" y="95404"/>
                          <a:pt x="5106" y="95404"/>
                        </a:cubicBezTo>
                        <a:cubicBezTo>
                          <a:pt x="5531" y="95561"/>
                          <a:pt x="5531" y="95561"/>
                          <a:pt x="5531" y="95561"/>
                        </a:cubicBezTo>
                        <a:cubicBezTo>
                          <a:pt x="6808" y="95718"/>
                          <a:pt x="6808" y="95718"/>
                          <a:pt x="6808" y="95718"/>
                        </a:cubicBezTo>
                        <a:cubicBezTo>
                          <a:pt x="5106" y="96501"/>
                          <a:pt x="5106" y="96501"/>
                          <a:pt x="5106" y="96501"/>
                        </a:cubicBezTo>
                        <a:cubicBezTo>
                          <a:pt x="5106" y="96501"/>
                          <a:pt x="5957" y="96971"/>
                          <a:pt x="6382" y="97127"/>
                        </a:cubicBezTo>
                        <a:cubicBezTo>
                          <a:pt x="6382" y="97127"/>
                          <a:pt x="8085" y="96657"/>
                          <a:pt x="8085" y="96657"/>
                        </a:cubicBezTo>
                        <a:cubicBezTo>
                          <a:pt x="8085" y="96657"/>
                          <a:pt x="8085" y="96814"/>
                          <a:pt x="8085" y="96971"/>
                        </a:cubicBezTo>
                        <a:cubicBezTo>
                          <a:pt x="8085" y="96971"/>
                          <a:pt x="6808" y="97441"/>
                          <a:pt x="6808" y="97754"/>
                        </a:cubicBezTo>
                        <a:cubicBezTo>
                          <a:pt x="7234" y="97911"/>
                          <a:pt x="9361" y="97597"/>
                          <a:pt x="8936" y="97754"/>
                        </a:cubicBezTo>
                        <a:cubicBezTo>
                          <a:pt x="8510" y="97911"/>
                          <a:pt x="8510" y="98224"/>
                          <a:pt x="8510" y="98224"/>
                        </a:cubicBezTo>
                        <a:cubicBezTo>
                          <a:pt x="8510" y="98224"/>
                          <a:pt x="7234" y="98694"/>
                          <a:pt x="8085" y="98851"/>
                        </a:cubicBezTo>
                        <a:cubicBezTo>
                          <a:pt x="8510" y="99007"/>
                          <a:pt x="9787" y="99164"/>
                          <a:pt x="9361" y="99164"/>
                        </a:cubicBezTo>
                        <a:cubicBezTo>
                          <a:pt x="9361" y="99321"/>
                          <a:pt x="8085" y="99634"/>
                          <a:pt x="8085" y="99634"/>
                        </a:cubicBezTo>
                        <a:cubicBezTo>
                          <a:pt x="8085" y="99634"/>
                          <a:pt x="7659" y="99947"/>
                          <a:pt x="8085" y="100104"/>
                        </a:cubicBezTo>
                        <a:cubicBezTo>
                          <a:pt x="8510" y="100261"/>
                          <a:pt x="9787" y="100261"/>
                          <a:pt x="9787" y="100261"/>
                        </a:cubicBezTo>
                        <a:cubicBezTo>
                          <a:pt x="9787" y="100261"/>
                          <a:pt x="9787" y="99947"/>
                          <a:pt x="9787" y="100104"/>
                        </a:cubicBezTo>
                        <a:cubicBezTo>
                          <a:pt x="9787" y="100261"/>
                          <a:pt x="9361" y="100574"/>
                          <a:pt x="9361" y="100574"/>
                        </a:cubicBezTo>
                        <a:cubicBezTo>
                          <a:pt x="9361" y="100574"/>
                          <a:pt x="8936" y="100887"/>
                          <a:pt x="9361" y="101044"/>
                        </a:cubicBezTo>
                        <a:cubicBezTo>
                          <a:pt x="9787" y="101044"/>
                          <a:pt x="10638" y="101044"/>
                          <a:pt x="10638" y="101044"/>
                        </a:cubicBezTo>
                        <a:cubicBezTo>
                          <a:pt x="10638" y="101044"/>
                          <a:pt x="10638" y="101201"/>
                          <a:pt x="10638" y="101514"/>
                        </a:cubicBezTo>
                        <a:cubicBezTo>
                          <a:pt x="10638" y="101671"/>
                          <a:pt x="10638" y="102140"/>
                          <a:pt x="10638" y="102140"/>
                        </a:cubicBezTo>
                        <a:cubicBezTo>
                          <a:pt x="10638" y="102297"/>
                          <a:pt x="10638" y="102610"/>
                          <a:pt x="10638" y="102610"/>
                        </a:cubicBezTo>
                        <a:cubicBezTo>
                          <a:pt x="10638" y="102610"/>
                          <a:pt x="10212" y="102767"/>
                          <a:pt x="11489" y="102767"/>
                        </a:cubicBezTo>
                        <a:cubicBezTo>
                          <a:pt x="12340" y="102767"/>
                          <a:pt x="12340" y="102610"/>
                          <a:pt x="12765" y="102610"/>
                        </a:cubicBezTo>
                        <a:cubicBezTo>
                          <a:pt x="13191" y="102610"/>
                          <a:pt x="13191" y="102767"/>
                          <a:pt x="13617" y="102924"/>
                        </a:cubicBezTo>
                        <a:cubicBezTo>
                          <a:pt x="13617" y="103237"/>
                          <a:pt x="13617" y="103394"/>
                          <a:pt x="13617" y="103550"/>
                        </a:cubicBezTo>
                        <a:cubicBezTo>
                          <a:pt x="14042" y="103707"/>
                          <a:pt x="15744" y="105274"/>
                          <a:pt x="15744" y="105274"/>
                        </a:cubicBezTo>
                        <a:cubicBezTo>
                          <a:pt x="15744" y="105274"/>
                          <a:pt x="16170" y="105900"/>
                          <a:pt x="16595" y="106057"/>
                        </a:cubicBezTo>
                        <a:cubicBezTo>
                          <a:pt x="16595" y="106214"/>
                          <a:pt x="17021" y="106370"/>
                          <a:pt x="17446" y="106527"/>
                        </a:cubicBezTo>
                        <a:cubicBezTo>
                          <a:pt x="17446" y="106527"/>
                          <a:pt x="18297" y="106997"/>
                          <a:pt x="18297" y="106997"/>
                        </a:cubicBezTo>
                        <a:cubicBezTo>
                          <a:pt x="19574" y="107310"/>
                          <a:pt x="19574" y="107310"/>
                          <a:pt x="19574" y="107310"/>
                        </a:cubicBezTo>
                        <a:cubicBezTo>
                          <a:pt x="21276" y="108407"/>
                          <a:pt x="21276" y="108407"/>
                          <a:pt x="21276" y="108407"/>
                        </a:cubicBezTo>
                        <a:cubicBezTo>
                          <a:pt x="21276" y="108407"/>
                          <a:pt x="22553" y="108877"/>
                          <a:pt x="22553" y="108877"/>
                        </a:cubicBezTo>
                        <a:cubicBezTo>
                          <a:pt x="22978" y="108877"/>
                          <a:pt x="23829" y="108563"/>
                          <a:pt x="23829" y="108563"/>
                        </a:cubicBezTo>
                        <a:cubicBezTo>
                          <a:pt x="23829" y="108563"/>
                          <a:pt x="25106" y="108720"/>
                          <a:pt x="25106" y="108877"/>
                        </a:cubicBezTo>
                        <a:cubicBezTo>
                          <a:pt x="24680" y="108877"/>
                          <a:pt x="24255" y="109503"/>
                          <a:pt x="24255" y="109660"/>
                        </a:cubicBezTo>
                        <a:cubicBezTo>
                          <a:pt x="24680" y="109817"/>
                          <a:pt x="24680" y="110130"/>
                          <a:pt x="24680" y="110130"/>
                        </a:cubicBezTo>
                        <a:cubicBezTo>
                          <a:pt x="23829" y="110287"/>
                          <a:pt x="23829" y="110287"/>
                          <a:pt x="23829" y="110287"/>
                        </a:cubicBezTo>
                        <a:cubicBezTo>
                          <a:pt x="22978" y="110443"/>
                          <a:pt x="22978" y="110443"/>
                          <a:pt x="22978" y="110443"/>
                        </a:cubicBezTo>
                        <a:cubicBezTo>
                          <a:pt x="21276" y="110443"/>
                          <a:pt x="21276" y="110443"/>
                          <a:pt x="21276" y="110443"/>
                        </a:cubicBezTo>
                        <a:cubicBezTo>
                          <a:pt x="20851" y="111070"/>
                          <a:pt x="20851" y="111070"/>
                          <a:pt x="20851" y="111070"/>
                        </a:cubicBezTo>
                        <a:cubicBezTo>
                          <a:pt x="22553" y="111383"/>
                          <a:pt x="22553" y="111383"/>
                          <a:pt x="22553" y="111383"/>
                        </a:cubicBezTo>
                        <a:cubicBezTo>
                          <a:pt x="22553" y="111383"/>
                          <a:pt x="23404" y="111697"/>
                          <a:pt x="23829" y="111697"/>
                        </a:cubicBezTo>
                        <a:cubicBezTo>
                          <a:pt x="23829" y="111853"/>
                          <a:pt x="23829" y="112480"/>
                          <a:pt x="23829" y="112480"/>
                        </a:cubicBezTo>
                        <a:cubicBezTo>
                          <a:pt x="23404" y="112480"/>
                          <a:pt x="21702" y="112480"/>
                          <a:pt x="21702" y="112480"/>
                        </a:cubicBezTo>
                        <a:cubicBezTo>
                          <a:pt x="21702" y="112480"/>
                          <a:pt x="20851" y="112950"/>
                          <a:pt x="20851" y="112950"/>
                        </a:cubicBezTo>
                        <a:cubicBezTo>
                          <a:pt x="20851" y="113107"/>
                          <a:pt x="20425" y="113107"/>
                          <a:pt x="21276" y="113577"/>
                        </a:cubicBezTo>
                        <a:cubicBezTo>
                          <a:pt x="21702" y="113890"/>
                          <a:pt x="23829" y="114830"/>
                          <a:pt x="23829" y="114830"/>
                        </a:cubicBezTo>
                        <a:cubicBezTo>
                          <a:pt x="23829" y="114830"/>
                          <a:pt x="25531" y="115770"/>
                          <a:pt x="25531" y="115770"/>
                        </a:cubicBezTo>
                        <a:cubicBezTo>
                          <a:pt x="25531" y="115926"/>
                          <a:pt x="26808" y="116553"/>
                          <a:pt x="26808" y="116553"/>
                        </a:cubicBezTo>
                        <a:cubicBezTo>
                          <a:pt x="27234" y="116553"/>
                          <a:pt x="27234" y="117180"/>
                          <a:pt x="27234" y="117180"/>
                        </a:cubicBezTo>
                        <a:cubicBezTo>
                          <a:pt x="26808" y="117493"/>
                          <a:pt x="26808" y="117493"/>
                          <a:pt x="26808" y="117493"/>
                        </a:cubicBezTo>
                        <a:cubicBezTo>
                          <a:pt x="26382" y="117963"/>
                          <a:pt x="26382" y="117963"/>
                          <a:pt x="26382" y="117963"/>
                        </a:cubicBezTo>
                        <a:cubicBezTo>
                          <a:pt x="25957" y="118433"/>
                          <a:pt x="25957" y="118433"/>
                          <a:pt x="25957" y="118433"/>
                        </a:cubicBezTo>
                        <a:cubicBezTo>
                          <a:pt x="26382" y="118746"/>
                          <a:pt x="26382" y="118746"/>
                          <a:pt x="26382" y="118746"/>
                        </a:cubicBezTo>
                        <a:cubicBezTo>
                          <a:pt x="25957" y="119060"/>
                          <a:pt x="25957" y="119060"/>
                          <a:pt x="25957" y="119060"/>
                        </a:cubicBezTo>
                        <a:cubicBezTo>
                          <a:pt x="25106" y="119530"/>
                          <a:pt x="25106" y="119530"/>
                          <a:pt x="25106" y="119530"/>
                        </a:cubicBezTo>
                        <a:cubicBezTo>
                          <a:pt x="27234" y="119686"/>
                          <a:pt x="27234" y="119686"/>
                          <a:pt x="27234" y="119686"/>
                        </a:cubicBezTo>
                        <a:cubicBezTo>
                          <a:pt x="29787" y="119530"/>
                          <a:pt x="29787" y="119530"/>
                          <a:pt x="29787" y="119530"/>
                        </a:cubicBezTo>
                        <a:cubicBezTo>
                          <a:pt x="29787" y="119530"/>
                          <a:pt x="30212" y="119843"/>
                          <a:pt x="30212" y="119843"/>
                        </a:cubicBezTo>
                        <a:cubicBezTo>
                          <a:pt x="30638" y="120000"/>
                          <a:pt x="32765" y="119843"/>
                          <a:pt x="32765" y="119843"/>
                        </a:cubicBezTo>
                        <a:cubicBezTo>
                          <a:pt x="34468" y="119530"/>
                          <a:pt x="34468" y="119530"/>
                          <a:pt x="34468" y="119530"/>
                        </a:cubicBezTo>
                        <a:cubicBezTo>
                          <a:pt x="35744" y="119216"/>
                          <a:pt x="35744" y="119216"/>
                          <a:pt x="35744" y="119216"/>
                        </a:cubicBezTo>
                        <a:cubicBezTo>
                          <a:pt x="35744" y="118903"/>
                          <a:pt x="35744" y="118903"/>
                          <a:pt x="35744" y="118903"/>
                        </a:cubicBezTo>
                        <a:cubicBezTo>
                          <a:pt x="35744" y="118903"/>
                          <a:pt x="36595" y="118433"/>
                          <a:pt x="36595" y="118433"/>
                        </a:cubicBezTo>
                        <a:cubicBezTo>
                          <a:pt x="37021" y="118433"/>
                          <a:pt x="38297" y="118590"/>
                          <a:pt x="38297" y="118590"/>
                        </a:cubicBezTo>
                        <a:cubicBezTo>
                          <a:pt x="38297" y="118590"/>
                          <a:pt x="39574" y="118590"/>
                          <a:pt x="39574" y="118746"/>
                        </a:cubicBezTo>
                        <a:cubicBezTo>
                          <a:pt x="39574" y="118903"/>
                          <a:pt x="40425" y="119060"/>
                          <a:pt x="40425" y="119060"/>
                        </a:cubicBezTo>
                        <a:cubicBezTo>
                          <a:pt x="41702" y="119060"/>
                          <a:pt x="41702" y="119060"/>
                          <a:pt x="41702" y="119060"/>
                        </a:cubicBezTo>
                        <a:cubicBezTo>
                          <a:pt x="42978" y="118903"/>
                          <a:pt x="42978" y="118903"/>
                          <a:pt x="42978" y="118903"/>
                        </a:cubicBezTo>
                        <a:cubicBezTo>
                          <a:pt x="44680" y="118746"/>
                          <a:pt x="44680" y="118746"/>
                          <a:pt x="44680" y="118746"/>
                        </a:cubicBezTo>
                        <a:cubicBezTo>
                          <a:pt x="44680" y="118746"/>
                          <a:pt x="44255" y="118433"/>
                          <a:pt x="44680" y="118433"/>
                        </a:cubicBezTo>
                        <a:cubicBezTo>
                          <a:pt x="45106" y="118433"/>
                          <a:pt x="46382" y="118433"/>
                          <a:pt x="46382" y="118433"/>
                        </a:cubicBezTo>
                        <a:cubicBezTo>
                          <a:pt x="46382" y="118433"/>
                          <a:pt x="46808" y="118746"/>
                          <a:pt x="47234" y="118746"/>
                        </a:cubicBezTo>
                        <a:cubicBezTo>
                          <a:pt x="47234" y="118746"/>
                          <a:pt x="48085" y="118433"/>
                          <a:pt x="47659" y="118276"/>
                        </a:cubicBezTo>
                        <a:cubicBezTo>
                          <a:pt x="47234" y="118120"/>
                          <a:pt x="45531" y="117806"/>
                          <a:pt x="45531" y="117806"/>
                        </a:cubicBezTo>
                        <a:cubicBezTo>
                          <a:pt x="45531" y="117806"/>
                          <a:pt x="44680" y="117336"/>
                          <a:pt x="44680" y="117180"/>
                        </a:cubicBezTo>
                        <a:cubicBezTo>
                          <a:pt x="44255" y="117023"/>
                          <a:pt x="44255" y="116553"/>
                          <a:pt x="43829" y="116396"/>
                        </a:cubicBezTo>
                        <a:cubicBezTo>
                          <a:pt x="43404" y="116396"/>
                          <a:pt x="42978" y="116240"/>
                          <a:pt x="42978" y="115926"/>
                        </a:cubicBezTo>
                        <a:cubicBezTo>
                          <a:pt x="43404" y="115456"/>
                          <a:pt x="43404" y="115300"/>
                          <a:pt x="43404" y="115300"/>
                        </a:cubicBezTo>
                        <a:cubicBezTo>
                          <a:pt x="43404" y="115143"/>
                          <a:pt x="43404" y="114516"/>
                          <a:pt x="43404" y="114516"/>
                        </a:cubicBezTo>
                        <a:cubicBezTo>
                          <a:pt x="43404" y="114516"/>
                          <a:pt x="42978" y="114203"/>
                          <a:pt x="44255" y="113890"/>
                        </a:cubicBezTo>
                        <a:cubicBezTo>
                          <a:pt x="45531" y="113577"/>
                          <a:pt x="45531" y="113263"/>
                          <a:pt x="45957" y="113420"/>
                        </a:cubicBezTo>
                        <a:cubicBezTo>
                          <a:pt x="46382" y="113577"/>
                          <a:pt x="47234" y="113890"/>
                          <a:pt x="47659" y="113890"/>
                        </a:cubicBezTo>
                        <a:cubicBezTo>
                          <a:pt x="47659" y="114046"/>
                          <a:pt x="48085" y="114046"/>
                          <a:pt x="48510" y="114203"/>
                        </a:cubicBezTo>
                        <a:cubicBezTo>
                          <a:pt x="48510" y="114360"/>
                          <a:pt x="48085" y="114516"/>
                          <a:pt x="48936" y="114516"/>
                        </a:cubicBezTo>
                        <a:cubicBezTo>
                          <a:pt x="49361" y="114516"/>
                          <a:pt x="50212" y="114516"/>
                          <a:pt x="50212" y="114516"/>
                        </a:cubicBezTo>
                        <a:cubicBezTo>
                          <a:pt x="50212" y="114516"/>
                          <a:pt x="50638" y="114516"/>
                          <a:pt x="50638" y="114360"/>
                        </a:cubicBezTo>
                        <a:cubicBezTo>
                          <a:pt x="50638" y="114203"/>
                          <a:pt x="50638" y="113733"/>
                          <a:pt x="50212" y="113733"/>
                        </a:cubicBezTo>
                        <a:cubicBezTo>
                          <a:pt x="49787" y="113577"/>
                          <a:pt x="49361" y="113420"/>
                          <a:pt x="49361" y="113420"/>
                        </a:cubicBezTo>
                        <a:cubicBezTo>
                          <a:pt x="49361" y="113420"/>
                          <a:pt x="50212" y="113263"/>
                          <a:pt x="48936" y="113107"/>
                        </a:cubicBezTo>
                        <a:cubicBezTo>
                          <a:pt x="47659" y="112793"/>
                          <a:pt x="47659" y="112637"/>
                          <a:pt x="48085" y="112480"/>
                        </a:cubicBezTo>
                        <a:cubicBezTo>
                          <a:pt x="48936" y="112323"/>
                          <a:pt x="50638" y="112480"/>
                          <a:pt x="50638" y="112480"/>
                        </a:cubicBezTo>
                        <a:cubicBezTo>
                          <a:pt x="51914" y="112323"/>
                          <a:pt x="51914" y="112323"/>
                          <a:pt x="51914" y="112323"/>
                        </a:cubicBezTo>
                        <a:cubicBezTo>
                          <a:pt x="51914" y="112323"/>
                          <a:pt x="52765" y="112010"/>
                          <a:pt x="53617" y="112167"/>
                        </a:cubicBezTo>
                        <a:cubicBezTo>
                          <a:pt x="54042" y="112323"/>
                          <a:pt x="55744" y="112167"/>
                          <a:pt x="55744" y="112167"/>
                        </a:cubicBezTo>
                        <a:cubicBezTo>
                          <a:pt x="57872" y="112323"/>
                          <a:pt x="57872" y="112323"/>
                          <a:pt x="57872" y="112323"/>
                        </a:cubicBezTo>
                        <a:cubicBezTo>
                          <a:pt x="58723" y="112010"/>
                          <a:pt x="58723" y="112010"/>
                          <a:pt x="58723" y="112010"/>
                        </a:cubicBezTo>
                        <a:cubicBezTo>
                          <a:pt x="60851" y="112323"/>
                          <a:pt x="60851" y="112323"/>
                          <a:pt x="60851" y="112323"/>
                        </a:cubicBezTo>
                        <a:cubicBezTo>
                          <a:pt x="60851" y="112323"/>
                          <a:pt x="60425" y="112323"/>
                          <a:pt x="61702" y="112480"/>
                        </a:cubicBezTo>
                        <a:cubicBezTo>
                          <a:pt x="62553" y="112480"/>
                          <a:pt x="63829" y="112167"/>
                          <a:pt x="63829" y="112010"/>
                        </a:cubicBezTo>
                        <a:cubicBezTo>
                          <a:pt x="64255" y="112010"/>
                          <a:pt x="65957" y="110913"/>
                          <a:pt x="65957" y="110913"/>
                        </a:cubicBezTo>
                        <a:cubicBezTo>
                          <a:pt x="67234" y="107780"/>
                          <a:pt x="67234" y="107780"/>
                          <a:pt x="67234" y="107780"/>
                        </a:cubicBezTo>
                        <a:cubicBezTo>
                          <a:pt x="67234" y="107780"/>
                          <a:pt x="68936" y="107310"/>
                          <a:pt x="68510" y="107310"/>
                        </a:cubicBezTo>
                        <a:cubicBezTo>
                          <a:pt x="68510" y="107154"/>
                          <a:pt x="68510" y="106057"/>
                          <a:pt x="68510" y="105900"/>
                        </a:cubicBezTo>
                        <a:cubicBezTo>
                          <a:pt x="68510" y="105744"/>
                          <a:pt x="69361" y="104647"/>
                          <a:pt x="69361" y="104647"/>
                        </a:cubicBezTo>
                        <a:cubicBezTo>
                          <a:pt x="69361" y="104647"/>
                          <a:pt x="71063" y="104177"/>
                          <a:pt x="70212" y="103707"/>
                        </a:cubicBezTo>
                        <a:cubicBezTo>
                          <a:pt x="69787" y="103237"/>
                          <a:pt x="69361" y="102454"/>
                          <a:pt x="69361" y="102454"/>
                        </a:cubicBezTo>
                        <a:cubicBezTo>
                          <a:pt x="69361" y="102454"/>
                          <a:pt x="68936" y="101671"/>
                          <a:pt x="68936" y="101514"/>
                        </a:cubicBezTo>
                        <a:cubicBezTo>
                          <a:pt x="68936" y="101357"/>
                          <a:pt x="70638" y="100574"/>
                          <a:pt x="70638" y="100574"/>
                        </a:cubicBezTo>
                        <a:cubicBezTo>
                          <a:pt x="69361" y="99164"/>
                          <a:pt x="69361" y="99164"/>
                          <a:pt x="69361" y="99164"/>
                        </a:cubicBezTo>
                        <a:cubicBezTo>
                          <a:pt x="69361" y="99164"/>
                          <a:pt x="70212" y="98694"/>
                          <a:pt x="70212" y="98537"/>
                        </a:cubicBezTo>
                        <a:cubicBezTo>
                          <a:pt x="70212" y="98381"/>
                          <a:pt x="69361" y="96971"/>
                          <a:pt x="69361" y="96971"/>
                        </a:cubicBezTo>
                        <a:cubicBezTo>
                          <a:pt x="69361" y="96657"/>
                          <a:pt x="69361" y="96657"/>
                          <a:pt x="69361" y="96657"/>
                        </a:cubicBezTo>
                        <a:cubicBezTo>
                          <a:pt x="69361" y="96657"/>
                          <a:pt x="70638" y="95874"/>
                          <a:pt x="70212" y="95718"/>
                        </a:cubicBezTo>
                        <a:cubicBezTo>
                          <a:pt x="70212" y="95561"/>
                          <a:pt x="70212" y="94778"/>
                          <a:pt x="70212" y="94778"/>
                        </a:cubicBezTo>
                        <a:cubicBezTo>
                          <a:pt x="69361" y="93838"/>
                          <a:pt x="69361" y="93838"/>
                          <a:pt x="69361" y="93838"/>
                        </a:cubicBezTo>
                        <a:cubicBezTo>
                          <a:pt x="69361" y="93838"/>
                          <a:pt x="70212" y="93681"/>
                          <a:pt x="69787" y="93524"/>
                        </a:cubicBezTo>
                        <a:cubicBezTo>
                          <a:pt x="69361" y="93211"/>
                          <a:pt x="68936" y="93054"/>
                          <a:pt x="68936" y="93054"/>
                        </a:cubicBezTo>
                        <a:cubicBezTo>
                          <a:pt x="68936" y="92741"/>
                          <a:pt x="68936" y="92741"/>
                          <a:pt x="68936" y="92741"/>
                        </a:cubicBezTo>
                        <a:cubicBezTo>
                          <a:pt x="69361" y="92428"/>
                          <a:pt x="69361" y="92428"/>
                          <a:pt x="69361" y="92428"/>
                        </a:cubicBezTo>
                        <a:cubicBezTo>
                          <a:pt x="70212" y="92114"/>
                          <a:pt x="70212" y="92114"/>
                          <a:pt x="70212" y="92114"/>
                        </a:cubicBezTo>
                        <a:cubicBezTo>
                          <a:pt x="69787" y="91174"/>
                          <a:pt x="69787" y="91174"/>
                          <a:pt x="69787" y="91174"/>
                        </a:cubicBezTo>
                        <a:cubicBezTo>
                          <a:pt x="68085" y="91018"/>
                          <a:pt x="68085" y="91018"/>
                          <a:pt x="68085" y="91018"/>
                        </a:cubicBezTo>
                        <a:cubicBezTo>
                          <a:pt x="68085" y="91018"/>
                          <a:pt x="68085" y="90704"/>
                          <a:pt x="68510" y="90704"/>
                        </a:cubicBezTo>
                        <a:cubicBezTo>
                          <a:pt x="69361" y="90548"/>
                          <a:pt x="72340" y="90078"/>
                          <a:pt x="72340" y="90078"/>
                        </a:cubicBezTo>
                        <a:cubicBezTo>
                          <a:pt x="72340" y="90078"/>
                          <a:pt x="73191" y="89608"/>
                          <a:pt x="73617" y="89608"/>
                        </a:cubicBezTo>
                        <a:cubicBezTo>
                          <a:pt x="73617" y="89451"/>
                          <a:pt x="77021" y="88668"/>
                          <a:pt x="77021" y="88668"/>
                        </a:cubicBezTo>
                        <a:cubicBezTo>
                          <a:pt x="77021" y="88668"/>
                          <a:pt x="77021" y="88198"/>
                          <a:pt x="77021" y="88041"/>
                        </a:cubicBezTo>
                        <a:cubicBezTo>
                          <a:pt x="77446" y="88041"/>
                          <a:pt x="77446" y="87885"/>
                          <a:pt x="77446" y="87571"/>
                        </a:cubicBezTo>
                        <a:cubicBezTo>
                          <a:pt x="77872" y="87571"/>
                          <a:pt x="77021" y="86161"/>
                          <a:pt x="77021" y="85691"/>
                        </a:cubicBezTo>
                        <a:cubicBezTo>
                          <a:pt x="77446" y="85378"/>
                          <a:pt x="78297" y="86005"/>
                          <a:pt x="78297" y="86005"/>
                        </a:cubicBezTo>
                        <a:cubicBezTo>
                          <a:pt x="78723" y="86475"/>
                          <a:pt x="78723" y="86475"/>
                          <a:pt x="78723" y="86475"/>
                        </a:cubicBezTo>
                        <a:cubicBezTo>
                          <a:pt x="78723" y="87415"/>
                          <a:pt x="78723" y="87415"/>
                          <a:pt x="78723" y="87415"/>
                        </a:cubicBezTo>
                        <a:cubicBezTo>
                          <a:pt x="80000" y="87571"/>
                          <a:pt x="80000" y="87571"/>
                          <a:pt x="80000" y="87571"/>
                        </a:cubicBezTo>
                        <a:cubicBezTo>
                          <a:pt x="80425" y="88041"/>
                          <a:pt x="80425" y="88041"/>
                          <a:pt x="80425" y="88041"/>
                        </a:cubicBezTo>
                        <a:cubicBezTo>
                          <a:pt x="80425" y="88041"/>
                          <a:pt x="80000" y="88511"/>
                          <a:pt x="80425" y="88511"/>
                        </a:cubicBezTo>
                        <a:cubicBezTo>
                          <a:pt x="80851" y="88355"/>
                          <a:pt x="80851" y="88355"/>
                          <a:pt x="80851" y="88355"/>
                        </a:cubicBezTo>
                        <a:cubicBezTo>
                          <a:pt x="81276" y="87415"/>
                          <a:pt x="81276" y="87415"/>
                          <a:pt x="81276" y="87415"/>
                        </a:cubicBezTo>
                        <a:cubicBezTo>
                          <a:pt x="81276" y="87415"/>
                          <a:pt x="82978" y="87415"/>
                          <a:pt x="82553" y="87101"/>
                        </a:cubicBezTo>
                        <a:cubicBezTo>
                          <a:pt x="82553" y="86945"/>
                          <a:pt x="82127" y="86631"/>
                          <a:pt x="82553" y="86631"/>
                        </a:cubicBezTo>
                        <a:cubicBezTo>
                          <a:pt x="85106" y="86475"/>
                          <a:pt x="84255" y="86475"/>
                          <a:pt x="85531" y="86161"/>
                        </a:cubicBezTo>
                        <a:cubicBezTo>
                          <a:pt x="85531" y="86161"/>
                          <a:pt x="86382" y="85535"/>
                          <a:pt x="86382" y="85535"/>
                        </a:cubicBezTo>
                        <a:cubicBezTo>
                          <a:pt x="86382" y="85378"/>
                          <a:pt x="86808" y="85065"/>
                          <a:pt x="86808" y="85065"/>
                        </a:cubicBezTo>
                        <a:cubicBezTo>
                          <a:pt x="85957" y="84908"/>
                          <a:pt x="85957" y="84908"/>
                          <a:pt x="85957" y="84908"/>
                        </a:cubicBezTo>
                        <a:cubicBezTo>
                          <a:pt x="85531" y="84438"/>
                          <a:pt x="85531" y="84438"/>
                          <a:pt x="85531" y="84438"/>
                        </a:cubicBezTo>
                        <a:cubicBezTo>
                          <a:pt x="85531" y="84438"/>
                          <a:pt x="85957" y="84125"/>
                          <a:pt x="86382" y="84281"/>
                        </a:cubicBezTo>
                        <a:cubicBezTo>
                          <a:pt x="86382" y="84438"/>
                          <a:pt x="86808" y="84751"/>
                          <a:pt x="87234" y="84751"/>
                        </a:cubicBezTo>
                        <a:cubicBezTo>
                          <a:pt x="87659" y="84751"/>
                          <a:pt x="88936" y="84281"/>
                          <a:pt x="88936" y="84281"/>
                        </a:cubicBezTo>
                        <a:cubicBezTo>
                          <a:pt x="88936" y="83812"/>
                          <a:pt x="85957" y="83185"/>
                          <a:pt x="85106" y="83028"/>
                        </a:cubicBezTo>
                        <a:cubicBezTo>
                          <a:pt x="85106" y="82402"/>
                          <a:pt x="89361" y="81618"/>
                          <a:pt x="89361" y="81462"/>
                        </a:cubicBezTo>
                        <a:cubicBezTo>
                          <a:pt x="89787" y="81305"/>
                          <a:pt x="89787" y="81305"/>
                          <a:pt x="89787" y="81148"/>
                        </a:cubicBezTo>
                        <a:cubicBezTo>
                          <a:pt x="89787" y="80992"/>
                          <a:pt x="89361" y="80835"/>
                          <a:pt x="88936" y="80992"/>
                        </a:cubicBezTo>
                        <a:cubicBezTo>
                          <a:pt x="88936" y="80992"/>
                          <a:pt x="88510" y="81305"/>
                          <a:pt x="88085" y="81305"/>
                        </a:cubicBezTo>
                        <a:cubicBezTo>
                          <a:pt x="88085" y="81305"/>
                          <a:pt x="87234" y="81305"/>
                          <a:pt x="87234" y="81305"/>
                        </a:cubicBezTo>
                        <a:cubicBezTo>
                          <a:pt x="87234" y="81305"/>
                          <a:pt x="86808" y="80992"/>
                          <a:pt x="87234" y="80835"/>
                        </a:cubicBezTo>
                        <a:cubicBezTo>
                          <a:pt x="87659" y="80678"/>
                          <a:pt x="87234" y="80678"/>
                          <a:pt x="88085" y="80522"/>
                        </a:cubicBezTo>
                        <a:cubicBezTo>
                          <a:pt x="88510" y="80365"/>
                          <a:pt x="88936" y="80365"/>
                          <a:pt x="89361" y="80365"/>
                        </a:cubicBezTo>
                        <a:cubicBezTo>
                          <a:pt x="89361" y="80208"/>
                          <a:pt x="89787" y="80052"/>
                          <a:pt x="90212" y="80052"/>
                        </a:cubicBezTo>
                        <a:cubicBezTo>
                          <a:pt x="90638" y="80052"/>
                          <a:pt x="92765" y="79582"/>
                          <a:pt x="92765" y="79582"/>
                        </a:cubicBezTo>
                        <a:cubicBezTo>
                          <a:pt x="93191" y="79268"/>
                          <a:pt x="93191" y="79268"/>
                          <a:pt x="93191" y="79268"/>
                        </a:cubicBezTo>
                        <a:cubicBezTo>
                          <a:pt x="93191" y="79268"/>
                          <a:pt x="91914" y="78798"/>
                          <a:pt x="91914" y="78798"/>
                        </a:cubicBezTo>
                        <a:cubicBezTo>
                          <a:pt x="91914" y="78798"/>
                          <a:pt x="89787" y="78172"/>
                          <a:pt x="89787" y="78172"/>
                        </a:cubicBezTo>
                        <a:cubicBezTo>
                          <a:pt x="89787" y="78172"/>
                          <a:pt x="88936" y="78172"/>
                          <a:pt x="88936" y="78015"/>
                        </a:cubicBezTo>
                        <a:cubicBezTo>
                          <a:pt x="88936" y="78015"/>
                          <a:pt x="88085" y="77702"/>
                          <a:pt x="88085" y="77702"/>
                        </a:cubicBezTo>
                        <a:cubicBezTo>
                          <a:pt x="87234" y="76919"/>
                          <a:pt x="86382" y="77545"/>
                          <a:pt x="84680" y="77232"/>
                        </a:cubicBezTo>
                        <a:cubicBezTo>
                          <a:pt x="84680" y="77232"/>
                          <a:pt x="83829" y="76605"/>
                          <a:pt x="83829" y="76605"/>
                        </a:cubicBezTo>
                        <a:cubicBezTo>
                          <a:pt x="83829" y="76605"/>
                          <a:pt x="84680" y="76605"/>
                          <a:pt x="84680" y="76449"/>
                        </a:cubicBezTo>
                        <a:cubicBezTo>
                          <a:pt x="84680" y="76135"/>
                          <a:pt x="83829" y="75822"/>
                          <a:pt x="83829" y="75822"/>
                        </a:cubicBezTo>
                        <a:cubicBezTo>
                          <a:pt x="82978" y="75509"/>
                          <a:pt x="82978" y="75509"/>
                          <a:pt x="82978" y="75509"/>
                        </a:cubicBezTo>
                        <a:cubicBezTo>
                          <a:pt x="81276" y="74882"/>
                          <a:pt x="81702" y="76292"/>
                          <a:pt x="80425" y="75039"/>
                        </a:cubicBezTo>
                        <a:cubicBezTo>
                          <a:pt x="80425" y="75039"/>
                          <a:pt x="80000" y="75039"/>
                          <a:pt x="79574" y="74725"/>
                        </a:cubicBezTo>
                        <a:cubicBezTo>
                          <a:pt x="79148" y="74569"/>
                          <a:pt x="77872" y="74099"/>
                          <a:pt x="77872" y="74099"/>
                        </a:cubicBezTo>
                        <a:cubicBezTo>
                          <a:pt x="77872" y="74099"/>
                          <a:pt x="77446" y="73629"/>
                          <a:pt x="77446" y="73629"/>
                        </a:cubicBezTo>
                        <a:cubicBezTo>
                          <a:pt x="77021" y="73629"/>
                          <a:pt x="76595" y="73159"/>
                          <a:pt x="76595" y="73159"/>
                        </a:cubicBezTo>
                        <a:cubicBezTo>
                          <a:pt x="74468" y="73629"/>
                          <a:pt x="74468" y="73629"/>
                          <a:pt x="74468" y="73629"/>
                        </a:cubicBezTo>
                        <a:cubicBezTo>
                          <a:pt x="73191" y="74099"/>
                          <a:pt x="73191" y="74099"/>
                          <a:pt x="73191" y="74099"/>
                        </a:cubicBezTo>
                        <a:cubicBezTo>
                          <a:pt x="73191" y="74099"/>
                          <a:pt x="72765" y="73785"/>
                          <a:pt x="72765" y="73785"/>
                        </a:cubicBezTo>
                        <a:cubicBezTo>
                          <a:pt x="72765" y="73785"/>
                          <a:pt x="72765" y="73159"/>
                          <a:pt x="72765" y="73159"/>
                        </a:cubicBezTo>
                        <a:cubicBezTo>
                          <a:pt x="72765" y="73159"/>
                          <a:pt x="71489" y="73002"/>
                          <a:pt x="71063" y="73002"/>
                        </a:cubicBezTo>
                        <a:cubicBezTo>
                          <a:pt x="71063" y="73002"/>
                          <a:pt x="69787" y="73002"/>
                          <a:pt x="69787" y="73002"/>
                        </a:cubicBezTo>
                        <a:cubicBezTo>
                          <a:pt x="68085" y="72845"/>
                          <a:pt x="68085" y="72845"/>
                          <a:pt x="68085" y="72845"/>
                        </a:cubicBezTo>
                        <a:cubicBezTo>
                          <a:pt x="68085" y="72375"/>
                          <a:pt x="68085" y="72375"/>
                          <a:pt x="68085" y="72375"/>
                        </a:cubicBezTo>
                        <a:cubicBezTo>
                          <a:pt x="68085" y="72375"/>
                          <a:pt x="68936" y="72062"/>
                          <a:pt x="68510" y="71906"/>
                        </a:cubicBezTo>
                        <a:cubicBezTo>
                          <a:pt x="68510" y="71749"/>
                          <a:pt x="67234" y="71436"/>
                          <a:pt x="67234" y="71436"/>
                        </a:cubicBezTo>
                        <a:cubicBezTo>
                          <a:pt x="67234" y="71122"/>
                          <a:pt x="67234" y="71122"/>
                          <a:pt x="67234" y="71122"/>
                        </a:cubicBezTo>
                        <a:cubicBezTo>
                          <a:pt x="65957" y="70496"/>
                          <a:pt x="65957" y="70496"/>
                          <a:pt x="65957" y="70496"/>
                        </a:cubicBezTo>
                        <a:cubicBezTo>
                          <a:pt x="65957" y="70496"/>
                          <a:pt x="66808" y="70026"/>
                          <a:pt x="66808" y="70026"/>
                        </a:cubicBezTo>
                        <a:cubicBezTo>
                          <a:pt x="66808" y="69869"/>
                          <a:pt x="65106" y="68459"/>
                          <a:pt x="65106" y="68459"/>
                        </a:cubicBezTo>
                        <a:cubicBezTo>
                          <a:pt x="65106" y="68459"/>
                          <a:pt x="65957" y="67832"/>
                          <a:pt x="65957" y="67676"/>
                        </a:cubicBezTo>
                        <a:cubicBezTo>
                          <a:pt x="65957" y="67676"/>
                          <a:pt x="65106" y="67049"/>
                          <a:pt x="65106" y="67049"/>
                        </a:cubicBezTo>
                        <a:cubicBezTo>
                          <a:pt x="64255" y="67049"/>
                          <a:pt x="64255" y="67049"/>
                          <a:pt x="64255" y="67049"/>
                        </a:cubicBezTo>
                        <a:cubicBezTo>
                          <a:pt x="64255" y="66422"/>
                          <a:pt x="64255" y="66422"/>
                          <a:pt x="64255" y="66422"/>
                        </a:cubicBezTo>
                        <a:cubicBezTo>
                          <a:pt x="64680" y="65953"/>
                          <a:pt x="64680" y="65953"/>
                          <a:pt x="64680" y="65953"/>
                        </a:cubicBezTo>
                        <a:cubicBezTo>
                          <a:pt x="63829" y="65639"/>
                          <a:pt x="63829" y="65639"/>
                          <a:pt x="63829" y="65639"/>
                        </a:cubicBezTo>
                        <a:cubicBezTo>
                          <a:pt x="63829" y="65639"/>
                          <a:pt x="64255" y="65326"/>
                          <a:pt x="64680" y="65326"/>
                        </a:cubicBezTo>
                        <a:cubicBezTo>
                          <a:pt x="64680" y="65326"/>
                          <a:pt x="64680" y="64699"/>
                          <a:pt x="64680" y="64699"/>
                        </a:cubicBezTo>
                        <a:cubicBezTo>
                          <a:pt x="64680" y="64699"/>
                          <a:pt x="65106" y="64386"/>
                          <a:pt x="65531" y="64386"/>
                        </a:cubicBezTo>
                        <a:cubicBezTo>
                          <a:pt x="65531" y="64386"/>
                          <a:pt x="66808" y="64699"/>
                          <a:pt x="66808" y="64699"/>
                        </a:cubicBezTo>
                        <a:cubicBezTo>
                          <a:pt x="66808" y="64699"/>
                          <a:pt x="68085" y="64856"/>
                          <a:pt x="68085" y="64699"/>
                        </a:cubicBezTo>
                        <a:cubicBezTo>
                          <a:pt x="68085" y="64699"/>
                          <a:pt x="67659" y="64229"/>
                          <a:pt x="67659" y="64229"/>
                        </a:cubicBezTo>
                        <a:cubicBezTo>
                          <a:pt x="67659" y="64073"/>
                          <a:pt x="66808" y="63759"/>
                          <a:pt x="66808" y="63759"/>
                        </a:cubicBezTo>
                        <a:cubicBezTo>
                          <a:pt x="66382" y="63603"/>
                          <a:pt x="66382" y="62819"/>
                          <a:pt x="66382" y="62819"/>
                        </a:cubicBezTo>
                        <a:cubicBezTo>
                          <a:pt x="66382" y="62819"/>
                          <a:pt x="65531" y="62193"/>
                          <a:pt x="65957" y="62193"/>
                        </a:cubicBezTo>
                        <a:cubicBezTo>
                          <a:pt x="65957" y="62193"/>
                          <a:pt x="66382" y="61879"/>
                          <a:pt x="66382" y="61879"/>
                        </a:cubicBezTo>
                        <a:cubicBezTo>
                          <a:pt x="66808" y="60783"/>
                          <a:pt x="66808" y="60783"/>
                          <a:pt x="66808" y="60783"/>
                        </a:cubicBezTo>
                        <a:cubicBezTo>
                          <a:pt x="67234" y="59843"/>
                          <a:pt x="67234" y="59843"/>
                          <a:pt x="67234" y="59843"/>
                        </a:cubicBezTo>
                        <a:cubicBezTo>
                          <a:pt x="65957" y="59373"/>
                          <a:pt x="65957" y="59373"/>
                          <a:pt x="65957" y="59373"/>
                        </a:cubicBezTo>
                        <a:cubicBezTo>
                          <a:pt x="65531" y="59060"/>
                          <a:pt x="65531" y="59060"/>
                          <a:pt x="65531" y="59060"/>
                        </a:cubicBezTo>
                        <a:cubicBezTo>
                          <a:pt x="64680" y="58746"/>
                          <a:pt x="64680" y="58746"/>
                          <a:pt x="64680" y="58746"/>
                        </a:cubicBezTo>
                        <a:cubicBezTo>
                          <a:pt x="65531" y="57806"/>
                          <a:pt x="65531" y="57806"/>
                          <a:pt x="65531" y="57806"/>
                        </a:cubicBezTo>
                        <a:cubicBezTo>
                          <a:pt x="67234" y="57806"/>
                          <a:pt x="67234" y="57806"/>
                          <a:pt x="67234" y="57806"/>
                        </a:cubicBezTo>
                        <a:cubicBezTo>
                          <a:pt x="68085" y="57336"/>
                          <a:pt x="68085" y="57336"/>
                          <a:pt x="68085" y="57336"/>
                        </a:cubicBezTo>
                        <a:cubicBezTo>
                          <a:pt x="68085" y="57336"/>
                          <a:pt x="69361" y="57023"/>
                          <a:pt x="69361" y="56866"/>
                        </a:cubicBezTo>
                        <a:cubicBezTo>
                          <a:pt x="69361" y="56866"/>
                          <a:pt x="69787" y="56240"/>
                          <a:pt x="69787" y="56240"/>
                        </a:cubicBezTo>
                        <a:cubicBezTo>
                          <a:pt x="69361" y="55770"/>
                          <a:pt x="69361" y="55770"/>
                          <a:pt x="69361" y="55770"/>
                        </a:cubicBezTo>
                        <a:cubicBezTo>
                          <a:pt x="70212" y="55926"/>
                          <a:pt x="70212" y="55926"/>
                          <a:pt x="70212" y="55926"/>
                        </a:cubicBezTo>
                        <a:cubicBezTo>
                          <a:pt x="70212" y="55456"/>
                          <a:pt x="70212" y="55456"/>
                          <a:pt x="70212" y="55456"/>
                        </a:cubicBezTo>
                        <a:cubicBezTo>
                          <a:pt x="70212" y="55456"/>
                          <a:pt x="70638" y="54986"/>
                          <a:pt x="70638" y="54986"/>
                        </a:cubicBezTo>
                        <a:cubicBezTo>
                          <a:pt x="71063" y="54986"/>
                          <a:pt x="71489" y="54830"/>
                          <a:pt x="71489" y="54830"/>
                        </a:cubicBezTo>
                        <a:cubicBezTo>
                          <a:pt x="71489" y="54830"/>
                          <a:pt x="72340" y="54203"/>
                          <a:pt x="72340" y="54203"/>
                        </a:cubicBezTo>
                        <a:cubicBezTo>
                          <a:pt x="72340" y="54203"/>
                          <a:pt x="72765" y="54360"/>
                          <a:pt x="73191" y="54203"/>
                        </a:cubicBezTo>
                        <a:cubicBezTo>
                          <a:pt x="73617" y="54046"/>
                          <a:pt x="73617" y="54046"/>
                          <a:pt x="73617" y="53890"/>
                        </a:cubicBezTo>
                        <a:cubicBezTo>
                          <a:pt x="74042" y="53577"/>
                          <a:pt x="74893" y="52950"/>
                          <a:pt x="74893" y="52950"/>
                        </a:cubicBezTo>
                        <a:cubicBezTo>
                          <a:pt x="74893" y="52950"/>
                          <a:pt x="74893" y="52793"/>
                          <a:pt x="74893" y="52637"/>
                        </a:cubicBezTo>
                        <a:cubicBezTo>
                          <a:pt x="75319" y="52637"/>
                          <a:pt x="76170" y="52637"/>
                          <a:pt x="76170" y="52480"/>
                        </a:cubicBezTo>
                        <a:cubicBezTo>
                          <a:pt x="75744" y="52323"/>
                          <a:pt x="74893" y="51853"/>
                          <a:pt x="74893" y="51853"/>
                        </a:cubicBezTo>
                        <a:cubicBezTo>
                          <a:pt x="76170" y="51383"/>
                          <a:pt x="76170" y="51383"/>
                          <a:pt x="76170" y="51383"/>
                        </a:cubicBezTo>
                        <a:cubicBezTo>
                          <a:pt x="76170" y="51383"/>
                          <a:pt x="77446" y="50913"/>
                          <a:pt x="77446" y="50913"/>
                        </a:cubicBezTo>
                        <a:cubicBezTo>
                          <a:pt x="77446" y="51070"/>
                          <a:pt x="77872" y="51070"/>
                          <a:pt x="78297" y="50913"/>
                        </a:cubicBezTo>
                        <a:cubicBezTo>
                          <a:pt x="78297" y="50913"/>
                          <a:pt x="78723" y="50757"/>
                          <a:pt x="79148" y="50600"/>
                        </a:cubicBezTo>
                        <a:cubicBezTo>
                          <a:pt x="79148" y="50600"/>
                          <a:pt x="79574" y="50443"/>
                          <a:pt x="80000" y="50443"/>
                        </a:cubicBezTo>
                        <a:cubicBezTo>
                          <a:pt x="80000" y="50287"/>
                          <a:pt x="80425" y="49973"/>
                          <a:pt x="80425" y="49817"/>
                        </a:cubicBezTo>
                        <a:cubicBezTo>
                          <a:pt x="80425" y="49817"/>
                          <a:pt x="81276" y="49033"/>
                          <a:pt x="81276" y="49033"/>
                        </a:cubicBezTo>
                        <a:cubicBezTo>
                          <a:pt x="81276" y="48563"/>
                          <a:pt x="81276" y="48563"/>
                          <a:pt x="81276" y="48563"/>
                        </a:cubicBezTo>
                        <a:cubicBezTo>
                          <a:pt x="81702" y="48407"/>
                          <a:pt x="81702" y="48407"/>
                          <a:pt x="81702" y="48407"/>
                        </a:cubicBezTo>
                        <a:cubicBezTo>
                          <a:pt x="82553" y="48093"/>
                          <a:pt x="82553" y="48093"/>
                          <a:pt x="82553" y="48093"/>
                        </a:cubicBezTo>
                        <a:cubicBezTo>
                          <a:pt x="82553" y="48093"/>
                          <a:pt x="83404" y="47937"/>
                          <a:pt x="83404" y="48093"/>
                        </a:cubicBezTo>
                        <a:cubicBezTo>
                          <a:pt x="83404" y="48093"/>
                          <a:pt x="82978" y="48407"/>
                          <a:pt x="82978" y="48407"/>
                        </a:cubicBezTo>
                        <a:cubicBezTo>
                          <a:pt x="84255" y="48407"/>
                          <a:pt x="84255" y="48407"/>
                          <a:pt x="84255" y="48407"/>
                        </a:cubicBezTo>
                        <a:cubicBezTo>
                          <a:pt x="84255" y="48407"/>
                          <a:pt x="84255" y="48093"/>
                          <a:pt x="84255" y="48250"/>
                        </a:cubicBezTo>
                        <a:cubicBezTo>
                          <a:pt x="84680" y="48250"/>
                          <a:pt x="85106" y="48407"/>
                          <a:pt x="85106" y="48407"/>
                        </a:cubicBezTo>
                        <a:cubicBezTo>
                          <a:pt x="85106" y="48250"/>
                          <a:pt x="85531" y="47937"/>
                          <a:pt x="85531" y="47937"/>
                        </a:cubicBezTo>
                        <a:cubicBezTo>
                          <a:pt x="85531" y="47467"/>
                          <a:pt x="85531" y="47467"/>
                          <a:pt x="85531" y="47467"/>
                        </a:cubicBezTo>
                        <a:cubicBezTo>
                          <a:pt x="85531" y="47467"/>
                          <a:pt x="86382" y="47154"/>
                          <a:pt x="86808" y="46997"/>
                        </a:cubicBezTo>
                        <a:cubicBezTo>
                          <a:pt x="86808" y="46840"/>
                          <a:pt x="88085" y="46370"/>
                          <a:pt x="88085" y="46370"/>
                        </a:cubicBezTo>
                        <a:cubicBezTo>
                          <a:pt x="89361" y="46214"/>
                          <a:pt x="89361" y="46214"/>
                          <a:pt x="89361" y="46214"/>
                        </a:cubicBezTo>
                        <a:cubicBezTo>
                          <a:pt x="89361" y="46214"/>
                          <a:pt x="89787" y="46057"/>
                          <a:pt x="90212" y="46057"/>
                        </a:cubicBezTo>
                        <a:cubicBezTo>
                          <a:pt x="90212" y="46057"/>
                          <a:pt x="91489" y="45430"/>
                          <a:pt x="91489" y="45430"/>
                        </a:cubicBezTo>
                        <a:cubicBezTo>
                          <a:pt x="91489" y="45430"/>
                          <a:pt x="91489" y="45274"/>
                          <a:pt x="91914" y="45117"/>
                        </a:cubicBezTo>
                        <a:cubicBezTo>
                          <a:pt x="91914" y="44960"/>
                          <a:pt x="92765" y="44960"/>
                          <a:pt x="92765" y="44804"/>
                        </a:cubicBezTo>
                        <a:cubicBezTo>
                          <a:pt x="93191" y="44804"/>
                          <a:pt x="94042" y="44020"/>
                          <a:pt x="94042" y="44020"/>
                        </a:cubicBezTo>
                        <a:cubicBezTo>
                          <a:pt x="94042" y="44020"/>
                          <a:pt x="94468" y="44020"/>
                          <a:pt x="94468" y="43864"/>
                        </a:cubicBezTo>
                        <a:cubicBezTo>
                          <a:pt x="94468" y="43550"/>
                          <a:pt x="94893" y="43237"/>
                          <a:pt x="94893" y="43237"/>
                        </a:cubicBezTo>
                        <a:cubicBezTo>
                          <a:pt x="95744" y="42610"/>
                          <a:pt x="95744" y="42610"/>
                          <a:pt x="95744" y="42610"/>
                        </a:cubicBezTo>
                        <a:cubicBezTo>
                          <a:pt x="95744" y="41671"/>
                          <a:pt x="95744" y="41671"/>
                          <a:pt x="95744" y="41671"/>
                        </a:cubicBezTo>
                        <a:cubicBezTo>
                          <a:pt x="96595" y="40887"/>
                          <a:pt x="96595" y="40887"/>
                          <a:pt x="96595" y="40887"/>
                        </a:cubicBezTo>
                        <a:cubicBezTo>
                          <a:pt x="96595" y="40887"/>
                          <a:pt x="97021" y="40731"/>
                          <a:pt x="97021" y="40574"/>
                        </a:cubicBezTo>
                        <a:cubicBezTo>
                          <a:pt x="97446" y="40574"/>
                          <a:pt x="97872" y="40104"/>
                          <a:pt x="97872" y="40104"/>
                        </a:cubicBezTo>
                        <a:cubicBezTo>
                          <a:pt x="97872" y="40104"/>
                          <a:pt x="99148" y="39477"/>
                          <a:pt x="99148" y="39477"/>
                        </a:cubicBezTo>
                        <a:cubicBezTo>
                          <a:pt x="99148" y="39477"/>
                          <a:pt x="99574" y="39007"/>
                          <a:pt x="99574" y="38851"/>
                        </a:cubicBezTo>
                        <a:cubicBezTo>
                          <a:pt x="100000" y="38851"/>
                          <a:pt x="100000" y="38851"/>
                          <a:pt x="100000" y="38851"/>
                        </a:cubicBezTo>
                        <a:cubicBezTo>
                          <a:pt x="100000" y="38381"/>
                          <a:pt x="100000" y="38381"/>
                          <a:pt x="100000" y="38381"/>
                        </a:cubicBezTo>
                        <a:cubicBezTo>
                          <a:pt x="99148" y="37754"/>
                          <a:pt x="99148" y="37754"/>
                          <a:pt x="99148" y="37754"/>
                        </a:cubicBezTo>
                        <a:cubicBezTo>
                          <a:pt x="97446" y="37284"/>
                          <a:pt x="97446" y="37284"/>
                          <a:pt x="97446" y="37284"/>
                        </a:cubicBezTo>
                        <a:cubicBezTo>
                          <a:pt x="96170" y="37284"/>
                          <a:pt x="96170" y="37284"/>
                          <a:pt x="96170" y="37284"/>
                        </a:cubicBezTo>
                        <a:cubicBezTo>
                          <a:pt x="95319" y="36971"/>
                          <a:pt x="95319" y="36971"/>
                          <a:pt x="95319" y="36971"/>
                        </a:cubicBezTo>
                        <a:cubicBezTo>
                          <a:pt x="95744" y="36657"/>
                          <a:pt x="95744" y="36657"/>
                          <a:pt x="95744" y="36657"/>
                        </a:cubicBezTo>
                        <a:cubicBezTo>
                          <a:pt x="94893" y="36187"/>
                          <a:pt x="94893" y="36187"/>
                          <a:pt x="94893" y="36187"/>
                        </a:cubicBezTo>
                        <a:cubicBezTo>
                          <a:pt x="94468" y="35874"/>
                          <a:pt x="94468" y="35874"/>
                          <a:pt x="94468" y="35874"/>
                        </a:cubicBezTo>
                        <a:cubicBezTo>
                          <a:pt x="93617" y="35561"/>
                          <a:pt x="93617" y="35561"/>
                          <a:pt x="93617" y="35561"/>
                        </a:cubicBezTo>
                        <a:cubicBezTo>
                          <a:pt x="93617" y="35561"/>
                          <a:pt x="94468" y="35091"/>
                          <a:pt x="94468" y="35091"/>
                        </a:cubicBezTo>
                        <a:cubicBezTo>
                          <a:pt x="94468" y="35091"/>
                          <a:pt x="94893" y="34934"/>
                          <a:pt x="94893" y="34778"/>
                        </a:cubicBezTo>
                        <a:cubicBezTo>
                          <a:pt x="94893" y="34778"/>
                          <a:pt x="95744" y="34308"/>
                          <a:pt x="95744" y="34308"/>
                        </a:cubicBezTo>
                        <a:cubicBezTo>
                          <a:pt x="95744" y="34308"/>
                          <a:pt x="96595" y="33838"/>
                          <a:pt x="96595" y="33838"/>
                        </a:cubicBezTo>
                        <a:cubicBezTo>
                          <a:pt x="96595" y="33838"/>
                          <a:pt x="97021" y="33681"/>
                          <a:pt x="97021" y="33524"/>
                        </a:cubicBezTo>
                        <a:cubicBezTo>
                          <a:pt x="97021" y="33368"/>
                          <a:pt x="96595" y="32741"/>
                          <a:pt x="96595" y="32741"/>
                        </a:cubicBezTo>
                        <a:cubicBezTo>
                          <a:pt x="96595" y="32741"/>
                          <a:pt x="96595" y="32271"/>
                          <a:pt x="97021" y="32271"/>
                        </a:cubicBezTo>
                        <a:cubicBezTo>
                          <a:pt x="97021" y="32114"/>
                          <a:pt x="97446" y="31958"/>
                          <a:pt x="97446" y="31958"/>
                        </a:cubicBezTo>
                        <a:cubicBezTo>
                          <a:pt x="97446" y="31958"/>
                          <a:pt x="97872" y="31958"/>
                          <a:pt x="98297" y="32114"/>
                        </a:cubicBezTo>
                        <a:cubicBezTo>
                          <a:pt x="98723" y="32114"/>
                          <a:pt x="98723" y="31801"/>
                          <a:pt x="98723" y="31801"/>
                        </a:cubicBezTo>
                        <a:cubicBezTo>
                          <a:pt x="98723" y="31801"/>
                          <a:pt x="98723" y="31331"/>
                          <a:pt x="98297" y="31331"/>
                        </a:cubicBezTo>
                        <a:cubicBezTo>
                          <a:pt x="97872" y="31331"/>
                          <a:pt x="97446" y="31018"/>
                          <a:pt x="97446" y="31018"/>
                        </a:cubicBezTo>
                        <a:cubicBezTo>
                          <a:pt x="97446" y="31018"/>
                          <a:pt x="97872" y="30861"/>
                          <a:pt x="97872" y="30861"/>
                        </a:cubicBezTo>
                        <a:cubicBezTo>
                          <a:pt x="97872" y="30704"/>
                          <a:pt x="98723" y="30548"/>
                          <a:pt x="98723" y="30548"/>
                        </a:cubicBezTo>
                        <a:cubicBezTo>
                          <a:pt x="100000" y="30391"/>
                          <a:pt x="100000" y="30391"/>
                          <a:pt x="100000" y="30391"/>
                        </a:cubicBezTo>
                        <a:cubicBezTo>
                          <a:pt x="99574" y="29921"/>
                          <a:pt x="99574" y="29921"/>
                          <a:pt x="99574" y="29921"/>
                        </a:cubicBezTo>
                        <a:cubicBezTo>
                          <a:pt x="99574" y="29451"/>
                          <a:pt x="99574" y="29451"/>
                          <a:pt x="99574" y="29451"/>
                        </a:cubicBezTo>
                        <a:cubicBezTo>
                          <a:pt x="99574" y="29451"/>
                          <a:pt x="101276" y="29608"/>
                          <a:pt x="101276" y="29608"/>
                        </a:cubicBezTo>
                        <a:cubicBezTo>
                          <a:pt x="101276" y="29765"/>
                          <a:pt x="101702" y="30078"/>
                          <a:pt x="102127" y="30078"/>
                        </a:cubicBezTo>
                        <a:cubicBezTo>
                          <a:pt x="102127" y="29921"/>
                          <a:pt x="102127" y="29608"/>
                          <a:pt x="102127" y="29608"/>
                        </a:cubicBezTo>
                        <a:cubicBezTo>
                          <a:pt x="102127" y="29608"/>
                          <a:pt x="102553" y="29138"/>
                          <a:pt x="102978" y="29295"/>
                        </a:cubicBezTo>
                        <a:cubicBezTo>
                          <a:pt x="103829" y="29451"/>
                          <a:pt x="104255" y="29138"/>
                          <a:pt x="104680" y="29138"/>
                        </a:cubicBezTo>
                        <a:cubicBezTo>
                          <a:pt x="104680" y="28981"/>
                          <a:pt x="105106" y="28668"/>
                          <a:pt x="105106" y="28668"/>
                        </a:cubicBezTo>
                        <a:cubicBezTo>
                          <a:pt x="105106" y="28668"/>
                          <a:pt x="105531" y="28198"/>
                          <a:pt x="105106" y="28041"/>
                        </a:cubicBezTo>
                        <a:cubicBezTo>
                          <a:pt x="104680" y="28041"/>
                          <a:pt x="104255" y="28041"/>
                          <a:pt x="104255" y="27885"/>
                        </a:cubicBezTo>
                        <a:cubicBezTo>
                          <a:pt x="104255" y="27885"/>
                          <a:pt x="104680" y="27571"/>
                          <a:pt x="105106" y="27571"/>
                        </a:cubicBezTo>
                        <a:cubicBezTo>
                          <a:pt x="105531" y="27571"/>
                          <a:pt x="105531" y="27571"/>
                          <a:pt x="106382" y="27415"/>
                        </a:cubicBezTo>
                        <a:cubicBezTo>
                          <a:pt x="106808" y="27258"/>
                          <a:pt x="106808" y="27101"/>
                          <a:pt x="106808" y="27101"/>
                        </a:cubicBezTo>
                        <a:cubicBezTo>
                          <a:pt x="106808" y="27101"/>
                          <a:pt x="108085" y="26945"/>
                          <a:pt x="108085" y="26945"/>
                        </a:cubicBezTo>
                        <a:cubicBezTo>
                          <a:pt x="109787" y="26631"/>
                          <a:pt x="109787" y="26631"/>
                          <a:pt x="109787" y="26631"/>
                        </a:cubicBezTo>
                        <a:cubicBezTo>
                          <a:pt x="109787" y="26318"/>
                          <a:pt x="109787" y="26318"/>
                          <a:pt x="109787" y="26318"/>
                        </a:cubicBezTo>
                        <a:cubicBezTo>
                          <a:pt x="109787" y="26318"/>
                          <a:pt x="110638" y="26318"/>
                          <a:pt x="110638" y="26318"/>
                        </a:cubicBezTo>
                        <a:cubicBezTo>
                          <a:pt x="111063" y="26318"/>
                          <a:pt x="111489" y="26475"/>
                          <a:pt x="111489" y="26475"/>
                        </a:cubicBezTo>
                        <a:cubicBezTo>
                          <a:pt x="111489" y="26475"/>
                          <a:pt x="112340" y="26475"/>
                          <a:pt x="112340" y="26475"/>
                        </a:cubicBezTo>
                        <a:cubicBezTo>
                          <a:pt x="112340" y="26318"/>
                          <a:pt x="111914" y="26161"/>
                          <a:pt x="112340" y="26161"/>
                        </a:cubicBezTo>
                        <a:cubicBezTo>
                          <a:pt x="112765" y="26318"/>
                          <a:pt x="112765" y="26318"/>
                          <a:pt x="112765" y="26475"/>
                        </a:cubicBezTo>
                        <a:cubicBezTo>
                          <a:pt x="113191" y="26475"/>
                          <a:pt x="113191" y="26475"/>
                          <a:pt x="113191" y="26475"/>
                        </a:cubicBezTo>
                        <a:cubicBezTo>
                          <a:pt x="113617" y="26475"/>
                          <a:pt x="114042" y="26631"/>
                          <a:pt x="114468" y="26788"/>
                        </a:cubicBezTo>
                        <a:cubicBezTo>
                          <a:pt x="114468" y="26788"/>
                          <a:pt x="114468" y="26945"/>
                          <a:pt x="114468" y="27101"/>
                        </a:cubicBezTo>
                        <a:cubicBezTo>
                          <a:pt x="114468" y="27258"/>
                          <a:pt x="114468" y="27258"/>
                          <a:pt x="114468" y="27415"/>
                        </a:cubicBezTo>
                        <a:cubicBezTo>
                          <a:pt x="114468" y="27571"/>
                          <a:pt x="114468" y="27571"/>
                          <a:pt x="114468" y="27571"/>
                        </a:cubicBezTo>
                        <a:cubicBezTo>
                          <a:pt x="114468" y="27571"/>
                          <a:pt x="115744" y="27885"/>
                          <a:pt x="115744" y="27728"/>
                        </a:cubicBezTo>
                        <a:cubicBezTo>
                          <a:pt x="115744" y="27571"/>
                          <a:pt x="115744" y="27728"/>
                          <a:pt x="115744" y="27415"/>
                        </a:cubicBezTo>
                        <a:cubicBezTo>
                          <a:pt x="115319" y="27258"/>
                          <a:pt x="115744" y="27101"/>
                          <a:pt x="115744" y="26945"/>
                        </a:cubicBezTo>
                        <a:cubicBezTo>
                          <a:pt x="115319" y="26788"/>
                          <a:pt x="114893" y="26475"/>
                          <a:pt x="114893" y="26318"/>
                        </a:cubicBezTo>
                        <a:cubicBezTo>
                          <a:pt x="114893" y="26318"/>
                          <a:pt x="115319" y="26161"/>
                          <a:pt x="115744" y="26161"/>
                        </a:cubicBezTo>
                        <a:cubicBezTo>
                          <a:pt x="116170" y="26161"/>
                          <a:pt x="115744" y="26005"/>
                          <a:pt x="116170" y="26161"/>
                        </a:cubicBezTo>
                        <a:cubicBezTo>
                          <a:pt x="116595" y="26318"/>
                          <a:pt x="116595" y="26475"/>
                          <a:pt x="117021" y="26475"/>
                        </a:cubicBezTo>
                        <a:cubicBezTo>
                          <a:pt x="117446" y="26475"/>
                          <a:pt x="117446" y="26475"/>
                          <a:pt x="117446" y="26475"/>
                        </a:cubicBezTo>
                        <a:cubicBezTo>
                          <a:pt x="117446" y="26631"/>
                          <a:pt x="117872" y="26788"/>
                          <a:pt x="117872" y="26945"/>
                        </a:cubicBezTo>
                        <a:cubicBezTo>
                          <a:pt x="117872" y="27101"/>
                          <a:pt x="117872" y="27101"/>
                          <a:pt x="117872" y="27258"/>
                        </a:cubicBezTo>
                        <a:cubicBezTo>
                          <a:pt x="117872" y="27258"/>
                          <a:pt x="118723" y="27728"/>
                          <a:pt x="118723" y="27728"/>
                        </a:cubicBezTo>
                        <a:cubicBezTo>
                          <a:pt x="118723" y="27728"/>
                          <a:pt x="119574" y="27415"/>
                          <a:pt x="119574" y="27415"/>
                        </a:cubicBezTo>
                        <a:cubicBezTo>
                          <a:pt x="119574" y="27258"/>
                          <a:pt x="119574" y="27101"/>
                          <a:pt x="119574" y="27101"/>
                        </a:cubicBezTo>
                        <a:cubicBezTo>
                          <a:pt x="119574" y="26945"/>
                          <a:pt x="119574" y="26788"/>
                          <a:pt x="119574" y="26788"/>
                        </a:cubicBezTo>
                        <a:cubicBezTo>
                          <a:pt x="119574" y="26631"/>
                          <a:pt x="118297" y="26161"/>
                          <a:pt x="118297" y="26161"/>
                        </a:cubicBezTo>
                        <a:cubicBezTo>
                          <a:pt x="118297" y="26161"/>
                          <a:pt x="118297" y="26005"/>
                          <a:pt x="118723" y="25848"/>
                        </a:cubicBezTo>
                        <a:cubicBezTo>
                          <a:pt x="118723" y="25848"/>
                          <a:pt x="119148" y="25691"/>
                          <a:pt x="120000" y="25535"/>
                        </a:cubicBezTo>
                        <a:cubicBezTo>
                          <a:pt x="117446" y="23498"/>
                          <a:pt x="117446" y="23498"/>
                          <a:pt x="117446" y="23498"/>
                        </a:cubicBezTo>
                        <a:cubicBezTo>
                          <a:pt x="114893" y="23028"/>
                          <a:pt x="114893" y="23028"/>
                          <a:pt x="114893" y="23028"/>
                        </a:cubicBezTo>
                        <a:cubicBezTo>
                          <a:pt x="113191" y="22402"/>
                          <a:pt x="113191" y="22402"/>
                          <a:pt x="113191" y="22402"/>
                        </a:cubicBezTo>
                        <a:cubicBezTo>
                          <a:pt x="113191" y="21618"/>
                          <a:pt x="113191" y="21618"/>
                          <a:pt x="113191" y="21618"/>
                        </a:cubicBezTo>
                        <a:cubicBezTo>
                          <a:pt x="111914" y="20992"/>
                          <a:pt x="111914" y="20992"/>
                          <a:pt x="111914" y="20992"/>
                        </a:cubicBezTo>
                        <a:cubicBezTo>
                          <a:pt x="111914" y="20992"/>
                          <a:pt x="112340" y="20522"/>
                          <a:pt x="112340" y="20365"/>
                        </a:cubicBezTo>
                        <a:cubicBezTo>
                          <a:pt x="112765" y="20208"/>
                          <a:pt x="113617" y="19425"/>
                          <a:pt x="113617" y="19425"/>
                        </a:cubicBezTo>
                        <a:cubicBezTo>
                          <a:pt x="113617" y="19425"/>
                          <a:pt x="113191" y="18798"/>
                          <a:pt x="113191" y="18642"/>
                        </a:cubicBezTo>
                        <a:cubicBezTo>
                          <a:pt x="113191" y="18485"/>
                          <a:pt x="113617" y="17702"/>
                          <a:pt x="113617" y="17702"/>
                        </a:cubicBezTo>
                        <a:cubicBezTo>
                          <a:pt x="113191" y="16919"/>
                          <a:pt x="113191" y="16919"/>
                          <a:pt x="113191" y="16919"/>
                        </a:cubicBezTo>
                        <a:cubicBezTo>
                          <a:pt x="108085" y="14725"/>
                          <a:pt x="108085" y="14725"/>
                          <a:pt x="108085" y="14725"/>
                        </a:cubicBezTo>
                        <a:cubicBezTo>
                          <a:pt x="108510" y="13785"/>
                          <a:pt x="108510" y="13785"/>
                          <a:pt x="108510" y="13785"/>
                        </a:cubicBezTo>
                        <a:cubicBezTo>
                          <a:pt x="108510" y="13785"/>
                          <a:pt x="108510" y="13785"/>
                          <a:pt x="108510" y="13785"/>
                        </a:cubicBezTo>
                        <a:close/>
                        <a:moveTo>
                          <a:pt x="70212" y="111227"/>
                        </a:moveTo>
                        <a:cubicBezTo>
                          <a:pt x="70212" y="111227"/>
                          <a:pt x="70212" y="111227"/>
                          <a:pt x="70212" y="111227"/>
                        </a:cubicBezTo>
                        <a:cubicBezTo>
                          <a:pt x="70638" y="109973"/>
                          <a:pt x="70638" y="109973"/>
                          <a:pt x="70638" y="109973"/>
                        </a:cubicBezTo>
                        <a:cubicBezTo>
                          <a:pt x="70638" y="109973"/>
                          <a:pt x="69787" y="109503"/>
                          <a:pt x="69787" y="109503"/>
                        </a:cubicBezTo>
                        <a:cubicBezTo>
                          <a:pt x="69787" y="109347"/>
                          <a:pt x="69361" y="109033"/>
                          <a:pt x="69361" y="108563"/>
                        </a:cubicBezTo>
                        <a:cubicBezTo>
                          <a:pt x="69787" y="108093"/>
                          <a:pt x="69787" y="107937"/>
                          <a:pt x="70212" y="107624"/>
                        </a:cubicBezTo>
                        <a:cubicBezTo>
                          <a:pt x="70212" y="107310"/>
                          <a:pt x="71063" y="107154"/>
                          <a:pt x="71063" y="106840"/>
                        </a:cubicBezTo>
                        <a:cubicBezTo>
                          <a:pt x="71063" y="106370"/>
                          <a:pt x="71063" y="106214"/>
                          <a:pt x="71489" y="105900"/>
                        </a:cubicBezTo>
                        <a:cubicBezTo>
                          <a:pt x="71489" y="105587"/>
                          <a:pt x="71914" y="105274"/>
                          <a:pt x="72340" y="105274"/>
                        </a:cubicBezTo>
                        <a:cubicBezTo>
                          <a:pt x="72340" y="105117"/>
                          <a:pt x="73191" y="104490"/>
                          <a:pt x="73191" y="104490"/>
                        </a:cubicBezTo>
                        <a:cubicBezTo>
                          <a:pt x="73617" y="103707"/>
                          <a:pt x="73617" y="103707"/>
                          <a:pt x="73617" y="103707"/>
                        </a:cubicBezTo>
                        <a:cubicBezTo>
                          <a:pt x="73617" y="103707"/>
                          <a:pt x="74468" y="102924"/>
                          <a:pt x="74468" y="102767"/>
                        </a:cubicBezTo>
                        <a:cubicBezTo>
                          <a:pt x="74468" y="102610"/>
                          <a:pt x="74042" y="101984"/>
                          <a:pt x="74042" y="101827"/>
                        </a:cubicBezTo>
                        <a:cubicBezTo>
                          <a:pt x="74468" y="101671"/>
                          <a:pt x="75319" y="101357"/>
                          <a:pt x="75319" y="101357"/>
                        </a:cubicBezTo>
                        <a:cubicBezTo>
                          <a:pt x="76595" y="101357"/>
                          <a:pt x="76595" y="101357"/>
                          <a:pt x="76595" y="101357"/>
                        </a:cubicBezTo>
                        <a:cubicBezTo>
                          <a:pt x="76595" y="101357"/>
                          <a:pt x="76595" y="101827"/>
                          <a:pt x="76170" y="101984"/>
                        </a:cubicBezTo>
                        <a:cubicBezTo>
                          <a:pt x="75744" y="101984"/>
                          <a:pt x="75319" y="102140"/>
                          <a:pt x="75319" y="102140"/>
                        </a:cubicBezTo>
                        <a:cubicBezTo>
                          <a:pt x="75319" y="102297"/>
                          <a:pt x="76170" y="102610"/>
                          <a:pt x="76170" y="102610"/>
                        </a:cubicBezTo>
                        <a:cubicBezTo>
                          <a:pt x="76170" y="103237"/>
                          <a:pt x="76170" y="103237"/>
                          <a:pt x="76170" y="103237"/>
                        </a:cubicBezTo>
                        <a:cubicBezTo>
                          <a:pt x="75319" y="103864"/>
                          <a:pt x="75319" y="103864"/>
                          <a:pt x="75319" y="103864"/>
                        </a:cubicBezTo>
                        <a:cubicBezTo>
                          <a:pt x="74468" y="104647"/>
                          <a:pt x="74468" y="104647"/>
                          <a:pt x="74468" y="104647"/>
                        </a:cubicBezTo>
                        <a:cubicBezTo>
                          <a:pt x="74468" y="105430"/>
                          <a:pt x="74468" y="105430"/>
                          <a:pt x="74468" y="105430"/>
                        </a:cubicBezTo>
                        <a:cubicBezTo>
                          <a:pt x="74042" y="105900"/>
                          <a:pt x="74042" y="105900"/>
                          <a:pt x="74042" y="105900"/>
                        </a:cubicBezTo>
                        <a:cubicBezTo>
                          <a:pt x="73617" y="106370"/>
                          <a:pt x="73617" y="106370"/>
                          <a:pt x="73617" y="106370"/>
                        </a:cubicBezTo>
                        <a:cubicBezTo>
                          <a:pt x="72765" y="107310"/>
                          <a:pt x="72765" y="107310"/>
                          <a:pt x="72765" y="107310"/>
                        </a:cubicBezTo>
                        <a:cubicBezTo>
                          <a:pt x="73191" y="108093"/>
                          <a:pt x="73191" y="108093"/>
                          <a:pt x="73191" y="108093"/>
                        </a:cubicBezTo>
                        <a:cubicBezTo>
                          <a:pt x="71914" y="109033"/>
                          <a:pt x="71914" y="109033"/>
                          <a:pt x="71914" y="109033"/>
                        </a:cubicBezTo>
                        <a:cubicBezTo>
                          <a:pt x="71914" y="109033"/>
                          <a:pt x="71914" y="109503"/>
                          <a:pt x="71914" y="109660"/>
                        </a:cubicBezTo>
                        <a:cubicBezTo>
                          <a:pt x="71914" y="109817"/>
                          <a:pt x="71914" y="110757"/>
                          <a:pt x="71914" y="110757"/>
                        </a:cubicBezTo>
                        <a:cubicBezTo>
                          <a:pt x="71914" y="110757"/>
                          <a:pt x="71914" y="111227"/>
                          <a:pt x="71489" y="111227"/>
                        </a:cubicBezTo>
                        <a:cubicBezTo>
                          <a:pt x="71063" y="111227"/>
                          <a:pt x="70212" y="111227"/>
                          <a:pt x="70212" y="111227"/>
                        </a:cubicBezTo>
                        <a:close/>
                        <a:moveTo>
                          <a:pt x="87659" y="101671"/>
                        </a:moveTo>
                        <a:cubicBezTo>
                          <a:pt x="87659" y="101671"/>
                          <a:pt x="87659" y="101671"/>
                          <a:pt x="87659" y="101671"/>
                        </a:cubicBezTo>
                        <a:cubicBezTo>
                          <a:pt x="87234" y="101357"/>
                          <a:pt x="87234" y="101357"/>
                          <a:pt x="87234" y="101357"/>
                        </a:cubicBezTo>
                        <a:cubicBezTo>
                          <a:pt x="88510" y="101201"/>
                          <a:pt x="88510" y="101201"/>
                          <a:pt x="88510" y="101201"/>
                        </a:cubicBezTo>
                        <a:cubicBezTo>
                          <a:pt x="88510" y="101201"/>
                          <a:pt x="88085" y="100574"/>
                          <a:pt x="88085" y="100417"/>
                        </a:cubicBezTo>
                        <a:cubicBezTo>
                          <a:pt x="88085" y="100261"/>
                          <a:pt x="87659" y="100417"/>
                          <a:pt x="87234" y="100104"/>
                        </a:cubicBezTo>
                        <a:cubicBezTo>
                          <a:pt x="86808" y="99947"/>
                          <a:pt x="86808" y="99477"/>
                          <a:pt x="86808" y="99477"/>
                        </a:cubicBezTo>
                        <a:cubicBezTo>
                          <a:pt x="86808" y="99321"/>
                          <a:pt x="87234" y="98851"/>
                          <a:pt x="87234" y="98851"/>
                        </a:cubicBezTo>
                        <a:cubicBezTo>
                          <a:pt x="87234" y="98851"/>
                          <a:pt x="88510" y="98224"/>
                          <a:pt x="89361" y="97911"/>
                        </a:cubicBezTo>
                        <a:cubicBezTo>
                          <a:pt x="90638" y="97441"/>
                          <a:pt x="90212" y="97441"/>
                          <a:pt x="90212" y="97127"/>
                        </a:cubicBezTo>
                        <a:cubicBezTo>
                          <a:pt x="89787" y="96971"/>
                          <a:pt x="90638" y="96814"/>
                          <a:pt x="90638" y="96814"/>
                        </a:cubicBezTo>
                        <a:cubicBezTo>
                          <a:pt x="91914" y="96344"/>
                          <a:pt x="91914" y="96344"/>
                          <a:pt x="91914" y="96344"/>
                        </a:cubicBezTo>
                        <a:cubicBezTo>
                          <a:pt x="92765" y="95561"/>
                          <a:pt x="92765" y="95561"/>
                          <a:pt x="92765" y="95561"/>
                        </a:cubicBezTo>
                        <a:cubicBezTo>
                          <a:pt x="92765" y="95561"/>
                          <a:pt x="94042" y="96031"/>
                          <a:pt x="94042" y="96031"/>
                        </a:cubicBezTo>
                        <a:cubicBezTo>
                          <a:pt x="94468" y="96031"/>
                          <a:pt x="94468" y="95874"/>
                          <a:pt x="94468" y="95718"/>
                        </a:cubicBezTo>
                        <a:cubicBezTo>
                          <a:pt x="94468" y="95561"/>
                          <a:pt x="95319" y="95561"/>
                          <a:pt x="95319" y="95561"/>
                        </a:cubicBezTo>
                        <a:cubicBezTo>
                          <a:pt x="95744" y="95561"/>
                          <a:pt x="97021" y="95404"/>
                          <a:pt x="97021" y="95404"/>
                        </a:cubicBezTo>
                        <a:cubicBezTo>
                          <a:pt x="97446" y="95091"/>
                          <a:pt x="97446" y="95091"/>
                          <a:pt x="97446" y="95091"/>
                        </a:cubicBezTo>
                        <a:cubicBezTo>
                          <a:pt x="97446" y="95091"/>
                          <a:pt x="99148" y="94934"/>
                          <a:pt x="100000" y="95091"/>
                        </a:cubicBezTo>
                        <a:cubicBezTo>
                          <a:pt x="100425" y="95248"/>
                          <a:pt x="99574" y="95248"/>
                          <a:pt x="99574" y="95404"/>
                        </a:cubicBezTo>
                        <a:cubicBezTo>
                          <a:pt x="99574" y="95561"/>
                          <a:pt x="99574" y="95561"/>
                          <a:pt x="99574" y="95718"/>
                        </a:cubicBezTo>
                        <a:cubicBezTo>
                          <a:pt x="99574" y="95874"/>
                          <a:pt x="99148" y="96031"/>
                          <a:pt x="97872" y="96031"/>
                        </a:cubicBezTo>
                        <a:cubicBezTo>
                          <a:pt x="96595" y="96187"/>
                          <a:pt x="97446" y="96501"/>
                          <a:pt x="97446" y="96501"/>
                        </a:cubicBezTo>
                        <a:cubicBezTo>
                          <a:pt x="97446" y="96501"/>
                          <a:pt x="97446" y="97127"/>
                          <a:pt x="97446" y="97127"/>
                        </a:cubicBezTo>
                        <a:cubicBezTo>
                          <a:pt x="97021" y="97284"/>
                          <a:pt x="96170" y="97597"/>
                          <a:pt x="95319" y="97597"/>
                        </a:cubicBezTo>
                        <a:cubicBezTo>
                          <a:pt x="94893" y="97754"/>
                          <a:pt x="94893" y="98067"/>
                          <a:pt x="94893" y="98067"/>
                        </a:cubicBezTo>
                        <a:cubicBezTo>
                          <a:pt x="94893" y="98224"/>
                          <a:pt x="95319" y="98537"/>
                          <a:pt x="95319" y="98851"/>
                        </a:cubicBezTo>
                        <a:cubicBezTo>
                          <a:pt x="95319" y="99007"/>
                          <a:pt x="95319" y="99007"/>
                          <a:pt x="95744" y="99321"/>
                        </a:cubicBezTo>
                        <a:cubicBezTo>
                          <a:pt x="95744" y="99477"/>
                          <a:pt x="96595" y="99477"/>
                          <a:pt x="97021" y="99477"/>
                        </a:cubicBezTo>
                        <a:cubicBezTo>
                          <a:pt x="97021" y="99634"/>
                          <a:pt x="97872" y="99947"/>
                          <a:pt x="97446" y="100104"/>
                        </a:cubicBezTo>
                        <a:cubicBezTo>
                          <a:pt x="97021" y="100261"/>
                          <a:pt x="96595" y="100417"/>
                          <a:pt x="96170" y="100417"/>
                        </a:cubicBezTo>
                        <a:cubicBezTo>
                          <a:pt x="96170" y="100574"/>
                          <a:pt x="95319" y="101044"/>
                          <a:pt x="95319" y="101044"/>
                        </a:cubicBezTo>
                        <a:cubicBezTo>
                          <a:pt x="95319" y="101044"/>
                          <a:pt x="95744" y="101357"/>
                          <a:pt x="95319" y="101671"/>
                        </a:cubicBezTo>
                        <a:cubicBezTo>
                          <a:pt x="95319" y="101984"/>
                          <a:pt x="94468" y="101827"/>
                          <a:pt x="94042" y="101984"/>
                        </a:cubicBezTo>
                        <a:cubicBezTo>
                          <a:pt x="94042" y="101984"/>
                          <a:pt x="92765" y="102454"/>
                          <a:pt x="92765" y="102454"/>
                        </a:cubicBezTo>
                        <a:cubicBezTo>
                          <a:pt x="92340" y="102454"/>
                          <a:pt x="91914" y="103080"/>
                          <a:pt x="91914" y="103394"/>
                        </a:cubicBezTo>
                        <a:cubicBezTo>
                          <a:pt x="91914" y="103550"/>
                          <a:pt x="91914" y="103864"/>
                          <a:pt x="91914" y="104020"/>
                        </a:cubicBezTo>
                        <a:cubicBezTo>
                          <a:pt x="91914" y="104177"/>
                          <a:pt x="91914" y="104020"/>
                          <a:pt x="91063" y="104490"/>
                        </a:cubicBezTo>
                        <a:cubicBezTo>
                          <a:pt x="89787" y="104960"/>
                          <a:pt x="90212" y="104647"/>
                          <a:pt x="88936" y="104490"/>
                        </a:cubicBezTo>
                        <a:cubicBezTo>
                          <a:pt x="87234" y="104490"/>
                          <a:pt x="88936" y="104334"/>
                          <a:pt x="89361" y="104020"/>
                        </a:cubicBezTo>
                        <a:cubicBezTo>
                          <a:pt x="89787" y="103707"/>
                          <a:pt x="90212" y="103394"/>
                          <a:pt x="90212" y="103394"/>
                        </a:cubicBezTo>
                        <a:cubicBezTo>
                          <a:pt x="89787" y="102767"/>
                          <a:pt x="89787" y="102767"/>
                          <a:pt x="89787" y="102767"/>
                        </a:cubicBezTo>
                        <a:cubicBezTo>
                          <a:pt x="88936" y="102297"/>
                          <a:pt x="88936" y="102297"/>
                          <a:pt x="88936" y="102297"/>
                        </a:cubicBezTo>
                        <a:lnTo>
                          <a:pt x="87659" y="101671"/>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5" name="Shape 2051"/>
                  <p:cNvSpPr/>
                  <p:nvPr/>
                </p:nvSpPr>
                <p:spPr>
                  <a:xfrm>
                    <a:off x="4686242" y="235947"/>
                    <a:ext cx="1226963" cy="1680165"/>
                  </a:xfrm>
                  <a:custGeom>
                    <a:avLst/>
                    <a:gdLst/>
                    <a:ahLst/>
                    <a:cxnLst/>
                    <a:rect l="0" t="0" r="0" b="0"/>
                    <a:pathLst>
                      <a:path w="120000" h="120000" extrusionOk="0">
                        <a:moveTo>
                          <a:pt x="82527" y="9000"/>
                        </a:moveTo>
                        <a:cubicBezTo>
                          <a:pt x="82081" y="9000"/>
                          <a:pt x="81412" y="9157"/>
                          <a:pt x="81412" y="8842"/>
                        </a:cubicBezTo>
                        <a:cubicBezTo>
                          <a:pt x="81412" y="8684"/>
                          <a:pt x="80743" y="8210"/>
                          <a:pt x="80743" y="8210"/>
                        </a:cubicBezTo>
                        <a:cubicBezTo>
                          <a:pt x="80743" y="8052"/>
                          <a:pt x="80297" y="7736"/>
                          <a:pt x="80966" y="7578"/>
                        </a:cubicBezTo>
                        <a:cubicBezTo>
                          <a:pt x="81412" y="7263"/>
                          <a:pt x="82973" y="6789"/>
                          <a:pt x="83197" y="6789"/>
                        </a:cubicBezTo>
                        <a:cubicBezTo>
                          <a:pt x="83197" y="6789"/>
                          <a:pt x="83866" y="6000"/>
                          <a:pt x="84089" y="5842"/>
                        </a:cubicBezTo>
                        <a:cubicBezTo>
                          <a:pt x="84312" y="5842"/>
                          <a:pt x="85650" y="5842"/>
                          <a:pt x="85650" y="5842"/>
                        </a:cubicBezTo>
                        <a:cubicBezTo>
                          <a:pt x="85650" y="5842"/>
                          <a:pt x="85873" y="6000"/>
                          <a:pt x="86319" y="6000"/>
                        </a:cubicBezTo>
                        <a:cubicBezTo>
                          <a:pt x="86765" y="6157"/>
                          <a:pt x="87657" y="5684"/>
                          <a:pt x="87211" y="6157"/>
                        </a:cubicBezTo>
                        <a:cubicBezTo>
                          <a:pt x="86542" y="6473"/>
                          <a:pt x="86319" y="6631"/>
                          <a:pt x="86096" y="6631"/>
                        </a:cubicBezTo>
                        <a:cubicBezTo>
                          <a:pt x="85873" y="6789"/>
                          <a:pt x="84758" y="7421"/>
                          <a:pt x="84758" y="7736"/>
                        </a:cubicBezTo>
                        <a:cubicBezTo>
                          <a:pt x="84535" y="8052"/>
                          <a:pt x="84758" y="8052"/>
                          <a:pt x="84535" y="8210"/>
                        </a:cubicBezTo>
                        <a:cubicBezTo>
                          <a:pt x="84089" y="8368"/>
                          <a:pt x="82750" y="8842"/>
                          <a:pt x="82527" y="9000"/>
                        </a:cubicBezTo>
                        <a:close/>
                        <a:moveTo>
                          <a:pt x="85427" y="9631"/>
                        </a:moveTo>
                        <a:cubicBezTo>
                          <a:pt x="85427" y="9631"/>
                          <a:pt x="85427" y="9631"/>
                          <a:pt x="85427" y="9631"/>
                        </a:cubicBezTo>
                        <a:cubicBezTo>
                          <a:pt x="85427" y="9631"/>
                          <a:pt x="86096" y="9789"/>
                          <a:pt x="86096" y="9631"/>
                        </a:cubicBezTo>
                        <a:cubicBezTo>
                          <a:pt x="86096" y="9631"/>
                          <a:pt x="86319" y="9315"/>
                          <a:pt x="86319" y="8842"/>
                        </a:cubicBezTo>
                        <a:cubicBezTo>
                          <a:pt x="86542" y="8368"/>
                          <a:pt x="86988" y="8368"/>
                          <a:pt x="87211" y="8210"/>
                        </a:cubicBezTo>
                        <a:cubicBezTo>
                          <a:pt x="87434" y="8052"/>
                          <a:pt x="87211" y="8052"/>
                          <a:pt x="87434" y="7736"/>
                        </a:cubicBezTo>
                        <a:cubicBezTo>
                          <a:pt x="87434" y="7421"/>
                          <a:pt x="87211" y="7421"/>
                          <a:pt x="86765" y="7263"/>
                        </a:cubicBezTo>
                        <a:cubicBezTo>
                          <a:pt x="86096" y="7263"/>
                          <a:pt x="86096" y="7578"/>
                          <a:pt x="85650" y="7578"/>
                        </a:cubicBezTo>
                        <a:cubicBezTo>
                          <a:pt x="85427" y="7736"/>
                          <a:pt x="85427" y="8052"/>
                          <a:pt x="85650" y="8210"/>
                        </a:cubicBezTo>
                        <a:cubicBezTo>
                          <a:pt x="85650" y="8368"/>
                          <a:pt x="85204" y="8526"/>
                          <a:pt x="84758" y="8684"/>
                        </a:cubicBezTo>
                        <a:cubicBezTo>
                          <a:pt x="84312" y="9000"/>
                          <a:pt x="84312" y="9315"/>
                          <a:pt x="84312" y="9315"/>
                        </a:cubicBezTo>
                        <a:cubicBezTo>
                          <a:pt x="85427" y="9631"/>
                          <a:pt x="85427" y="9631"/>
                          <a:pt x="85427" y="9631"/>
                        </a:cubicBezTo>
                        <a:close/>
                        <a:moveTo>
                          <a:pt x="80966" y="19894"/>
                        </a:moveTo>
                        <a:cubicBezTo>
                          <a:pt x="80966" y="19894"/>
                          <a:pt x="80966" y="19894"/>
                          <a:pt x="80966" y="19894"/>
                        </a:cubicBezTo>
                        <a:cubicBezTo>
                          <a:pt x="81858" y="20052"/>
                          <a:pt x="81858" y="20052"/>
                          <a:pt x="81858" y="20052"/>
                        </a:cubicBezTo>
                        <a:cubicBezTo>
                          <a:pt x="83420" y="21315"/>
                          <a:pt x="83420" y="21315"/>
                          <a:pt x="83420" y="21315"/>
                        </a:cubicBezTo>
                        <a:cubicBezTo>
                          <a:pt x="84758" y="22421"/>
                          <a:pt x="84758" y="22421"/>
                          <a:pt x="84758" y="22421"/>
                        </a:cubicBezTo>
                        <a:cubicBezTo>
                          <a:pt x="84758" y="22421"/>
                          <a:pt x="86765" y="23526"/>
                          <a:pt x="87211" y="23684"/>
                        </a:cubicBezTo>
                        <a:cubicBezTo>
                          <a:pt x="87657" y="23842"/>
                          <a:pt x="90111" y="24157"/>
                          <a:pt x="90334" y="24315"/>
                        </a:cubicBezTo>
                        <a:cubicBezTo>
                          <a:pt x="91003" y="23684"/>
                          <a:pt x="91003" y="23684"/>
                          <a:pt x="91003" y="23684"/>
                        </a:cubicBezTo>
                        <a:cubicBezTo>
                          <a:pt x="91895" y="23210"/>
                          <a:pt x="91895" y="23210"/>
                          <a:pt x="91895" y="23210"/>
                        </a:cubicBezTo>
                        <a:cubicBezTo>
                          <a:pt x="91672" y="22894"/>
                          <a:pt x="91672" y="22894"/>
                          <a:pt x="91672" y="22894"/>
                        </a:cubicBezTo>
                        <a:cubicBezTo>
                          <a:pt x="92788" y="22421"/>
                          <a:pt x="92788" y="22421"/>
                          <a:pt x="92788" y="22421"/>
                        </a:cubicBezTo>
                        <a:cubicBezTo>
                          <a:pt x="93680" y="22894"/>
                          <a:pt x="93680" y="22894"/>
                          <a:pt x="93680" y="22894"/>
                        </a:cubicBezTo>
                        <a:cubicBezTo>
                          <a:pt x="95910" y="23210"/>
                          <a:pt x="95910" y="23210"/>
                          <a:pt x="95910" y="23210"/>
                        </a:cubicBezTo>
                        <a:cubicBezTo>
                          <a:pt x="96802" y="23684"/>
                          <a:pt x="96802" y="23684"/>
                          <a:pt x="96802" y="23684"/>
                        </a:cubicBezTo>
                        <a:cubicBezTo>
                          <a:pt x="96802" y="23684"/>
                          <a:pt x="96802" y="23684"/>
                          <a:pt x="97026" y="23684"/>
                        </a:cubicBezTo>
                        <a:cubicBezTo>
                          <a:pt x="97026" y="23684"/>
                          <a:pt x="97026" y="23684"/>
                          <a:pt x="97026" y="23684"/>
                        </a:cubicBezTo>
                        <a:cubicBezTo>
                          <a:pt x="97026" y="23684"/>
                          <a:pt x="97026" y="23684"/>
                          <a:pt x="97026" y="23684"/>
                        </a:cubicBezTo>
                        <a:cubicBezTo>
                          <a:pt x="97249" y="23526"/>
                          <a:pt x="97249" y="23526"/>
                          <a:pt x="97249" y="23526"/>
                        </a:cubicBezTo>
                        <a:cubicBezTo>
                          <a:pt x="97249" y="23526"/>
                          <a:pt x="97249" y="23526"/>
                          <a:pt x="97249" y="23526"/>
                        </a:cubicBezTo>
                        <a:cubicBezTo>
                          <a:pt x="97249" y="23526"/>
                          <a:pt x="97249" y="23526"/>
                          <a:pt x="97249" y="23526"/>
                        </a:cubicBezTo>
                        <a:cubicBezTo>
                          <a:pt x="97249" y="23526"/>
                          <a:pt x="97249" y="23526"/>
                          <a:pt x="97249" y="23526"/>
                        </a:cubicBezTo>
                        <a:cubicBezTo>
                          <a:pt x="97249" y="23526"/>
                          <a:pt x="97472" y="23526"/>
                          <a:pt x="97472" y="23526"/>
                        </a:cubicBezTo>
                        <a:cubicBezTo>
                          <a:pt x="97472" y="23526"/>
                          <a:pt x="97472" y="23526"/>
                          <a:pt x="97472" y="23526"/>
                        </a:cubicBezTo>
                        <a:cubicBezTo>
                          <a:pt x="97472" y="23526"/>
                          <a:pt x="97472" y="23526"/>
                          <a:pt x="97472" y="23526"/>
                        </a:cubicBezTo>
                        <a:cubicBezTo>
                          <a:pt x="97472" y="23526"/>
                          <a:pt x="97472" y="23526"/>
                          <a:pt x="97472" y="23526"/>
                        </a:cubicBezTo>
                        <a:cubicBezTo>
                          <a:pt x="97472" y="23526"/>
                          <a:pt x="97472" y="23526"/>
                          <a:pt x="97472"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526"/>
                          <a:pt x="97695" y="23526"/>
                          <a:pt x="97695" y="23526"/>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368"/>
                          <a:pt x="97695" y="23368"/>
                          <a:pt x="97695" y="23368"/>
                        </a:cubicBezTo>
                        <a:cubicBezTo>
                          <a:pt x="97695" y="23210"/>
                          <a:pt x="97695" y="23210"/>
                          <a:pt x="97695" y="23210"/>
                        </a:cubicBezTo>
                        <a:cubicBezTo>
                          <a:pt x="97695" y="23052"/>
                          <a:pt x="97695" y="22105"/>
                          <a:pt x="97695" y="22105"/>
                        </a:cubicBezTo>
                        <a:cubicBezTo>
                          <a:pt x="97695" y="22105"/>
                          <a:pt x="97026" y="21789"/>
                          <a:pt x="97695" y="21473"/>
                        </a:cubicBezTo>
                        <a:cubicBezTo>
                          <a:pt x="98364" y="21000"/>
                          <a:pt x="99256" y="20526"/>
                          <a:pt x="99256" y="20526"/>
                        </a:cubicBezTo>
                        <a:cubicBezTo>
                          <a:pt x="99256" y="20526"/>
                          <a:pt x="99702" y="20368"/>
                          <a:pt x="99702" y="19894"/>
                        </a:cubicBezTo>
                        <a:cubicBezTo>
                          <a:pt x="99702" y="19421"/>
                          <a:pt x="99256" y="18157"/>
                          <a:pt x="99256" y="18157"/>
                        </a:cubicBezTo>
                        <a:cubicBezTo>
                          <a:pt x="99256" y="18157"/>
                          <a:pt x="98810" y="17368"/>
                          <a:pt x="98810" y="17052"/>
                        </a:cubicBezTo>
                        <a:cubicBezTo>
                          <a:pt x="99256" y="15157"/>
                          <a:pt x="98141" y="13894"/>
                          <a:pt x="98810" y="13578"/>
                        </a:cubicBezTo>
                        <a:cubicBezTo>
                          <a:pt x="98810" y="13578"/>
                          <a:pt x="98810" y="13578"/>
                          <a:pt x="98810" y="13578"/>
                        </a:cubicBezTo>
                        <a:cubicBezTo>
                          <a:pt x="98810" y="13578"/>
                          <a:pt x="98810" y="13578"/>
                          <a:pt x="98810" y="13578"/>
                        </a:cubicBezTo>
                        <a:cubicBezTo>
                          <a:pt x="99256" y="13421"/>
                          <a:pt x="99256" y="13421"/>
                          <a:pt x="99256" y="13421"/>
                        </a:cubicBezTo>
                        <a:cubicBezTo>
                          <a:pt x="99925" y="13105"/>
                          <a:pt x="99925" y="13105"/>
                          <a:pt x="99925" y="13105"/>
                        </a:cubicBezTo>
                        <a:cubicBezTo>
                          <a:pt x="99925" y="13105"/>
                          <a:pt x="99925" y="12947"/>
                          <a:pt x="99925" y="12947"/>
                        </a:cubicBezTo>
                        <a:cubicBezTo>
                          <a:pt x="99925" y="12157"/>
                          <a:pt x="98587" y="11368"/>
                          <a:pt x="100148" y="11210"/>
                        </a:cubicBezTo>
                        <a:cubicBezTo>
                          <a:pt x="100817" y="10894"/>
                          <a:pt x="100817" y="10894"/>
                          <a:pt x="100817" y="10894"/>
                        </a:cubicBezTo>
                        <a:cubicBezTo>
                          <a:pt x="102825" y="10894"/>
                          <a:pt x="102825" y="10894"/>
                          <a:pt x="102825" y="10894"/>
                        </a:cubicBezTo>
                        <a:cubicBezTo>
                          <a:pt x="103271" y="9947"/>
                          <a:pt x="103271" y="9947"/>
                          <a:pt x="103271" y="9947"/>
                        </a:cubicBezTo>
                        <a:cubicBezTo>
                          <a:pt x="104163" y="9315"/>
                          <a:pt x="104163" y="9315"/>
                          <a:pt x="104163" y="9315"/>
                        </a:cubicBezTo>
                        <a:cubicBezTo>
                          <a:pt x="104832" y="9315"/>
                          <a:pt x="105724" y="9157"/>
                          <a:pt x="106171" y="9315"/>
                        </a:cubicBezTo>
                        <a:cubicBezTo>
                          <a:pt x="106617" y="9789"/>
                          <a:pt x="106617" y="10105"/>
                          <a:pt x="107509" y="10263"/>
                        </a:cubicBezTo>
                        <a:cubicBezTo>
                          <a:pt x="110185" y="10894"/>
                          <a:pt x="110185" y="10894"/>
                          <a:pt x="110185" y="10894"/>
                        </a:cubicBezTo>
                        <a:cubicBezTo>
                          <a:pt x="111524" y="11052"/>
                          <a:pt x="111524" y="11052"/>
                          <a:pt x="111524" y="11052"/>
                        </a:cubicBezTo>
                        <a:cubicBezTo>
                          <a:pt x="111524" y="11052"/>
                          <a:pt x="111524" y="11052"/>
                          <a:pt x="111524" y="11052"/>
                        </a:cubicBezTo>
                        <a:cubicBezTo>
                          <a:pt x="111747" y="11052"/>
                          <a:pt x="111747" y="11052"/>
                          <a:pt x="111747" y="11052"/>
                        </a:cubicBezTo>
                        <a:cubicBezTo>
                          <a:pt x="111747" y="11052"/>
                          <a:pt x="111747" y="11052"/>
                          <a:pt x="111747" y="11052"/>
                        </a:cubicBezTo>
                        <a:cubicBezTo>
                          <a:pt x="112193" y="11368"/>
                          <a:pt x="112193" y="11368"/>
                          <a:pt x="112193" y="11368"/>
                        </a:cubicBezTo>
                        <a:cubicBezTo>
                          <a:pt x="112193" y="11368"/>
                          <a:pt x="112193" y="11368"/>
                          <a:pt x="112193" y="11368"/>
                        </a:cubicBezTo>
                        <a:cubicBezTo>
                          <a:pt x="112193" y="11368"/>
                          <a:pt x="112193" y="11368"/>
                          <a:pt x="112193" y="11368"/>
                        </a:cubicBezTo>
                        <a:cubicBezTo>
                          <a:pt x="112193" y="11368"/>
                          <a:pt x="112193" y="11368"/>
                          <a:pt x="112193" y="11368"/>
                        </a:cubicBezTo>
                        <a:cubicBezTo>
                          <a:pt x="112193" y="11684"/>
                          <a:pt x="112193" y="12000"/>
                          <a:pt x="112416" y="12157"/>
                        </a:cubicBezTo>
                        <a:cubicBezTo>
                          <a:pt x="112416" y="12473"/>
                          <a:pt x="112639" y="12947"/>
                          <a:pt x="112639" y="12947"/>
                        </a:cubicBezTo>
                        <a:cubicBezTo>
                          <a:pt x="112639" y="12947"/>
                          <a:pt x="112416" y="13421"/>
                          <a:pt x="112416" y="13736"/>
                        </a:cubicBezTo>
                        <a:cubicBezTo>
                          <a:pt x="112193" y="13894"/>
                          <a:pt x="112193" y="14368"/>
                          <a:pt x="112193" y="14526"/>
                        </a:cubicBezTo>
                        <a:cubicBezTo>
                          <a:pt x="112193" y="14684"/>
                          <a:pt x="112193" y="14842"/>
                          <a:pt x="112193" y="15000"/>
                        </a:cubicBezTo>
                        <a:cubicBezTo>
                          <a:pt x="112193" y="15315"/>
                          <a:pt x="112416" y="15789"/>
                          <a:pt x="112639" y="15947"/>
                        </a:cubicBezTo>
                        <a:cubicBezTo>
                          <a:pt x="112639" y="16105"/>
                          <a:pt x="113754" y="16578"/>
                          <a:pt x="113754" y="16578"/>
                        </a:cubicBezTo>
                        <a:cubicBezTo>
                          <a:pt x="113754" y="16578"/>
                          <a:pt x="113754" y="16578"/>
                          <a:pt x="113531" y="16736"/>
                        </a:cubicBezTo>
                        <a:cubicBezTo>
                          <a:pt x="113531" y="16736"/>
                          <a:pt x="113531" y="16894"/>
                          <a:pt x="113754" y="16894"/>
                        </a:cubicBezTo>
                        <a:cubicBezTo>
                          <a:pt x="114200" y="16894"/>
                          <a:pt x="114869" y="16736"/>
                          <a:pt x="114869" y="16736"/>
                        </a:cubicBezTo>
                        <a:cubicBezTo>
                          <a:pt x="114869" y="16736"/>
                          <a:pt x="114869" y="15315"/>
                          <a:pt x="114646" y="14842"/>
                        </a:cubicBezTo>
                        <a:cubicBezTo>
                          <a:pt x="114423" y="14210"/>
                          <a:pt x="115539" y="13578"/>
                          <a:pt x="115539" y="13578"/>
                        </a:cubicBezTo>
                        <a:cubicBezTo>
                          <a:pt x="117100" y="12473"/>
                          <a:pt x="117100" y="12473"/>
                          <a:pt x="117100" y="12473"/>
                        </a:cubicBezTo>
                        <a:cubicBezTo>
                          <a:pt x="116877" y="11210"/>
                          <a:pt x="116877" y="11210"/>
                          <a:pt x="116877" y="11210"/>
                        </a:cubicBezTo>
                        <a:cubicBezTo>
                          <a:pt x="118661" y="11368"/>
                          <a:pt x="118661" y="11368"/>
                          <a:pt x="118661" y="11368"/>
                        </a:cubicBezTo>
                        <a:cubicBezTo>
                          <a:pt x="118661" y="11368"/>
                          <a:pt x="120000" y="10894"/>
                          <a:pt x="119553" y="10263"/>
                        </a:cubicBezTo>
                        <a:cubicBezTo>
                          <a:pt x="119107" y="9473"/>
                          <a:pt x="118661" y="8210"/>
                          <a:pt x="118215" y="8526"/>
                        </a:cubicBezTo>
                        <a:cubicBezTo>
                          <a:pt x="117546" y="8842"/>
                          <a:pt x="116431" y="9789"/>
                          <a:pt x="116431" y="9789"/>
                        </a:cubicBezTo>
                        <a:cubicBezTo>
                          <a:pt x="116208" y="8210"/>
                          <a:pt x="116208" y="8210"/>
                          <a:pt x="116208" y="8210"/>
                        </a:cubicBezTo>
                        <a:cubicBezTo>
                          <a:pt x="114423" y="8684"/>
                          <a:pt x="114423" y="8684"/>
                          <a:pt x="114423" y="8684"/>
                        </a:cubicBezTo>
                        <a:cubicBezTo>
                          <a:pt x="112639" y="8368"/>
                          <a:pt x="112639" y="8368"/>
                          <a:pt x="112639" y="8368"/>
                        </a:cubicBezTo>
                        <a:cubicBezTo>
                          <a:pt x="112639" y="8368"/>
                          <a:pt x="111970" y="7736"/>
                          <a:pt x="111301" y="7894"/>
                        </a:cubicBezTo>
                        <a:cubicBezTo>
                          <a:pt x="110631" y="7894"/>
                          <a:pt x="109516" y="7894"/>
                          <a:pt x="109516" y="7894"/>
                        </a:cubicBezTo>
                        <a:cubicBezTo>
                          <a:pt x="109516" y="7894"/>
                          <a:pt x="108624" y="7421"/>
                          <a:pt x="109070" y="7263"/>
                        </a:cubicBezTo>
                        <a:cubicBezTo>
                          <a:pt x="109739" y="7263"/>
                          <a:pt x="111078" y="7421"/>
                          <a:pt x="111747" y="7263"/>
                        </a:cubicBezTo>
                        <a:cubicBezTo>
                          <a:pt x="112193" y="7263"/>
                          <a:pt x="115762" y="6631"/>
                          <a:pt x="115762" y="6631"/>
                        </a:cubicBezTo>
                        <a:cubicBezTo>
                          <a:pt x="115985" y="5526"/>
                          <a:pt x="115985" y="5526"/>
                          <a:pt x="115985" y="5526"/>
                        </a:cubicBezTo>
                        <a:cubicBezTo>
                          <a:pt x="117546" y="4578"/>
                          <a:pt x="117546" y="4578"/>
                          <a:pt x="117546" y="4578"/>
                        </a:cubicBezTo>
                        <a:cubicBezTo>
                          <a:pt x="114869" y="3157"/>
                          <a:pt x="114869" y="3157"/>
                          <a:pt x="114869" y="3157"/>
                        </a:cubicBezTo>
                        <a:cubicBezTo>
                          <a:pt x="113754" y="1894"/>
                          <a:pt x="113754" y="1894"/>
                          <a:pt x="113754" y="1894"/>
                        </a:cubicBezTo>
                        <a:cubicBezTo>
                          <a:pt x="113754" y="1894"/>
                          <a:pt x="113531" y="1421"/>
                          <a:pt x="113085" y="1421"/>
                        </a:cubicBezTo>
                        <a:cubicBezTo>
                          <a:pt x="112416" y="1421"/>
                          <a:pt x="110631" y="2052"/>
                          <a:pt x="110631" y="2052"/>
                        </a:cubicBezTo>
                        <a:cubicBezTo>
                          <a:pt x="109293" y="1421"/>
                          <a:pt x="109293" y="1421"/>
                          <a:pt x="109293" y="1421"/>
                        </a:cubicBezTo>
                        <a:cubicBezTo>
                          <a:pt x="107286" y="1578"/>
                          <a:pt x="107286" y="1578"/>
                          <a:pt x="107286" y="1578"/>
                        </a:cubicBezTo>
                        <a:cubicBezTo>
                          <a:pt x="104386" y="947"/>
                          <a:pt x="104386" y="947"/>
                          <a:pt x="104386" y="947"/>
                        </a:cubicBezTo>
                        <a:cubicBezTo>
                          <a:pt x="104386" y="1421"/>
                          <a:pt x="104386" y="1421"/>
                          <a:pt x="104386" y="1421"/>
                        </a:cubicBezTo>
                        <a:cubicBezTo>
                          <a:pt x="104386" y="1421"/>
                          <a:pt x="103494" y="1263"/>
                          <a:pt x="103271" y="947"/>
                        </a:cubicBezTo>
                        <a:cubicBezTo>
                          <a:pt x="103271" y="631"/>
                          <a:pt x="103271" y="315"/>
                          <a:pt x="103271" y="315"/>
                        </a:cubicBezTo>
                        <a:cubicBezTo>
                          <a:pt x="102156" y="473"/>
                          <a:pt x="102156" y="473"/>
                          <a:pt x="102156" y="473"/>
                        </a:cubicBezTo>
                        <a:cubicBezTo>
                          <a:pt x="101710" y="473"/>
                          <a:pt x="101710" y="473"/>
                          <a:pt x="101710" y="473"/>
                        </a:cubicBezTo>
                        <a:cubicBezTo>
                          <a:pt x="100371" y="0"/>
                          <a:pt x="100371" y="0"/>
                          <a:pt x="100371" y="0"/>
                        </a:cubicBezTo>
                        <a:cubicBezTo>
                          <a:pt x="99702" y="947"/>
                          <a:pt x="99702" y="947"/>
                          <a:pt x="99702" y="947"/>
                        </a:cubicBezTo>
                        <a:cubicBezTo>
                          <a:pt x="100594" y="2052"/>
                          <a:pt x="100594" y="2052"/>
                          <a:pt x="100594" y="2052"/>
                        </a:cubicBezTo>
                        <a:cubicBezTo>
                          <a:pt x="99702" y="3315"/>
                          <a:pt x="99702" y="3315"/>
                          <a:pt x="99702" y="3315"/>
                        </a:cubicBezTo>
                        <a:cubicBezTo>
                          <a:pt x="100371" y="4105"/>
                          <a:pt x="100371" y="4105"/>
                          <a:pt x="100371" y="4105"/>
                        </a:cubicBezTo>
                        <a:cubicBezTo>
                          <a:pt x="100371" y="5210"/>
                          <a:pt x="100371" y="5210"/>
                          <a:pt x="100371" y="5210"/>
                        </a:cubicBezTo>
                        <a:cubicBezTo>
                          <a:pt x="99479" y="6473"/>
                          <a:pt x="99479" y="6473"/>
                          <a:pt x="99479" y="6473"/>
                        </a:cubicBezTo>
                        <a:cubicBezTo>
                          <a:pt x="98141" y="5684"/>
                          <a:pt x="98141" y="5684"/>
                          <a:pt x="98141" y="5684"/>
                        </a:cubicBezTo>
                        <a:cubicBezTo>
                          <a:pt x="98364" y="4578"/>
                          <a:pt x="98364" y="4578"/>
                          <a:pt x="98364" y="4578"/>
                        </a:cubicBezTo>
                        <a:cubicBezTo>
                          <a:pt x="99033" y="3315"/>
                          <a:pt x="99033" y="3315"/>
                          <a:pt x="99033" y="3315"/>
                        </a:cubicBezTo>
                        <a:cubicBezTo>
                          <a:pt x="98141" y="2052"/>
                          <a:pt x="98141" y="2052"/>
                          <a:pt x="98141" y="2052"/>
                        </a:cubicBezTo>
                        <a:cubicBezTo>
                          <a:pt x="96356" y="3157"/>
                          <a:pt x="96356" y="3157"/>
                          <a:pt x="96356" y="3157"/>
                        </a:cubicBezTo>
                        <a:cubicBezTo>
                          <a:pt x="96356" y="4736"/>
                          <a:pt x="96356" y="4736"/>
                          <a:pt x="96356" y="4736"/>
                        </a:cubicBezTo>
                        <a:cubicBezTo>
                          <a:pt x="95464" y="5842"/>
                          <a:pt x="95464" y="5842"/>
                          <a:pt x="95464" y="5842"/>
                        </a:cubicBezTo>
                        <a:cubicBezTo>
                          <a:pt x="95464" y="7263"/>
                          <a:pt x="95464" y="7263"/>
                          <a:pt x="95464" y="7263"/>
                        </a:cubicBezTo>
                        <a:cubicBezTo>
                          <a:pt x="95018" y="8368"/>
                          <a:pt x="95018" y="8368"/>
                          <a:pt x="95018" y="8368"/>
                        </a:cubicBezTo>
                        <a:cubicBezTo>
                          <a:pt x="94795" y="9789"/>
                          <a:pt x="94795" y="9789"/>
                          <a:pt x="94795" y="9789"/>
                        </a:cubicBezTo>
                        <a:cubicBezTo>
                          <a:pt x="94795" y="9789"/>
                          <a:pt x="94795" y="10105"/>
                          <a:pt x="94349" y="10105"/>
                        </a:cubicBezTo>
                        <a:cubicBezTo>
                          <a:pt x="93903" y="10263"/>
                          <a:pt x="93011" y="9947"/>
                          <a:pt x="93011" y="9947"/>
                        </a:cubicBezTo>
                        <a:cubicBezTo>
                          <a:pt x="93011" y="7894"/>
                          <a:pt x="93011" y="7894"/>
                          <a:pt x="93011" y="7894"/>
                        </a:cubicBezTo>
                        <a:cubicBezTo>
                          <a:pt x="93457" y="6789"/>
                          <a:pt x="93457" y="6789"/>
                          <a:pt x="93457" y="6789"/>
                        </a:cubicBezTo>
                        <a:cubicBezTo>
                          <a:pt x="94126" y="5842"/>
                          <a:pt x="94126" y="5842"/>
                          <a:pt x="94126" y="5842"/>
                        </a:cubicBezTo>
                        <a:cubicBezTo>
                          <a:pt x="95018" y="4578"/>
                          <a:pt x="95018" y="4578"/>
                          <a:pt x="95018" y="4578"/>
                        </a:cubicBezTo>
                        <a:cubicBezTo>
                          <a:pt x="95018" y="4578"/>
                          <a:pt x="95018" y="3789"/>
                          <a:pt x="94795" y="3631"/>
                        </a:cubicBezTo>
                        <a:cubicBezTo>
                          <a:pt x="94795" y="3631"/>
                          <a:pt x="94349" y="3473"/>
                          <a:pt x="94572" y="3473"/>
                        </a:cubicBezTo>
                        <a:cubicBezTo>
                          <a:pt x="94572" y="3315"/>
                          <a:pt x="95464" y="2684"/>
                          <a:pt x="95464" y="2684"/>
                        </a:cubicBezTo>
                        <a:cubicBezTo>
                          <a:pt x="95464" y="2684"/>
                          <a:pt x="95464" y="2210"/>
                          <a:pt x="94795" y="1894"/>
                        </a:cubicBezTo>
                        <a:cubicBezTo>
                          <a:pt x="94349" y="1736"/>
                          <a:pt x="93903" y="1421"/>
                          <a:pt x="93457" y="1578"/>
                        </a:cubicBezTo>
                        <a:cubicBezTo>
                          <a:pt x="93234" y="1736"/>
                          <a:pt x="92118" y="2052"/>
                          <a:pt x="92118" y="2210"/>
                        </a:cubicBezTo>
                        <a:cubicBezTo>
                          <a:pt x="91895" y="2368"/>
                          <a:pt x="92118" y="2684"/>
                          <a:pt x="92342" y="2842"/>
                        </a:cubicBezTo>
                        <a:cubicBezTo>
                          <a:pt x="92565" y="2842"/>
                          <a:pt x="92788" y="3000"/>
                          <a:pt x="93011" y="3000"/>
                        </a:cubicBezTo>
                        <a:cubicBezTo>
                          <a:pt x="93011" y="3157"/>
                          <a:pt x="93234" y="3631"/>
                          <a:pt x="93011" y="3789"/>
                        </a:cubicBezTo>
                        <a:cubicBezTo>
                          <a:pt x="92788" y="3947"/>
                          <a:pt x="93011" y="4421"/>
                          <a:pt x="92342" y="4263"/>
                        </a:cubicBezTo>
                        <a:cubicBezTo>
                          <a:pt x="91895" y="4105"/>
                          <a:pt x="90557" y="3473"/>
                          <a:pt x="90557" y="3473"/>
                        </a:cubicBezTo>
                        <a:cubicBezTo>
                          <a:pt x="90334" y="3473"/>
                          <a:pt x="90557" y="2842"/>
                          <a:pt x="90111" y="3473"/>
                        </a:cubicBezTo>
                        <a:cubicBezTo>
                          <a:pt x="89665" y="3947"/>
                          <a:pt x="89442" y="4105"/>
                          <a:pt x="89665" y="4421"/>
                        </a:cubicBezTo>
                        <a:cubicBezTo>
                          <a:pt x="89888" y="4736"/>
                          <a:pt x="90111" y="4736"/>
                          <a:pt x="90111" y="4894"/>
                        </a:cubicBezTo>
                        <a:cubicBezTo>
                          <a:pt x="90111" y="5052"/>
                          <a:pt x="89219" y="5052"/>
                          <a:pt x="89219" y="5210"/>
                        </a:cubicBezTo>
                        <a:cubicBezTo>
                          <a:pt x="89219" y="5368"/>
                          <a:pt x="88996" y="5526"/>
                          <a:pt x="89442" y="5842"/>
                        </a:cubicBezTo>
                        <a:cubicBezTo>
                          <a:pt x="89888" y="6000"/>
                          <a:pt x="90334" y="6157"/>
                          <a:pt x="90334" y="6157"/>
                        </a:cubicBezTo>
                        <a:cubicBezTo>
                          <a:pt x="90334" y="6157"/>
                          <a:pt x="90780" y="6631"/>
                          <a:pt x="90557" y="6631"/>
                        </a:cubicBezTo>
                        <a:cubicBezTo>
                          <a:pt x="90557" y="6789"/>
                          <a:pt x="89219" y="6631"/>
                          <a:pt x="89219" y="6789"/>
                        </a:cubicBezTo>
                        <a:cubicBezTo>
                          <a:pt x="89219" y="6947"/>
                          <a:pt x="89219" y="7263"/>
                          <a:pt x="89219" y="7421"/>
                        </a:cubicBezTo>
                        <a:cubicBezTo>
                          <a:pt x="89219" y="7578"/>
                          <a:pt x="89219" y="7894"/>
                          <a:pt x="89219" y="7894"/>
                        </a:cubicBezTo>
                        <a:cubicBezTo>
                          <a:pt x="89219" y="8052"/>
                          <a:pt x="88327" y="8052"/>
                          <a:pt x="88104" y="8210"/>
                        </a:cubicBezTo>
                        <a:cubicBezTo>
                          <a:pt x="87657" y="8368"/>
                          <a:pt x="87434" y="8842"/>
                          <a:pt x="87434" y="9157"/>
                        </a:cubicBezTo>
                        <a:cubicBezTo>
                          <a:pt x="87211" y="9473"/>
                          <a:pt x="87211" y="9789"/>
                          <a:pt x="87211" y="9947"/>
                        </a:cubicBezTo>
                        <a:cubicBezTo>
                          <a:pt x="87211" y="10105"/>
                          <a:pt x="86765" y="10421"/>
                          <a:pt x="86765" y="10421"/>
                        </a:cubicBezTo>
                        <a:cubicBezTo>
                          <a:pt x="86765" y="10421"/>
                          <a:pt x="86765" y="10578"/>
                          <a:pt x="86319" y="10421"/>
                        </a:cubicBezTo>
                        <a:cubicBezTo>
                          <a:pt x="85873" y="10421"/>
                          <a:pt x="84312" y="9789"/>
                          <a:pt x="84089" y="9789"/>
                        </a:cubicBezTo>
                        <a:cubicBezTo>
                          <a:pt x="83643" y="9789"/>
                          <a:pt x="83197" y="9947"/>
                          <a:pt x="83197" y="10263"/>
                        </a:cubicBezTo>
                        <a:cubicBezTo>
                          <a:pt x="83197" y="10421"/>
                          <a:pt x="83866" y="10894"/>
                          <a:pt x="84089" y="10894"/>
                        </a:cubicBezTo>
                        <a:cubicBezTo>
                          <a:pt x="84089" y="10894"/>
                          <a:pt x="85204" y="11052"/>
                          <a:pt x="85427" y="11210"/>
                        </a:cubicBezTo>
                        <a:cubicBezTo>
                          <a:pt x="85427" y="11368"/>
                          <a:pt x="85427" y="12473"/>
                          <a:pt x="85427" y="12473"/>
                        </a:cubicBezTo>
                        <a:cubicBezTo>
                          <a:pt x="85427" y="12473"/>
                          <a:pt x="86319" y="13736"/>
                          <a:pt x="84758" y="12631"/>
                        </a:cubicBezTo>
                        <a:cubicBezTo>
                          <a:pt x="82973" y="11526"/>
                          <a:pt x="82973" y="11368"/>
                          <a:pt x="82750" y="11210"/>
                        </a:cubicBezTo>
                        <a:cubicBezTo>
                          <a:pt x="82527" y="11210"/>
                          <a:pt x="80966" y="10894"/>
                          <a:pt x="80966" y="10894"/>
                        </a:cubicBezTo>
                        <a:cubicBezTo>
                          <a:pt x="80966" y="10894"/>
                          <a:pt x="80743" y="10421"/>
                          <a:pt x="80520" y="10894"/>
                        </a:cubicBezTo>
                        <a:cubicBezTo>
                          <a:pt x="80297" y="11210"/>
                          <a:pt x="80966" y="12000"/>
                          <a:pt x="80966" y="12000"/>
                        </a:cubicBezTo>
                        <a:cubicBezTo>
                          <a:pt x="80743" y="11842"/>
                          <a:pt x="80743" y="11842"/>
                          <a:pt x="80743" y="11842"/>
                        </a:cubicBezTo>
                        <a:cubicBezTo>
                          <a:pt x="80743" y="11842"/>
                          <a:pt x="80074" y="11526"/>
                          <a:pt x="79628" y="11368"/>
                        </a:cubicBezTo>
                        <a:cubicBezTo>
                          <a:pt x="79405" y="11052"/>
                          <a:pt x="78736" y="11368"/>
                          <a:pt x="78736" y="11368"/>
                        </a:cubicBezTo>
                        <a:cubicBezTo>
                          <a:pt x="78736" y="11368"/>
                          <a:pt x="78513" y="11526"/>
                          <a:pt x="78066" y="11842"/>
                        </a:cubicBezTo>
                        <a:cubicBezTo>
                          <a:pt x="77843" y="12000"/>
                          <a:pt x="76951" y="11368"/>
                          <a:pt x="77843" y="12157"/>
                        </a:cubicBezTo>
                        <a:cubicBezTo>
                          <a:pt x="78513" y="12789"/>
                          <a:pt x="79182" y="12947"/>
                          <a:pt x="79405" y="13105"/>
                        </a:cubicBezTo>
                        <a:cubicBezTo>
                          <a:pt x="79405" y="13105"/>
                          <a:pt x="80297" y="13263"/>
                          <a:pt x="80520" y="13421"/>
                        </a:cubicBezTo>
                        <a:cubicBezTo>
                          <a:pt x="80743" y="13578"/>
                          <a:pt x="80743" y="14052"/>
                          <a:pt x="80743" y="14210"/>
                        </a:cubicBezTo>
                        <a:cubicBezTo>
                          <a:pt x="80743" y="14210"/>
                          <a:pt x="81412" y="14842"/>
                          <a:pt x="80297" y="14368"/>
                        </a:cubicBezTo>
                        <a:cubicBezTo>
                          <a:pt x="79182" y="13736"/>
                          <a:pt x="79182" y="13578"/>
                          <a:pt x="78736" y="13578"/>
                        </a:cubicBezTo>
                        <a:cubicBezTo>
                          <a:pt x="78513" y="13578"/>
                          <a:pt x="78066" y="13894"/>
                          <a:pt x="78066" y="13894"/>
                        </a:cubicBezTo>
                        <a:cubicBezTo>
                          <a:pt x="78066" y="13894"/>
                          <a:pt x="76728" y="13736"/>
                          <a:pt x="76728" y="13263"/>
                        </a:cubicBezTo>
                        <a:cubicBezTo>
                          <a:pt x="76505" y="12789"/>
                          <a:pt x="76951" y="12000"/>
                          <a:pt x="76059" y="12157"/>
                        </a:cubicBezTo>
                        <a:cubicBezTo>
                          <a:pt x="74944" y="12157"/>
                          <a:pt x="74721" y="12473"/>
                          <a:pt x="74721" y="12631"/>
                        </a:cubicBezTo>
                        <a:cubicBezTo>
                          <a:pt x="74721" y="12789"/>
                          <a:pt x="74052" y="12947"/>
                          <a:pt x="74721" y="13421"/>
                        </a:cubicBezTo>
                        <a:cubicBezTo>
                          <a:pt x="75390" y="13894"/>
                          <a:pt x="75836" y="14210"/>
                          <a:pt x="76059" y="14210"/>
                        </a:cubicBezTo>
                        <a:cubicBezTo>
                          <a:pt x="76059" y="14210"/>
                          <a:pt x="77397" y="14210"/>
                          <a:pt x="76728" y="14368"/>
                        </a:cubicBezTo>
                        <a:cubicBezTo>
                          <a:pt x="76282" y="14684"/>
                          <a:pt x="75390" y="14684"/>
                          <a:pt x="75167" y="14684"/>
                        </a:cubicBezTo>
                        <a:cubicBezTo>
                          <a:pt x="74944" y="14684"/>
                          <a:pt x="75167" y="14526"/>
                          <a:pt x="74944" y="14684"/>
                        </a:cubicBezTo>
                        <a:cubicBezTo>
                          <a:pt x="74498" y="14842"/>
                          <a:pt x="73382" y="15631"/>
                          <a:pt x="73382" y="15631"/>
                        </a:cubicBezTo>
                        <a:cubicBezTo>
                          <a:pt x="73382" y="15631"/>
                          <a:pt x="73159" y="15315"/>
                          <a:pt x="73159" y="15157"/>
                        </a:cubicBezTo>
                        <a:cubicBezTo>
                          <a:pt x="73159" y="15000"/>
                          <a:pt x="74052" y="14684"/>
                          <a:pt x="74052" y="14368"/>
                        </a:cubicBezTo>
                        <a:cubicBezTo>
                          <a:pt x="74052" y="14052"/>
                          <a:pt x="73605" y="12947"/>
                          <a:pt x="73605" y="12947"/>
                        </a:cubicBezTo>
                        <a:cubicBezTo>
                          <a:pt x="73605" y="12947"/>
                          <a:pt x="72713" y="12631"/>
                          <a:pt x="72713" y="12631"/>
                        </a:cubicBezTo>
                        <a:cubicBezTo>
                          <a:pt x="72490" y="12473"/>
                          <a:pt x="71821" y="12157"/>
                          <a:pt x="71598" y="12315"/>
                        </a:cubicBezTo>
                        <a:cubicBezTo>
                          <a:pt x="71375" y="12473"/>
                          <a:pt x="70929" y="12947"/>
                          <a:pt x="71375" y="13263"/>
                        </a:cubicBezTo>
                        <a:cubicBezTo>
                          <a:pt x="71821" y="13736"/>
                          <a:pt x="72267" y="14052"/>
                          <a:pt x="72044" y="14052"/>
                        </a:cubicBezTo>
                        <a:cubicBezTo>
                          <a:pt x="71598" y="14210"/>
                          <a:pt x="71375" y="14368"/>
                          <a:pt x="71152" y="14210"/>
                        </a:cubicBezTo>
                        <a:cubicBezTo>
                          <a:pt x="70929" y="14210"/>
                          <a:pt x="70483" y="13894"/>
                          <a:pt x="69814" y="14052"/>
                        </a:cubicBezTo>
                        <a:cubicBezTo>
                          <a:pt x="69144" y="14210"/>
                          <a:pt x="68475" y="15157"/>
                          <a:pt x="68475" y="15157"/>
                        </a:cubicBezTo>
                        <a:cubicBezTo>
                          <a:pt x="68475" y="15157"/>
                          <a:pt x="69144" y="16105"/>
                          <a:pt x="69368" y="16263"/>
                        </a:cubicBezTo>
                        <a:cubicBezTo>
                          <a:pt x="69591" y="16263"/>
                          <a:pt x="69814" y="16578"/>
                          <a:pt x="69814" y="16894"/>
                        </a:cubicBezTo>
                        <a:cubicBezTo>
                          <a:pt x="69591" y="17210"/>
                          <a:pt x="69814" y="16736"/>
                          <a:pt x="69368" y="16894"/>
                        </a:cubicBezTo>
                        <a:cubicBezTo>
                          <a:pt x="68698" y="17052"/>
                          <a:pt x="68475" y="17210"/>
                          <a:pt x="68029" y="17210"/>
                        </a:cubicBezTo>
                        <a:cubicBezTo>
                          <a:pt x="67583" y="17210"/>
                          <a:pt x="66468" y="18157"/>
                          <a:pt x="66468" y="18157"/>
                        </a:cubicBezTo>
                        <a:cubicBezTo>
                          <a:pt x="67137" y="18789"/>
                          <a:pt x="67137" y="18789"/>
                          <a:pt x="67137" y="18789"/>
                        </a:cubicBezTo>
                        <a:cubicBezTo>
                          <a:pt x="67137" y="18789"/>
                          <a:pt x="65353" y="19263"/>
                          <a:pt x="64907" y="19421"/>
                        </a:cubicBezTo>
                        <a:cubicBezTo>
                          <a:pt x="64684" y="19421"/>
                          <a:pt x="65576" y="19263"/>
                          <a:pt x="64460" y="19421"/>
                        </a:cubicBezTo>
                        <a:cubicBezTo>
                          <a:pt x="63568" y="19736"/>
                          <a:pt x="62899" y="20368"/>
                          <a:pt x="62676" y="20684"/>
                        </a:cubicBezTo>
                        <a:cubicBezTo>
                          <a:pt x="62676" y="20842"/>
                          <a:pt x="61784" y="20842"/>
                          <a:pt x="61784" y="21315"/>
                        </a:cubicBezTo>
                        <a:cubicBezTo>
                          <a:pt x="61784" y="21631"/>
                          <a:pt x="62007" y="22263"/>
                          <a:pt x="61784" y="22421"/>
                        </a:cubicBezTo>
                        <a:cubicBezTo>
                          <a:pt x="61784" y="22578"/>
                          <a:pt x="61784" y="22578"/>
                          <a:pt x="61784" y="22894"/>
                        </a:cubicBezTo>
                        <a:cubicBezTo>
                          <a:pt x="61784" y="23210"/>
                          <a:pt x="61561" y="23526"/>
                          <a:pt x="62230" y="23526"/>
                        </a:cubicBezTo>
                        <a:cubicBezTo>
                          <a:pt x="62899" y="23526"/>
                          <a:pt x="63791" y="23210"/>
                          <a:pt x="64014" y="23052"/>
                        </a:cubicBezTo>
                        <a:cubicBezTo>
                          <a:pt x="64014" y="22894"/>
                          <a:pt x="64237" y="22263"/>
                          <a:pt x="64460" y="22578"/>
                        </a:cubicBezTo>
                        <a:cubicBezTo>
                          <a:pt x="64907" y="22736"/>
                          <a:pt x="64907" y="23368"/>
                          <a:pt x="64907" y="23368"/>
                        </a:cubicBezTo>
                        <a:cubicBezTo>
                          <a:pt x="64907" y="23368"/>
                          <a:pt x="64907" y="24000"/>
                          <a:pt x="64907" y="24157"/>
                        </a:cubicBezTo>
                        <a:cubicBezTo>
                          <a:pt x="64684" y="24473"/>
                          <a:pt x="66245" y="24157"/>
                          <a:pt x="64684" y="24631"/>
                        </a:cubicBezTo>
                        <a:cubicBezTo>
                          <a:pt x="63122" y="25263"/>
                          <a:pt x="62676" y="25263"/>
                          <a:pt x="62676" y="25421"/>
                        </a:cubicBezTo>
                        <a:cubicBezTo>
                          <a:pt x="62676" y="25736"/>
                          <a:pt x="63568" y="26526"/>
                          <a:pt x="62453" y="26210"/>
                        </a:cubicBezTo>
                        <a:cubicBezTo>
                          <a:pt x="61338" y="26052"/>
                          <a:pt x="61338" y="26210"/>
                          <a:pt x="61338" y="26052"/>
                        </a:cubicBezTo>
                        <a:cubicBezTo>
                          <a:pt x="61115" y="25894"/>
                          <a:pt x="61561" y="26842"/>
                          <a:pt x="60223" y="25421"/>
                        </a:cubicBezTo>
                        <a:cubicBezTo>
                          <a:pt x="58884" y="24000"/>
                          <a:pt x="58884" y="24157"/>
                          <a:pt x="58884" y="23842"/>
                        </a:cubicBezTo>
                        <a:cubicBezTo>
                          <a:pt x="58884" y="23526"/>
                          <a:pt x="58661" y="22421"/>
                          <a:pt x="58661" y="22421"/>
                        </a:cubicBezTo>
                        <a:cubicBezTo>
                          <a:pt x="58661" y="22421"/>
                          <a:pt x="58438" y="21315"/>
                          <a:pt x="57769" y="21789"/>
                        </a:cubicBezTo>
                        <a:cubicBezTo>
                          <a:pt x="56877" y="22263"/>
                          <a:pt x="56877" y="23052"/>
                          <a:pt x="56877" y="23052"/>
                        </a:cubicBezTo>
                        <a:cubicBezTo>
                          <a:pt x="56877" y="23052"/>
                          <a:pt x="55762" y="23842"/>
                          <a:pt x="55539" y="24000"/>
                        </a:cubicBezTo>
                        <a:cubicBezTo>
                          <a:pt x="55315" y="24000"/>
                          <a:pt x="54869" y="24000"/>
                          <a:pt x="54200" y="24315"/>
                        </a:cubicBezTo>
                        <a:cubicBezTo>
                          <a:pt x="53754" y="24789"/>
                          <a:pt x="52193" y="26368"/>
                          <a:pt x="52193" y="26368"/>
                        </a:cubicBezTo>
                        <a:cubicBezTo>
                          <a:pt x="52193" y="26368"/>
                          <a:pt x="51301" y="27473"/>
                          <a:pt x="51524" y="27789"/>
                        </a:cubicBezTo>
                        <a:cubicBezTo>
                          <a:pt x="51747" y="28105"/>
                          <a:pt x="52416" y="28578"/>
                          <a:pt x="52416" y="28578"/>
                        </a:cubicBezTo>
                        <a:cubicBezTo>
                          <a:pt x="52416" y="28578"/>
                          <a:pt x="52639" y="28421"/>
                          <a:pt x="52639" y="28894"/>
                        </a:cubicBezTo>
                        <a:cubicBezTo>
                          <a:pt x="52639" y="29368"/>
                          <a:pt x="53754" y="29526"/>
                          <a:pt x="53754" y="29526"/>
                        </a:cubicBezTo>
                        <a:cubicBezTo>
                          <a:pt x="53754" y="29526"/>
                          <a:pt x="54200" y="29684"/>
                          <a:pt x="53754" y="30000"/>
                        </a:cubicBezTo>
                        <a:cubicBezTo>
                          <a:pt x="53085" y="30315"/>
                          <a:pt x="51301" y="30473"/>
                          <a:pt x="51301" y="30473"/>
                        </a:cubicBezTo>
                        <a:cubicBezTo>
                          <a:pt x="49516" y="30473"/>
                          <a:pt x="49516" y="30473"/>
                          <a:pt x="49516" y="30473"/>
                        </a:cubicBezTo>
                        <a:cubicBezTo>
                          <a:pt x="49516" y="30473"/>
                          <a:pt x="48624" y="31263"/>
                          <a:pt x="48401" y="31263"/>
                        </a:cubicBezTo>
                        <a:cubicBezTo>
                          <a:pt x="47955" y="31421"/>
                          <a:pt x="47286" y="31736"/>
                          <a:pt x="47063" y="32210"/>
                        </a:cubicBezTo>
                        <a:cubicBezTo>
                          <a:pt x="47063" y="32526"/>
                          <a:pt x="45055" y="33789"/>
                          <a:pt x="45055" y="33789"/>
                        </a:cubicBezTo>
                        <a:cubicBezTo>
                          <a:pt x="45055" y="33789"/>
                          <a:pt x="45055" y="34263"/>
                          <a:pt x="45055" y="34421"/>
                        </a:cubicBezTo>
                        <a:cubicBezTo>
                          <a:pt x="45055" y="34578"/>
                          <a:pt x="44163" y="34894"/>
                          <a:pt x="44609" y="35052"/>
                        </a:cubicBezTo>
                        <a:cubicBezTo>
                          <a:pt x="45055" y="35210"/>
                          <a:pt x="45724" y="35368"/>
                          <a:pt x="46171" y="34736"/>
                        </a:cubicBezTo>
                        <a:cubicBezTo>
                          <a:pt x="46617" y="34263"/>
                          <a:pt x="46617" y="33473"/>
                          <a:pt x="46617" y="33473"/>
                        </a:cubicBezTo>
                        <a:cubicBezTo>
                          <a:pt x="46617" y="33473"/>
                          <a:pt x="47063" y="33157"/>
                          <a:pt x="47509" y="33157"/>
                        </a:cubicBezTo>
                        <a:cubicBezTo>
                          <a:pt x="48178" y="33157"/>
                          <a:pt x="48847" y="32684"/>
                          <a:pt x="49516" y="32526"/>
                        </a:cubicBezTo>
                        <a:cubicBezTo>
                          <a:pt x="50185" y="32526"/>
                          <a:pt x="51078" y="31736"/>
                          <a:pt x="51301" y="31736"/>
                        </a:cubicBezTo>
                        <a:cubicBezTo>
                          <a:pt x="51747" y="31736"/>
                          <a:pt x="51524" y="31894"/>
                          <a:pt x="52416" y="31736"/>
                        </a:cubicBezTo>
                        <a:cubicBezTo>
                          <a:pt x="53308" y="31736"/>
                          <a:pt x="54200" y="31736"/>
                          <a:pt x="54423" y="31578"/>
                        </a:cubicBezTo>
                        <a:cubicBezTo>
                          <a:pt x="54869" y="31421"/>
                          <a:pt x="56654" y="32210"/>
                          <a:pt x="56877" y="32368"/>
                        </a:cubicBezTo>
                        <a:cubicBezTo>
                          <a:pt x="56877" y="32526"/>
                          <a:pt x="55315" y="32684"/>
                          <a:pt x="55985" y="33000"/>
                        </a:cubicBezTo>
                        <a:cubicBezTo>
                          <a:pt x="56877" y="33315"/>
                          <a:pt x="56877" y="33473"/>
                          <a:pt x="57100" y="33473"/>
                        </a:cubicBezTo>
                        <a:cubicBezTo>
                          <a:pt x="57323" y="33473"/>
                          <a:pt x="57769" y="33315"/>
                          <a:pt x="58438" y="33157"/>
                        </a:cubicBezTo>
                        <a:cubicBezTo>
                          <a:pt x="58884" y="32842"/>
                          <a:pt x="57992" y="32368"/>
                          <a:pt x="59330" y="32684"/>
                        </a:cubicBezTo>
                        <a:cubicBezTo>
                          <a:pt x="60446" y="33000"/>
                          <a:pt x="60446" y="33315"/>
                          <a:pt x="60446" y="33315"/>
                        </a:cubicBezTo>
                        <a:cubicBezTo>
                          <a:pt x="60223" y="33631"/>
                          <a:pt x="60223" y="33631"/>
                          <a:pt x="60223" y="33631"/>
                        </a:cubicBezTo>
                        <a:cubicBezTo>
                          <a:pt x="59330" y="33789"/>
                          <a:pt x="59330" y="33789"/>
                          <a:pt x="59330" y="33789"/>
                        </a:cubicBezTo>
                        <a:cubicBezTo>
                          <a:pt x="57992" y="33631"/>
                          <a:pt x="57992" y="33631"/>
                          <a:pt x="57992" y="33631"/>
                        </a:cubicBezTo>
                        <a:cubicBezTo>
                          <a:pt x="57100" y="33947"/>
                          <a:pt x="57100" y="33947"/>
                          <a:pt x="57100" y="33947"/>
                        </a:cubicBezTo>
                        <a:cubicBezTo>
                          <a:pt x="57100" y="33947"/>
                          <a:pt x="56877" y="34105"/>
                          <a:pt x="56654" y="34105"/>
                        </a:cubicBezTo>
                        <a:cubicBezTo>
                          <a:pt x="56654" y="34105"/>
                          <a:pt x="54646" y="34263"/>
                          <a:pt x="54646" y="34263"/>
                        </a:cubicBezTo>
                        <a:cubicBezTo>
                          <a:pt x="53754" y="35210"/>
                          <a:pt x="53754" y="35210"/>
                          <a:pt x="53754" y="35210"/>
                        </a:cubicBezTo>
                        <a:cubicBezTo>
                          <a:pt x="53754" y="35210"/>
                          <a:pt x="54423" y="35842"/>
                          <a:pt x="54423" y="35842"/>
                        </a:cubicBezTo>
                        <a:cubicBezTo>
                          <a:pt x="54646" y="35842"/>
                          <a:pt x="55985" y="35526"/>
                          <a:pt x="55985" y="35684"/>
                        </a:cubicBezTo>
                        <a:cubicBezTo>
                          <a:pt x="56208" y="35684"/>
                          <a:pt x="56431" y="36000"/>
                          <a:pt x="56208" y="36157"/>
                        </a:cubicBezTo>
                        <a:cubicBezTo>
                          <a:pt x="56208" y="36315"/>
                          <a:pt x="55315" y="36789"/>
                          <a:pt x="55315" y="36789"/>
                        </a:cubicBezTo>
                        <a:cubicBezTo>
                          <a:pt x="54869" y="37421"/>
                          <a:pt x="54869" y="37421"/>
                          <a:pt x="54869" y="37421"/>
                        </a:cubicBezTo>
                        <a:cubicBezTo>
                          <a:pt x="54869" y="37421"/>
                          <a:pt x="55762" y="37578"/>
                          <a:pt x="55985" y="37578"/>
                        </a:cubicBezTo>
                        <a:cubicBezTo>
                          <a:pt x="55985" y="37578"/>
                          <a:pt x="57323" y="37578"/>
                          <a:pt x="57100" y="37736"/>
                        </a:cubicBezTo>
                        <a:cubicBezTo>
                          <a:pt x="57100" y="37736"/>
                          <a:pt x="55092" y="37894"/>
                          <a:pt x="55092" y="37894"/>
                        </a:cubicBezTo>
                        <a:cubicBezTo>
                          <a:pt x="55092" y="37894"/>
                          <a:pt x="53308" y="37736"/>
                          <a:pt x="53531" y="37736"/>
                        </a:cubicBezTo>
                        <a:cubicBezTo>
                          <a:pt x="53531" y="37894"/>
                          <a:pt x="53308" y="38210"/>
                          <a:pt x="53308" y="38368"/>
                        </a:cubicBezTo>
                        <a:cubicBezTo>
                          <a:pt x="53308" y="38368"/>
                          <a:pt x="52862" y="38842"/>
                          <a:pt x="52862" y="38842"/>
                        </a:cubicBezTo>
                        <a:cubicBezTo>
                          <a:pt x="52639" y="38842"/>
                          <a:pt x="52193" y="38842"/>
                          <a:pt x="51970" y="39000"/>
                        </a:cubicBezTo>
                        <a:cubicBezTo>
                          <a:pt x="51970" y="39157"/>
                          <a:pt x="51747" y="39473"/>
                          <a:pt x="51747" y="39789"/>
                        </a:cubicBezTo>
                        <a:cubicBezTo>
                          <a:pt x="51747" y="39947"/>
                          <a:pt x="52416" y="40421"/>
                          <a:pt x="52416" y="40421"/>
                        </a:cubicBezTo>
                        <a:cubicBezTo>
                          <a:pt x="52193" y="40736"/>
                          <a:pt x="52193" y="40736"/>
                          <a:pt x="52193" y="40736"/>
                        </a:cubicBezTo>
                        <a:cubicBezTo>
                          <a:pt x="51301" y="41368"/>
                          <a:pt x="51301" y="41368"/>
                          <a:pt x="51301" y="41368"/>
                        </a:cubicBezTo>
                        <a:cubicBezTo>
                          <a:pt x="51301" y="41368"/>
                          <a:pt x="50855" y="41526"/>
                          <a:pt x="50855" y="41684"/>
                        </a:cubicBezTo>
                        <a:cubicBezTo>
                          <a:pt x="51078" y="41684"/>
                          <a:pt x="50185" y="42000"/>
                          <a:pt x="50185" y="42000"/>
                        </a:cubicBezTo>
                        <a:cubicBezTo>
                          <a:pt x="48624" y="42631"/>
                          <a:pt x="48624" y="42631"/>
                          <a:pt x="48624" y="42631"/>
                        </a:cubicBezTo>
                        <a:cubicBezTo>
                          <a:pt x="48624" y="42631"/>
                          <a:pt x="48847" y="43105"/>
                          <a:pt x="48847" y="43263"/>
                        </a:cubicBezTo>
                        <a:cubicBezTo>
                          <a:pt x="48847" y="43263"/>
                          <a:pt x="49516" y="43578"/>
                          <a:pt x="49070" y="43894"/>
                        </a:cubicBezTo>
                        <a:cubicBezTo>
                          <a:pt x="48624" y="44052"/>
                          <a:pt x="48178" y="44210"/>
                          <a:pt x="47955" y="44368"/>
                        </a:cubicBezTo>
                        <a:cubicBezTo>
                          <a:pt x="47955" y="44368"/>
                          <a:pt x="47509" y="44526"/>
                          <a:pt x="47509" y="45000"/>
                        </a:cubicBezTo>
                        <a:cubicBezTo>
                          <a:pt x="47732" y="45315"/>
                          <a:pt x="47286" y="45789"/>
                          <a:pt x="47063" y="45789"/>
                        </a:cubicBezTo>
                        <a:cubicBezTo>
                          <a:pt x="47063" y="45789"/>
                          <a:pt x="46617" y="45947"/>
                          <a:pt x="46617" y="46421"/>
                        </a:cubicBezTo>
                        <a:cubicBezTo>
                          <a:pt x="46840" y="46736"/>
                          <a:pt x="46617" y="47842"/>
                          <a:pt x="46617" y="47842"/>
                        </a:cubicBezTo>
                        <a:cubicBezTo>
                          <a:pt x="46617" y="47842"/>
                          <a:pt x="47286" y="48473"/>
                          <a:pt x="47509" y="48473"/>
                        </a:cubicBezTo>
                        <a:cubicBezTo>
                          <a:pt x="47509" y="48473"/>
                          <a:pt x="48624" y="48157"/>
                          <a:pt x="48847" y="48315"/>
                        </a:cubicBezTo>
                        <a:cubicBezTo>
                          <a:pt x="49293" y="48315"/>
                          <a:pt x="49962" y="48631"/>
                          <a:pt x="49962" y="48631"/>
                        </a:cubicBezTo>
                        <a:cubicBezTo>
                          <a:pt x="49962" y="48631"/>
                          <a:pt x="49739" y="49421"/>
                          <a:pt x="49516" y="49578"/>
                        </a:cubicBezTo>
                        <a:cubicBezTo>
                          <a:pt x="49293" y="49578"/>
                          <a:pt x="47955" y="49736"/>
                          <a:pt x="47955" y="49736"/>
                        </a:cubicBezTo>
                        <a:cubicBezTo>
                          <a:pt x="47955" y="49736"/>
                          <a:pt x="47286" y="49421"/>
                          <a:pt x="47063" y="49421"/>
                        </a:cubicBezTo>
                        <a:cubicBezTo>
                          <a:pt x="46840" y="49578"/>
                          <a:pt x="45724" y="50368"/>
                          <a:pt x="45724" y="50368"/>
                        </a:cubicBezTo>
                        <a:cubicBezTo>
                          <a:pt x="45724" y="50368"/>
                          <a:pt x="45724" y="50842"/>
                          <a:pt x="45501" y="50842"/>
                        </a:cubicBezTo>
                        <a:cubicBezTo>
                          <a:pt x="45055" y="51000"/>
                          <a:pt x="44832" y="50684"/>
                          <a:pt x="44832" y="51000"/>
                        </a:cubicBezTo>
                        <a:cubicBezTo>
                          <a:pt x="44832" y="51157"/>
                          <a:pt x="44832" y="51631"/>
                          <a:pt x="44832" y="51789"/>
                        </a:cubicBezTo>
                        <a:cubicBezTo>
                          <a:pt x="44832" y="52105"/>
                          <a:pt x="44832" y="52578"/>
                          <a:pt x="44832" y="52578"/>
                        </a:cubicBezTo>
                        <a:cubicBezTo>
                          <a:pt x="44832" y="52578"/>
                          <a:pt x="44386" y="53210"/>
                          <a:pt x="44163" y="53526"/>
                        </a:cubicBezTo>
                        <a:cubicBezTo>
                          <a:pt x="43940" y="53842"/>
                          <a:pt x="43494" y="54631"/>
                          <a:pt x="43494" y="54789"/>
                        </a:cubicBezTo>
                        <a:cubicBezTo>
                          <a:pt x="43717" y="54947"/>
                          <a:pt x="44163" y="55736"/>
                          <a:pt x="44163" y="55736"/>
                        </a:cubicBezTo>
                        <a:cubicBezTo>
                          <a:pt x="42602" y="56368"/>
                          <a:pt x="42602" y="56368"/>
                          <a:pt x="42602" y="56368"/>
                        </a:cubicBezTo>
                        <a:cubicBezTo>
                          <a:pt x="43048" y="57157"/>
                          <a:pt x="43048" y="57157"/>
                          <a:pt x="43048" y="57157"/>
                        </a:cubicBezTo>
                        <a:cubicBezTo>
                          <a:pt x="43048" y="57157"/>
                          <a:pt x="43271" y="57157"/>
                          <a:pt x="43271" y="57315"/>
                        </a:cubicBezTo>
                        <a:cubicBezTo>
                          <a:pt x="43271" y="57631"/>
                          <a:pt x="42156" y="58105"/>
                          <a:pt x="42156" y="58105"/>
                        </a:cubicBezTo>
                        <a:cubicBezTo>
                          <a:pt x="42156" y="58105"/>
                          <a:pt x="42156" y="58894"/>
                          <a:pt x="42156" y="59052"/>
                        </a:cubicBezTo>
                        <a:cubicBezTo>
                          <a:pt x="42156" y="59210"/>
                          <a:pt x="41040" y="58578"/>
                          <a:pt x="41040" y="58578"/>
                        </a:cubicBezTo>
                        <a:cubicBezTo>
                          <a:pt x="40148" y="58736"/>
                          <a:pt x="40148" y="58736"/>
                          <a:pt x="40148" y="58736"/>
                        </a:cubicBezTo>
                        <a:cubicBezTo>
                          <a:pt x="40148" y="59368"/>
                          <a:pt x="40148" y="59368"/>
                          <a:pt x="40148" y="59368"/>
                        </a:cubicBezTo>
                        <a:cubicBezTo>
                          <a:pt x="39702" y="60000"/>
                          <a:pt x="39702" y="60000"/>
                          <a:pt x="39702" y="60000"/>
                        </a:cubicBezTo>
                        <a:cubicBezTo>
                          <a:pt x="38141" y="60000"/>
                          <a:pt x="38141" y="60000"/>
                          <a:pt x="38141" y="60000"/>
                        </a:cubicBezTo>
                        <a:cubicBezTo>
                          <a:pt x="38141" y="60000"/>
                          <a:pt x="36802" y="60631"/>
                          <a:pt x="36802" y="60631"/>
                        </a:cubicBezTo>
                        <a:cubicBezTo>
                          <a:pt x="37026" y="60789"/>
                          <a:pt x="36356" y="61263"/>
                          <a:pt x="37026" y="61263"/>
                        </a:cubicBezTo>
                        <a:cubicBezTo>
                          <a:pt x="37472" y="61263"/>
                          <a:pt x="37695" y="61263"/>
                          <a:pt x="37918" y="61263"/>
                        </a:cubicBezTo>
                        <a:cubicBezTo>
                          <a:pt x="38364" y="61105"/>
                          <a:pt x="39256" y="60789"/>
                          <a:pt x="39479" y="60789"/>
                        </a:cubicBezTo>
                        <a:cubicBezTo>
                          <a:pt x="39702" y="60789"/>
                          <a:pt x="40371" y="60789"/>
                          <a:pt x="39925" y="61105"/>
                        </a:cubicBezTo>
                        <a:cubicBezTo>
                          <a:pt x="39479" y="61421"/>
                          <a:pt x="39033" y="61421"/>
                          <a:pt x="38810" y="61578"/>
                        </a:cubicBezTo>
                        <a:cubicBezTo>
                          <a:pt x="38364" y="61736"/>
                          <a:pt x="37695" y="61736"/>
                          <a:pt x="37695" y="62210"/>
                        </a:cubicBezTo>
                        <a:cubicBezTo>
                          <a:pt x="37695" y="62684"/>
                          <a:pt x="37472" y="63157"/>
                          <a:pt x="37472" y="63157"/>
                        </a:cubicBezTo>
                        <a:cubicBezTo>
                          <a:pt x="39033" y="62842"/>
                          <a:pt x="39033" y="62842"/>
                          <a:pt x="39033" y="62842"/>
                        </a:cubicBezTo>
                        <a:cubicBezTo>
                          <a:pt x="39033" y="62842"/>
                          <a:pt x="39479" y="62684"/>
                          <a:pt x="39479" y="63157"/>
                        </a:cubicBezTo>
                        <a:cubicBezTo>
                          <a:pt x="39702" y="63789"/>
                          <a:pt x="39033" y="63947"/>
                          <a:pt x="38587" y="63947"/>
                        </a:cubicBezTo>
                        <a:cubicBezTo>
                          <a:pt x="38364" y="63947"/>
                          <a:pt x="37249" y="63315"/>
                          <a:pt x="37249" y="63315"/>
                        </a:cubicBezTo>
                        <a:cubicBezTo>
                          <a:pt x="36356" y="63789"/>
                          <a:pt x="36356" y="63789"/>
                          <a:pt x="36356" y="63789"/>
                        </a:cubicBezTo>
                        <a:cubicBezTo>
                          <a:pt x="36356" y="63789"/>
                          <a:pt x="36133" y="63631"/>
                          <a:pt x="35241" y="64105"/>
                        </a:cubicBezTo>
                        <a:cubicBezTo>
                          <a:pt x="34349" y="64736"/>
                          <a:pt x="33903" y="65526"/>
                          <a:pt x="33903" y="65684"/>
                        </a:cubicBezTo>
                        <a:cubicBezTo>
                          <a:pt x="33903" y="65842"/>
                          <a:pt x="33903" y="66157"/>
                          <a:pt x="33234" y="66473"/>
                        </a:cubicBezTo>
                        <a:cubicBezTo>
                          <a:pt x="32788" y="66631"/>
                          <a:pt x="32118" y="67105"/>
                          <a:pt x="32118" y="67105"/>
                        </a:cubicBezTo>
                        <a:cubicBezTo>
                          <a:pt x="32118" y="67105"/>
                          <a:pt x="31895" y="67578"/>
                          <a:pt x="31672" y="67894"/>
                        </a:cubicBezTo>
                        <a:cubicBezTo>
                          <a:pt x="31449" y="68210"/>
                          <a:pt x="31449" y="68210"/>
                          <a:pt x="31449" y="68210"/>
                        </a:cubicBezTo>
                        <a:cubicBezTo>
                          <a:pt x="32342" y="68842"/>
                          <a:pt x="32342" y="68842"/>
                          <a:pt x="32342" y="68842"/>
                        </a:cubicBezTo>
                        <a:cubicBezTo>
                          <a:pt x="30780" y="69473"/>
                          <a:pt x="30780" y="69473"/>
                          <a:pt x="30780" y="69473"/>
                        </a:cubicBezTo>
                        <a:cubicBezTo>
                          <a:pt x="30111" y="69789"/>
                          <a:pt x="30111" y="69789"/>
                          <a:pt x="30111" y="69789"/>
                        </a:cubicBezTo>
                        <a:cubicBezTo>
                          <a:pt x="30111" y="69789"/>
                          <a:pt x="28773" y="70736"/>
                          <a:pt x="29665" y="70894"/>
                        </a:cubicBezTo>
                        <a:cubicBezTo>
                          <a:pt x="30780" y="71052"/>
                          <a:pt x="31449" y="71052"/>
                          <a:pt x="31449" y="71052"/>
                        </a:cubicBezTo>
                        <a:cubicBezTo>
                          <a:pt x="31449" y="71052"/>
                          <a:pt x="31226" y="72000"/>
                          <a:pt x="31449" y="72000"/>
                        </a:cubicBezTo>
                        <a:cubicBezTo>
                          <a:pt x="31672" y="72000"/>
                          <a:pt x="33680" y="72000"/>
                          <a:pt x="33680" y="72000"/>
                        </a:cubicBezTo>
                        <a:cubicBezTo>
                          <a:pt x="34795" y="71368"/>
                          <a:pt x="34795" y="71368"/>
                          <a:pt x="34795" y="71368"/>
                        </a:cubicBezTo>
                        <a:cubicBezTo>
                          <a:pt x="35464" y="71052"/>
                          <a:pt x="35464" y="71052"/>
                          <a:pt x="35464" y="71052"/>
                        </a:cubicBezTo>
                        <a:cubicBezTo>
                          <a:pt x="35910" y="71684"/>
                          <a:pt x="35910" y="71684"/>
                          <a:pt x="35910" y="71684"/>
                        </a:cubicBezTo>
                        <a:cubicBezTo>
                          <a:pt x="35910" y="71684"/>
                          <a:pt x="35464" y="72157"/>
                          <a:pt x="35018" y="72157"/>
                        </a:cubicBezTo>
                        <a:cubicBezTo>
                          <a:pt x="34349" y="72157"/>
                          <a:pt x="34572" y="72157"/>
                          <a:pt x="34126" y="72473"/>
                        </a:cubicBezTo>
                        <a:cubicBezTo>
                          <a:pt x="33457" y="72947"/>
                          <a:pt x="33234" y="73105"/>
                          <a:pt x="32788" y="73105"/>
                        </a:cubicBezTo>
                        <a:cubicBezTo>
                          <a:pt x="32565" y="73105"/>
                          <a:pt x="32118" y="73578"/>
                          <a:pt x="31672" y="72947"/>
                        </a:cubicBezTo>
                        <a:cubicBezTo>
                          <a:pt x="31449" y="72473"/>
                          <a:pt x="31003" y="72000"/>
                          <a:pt x="31003" y="72000"/>
                        </a:cubicBezTo>
                        <a:cubicBezTo>
                          <a:pt x="28996" y="71368"/>
                          <a:pt x="28996" y="71368"/>
                          <a:pt x="28996" y="71368"/>
                        </a:cubicBezTo>
                        <a:cubicBezTo>
                          <a:pt x="28550" y="71526"/>
                          <a:pt x="28550" y="71526"/>
                          <a:pt x="28550" y="71526"/>
                        </a:cubicBezTo>
                        <a:cubicBezTo>
                          <a:pt x="28550" y="71526"/>
                          <a:pt x="28327" y="72157"/>
                          <a:pt x="28104" y="72157"/>
                        </a:cubicBezTo>
                        <a:cubicBezTo>
                          <a:pt x="27881" y="72157"/>
                          <a:pt x="26542" y="72157"/>
                          <a:pt x="26096" y="72157"/>
                        </a:cubicBezTo>
                        <a:cubicBezTo>
                          <a:pt x="25873" y="72157"/>
                          <a:pt x="25427" y="72157"/>
                          <a:pt x="25427" y="72000"/>
                        </a:cubicBezTo>
                        <a:cubicBezTo>
                          <a:pt x="25204" y="71684"/>
                          <a:pt x="25427" y="71684"/>
                          <a:pt x="25204" y="71526"/>
                        </a:cubicBezTo>
                        <a:cubicBezTo>
                          <a:pt x="24981" y="71368"/>
                          <a:pt x="24535" y="70736"/>
                          <a:pt x="24089" y="70894"/>
                        </a:cubicBezTo>
                        <a:cubicBezTo>
                          <a:pt x="23866" y="70894"/>
                          <a:pt x="22750" y="71210"/>
                          <a:pt x="22750" y="71210"/>
                        </a:cubicBezTo>
                        <a:cubicBezTo>
                          <a:pt x="22527" y="72473"/>
                          <a:pt x="22527" y="72473"/>
                          <a:pt x="22527" y="72473"/>
                        </a:cubicBezTo>
                        <a:cubicBezTo>
                          <a:pt x="22527" y="72473"/>
                          <a:pt x="21858" y="72473"/>
                          <a:pt x="22081" y="72789"/>
                        </a:cubicBezTo>
                        <a:cubicBezTo>
                          <a:pt x="22081" y="73105"/>
                          <a:pt x="22973" y="73421"/>
                          <a:pt x="22973" y="73421"/>
                        </a:cubicBezTo>
                        <a:cubicBezTo>
                          <a:pt x="22973" y="73421"/>
                          <a:pt x="23420" y="73736"/>
                          <a:pt x="23420" y="73894"/>
                        </a:cubicBezTo>
                        <a:cubicBezTo>
                          <a:pt x="23643" y="74210"/>
                          <a:pt x="22973" y="74526"/>
                          <a:pt x="22973" y="74526"/>
                        </a:cubicBezTo>
                        <a:cubicBezTo>
                          <a:pt x="22973" y="74526"/>
                          <a:pt x="21858" y="74526"/>
                          <a:pt x="21635" y="74842"/>
                        </a:cubicBezTo>
                        <a:cubicBezTo>
                          <a:pt x="21635" y="75000"/>
                          <a:pt x="21858" y="75473"/>
                          <a:pt x="21635" y="75473"/>
                        </a:cubicBezTo>
                        <a:cubicBezTo>
                          <a:pt x="21412" y="75631"/>
                          <a:pt x="21189" y="75947"/>
                          <a:pt x="21189" y="76105"/>
                        </a:cubicBezTo>
                        <a:cubicBezTo>
                          <a:pt x="21189" y="76105"/>
                          <a:pt x="21635" y="76894"/>
                          <a:pt x="21635" y="76894"/>
                        </a:cubicBezTo>
                        <a:cubicBezTo>
                          <a:pt x="21635" y="76894"/>
                          <a:pt x="21635" y="77526"/>
                          <a:pt x="21189" y="77210"/>
                        </a:cubicBezTo>
                        <a:cubicBezTo>
                          <a:pt x="20743" y="76894"/>
                          <a:pt x="19405" y="76421"/>
                          <a:pt x="19405" y="76421"/>
                        </a:cubicBezTo>
                        <a:cubicBezTo>
                          <a:pt x="18513" y="75947"/>
                          <a:pt x="18513" y="75947"/>
                          <a:pt x="18513" y="75947"/>
                        </a:cubicBezTo>
                        <a:cubicBezTo>
                          <a:pt x="18513" y="75947"/>
                          <a:pt x="17620" y="76421"/>
                          <a:pt x="17397" y="76421"/>
                        </a:cubicBezTo>
                        <a:cubicBezTo>
                          <a:pt x="17397" y="76578"/>
                          <a:pt x="15836" y="76421"/>
                          <a:pt x="15390" y="76578"/>
                        </a:cubicBezTo>
                        <a:cubicBezTo>
                          <a:pt x="15167" y="76736"/>
                          <a:pt x="15167" y="76894"/>
                          <a:pt x="14944" y="77210"/>
                        </a:cubicBezTo>
                        <a:cubicBezTo>
                          <a:pt x="14498" y="77526"/>
                          <a:pt x="13828" y="77526"/>
                          <a:pt x="14498" y="78000"/>
                        </a:cubicBezTo>
                        <a:cubicBezTo>
                          <a:pt x="14944" y="78473"/>
                          <a:pt x="16059" y="78631"/>
                          <a:pt x="16059" y="78631"/>
                        </a:cubicBezTo>
                        <a:cubicBezTo>
                          <a:pt x="16059" y="78631"/>
                          <a:pt x="16505" y="78789"/>
                          <a:pt x="16059" y="79263"/>
                        </a:cubicBezTo>
                        <a:cubicBezTo>
                          <a:pt x="15613" y="79894"/>
                          <a:pt x="14721" y="79421"/>
                          <a:pt x="14498" y="79421"/>
                        </a:cubicBezTo>
                        <a:cubicBezTo>
                          <a:pt x="14275" y="79263"/>
                          <a:pt x="13382" y="78789"/>
                          <a:pt x="13159" y="78947"/>
                        </a:cubicBezTo>
                        <a:cubicBezTo>
                          <a:pt x="12936" y="79105"/>
                          <a:pt x="12267" y="79894"/>
                          <a:pt x="12267" y="79894"/>
                        </a:cubicBezTo>
                        <a:cubicBezTo>
                          <a:pt x="12267" y="79894"/>
                          <a:pt x="11598" y="80052"/>
                          <a:pt x="11375" y="79894"/>
                        </a:cubicBezTo>
                        <a:cubicBezTo>
                          <a:pt x="11152" y="79894"/>
                          <a:pt x="10483" y="79105"/>
                          <a:pt x="10260" y="79263"/>
                        </a:cubicBezTo>
                        <a:cubicBezTo>
                          <a:pt x="10037" y="79421"/>
                          <a:pt x="9814" y="79736"/>
                          <a:pt x="9814" y="79894"/>
                        </a:cubicBezTo>
                        <a:cubicBezTo>
                          <a:pt x="9814" y="80052"/>
                          <a:pt x="10260" y="80368"/>
                          <a:pt x="10037" y="80526"/>
                        </a:cubicBezTo>
                        <a:cubicBezTo>
                          <a:pt x="10037" y="80684"/>
                          <a:pt x="8921" y="80842"/>
                          <a:pt x="8698" y="81000"/>
                        </a:cubicBezTo>
                        <a:cubicBezTo>
                          <a:pt x="8698" y="81157"/>
                          <a:pt x="8698" y="80842"/>
                          <a:pt x="8252" y="81473"/>
                        </a:cubicBezTo>
                        <a:cubicBezTo>
                          <a:pt x="8029" y="82105"/>
                          <a:pt x="8252" y="82105"/>
                          <a:pt x="8029" y="82105"/>
                        </a:cubicBezTo>
                        <a:cubicBezTo>
                          <a:pt x="7583" y="82263"/>
                          <a:pt x="6691" y="81789"/>
                          <a:pt x="6691" y="81789"/>
                        </a:cubicBezTo>
                        <a:cubicBezTo>
                          <a:pt x="6691" y="81789"/>
                          <a:pt x="6022" y="81315"/>
                          <a:pt x="6022" y="81789"/>
                        </a:cubicBezTo>
                        <a:cubicBezTo>
                          <a:pt x="6022" y="82421"/>
                          <a:pt x="5799" y="83052"/>
                          <a:pt x="5799" y="83052"/>
                        </a:cubicBezTo>
                        <a:cubicBezTo>
                          <a:pt x="6468" y="83368"/>
                          <a:pt x="6468" y="83368"/>
                          <a:pt x="6468" y="83368"/>
                        </a:cubicBezTo>
                        <a:cubicBezTo>
                          <a:pt x="6468" y="83368"/>
                          <a:pt x="6245" y="83684"/>
                          <a:pt x="6022" y="83684"/>
                        </a:cubicBezTo>
                        <a:cubicBezTo>
                          <a:pt x="6022" y="83684"/>
                          <a:pt x="5576" y="83526"/>
                          <a:pt x="5353" y="83210"/>
                        </a:cubicBezTo>
                        <a:cubicBezTo>
                          <a:pt x="5130" y="83052"/>
                          <a:pt x="5353" y="83052"/>
                          <a:pt x="4684" y="82894"/>
                        </a:cubicBezTo>
                        <a:cubicBezTo>
                          <a:pt x="4014" y="82736"/>
                          <a:pt x="3568" y="82421"/>
                          <a:pt x="3568" y="82736"/>
                        </a:cubicBezTo>
                        <a:cubicBezTo>
                          <a:pt x="3568" y="82894"/>
                          <a:pt x="3345" y="83210"/>
                          <a:pt x="3568" y="83368"/>
                        </a:cubicBezTo>
                        <a:cubicBezTo>
                          <a:pt x="3791" y="83684"/>
                          <a:pt x="4237" y="84000"/>
                          <a:pt x="4237" y="84000"/>
                        </a:cubicBezTo>
                        <a:cubicBezTo>
                          <a:pt x="4460" y="84000"/>
                          <a:pt x="4460" y="84000"/>
                          <a:pt x="4460" y="84000"/>
                        </a:cubicBezTo>
                        <a:cubicBezTo>
                          <a:pt x="4460" y="84000"/>
                          <a:pt x="4237" y="84473"/>
                          <a:pt x="4014" y="84473"/>
                        </a:cubicBezTo>
                        <a:cubicBezTo>
                          <a:pt x="3791" y="84631"/>
                          <a:pt x="3568" y="84315"/>
                          <a:pt x="3345" y="84315"/>
                        </a:cubicBezTo>
                        <a:cubicBezTo>
                          <a:pt x="3345" y="84315"/>
                          <a:pt x="2676" y="84631"/>
                          <a:pt x="2676" y="84631"/>
                        </a:cubicBezTo>
                        <a:cubicBezTo>
                          <a:pt x="2676" y="84631"/>
                          <a:pt x="2899" y="84947"/>
                          <a:pt x="2899" y="85105"/>
                        </a:cubicBezTo>
                        <a:cubicBezTo>
                          <a:pt x="2899" y="85263"/>
                          <a:pt x="2230" y="85421"/>
                          <a:pt x="2230" y="85578"/>
                        </a:cubicBezTo>
                        <a:cubicBezTo>
                          <a:pt x="2007" y="85578"/>
                          <a:pt x="1784" y="85736"/>
                          <a:pt x="1784" y="85894"/>
                        </a:cubicBezTo>
                        <a:cubicBezTo>
                          <a:pt x="1784" y="86052"/>
                          <a:pt x="2007" y="86526"/>
                          <a:pt x="2230" y="86368"/>
                        </a:cubicBezTo>
                        <a:cubicBezTo>
                          <a:pt x="2453" y="86368"/>
                          <a:pt x="3568" y="86526"/>
                          <a:pt x="3568" y="86526"/>
                        </a:cubicBezTo>
                        <a:cubicBezTo>
                          <a:pt x="3568" y="86526"/>
                          <a:pt x="3345" y="86842"/>
                          <a:pt x="3122" y="87000"/>
                        </a:cubicBezTo>
                        <a:cubicBezTo>
                          <a:pt x="2899" y="87000"/>
                          <a:pt x="2676" y="87315"/>
                          <a:pt x="2453" y="87473"/>
                        </a:cubicBezTo>
                        <a:cubicBezTo>
                          <a:pt x="2230" y="87789"/>
                          <a:pt x="2676" y="88421"/>
                          <a:pt x="3122" y="88578"/>
                        </a:cubicBezTo>
                        <a:cubicBezTo>
                          <a:pt x="3791" y="88736"/>
                          <a:pt x="4460" y="88736"/>
                          <a:pt x="4460" y="89052"/>
                        </a:cubicBezTo>
                        <a:cubicBezTo>
                          <a:pt x="4237" y="89210"/>
                          <a:pt x="3122" y="89842"/>
                          <a:pt x="2899" y="90000"/>
                        </a:cubicBezTo>
                        <a:cubicBezTo>
                          <a:pt x="2676" y="90000"/>
                          <a:pt x="2230" y="90157"/>
                          <a:pt x="2230" y="90473"/>
                        </a:cubicBezTo>
                        <a:cubicBezTo>
                          <a:pt x="2230" y="90789"/>
                          <a:pt x="2230" y="90947"/>
                          <a:pt x="1784" y="91105"/>
                        </a:cubicBezTo>
                        <a:cubicBezTo>
                          <a:pt x="1338" y="91263"/>
                          <a:pt x="1115" y="91105"/>
                          <a:pt x="1115" y="91578"/>
                        </a:cubicBezTo>
                        <a:cubicBezTo>
                          <a:pt x="1115" y="91894"/>
                          <a:pt x="1338" y="92052"/>
                          <a:pt x="1561" y="92052"/>
                        </a:cubicBezTo>
                        <a:cubicBezTo>
                          <a:pt x="1784" y="92052"/>
                          <a:pt x="1784" y="92052"/>
                          <a:pt x="1784" y="92052"/>
                        </a:cubicBezTo>
                        <a:cubicBezTo>
                          <a:pt x="3568" y="91894"/>
                          <a:pt x="3568" y="91894"/>
                          <a:pt x="3568" y="91894"/>
                        </a:cubicBezTo>
                        <a:cubicBezTo>
                          <a:pt x="3568" y="91894"/>
                          <a:pt x="3345" y="92368"/>
                          <a:pt x="3345" y="92526"/>
                        </a:cubicBezTo>
                        <a:cubicBezTo>
                          <a:pt x="3345" y="92684"/>
                          <a:pt x="2007" y="93631"/>
                          <a:pt x="2007" y="93631"/>
                        </a:cubicBezTo>
                        <a:cubicBezTo>
                          <a:pt x="2007" y="93631"/>
                          <a:pt x="2230" y="94105"/>
                          <a:pt x="2007" y="94105"/>
                        </a:cubicBezTo>
                        <a:cubicBezTo>
                          <a:pt x="1561" y="94263"/>
                          <a:pt x="1115" y="94421"/>
                          <a:pt x="892" y="94578"/>
                        </a:cubicBezTo>
                        <a:cubicBezTo>
                          <a:pt x="892" y="94736"/>
                          <a:pt x="892" y="95052"/>
                          <a:pt x="892" y="95210"/>
                        </a:cubicBezTo>
                        <a:cubicBezTo>
                          <a:pt x="1115" y="95526"/>
                          <a:pt x="1561" y="96000"/>
                          <a:pt x="1561" y="96157"/>
                        </a:cubicBezTo>
                        <a:cubicBezTo>
                          <a:pt x="1784" y="96315"/>
                          <a:pt x="1338" y="96631"/>
                          <a:pt x="1338" y="96631"/>
                        </a:cubicBezTo>
                        <a:cubicBezTo>
                          <a:pt x="892" y="97894"/>
                          <a:pt x="892" y="97894"/>
                          <a:pt x="892" y="97894"/>
                        </a:cubicBezTo>
                        <a:cubicBezTo>
                          <a:pt x="892" y="97894"/>
                          <a:pt x="892" y="98526"/>
                          <a:pt x="892" y="98684"/>
                        </a:cubicBezTo>
                        <a:cubicBezTo>
                          <a:pt x="892" y="98842"/>
                          <a:pt x="0" y="99000"/>
                          <a:pt x="446" y="99473"/>
                        </a:cubicBezTo>
                        <a:cubicBezTo>
                          <a:pt x="892" y="99789"/>
                          <a:pt x="1115" y="99947"/>
                          <a:pt x="1338" y="100105"/>
                        </a:cubicBezTo>
                        <a:cubicBezTo>
                          <a:pt x="1784" y="100105"/>
                          <a:pt x="2899" y="100105"/>
                          <a:pt x="2899" y="100263"/>
                        </a:cubicBezTo>
                        <a:cubicBezTo>
                          <a:pt x="2899" y="100263"/>
                          <a:pt x="2899" y="100421"/>
                          <a:pt x="2230" y="100578"/>
                        </a:cubicBezTo>
                        <a:cubicBezTo>
                          <a:pt x="1784" y="100578"/>
                          <a:pt x="1338" y="100421"/>
                          <a:pt x="1338" y="100736"/>
                        </a:cubicBezTo>
                        <a:cubicBezTo>
                          <a:pt x="1115" y="100894"/>
                          <a:pt x="223" y="101842"/>
                          <a:pt x="223" y="101842"/>
                        </a:cubicBezTo>
                        <a:cubicBezTo>
                          <a:pt x="1338" y="102789"/>
                          <a:pt x="1338" y="102789"/>
                          <a:pt x="1338" y="102789"/>
                        </a:cubicBezTo>
                        <a:cubicBezTo>
                          <a:pt x="1338" y="102789"/>
                          <a:pt x="1784" y="102473"/>
                          <a:pt x="2007" y="102473"/>
                        </a:cubicBezTo>
                        <a:cubicBezTo>
                          <a:pt x="2230" y="102315"/>
                          <a:pt x="2899" y="102473"/>
                          <a:pt x="2899" y="102631"/>
                        </a:cubicBezTo>
                        <a:cubicBezTo>
                          <a:pt x="2899" y="102631"/>
                          <a:pt x="2453" y="103105"/>
                          <a:pt x="2230" y="103105"/>
                        </a:cubicBezTo>
                        <a:cubicBezTo>
                          <a:pt x="2230" y="103263"/>
                          <a:pt x="1561" y="103421"/>
                          <a:pt x="1561" y="103578"/>
                        </a:cubicBezTo>
                        <a:cubicBezTo>
                          <a:pt x="1561" y="103578"/>
                          <a:pt x="2230" y="104210"/>
                          <a:pt x="2230" y="104210"/>
                        </a:cubicBezTo>
                        <a:cubicBezTo>
                          <a:pt x="2230" y="104210"/>
                          <a:pt x="2676" y="104210"/>
                          <a:pt x="2676" y="104526"/>
                        </a:cubicBezTo>
                        <a:cubicBezTo>
                          <a:pt x="2676" y="104684"/>
                          <a:pt x="1784" y="105000"/>
                          <a:pt x="1784" y="105000"/>
                        </a:cubicBezTo>
                        <a:cubicBezTo>
                          <a:pt x="2007" y="105473"/>
                          <a:pt x="2007" y="105473"/>
                          <a:pt x="2007" y="105473"/>
                        </a:cubicBezTo>
                        <a:cubicBezTo>
                          <a:pt x="1338" y="106421"/>
                          <a:pt x="1338" y="106421"/>
                          <a:pt x="1338" y="106421"/>
                        </a:cubicBezTo>
                        <a:cubicBezTo>
                          <a:pt x="2453" y="106894"/>
                          <a:pt x="2453" y="106894"/>
                          <a:pt x="2453" y="106894"/>
                        </a:cubicBezTo>
                        <a:cubicBezTo>
                          <a:pt x="2453" y="106894"/>
                          <a:pt x="3345" y="106894"/>
                          <a:pt x="3122" y="107368"/>
                        </a:cubicBezTo>
                        <a:cubicBezTo>
                          <a:pt x="2676" y="107684"/>
                          <a:pt x="2007" y="108000"/>
                          <a:pt x="2007" y="108157"/>
                        </a:cubicBezTo>
                        <a:cubicBezTo>
                          <a:pt x="2007" y="108473"/>
                          <a:pt x="1784" y="108789"/>
                          <a:pt x="2230" y="108947"/>
                        </a:cubicBezTo>
                        <a:cubicBezTo>
                          <a:pt x="2676" y="108947"/>
                          <a:pt x="2676" y="109105"/>
                          <a:pt x="2899" y="108947"/>
                        </a:cubicBezTo>
                        <a:cubicBezTo>
                          <a:pt x="3345" y="108789"/>
                          <a:pt x="3791" y="108631"/>
                          <a:pt x="3791" y="108631"/>
                        </a:cubicBezTo>
                        <a:cubicBezTo>
                          <a:pt x="3791" y="108631"/>
                          <a:pt x="4460" y="108315"/>
                          <a:pt x="4907" y="108315"/>
                        </a:cubicBezTo>
                        <a:cubicBezTo>
                          <a:pt x="5130" y="108315"/>
                          <a:pt x="5576" y="108473"/>
                          <a:pt x="5799" y="108631"/>
                        </a:cubicBezTo>
                        <a:cubicBezTo>
                          <a:pt x="5799" y="108789"/>
                          <a:pt x="5799" y="108947"/>
                          <a:pt x="6022" y="109105"/>
                        </a:cubicBezTo>
                        <a:cubicBezTo>
                          <a:pt x="6245" y="109105"/>
                          <a:pt x="5799" y="109894"/>
                          <a:pt x="5799" y="109894"/>
                        </a:cubicBezTo>
                        <a:cubicBezTo>
                          <a:pt x="5130" y="110526"/>
                          <a:pt x="5130" y="110526"/>
                          <a:pt x="5130" y="110526"/>
                        </a:cubicBezTo>
                        <a:cubicBezTo>
                          <a:pt x="5130" y="110526"/>
                          <a:pt x="5799" y="111157"/>
                          <a:pt x="5576" y="111157"/>
                        </a:cubicBezTo>
                        <a:cubicBezTo>
                          <a:pt x="5576" y="111157"/>
                          <a:pt x="4460" y="111315"/>
                          <a:pt x="4237" y="111315"/>
                        </a:cubicBezTo>
                        <a:cubicBezTo>
                          <a:pt x="4014" y="111315"/>
                          <a:pt x="3791" y="111157"/>
                          <a:pt x="3791" y="111473"/>
                        </a:cubicBezTo>
                        <a:cubicBezTo>
                          <a:pt x="3568" y="111789"/>
                          <a:pt x="2899" y="112578"/>
                          <a:pt x="2899" y="112578"/>
                        </a:cubicBezTo>
                        <a:cubicBezTo>
                          <a:pt x="2899" y="112578"/>
                          <a:pt x="2676" y="112894"/>
                          <a:pt x="2899" y="113210"/>
                        </a:cubicBezTo>
                        <a:cubicBezTo>
                          <a:pt x="3122" y="113526"/>
                          <a:pt x="4014" y="114631"/>
                          <a:pt x="4014" y="114631"/>
                        </a:cubicBezTo>
                        <a:cubicBezTo>
                          <a:pt x="4014" y="114789"/>
                          <a:pt x="4460" y="115263"/>
                          <a:pt x="5130" y="115578"/>
                        </a:cubicBezTo>
                        <a:cubicBezTo>
                          <a:pt x="5799" y="115894"/>
                          <a:pt x="6245" y="115894"/>
                          <a:pt x="6245" y="116210"/>
                        </a:cubicBezTo>
                        <a:cubicBezTo>
                          <a:pt x="6468" y="116526"/>
                          <a:pt x="6468" y="116526"/>
                          <a:pt x="6468" y="116526"/>
                        </a:cubicBezTo>
                        <a:cubicBezTo>
                          <a:pt x="7360" y="117157"/>
                          <a:pt x="7360" y="117157"/>
                          <a:pt x="7360" y="117157"/>
                        </a:cubicBezTo>
                        <a:cubicBezTo>
                          <a:pt x="7360" y="117157"/>
                          <a:pt x="7806" y="117315"/>
                          <a:pt x="8475" y="117315"/>
                        </a:cubicBezTo>
                        <a:cubicBezTo>
                          <a:pt x="9144" y="117473"/>
                          <a:pt x="10037" y="117473"/>
                          <a:pt x="10037" y="117631"/>
                        </a:cubicBezTo>
                        <a:cubicBezTo>
                          <a:pt x="10260" y="117631"/>
                          <a:pt x="9368" y="118105"/>
                          <a:pt x="9368" y="118105"/>
                        </a:cubicBezTo>
                        <a:cubicBezTo>
                          <a:pt x="9368" y="118105"/>
                          <a:pt x="8252" y="118736"/>
                          <a:pt x="8698" y="118894"/>
                        </a:cubicBezTo>
                        <a:cubicBezTo>
                          <a:pt x="9144" y="119052"/>
                          <a:pt x="12267" y="119526"/>
                          <a:pt x="12267" y="119526"/>
                        </a:cubicBezTo>
                        <a:cubicBezTo>
                          <a:pt x="12267" y="119526"/>
                          <a:pt x="12713" y="119684"/>
                          <a:pt x="12713" y="119842"/>
                        </a:cubicBezTo>
                        <a:cubicBezTo>
                          <a:pt x="12713" y="120000"/>
                          <a:pt x="13382" y="119684"/>
                          <a:pt x="13382" y="119684"/>
                        </a:cubicBezTo>
                        <a:cubicBezTo>
                          <a:pt x="13605" y="119526"/>
                          <a:pt x="14498" y="119842"/>
                          <a:pt x="14721" y="119842"/>
                        </a:cubicBezTo>
                        <a:cubicBezTo>
                          <a:pt x="14721" y="119842"/>
                          <a:pt x="16059" y="119684"/>
                          <a:pt x="16059" y="119684"/>
                        </a:cubicBezTo>
                        <a:cubicBezTo>
                          <a:pt x="17174" y="119368"/>
                          <a:pt x="17174" y="119368"/>
                          <a:pt x="17174" y="119368"/>
                        </a:cubicBezTo>
                        <a:cubicBezTo>
                          <a:pt x="17174" y="119368"/>
                          <a:pt x="17843" y="118578"/>
                          <a:pt x="18289" y="118736"/>
                        </a:cubicBezTo>
                        <a:cubicBezTo>
                          <a:pt x="18959" y="118894"/>
                          <a:pt x="18736" y="119210"/>
                          <a:pt x="19182" y="119210"/>
                        </a:cubicBezTo>
                        <a:cubicBezTo>
                          <a:pt x="19405" y="119210"/>
                          <a:pt x="19851" y="119210"/>
                          <a:pt x="20297" y="118736"/>
                        </a:cubicBezTo>
                        <a:cubicBezTo>
                          <a:pt x="20743" y="118421"/>
                          <a:pt x="21189" y="118105"/>
                          <a:pt x="21412" y="117947"/>
                        </a:cubicBezTo>
                        <a:cubicBezTo>
                          <a:pt x="21635" y="117947"/>
                          <a:pt x="24312" y="116842"/>
                          <a:pt x="24312" y="116842"/>
                        </a:cubicBezTo>
                        <a:cubicBezTo>
                          <a:pt x="26096" y="114631"/>
                          <a:pt x="26096" y="114631"/>
                          <a:pt x="26096" y="114631"/>
                        </a:cubicBezTo>
                        <a:cubicBezTo>
                          <a:pt x="26765" y="113052"/>
                          <a:pt x="26765" y="113052"/>
                          <a:pt x="26765" y="113052"/>
                        </a:cubicBezTo>
                        <a:cubicBezTo>
                          <a:pt x="26765" y="113052"/>
                          <a:pt x="27657" y="112263"/>
                          <a:pt x="28327" y="112263"/>
                        </a:cubicBezTo>
                        <a:cubicBezTo>
                          <a:pt x="28773" y="112263"/>
                          <a:pt x="30334" y="111789"/>
                          <a:pt x="30111" y="111473"/>
                        </a:cubicBezTo>
                        <a:cubicBezTo>
                          <a:pt x="30111" y="111000"/>
                          <a:pt x="30780" y="110842"/>
                          <a:pt x="30780" y="111473"/>
                        </a:cubicBezTo>
                        <a:cubicBezTo>
                          <a:pt x="31003" y="112105"/>
                          <a:pt x="30780" y="112736"/>
                          <a:pt x="31226" y="112421"/>
                        </a:cubicBezTo>
                        <a:cubicBezTo>
                          <a:pt x="31895" y="112105"/>
                          <a:pt x="33011" y="111157"/>
                          <a:pt x="33011" y="111157"/>
                        </a:cubicBezTo>
                        <a:cubicBezTo>
                          <a:pt x="33011" y="111157"/>
                          <a:pt x="33680" y="110684"/>
                          <a:pt x="34126" y="110526"/>
                        </a:cubicBezTo>
                        <a:cubicBezTo>
                          <a:pt x="34572" y="110526"/>
                          <a:pt x="35241" y="109421"/>
                          <a:pt x="35241" y="109421"/>
                        </a:cubicBezTo>
                        <a:cubicBezTo>
                          <a:pt x="35241" y="109421"/>
                          <a:pt x="36133" y="108947"/>
                          <a:pt x="36579" y="109421"/>
                        </a:cubicBezTo>
                        <a:cubicBezTo>
                          <a:pt x="36802" y="110052"/>
                          <a:pt x="37695" y="110842"/>
                          <a:pt x="37695" y="111157"/>
                        </a:cubicBezTo>
                        <a:cubicBezTo>
                          <a:pt x="37695" y="111157"/>
                          <a:pt x="38141" y="111315"/>
                          <a:pt x="38587" y="111473"/>
                        </a:cubicBezTo>
                        <a:cubicBezTo>
                          <a:pt x="38587" y="111157"/>
                          <a:pt x="38587" y="111157"/>
                          <a:pt x="38587" y="111157"/>
                        </a:cubicBezTo>
                        <a:cubicBezTo>
                          <a:pt x="38587" y="110210"/>
                          <a:pt x="38587" y="110210"/>
                          <a:pt x="38587" y="110210"/>
                        </a:cubicBezTo>
                        <a:cubicBezTo>
                          <a:pt x="38587" y="110210"/>
                          <a:pt x="40148" y="111157"/>
                          <a:pt x="40148" y="111157"/>
                        </a:cubicBezTo>
                        <a:cubicBezTo>
                          <a:pt x="40371" y="111315"/>
                          <a:pt x="40371" y="112263"/>
                          <a:pt x="40371" y="112263"/>
                        </a:cubicBezTo>
                        <a:cubicBezTo>
                          <a:pt x="40817" y="112263"/>
                          <a:pt x="40817" y="112263"/>
                          <a:pt x="40817" y="112263"/>
                        </a:cubicBezTo>
                        <a:cubicBezTo>
                          <a:pt x="40817" y="112105"/>
                          <a:pt x="40817" y="112105"/>
                          <a:pt x="40817" y="112105"/>
                        </a:cubicBezTo>
                        <a:cubicBezTo>
                          <a:pt x="41263" y="112263"/>
                          <a:pt x="41263" y="112263"/>
                          <a:pt x="41263" y="112263"/>
                        </a:cubicBezTo>
                        <a:cubicBezTo>
                          <a:pt x="41486" y="112105"/>
                          <a:pt x="41486" y="112105"/>
                          <a:pt x="41486" y="112105"/>
                        </a:cubicBezTo>
                        <a:cubicBezTo>
                          <a:pt x="41710" y="111157"/>
                          <a:pt x="41710" y="111157"/>
                          <a:pt x="41710" y="111157"/>
                        </a:cubicBezTo>
                        <a:cubicBezTo>
                          <a:pt x="41933" y="110052"/>
                          <a:pt x="41933" y="110052"/>
                          <a:pt x="41933" y="110052"/>
                        </a:cubicBezTo>
                        <a:cubicBezTo>
                          <a:pt x="42602" y="109105"/>
                          <a:pt x="42602" y="109105"/>
                          <a:pt x="42602" y="109105"/>
                        </a:cubicBezTo>
                        <a:cubicBezTo>
                          <a:pt x="42602" y="108157"/>
                          <a:pt x="42602" y="108157"/>
                          <a:pt x="42602" y="108157"/>
                        </a:cubicBezTo>
                        <a:cubicBezTo>
                          <a:pt x="41710" y="107052"/>
                          <a:pt x="41710" y="107052"/>
                          <a:pt x="41710" y="107052"/>
                        </a:cubicBezTo>
                        <a:cubicBezTo>
                          <a:pt x="41263" y="106105"/>
                          <a:pt x="41263" y="106105"/>
                          <a:pt x="41263" y="106105"/>
                        </a:cubicBezTo>
                        <a:cubicBezTo>
                          <a:pt x="41933" y="105947"/>
                          <a:pt x="41933" y="105947"/>
                          <a:pt x="41933" y="105947"/>
                        </a:cubicBezTo>
                        <a:cubicBezTo>
                          <a:pt x="41933" y="105789"/>
                          <a:pt x="41933" y="105789"/>
                          <a:pt x="41933" y="105789"/>
                        </a:cubicBezTo>
                        <a:cubicBezTo>
                          <a:pt x="42156" y="105789"/>
                          <a:pt x="42156" y="105789"/>
                          <a:pt x="42156" y="105789"/>
                        </a:cubicBezTo>
                        <a:cubicBezTo>
                          <a:pt x="42602" y="105473"/>
                          <a:pt x="42602" y="105473"/>
                          <a:pt x="42602" y="105473"/>
                        </a:cubicBezTo>
                        <a:cubicBezTo>
                          <a:pt x="42825" y="104684"/>
                          <a:pt x="42825" y="104684"/>
                          <a:pt x="42825" y="104684"/>
                        </a:cubicBezTo>
                        <a:cubicBezTo>
                          <a:pt x="42379" y="104368"/>
                          <a:pt x="42379" y="104368"/>
                          <a:pt x="42379" y="104368"/>
                        </a:cubicBezTo>
                        <a:cubicBezTo>
                          <a:pt x="42379" y="103894"/>
                          <a:pt x="42379" y="103894"/>
                          <a:pt x="42379" y="103894"/>
                        </a:cubicBezTo>
                        <a:cubicBezTo>
                          <a:pt x="42379" y="103894"/>
                          <a:pt x="42825" y="103578"/>
                          <a:pt x="42825" y="103578"/>
                        </a:cubicBezTo>
                        <a:cubicBezTo>
                          <a:pt x="42825" y="103578"/>
                          <a:pt x="42825" y="103578"/>
                          <a:pt x="42825" y="103578"/>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048" y="103421"/>
                          <a:pt x="43048" y="103421"/>
                          <a:pt x="43048" y="103421"/>
                        </a:cubicBezTo>
                        <a:cubicBezTo>
                          <a:pt x="43271" y="103421"/>
                          <a:pt x="43271" y="103421"/>
                          <a:pt x="43271" y="103421"/>
                        </a:cubicBezTo>
                        <a:cubicBezTo>
                          <a:pt x="43271" y="103421"/>
                          <a:pt x="43271" y="103421"/>
                          <a:pt x="43271" y="103421"/>
                        </a:cubicBezTo>
                        <a:cubicBezTo>
                          <a:pt x="43271" y="103421"/>
                          <a:pt x="43271" y="103421"/>
                          <a:pt x="43271" y="103421"/>
                        </a:cubicBezTo>
                        <a:cubicBezTo>
                          <a:pt x="43271" y="103421"/>
                          <a:pt x="43271" y="103421"/>
                          <a:pt x="43271" y="103421"/>
                        </a:cubicBezTo>
                        <a:cubicBezTo>
                          <a:pt x="43271" y="103421"/>
                          <a:pt x="43494" y="103263"/>
                          <a:pt x="43494" y="103263"/>
                        </a:cubicBezTo>
                        <a:cubicBezTo>
                          <a:pt x="43717" y="103263"/>
                          <a:pt x="44163" y="103263"/>
                          <a:pt x="44163" y="103263"/>
                        </a:cubicBezTo>
                        <a:cubicBezTo>
                          <a:pt x="44386" y="103263"/>
                          <a:pt x="44386" y="103263"/>
                          <a:pt x="44386" y="103263"/>
                        </a:cubicBezTo>
                        <a:cubicBezTo>
                          <a:pt x="44832" y="102947"/>
                          <a:pt x="44832" y="102947"/>
                          <a:pt x="44832" y="102947"/>
                        </a:cubicBezTo>
                        <a:cubicBezTo>
                          <a:pt x="44832" y="102947"/>
                          <a:pt x="45724" y="102473"/>
                          <a:pt x="45724" y="102315"/>
                        </a:cubicBezTo>
                        <a:cubicBezTo>
                          <a:pt x="45724" y="102157"/>
                          <a:pt x="46171" y="101684"/>
                          <a:pt x="46171" y="101684"/>
                        </a:cubicBezTo>
                        <a:cubicBezTo>
                          <a:pt x="46171" y="100894"/>
                          <a:pt x="46171" y="100894"/>
                          <a:pt x="46171" y="100894"/>
                        </a:cubicBezTo>
                        <a:cubicBezTo>
                          <a:pt x="45724" y="100105"/>
                          <a:pt x="45724" y="100105"/>
                          <a:pt x="45724" y="100105"/>
                        </a:cubicBezTo>
                        <a:cubicBezTo>
                          <a:pt x="46171" y="99631"/>
                          <a:pt x="46171" y="99631"/>
                          <a:pt x="46171" y="99631"/>
                        </a:cubicBezTo>
                        <a:cubicBezTo>
                          <a:pt x="46840" y="98684"/>
                          <a:pt x="46840" y="98684"/>
                          <a:pt x="46840" y="98684"/>
                        </a:cubicBezTo>
                        <a:cubicBezTo>
                          <a:pt x="46394" y="97736"/>
                          <a:pt x="46394" y="97736"/>
                          <a:pt x="46394" y="97736"/>
                        </a:cubicBezTo>
                        <a:cubicBezTo>
                          <a:pt x="45055" y="96631"/>
                          <a:pt x="45055" y="96631"/>
                          <a:pt x="45055" y="96631"/>
                        </a:cubicBezTo>
                        <a:cubicBezTo>
                          <a:pt x="44386" y="95210"/>
                          <a:pt x="44386" y="95210"/>
                          <a:pt x="44386" y="95210"/>
                        </a:cubicBezTo>
                        <a:cubicBezTo>
                          <a:pt x="43940" y="94263"/>
                          <a:pt x="43940" y="94263"/>
                          <a:pt x="43940" y="94263"/>
                        </a:cubicBezTo>
                        <a:cubicBezTo>
                          <a:pt x="45055" y="93473"/>
                          <a:pt x="45055" y="93473"/>
                          <a:pt x="45055" y="93473"/>
                        </a:cubicBezTo>
                        <a:cubicBezTo>
                          <a:pt x="45278" y="93315"/>
                          <a:pt x="45278" y="93315"/>
                          <a:pt x="45278" y="93315"/>
                        </a:cubicBezTo>
                        <a:cubicBezTo>
                          <a:pt x="45278" y="93315"/>
                          <a:pt x="45278" y="93315"/>
                          <a:pt x="45278" y="93315"/>
                        </a:cubicBezTo>
                        <a:cubicBezTo>
                          <a:pt x="45501" y="93315"/>
                          <a:pt x="45501" y="93315"/>
                          <a:pt x="45501" y="93315"/>
                        </a:cubicBezTo>
                        <a:cubicBezTo>
                          <a:pt x="46171" y="93315"/>
                          <a:pt x="46171" y="93315"/>
                          <a:pt x="46171" y="93315"/>
                        </a:cubicBezTo>
                        <a:cubicBezTo>
                          <a:pt x="46171" y="93315"/>
                          <a:pt x="47286" y="93315"/>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157"/>
                          <a:pt x="47286" y="93157"/>
                          <a:pt x="47286" y="93157"/>
                        </a:cubicBezTo>
                        <a:cubicBezTo>
                          <a:pt x="47286" y="93000"/>
                          <a:pt x="47286" y="93000"/>
                          <a:pt x="47286" y="93000"/>
                        </a:cubicBezTo>
                        <a:cubicBezTo>
                          <a:pt x="47286" y="93000"/>
                          <a:pt x="47286" y="93000"/>
                          <a:pt x="47286" y="93000"/>
                        </a:cubicBezTo>
                        <a:cubicBezTo>
                          <a:pt x="47286" y="93000"/>
                          <a:pt x="47286" y="93000"/>
                          <a:pt x="47286" y="93000"/>
                        </a:cubicBezTo>
                        <a:cubicBezTo>
                          <a:pt x="47286" y="93000"/>
                          <a:pt x="47286" y="93000"/>
                          <a:pt x="47286" y="93000"/>
                        </a:cubicBezTo>
                        <a:cubicBezTo>
                          <a:pt x="47509" y="93000"/>
                          <a:pt x="47509" y="93000"/>
                          <a:pt x="47509" y="93000"/>
                        </a:cubicBezTo>
                        <a:cubicBezTo>
                          <a:pt x="47509" y="93000"/>
                          <a:pt x="47509" y="93000"/>
                          <a:pt x="47509" y="93000"/>
                        </a:cubicBezTo>
                        <a:cubicBezTo>
                          <a:pt x="47509" y="93000"/>
                          <a:pt x="47509" y="93000"/>
                          <a:pt x="47509" y="93000"/>
                        </a:cubicBezTo>
                        <a:cubicBezTo>
                          <a:pt x="47509" y="93000"/>
                          <a:pt x="47509" y="93000"/>
                          <a:pt x="47509" y="93000"/>
                        </a:cubicBezTo>
                        <a:cubicBezTo>
                          <a:pt x="47509" y="93000"/>
                          <a:pt x="47509" y="93000"/>
                          <a:pt x="47509" y="93000"/>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842"/>
                          <a:pt x="47509" y="92842"/>
                          <a:pt x="47509" y="92842"/>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684"/>
                          <a:pt x="47509" y="92684"/>
                          <a:pt x="47509" y="92684"/>
                        </a:cubicBezTo>
                        <a:cubicBezTo>
                          <a:pt x="47509" y="92526"/>
                          <a:pt x="47509" y="92526"/>
                          <a:pt x="47509" y="92526"/>
                        </a:cubicBezTo>
                        <a:cubicBezTo>
                          <a:pt x="47509" y="92526"/>
                          <a:pt x="47509" y="92526"/>
                          <a:pt x="47509" y="92526"/>
                        </a:cubicBezTo>
                        <a:cubicBezTo>
                          <a:pt x="47509" y="92526"/>
                          <a:pt x="47509" y="92526"/>
                          <a:pt x="47509" y="92526"/>
                        </a:cubicBezTo>
                        <a:cubicBezTo>
                          <a:pt x="47509" y="92526"/>
                          <a:pt x="47509" y="92526"/>
                          <a:pt x="47509" y="92526"/>
                        </a:cubicBezTo>
                        <a:cubicBezTo>
                          <a:pt x="47509" y="92526"/>
                          <a:pt x="47509" y="92526"/>
                          <a:pt x="47509" y="92526"/>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368"/>
                          <a:pt x="47509" y="92368"/>
                          <a:pt x="47509" y="92368"/>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210"/>
                          <a:pt x="47509" y="92210"/>
                          <a:pt x="47509" y="92210"/>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509" y="92052"/>
                          <a:pt x="47509" y="92052"/>
                          <a:pt x="47509" y="92052"/>
                        </a:cubicBezTo>
                        <a:cubicBezTo>
                          <a:pt x="47732" y="92052"/>
                          <a:pt x="47732" y="92052"/>
                          <a:pt x="47732" y="92052"/>
                        </a:cubicBezTo>
                        <a:cubicBezTo>
                          <a:pt x="47732" y="92052"/>
                          <a:pt x="47732" y="92052"/>
                          <a:pt x="47732" y="92052"/>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732" y="91894"/>
                          <a:pt x="47732" y="91894"/>
                          <a:pt x="47732" y="91894"/>
                        </a:cubicBezTo>
                        <a:cubicBezTo>
                          <a:pt x="47509" y="90473"/>
                          <a:pt x="47509" y="90473"/>
                          <a:pt x="47509" y="90473"/>
                        </a:cubicBezTo>
                        <a:cubicBezTo>
                          <a:pt x="46171" y="89684"/>
                          <a:pt x="46171" y="89684"/>
                          <a:pt x="46171" y="89684"/>
                        </a:cubicBezTo>
                        <a:cubicBezTo>
                          <a:pt x="44609" y="88894"/>
                          <a:pt x="44609" y="88894"/>
                          <a:pt x="44609" y="88894"/>
                        </a:cubicBezTo>
                        <a:cubicBezTo>
                          <a:pt x="43940" y="87631"/>
                          <a:pt x="43940" y="87631"/>
                          <a:pt x="43940" y="87631"/>
                        </a:cubicBezTo>
                        <a:cubicBezTo>
                          <a:pt x="43717" y="82736"/>
                          <a:pt x="43717" y="82736"/>
                          <a:pt x="43717" y="82736"/>
                        </a:cubicBezTo>
                        <a:cubicBezTo>
                          <a:pt x="43717" y="82736"/>
                          <a:pt x="42156" y="80684"/>
                          <a:pt x="42156" y="80526"/>
                        </a:cubicBezTo>
                        <a:cubicBezTo>
                          <a:pt x="41933" y="80210"/>
                          <a:pt x="41933" y="79894"/>
                          <a:pt x="42379" y="79578"/>
                        </a:cubicBezTo>
                        <a:cubicBezTo>
                          <a:pt x="42602" y="79421"/>
                          <a:pt x="42379" y="79105"/>
                          <a:pt x="42379" y="79105"/>
                        </a:cubicBezTo>
                        <a:cubicBezTo>
                          <a:pt x="42156" y="78000"/>
                          <a:pt x="42156" y="78000"/>
                          <a:pt x="42156" y="78000"/>
                        </a:cubicBezTo>
                        <a:cubicBezTo>
                          <a:pt x="42602" y="77526"/>
                          <a:pt x="42602" y="77526"/>
                          <a:pt x="42602" y="77526"/>
                        </a:cubicBezTo>
                        <a:cubicBezTo>
                          <a:pt x="42602" y="76578"/>
                          <a:pt x="42602" y="76578"/>
                          <a:pt x="42602" y="76578"/>
                        </a:cubicBezTo>
                        <a:cubicBezTo>
                          <a:pt x="41710" y="75315"/>
                          <a:pt x="41710" y="75315"/>
                          <a:pt x="41710" y="75315"/>
                        </a:cubicBezTo>
                        <a:cubicBezTo>
                          <a:pt x="41710" y="75315"/>
                          <a:pt x="41710" y="74368"/>
                          <a:pt x="41710" y="74210"/>
                        </a:cubicBezTo>
                        <a:cubicBezTo>
                          <a:pt x="41710" y="73894"/>
                          <a:pt x="42379" y="73263"/>
                          <a:pt x="42379" y="73263"/>
                        </a:cubicBezTo>
                        <a:cubicBezTo>
                          <a:pt x="42602" y="72157"/>
                          <a:pt x="42602" y="72157"/>
                          <a:pt x="42602" y="72157"/>
                        </a:cubicBezTo>
                        <a:cubicBezTo>
                          <a:pt x="43048" y="70578"/>
                          <a:pt x="43048" y="70578"/>
                          <a:pt x="43048" y="70578"/>
                        </a:cubicBezTo>
                        <a:cubicBezTo>
                          <a:pt x="45947" y="67894"/>
                          <a:pt x="45947" y="67894"/>
                          <a:pt x="45947" y="67894"/>
                        </a:cubicBezTo>
                        <a:cubicBezTo>
                          <a:pt x="46617" y="67894"/>
                          <a:pt x="46617" y="67894"/>
                          <a:pt x="46617" y="67894"/>
                        </a:cubicBezTo>
                        <a:cubicBezTo>
                          <a:pt x="51301" y="67736"/>
                          <a:pt x="51301" y="67736"/>
                          <a:pt x="51301" y="67736"/>
                        </a:cubicBezTo>
                        <a:cubicBezTo>
                          <a:pt x="51524" y="67421"/>
                          <a:pt x="51524" y="67421"/>
                          <a:pt x="51524" y="67421"/>
                        </a:cubicBezTo>
                        <a:cubicBezTo>
                          <a:pt x="51747" y="67263"/>
                          <a:pt x="51747" y="67263"/>
                          <a:pt x="51747" y="67263"/>
                        </a:cubicBezTo>
                        <a:cubicBezTo>
                          <a:pt x="52193" y="66315"/>
                          <a:pt x="52193" y="66315"/>
                          <a:pt x="52193" y="66315"/>
                        </a:cubicBezTo>
                        <a:cubicBezTo>
                          <a:pt x="51970" y="63789"/>
                          <a:pt x="51970" y="63789"/>
                          <a:pt x="51970" y="63789"/>
                        </a:cubicBezTo>
                        <a:cubicBezTo>
                          <a:pt x="49962" y="63473"/>
                          <a:pt x="49962" y="63473"/>
                          <a:pt x="49962" y="63473"/>
                        </a:cubicBezTo>
                        <a:cubicBezTo>
                          <a:pt x="49516" y="62684"/>
                          <a:pt x="49516" y="62684"/>
                          <a:pt x="49516" y="62684"/>
                        </a:cubicBezTo>
                        <a:cubicBezTo>
                          <a:pt x="52862" y="58578"/>
                          <a:pt x="52862" y="58578"/>
                          <a:pt x="52862" y="58578"/>
                        </a:cubicBezTo>
                        <a:cubicBezTo>
                          <a:pt x="52639" y="57631"/>
                          <a:pt x="52639" y="57631"/>
                          <a:pt x="52639" y="57631"/>
                        </a:cubicBezTo>
                        <a:cubicBezTo>
                          <a:pt x="53531" y="57157"/>
                          <a:pt x="53531" y="57157"/>
                          <a:pt x="53531" y="57157"/>
                        </a:cubicBezTo>
                        <a:cubicBezTo>
                          <a:pt x="53531" y="57157"/>
                          <a:pt x="53308" y="56526"/>
                          <a:pt x="53085" y="56210"/>
                        </a:cubicBezTo>
                        <a:cubicBezTo>
                          <a:pt x="52862" y="56052"/>
                          <a:pt x="53308" y="55105"/>
                          <a:pt x="53308" y="55105"/>
                        </a:cubicBezTo>
                        <a:cubicBezTo>
                          <a:pt x="53531" y="54000"/>
                          <a:pt x="53531" y="54000"/>
                          <a:pt x="53531" y="54000"/>
                        </a:cubicBezTo>
                        <a:cubicBezTo>
                          <a:pt x="53977" y="52736"/>
                          <a:pt x="53977" y="52736"/>
                          <a:pt x="53977" y="52736"/>
                        </a:cubicBezTo>
                        <a:cubicBezTo>
                          <a:pt x="52862" y="50052"/>
                          <a:pt x="52862" y="50052"/>
                          <a:pt x="52862" y="50052"/>
                        </a:cubicBezTo>
                        <a:cubicBezTo>
                          <a:pt x="53531" y="49578"/>
                          <a:pt x="53531" y="49578"/>
                          <a:pt x="53531" y="49578"/>
                        </a:cubicBezTo>
                        <a:cubicBezTo>
                          <a:pt x="54423" y="49578"/>
                          <a:pt x="54423" y="49578"/>
                          <a:pt x="54423" y="49578"/>
                        </a:cubicBezTo>
                        <a:cubicBezTo>
                          <a:pt x="54646" y="49578"/>
                          <a:pt x="55092" y="49421"/>
                          <a:pt x="55539" y="49421"/>
                        </a:cubicBezTo>
                        <a:cubicBezTo>
                          <a:pt x="55985" y="49263"/>
                          <a:pt x="56208" y="49105"/>
                          <a:pt x="56877" y="48631"/>
                        </a:cubicBezTo>
                        <a:cubicBezTo>
                          <a:pt x="57100" y="48315"/>
                          <a:pt x="57100" y="48315"/>
                          <a:pt x="57100" y="48315"/>
                        </a:cubicBezTo>
                        <a:cubicBezTo>
                          <a:pt x="57323" y="47526"/>
                          <a:pt x="57323" y="47526"/>
                          <a:pt x="57323" y="47526"/>
                        </a:cubicBezTo>
                        <a:cubicBezTo>
                          <a:pt x="57323" y="46105"/>
                          <a:pt x="57323" y="46105"/>
                          <a:pt x="57323" y="46105"/>
                        </a:cubicBezTo>
                        <a:cubicBezTo>
                          <a:pt x="58438" y="44052"/>
                          <a:pt x="58438" y="44052"/>
                          <a:pt x="58438" y="44052"/>
                        </a:cubicBezTo>
                        <a:cubicBezTo>
                          <a:pt x="58438" y="44052"/>
                          <a:pt x="60223" y="42473"/>
                          <a:pt x="60446" y="42157"/>
                        </a:cubicBezTo>
                        <a:cubicBezTo>
                          <a:pt x="60669" y="41842"/>
                          <a:pt x="61338" y="40736"/>
                          <a:pt x="61338" y="40736"/>
                        </a:cubicBezTo>
                        <a:cubicBezTo>
                          <a:pt x="61338" y="40736"/>
                          <a:pt x="60892" y="39473"/>
                          <a:pt x="60669" y="39157"/>
                        </a:cubicBezTo>
                        <a:cubicBezTo>
                          <a:pt x="60223" y="39000"/>
                          <a:pt x="59553" y="38052"/>
                          <a:pt x="59553" y="38052"/>
                        </a:cubicBezTo>
                        <a:cubicBezTo>
                          <a:pt x="59553" y="37263"/>
                          <a:pt x="59553" y="37263"/>
                          <a:pt x="59553" y="37263"/>
                        </a:cubicBezTo>
                        <a:cubicBezTo>
                          <a:pt x="60892" y="36631"/>
                          <a:pt x="60892" y="36631"/>
                          <a:pt x="60892" y="36631"/>
                        </a:cubicBezTo>
                        <a:cubicBezTo>
                          <a:pt x="61338" y="36000"/>
                          <a:pt x="61338" y="36000"/>
                          <a:pt x="61338" y="36000"/>
                        </a:cubicBezTo>
                        <a:cubicBezTo>
                          <a:pt x="61338" y="36000"/>
                          <a:pt x="61338" y="34894"/>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736"/>
                          <a:pt x="61338" y="34736"/>
                          <a:pt x="61338" y="34736"/>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578"/>
                          <a:pt x="61338" y="34578"/>
                          <a:pt x="61338" y="34578"/>
                        </a:cubicBezTo>
                        <a:cubicBezTo>
                          <a:pt x="61338" y="34421"/>
                          <a:pt x="61338" y="34421"/>
                          <a:pt x="61338" y="34421"/>
                        </a:cubicBezTo>
                        <a:cubicBezTo>
                          <a:pt x="61338" y="34421"/>
                          <a:pt x="61338" y="34421"/>
                          <a:pt x="61338" y="34421"/>
                        </a:cubicBezTo>
                        <a:cubicBezTo>
                          <a:pt x="61338" y="34421"/>
                          <a:pt x="61338" y="34421"/>
                          <a:pt x="61338" y="34421"/>
                        </a:cubicBezTo>
                        <a:cubicBezTo>
                          <a:pt x="61338" y="34421"/>
                          <a:pt x="61338" y="34421"/>
                          <a:pt x="61338"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421"/>
                          <a:pt x="61561" y="34421"/>
                          <a:pt x="61561" y="34421"/>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263"/>
                          <a:pt x="61561" y="34263"/>
                          <a:pt x="61561" y="34263"/>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561" y="34105"/>
                          <a:pt x="61561" y="34105"/>
                          <a:pt x="61561" y="34105"/>
                        </a:cubicBezTo>
                        <a:cubicBezTo>
                          <a:pt x="61784" y="34105"/>
                          <a:pt x="61784" y="34105"/>
                          <a:pt x="61784" y="34105"/>
                        </a:cubicBezTo>
                        <a:cubicBezTo>
                          <a:pt x="61784" y="34105"/>
                          <a:pt x="61784" y="34105"/>
                          <a:pt x="61784" y="34105"/>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947"/>
                          <a:pt x="61784" y="33947"/>
                          <a:pt x="61784" y="33947"/>
                        </a:cubicBezTo>
                        <a:cubicBezTo>
                          <a:pt x="61784" y="33631"/>
                          <a:pt x="62676" y="33000"/>
                          <a:pt x="62676" y="33000"/>
                        </a:cubicBezTo>
                        <a:cubicBezTo>
                          <a:pt x="63568" y="31736"/>
                          <a:pt x="63568" y="31736"/>
                          <a:pt x="63568" y="31736"/>
                        </a:cubicBezTo>
                        <a:cubicBezTo>
                          <a:pt x="65799" y="32526"/>
                          <a:pt x="65799" y="32526"/>
                          <a:pt x="65799" y="32526"/>
                        </a:cubicBezTo>
                        <a:cubicBezTo>
                          <a:pt x="66914" y="32526"/>
                          <a:pt x="66914" y="32526"/>
                          <a:pt x="66914" y="32526"/>
                        </a:cubicBezTo>
                        <a:cubicBezTo>
                          <a:pt x="67360" y="31894"/>
                          <a:pt x="67360" y="31894"/>
                          <a:pt x="67360" y="31894"/>
                        </a:cubicBezTo>
                        <a:cubicBezTo>
                          <a:pt x="67137" y="31421"/>
                          <a:pt x="66914" y="28105"/>
                          <a:pt x="67583" y="27473"/>
                        </a:cubicBezTo>
                        <a:cubicBezTo>
                          <a:pt x="67583" y="27473"/>
                          <a:pt x="70706" y="27631"/>
                          <a:pt x="71152" y="27473"/>
                        </a:cubicBezTo>
                        <a:cubicBezTo>
                          <a:pt x="71375" y="27473"/>
                          <a:pt x="72490" y="27789"/>
                          <a:pt x="72713" y="27947"/>
                        </a:cubicBezTo>
                        <a:cubicBezTo>
                          <a:pt x="72713" y="27947"/>
                          <a:pt x="72713" y="27947"/>
                          <a:pt x="72713" y="27947"/>
                        </a:cubicBezTo>
                        <a:cubicBezTo>
                          <a:pt x="72713" y="27947"/>
                          <a:pt x="72713" y="27947"/>
                          <a:pt x="72713" y="27947"/>
                        </a:cubicBezTo>
                        <a:cubicBezTo>
                          <a:pt x="72936" y="28105"/>
                          <a:pt x="73159" y="28105"/>
                          <a:pt x="73382" y="28105"/>
                        </a:cubicBezTo>
                        <a:cubicBezTo>
                          <a:pt x="73828" y="28263"/>
                          <a:pt x="74275" y="28263"/>
                          <a:pt x="74275" y="28263"/>
                        </a:cubicBezTo>
                        <a:cubicBezTo>
                          <a:pt x="75613" y="28105"/>
                          <a:pt x="75613" y="28105"/>
                          <a:pt x="75613" y="28105"/>
                        </a:cubicBezTo>
                        <a:cubicBezTo>
                          <a:pt x="76505" y="27315"/>
                          <a:pt x="76505" y="27315"/>
                          <a:pt x="76505" y="27315"/>
                        </a:cubicBezTo>
                        <a:cubicBezTo>
                          <a:pt x="75613" y="26684"/>
                          <a:pt x="75613" y="26684"/>
                          <a:pt x="75613" y="26684"/>
                        </a:cubicBezTo>
                        <a:cubicBezTo>
                          <a:pt x="76505" y="25894"/>
                          <a:pt x="76505" y="24789"/>
                          <a:pt x="76282" y="24631"/>
                        </a:cubicBezTo>
                        <a:cubicBezTo>
                          <a:pt x="76059" y="24315"/>
                          <a:pt x="75613" y="22894"/>
                          <a:pt x="75390" y="22736"/>
                        </a:cubicBezTo>
                        <a:cubicBezTo>
                          <a:pt x="75390" y="22578"/>
                          <a:pt x="75836" y="22421"/>
                          <a:pt x="75836" y="22421"/>
                        </a:cubicBezTo>
                        <a:cubicBezTo>
                          <a:pt x="76282" y="22421"/>
                          <a:pt x="76282" y="22421"/>
                          <a:pt x="76282" y="22421"/>
                        </a:cubicBezTo>
                        <a:cubicBezTo>
                          <a:pt x="76282" y="22421"/>
                          <a:pt x="76505" y="22263"/>
                          <a:pt x="76728" y="22263"/>
                        </a:cubicBezTo>
                        <a:cubicBezTo>
                          <a:pt x="77843" y="21631"/>
                          <a:pt x="77843" y="21631"/>
                          <a:pt x="77843" y="21631"/>
                        </a:cubicBezTo>
                        <a:cubicBezTo>
                          <a:pt x="78959" y="21789"/>
                          <a:pt x="78959" y="21789"/>
                          <a:pt x="78959" y="21789"/>
                        </a:cubicBezTo>
                        <a:cubicBezTo>
                          <a:pt x="78959" y="21789"/>
                          <a:pt x="78959" y="21631"/>
                          <a:pt x="79182" y="21631"/>
                        </a:cubicBezTo>
                        <a:cubicBezTo>
                          <a:pt x="79405" y="21631"/>
                          <a:pt x="79405" y="21473"/>
                          <a:pt x="79405" y="21473"/>
                        </a:cubicBezTo>
                        <a:cubicBezTo>
                          <a:pt x="79405" y="21473"/>
                          <a:pt x="78736" y="20526"/>
                          <a:pt x="79182" y="20052"/>
                        </a:cubicBezTo>
                        <a:cubicBezTo>
                          <a:pt x="79405" y="19736"/>
                          <a:pt x="79628"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074" y="19736"/>
                          <a:pt x="80074" y="19736"/>
                          <a:pt x="80074"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297" y="19736"/>
                          <a:pt x="80297" y="19736"/>
                          <a:pt x="80297"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520" y="19736"/>
                          <a:pt x="80520" y="19736"/>
                          <a:pt x="80520" y="19736"/>
                        </a:cubicBezTo>
                        <a:cubicBezTo>
                          <a:pt x="80743" y="19736"/>
                          <a:pt x="80743" y="19736"/>
                          <a:pt x="80743" y="19736"/>
                        </a:cubicBezTo>
                        <a:cubicBezTo>
                          <a:pt x="80743" y="19736"/>
                          <a:pt x="80743" y="19736"/>
                          <a:pt x="80743" y="19736"/>
                        </a:cubicBezTo>
                        <a:cubicBezTo>
                          <a:pt x="80743" y="19736"/>
                          <a:pt x="80743" y="19736"/>
                          <a:pt x="80743" y="19736"/>
                        </a:cubicBezTo>
                        <a:cubicBezTo>
                          <a:pt x="80743" y="19736"/>
                          <a:pt x="80743" y="19736"/>
                          <a:pt x="80743" y="19736"/>
                        </a:cubicBezTo>
                        <a:cubicBezTo>
                          <a:pt x="80966" y="19736"/>
                          <a:pt x="80966" y="19736"/>
                          <a:pt x="80966" y="19736"/>
                        </a:cubicBezTo>
                        <a:cubicBezTo>
                          <a:pt x="80966" y="19736"/>
                          <a:pt x="80966" y="19736"/>
                          <a:pt x="80966" y="19736"/>
                        </a:cubicBezTo>
                        <a:cubicBezTo>
                          <a:pt x="80966" y="19736"/>
                          <a:pt x="80966" y="19736"/>
                          <a:pt x="80966" y="19736"/>
                        </a:cubicBezTo>
                        <a:cubicBezTo>
                          <a:pt x="80966" y="19736"/>
                          <a:pt x="80966" y="19736"/>
                          <a:pt x="80966" y="19736"/>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ubicBezTo>
                          <a:pt x="80966" y="19894"/>
                          <a:pt x="80966" y="19894"/>
                          <a:pt x="80966" y="19894"/>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6" name="Shape 2053"/>
                  <p:cNvSpPr/>
                  <p:nvPr/>
                </p:nvSpPr>
                <p:spPr>
                  <a:xfrm>
                    <a:off x="3733035" y="1542150"/>
                    <a:ext cx="664055" cy="1216708"/>
                  </a:xfrm>
                  <a:custGeom>
                    <a:avLst/>
                    <a:gdLst/>
                    <a:ahLst/>
                    <a:cxnLst/>
                    <a:rect l="0" t="0" r="0" b="0"/>
                    <a:pathLst>
                      <a:path w="120000" h="120000" extrusionOk="0">
                        <a:moveTo>
                          <a:pt x="30103" y="109309"/>
                        </a:moveTo>
                        <a:cubicBezTo>
                          <a:pt x="28453" y="109963"/>
                          <a:pt x="28453" y="109963"/>
                          <a:pt x="28453" y="109963"/>
                        </a:cubicBezTo>
                        <a:cubicBezTo>
                          <a:pt x="28453" y="110836"/>
                          <a:pt x="28453" y="110836"/>
                          <a:pt x="28453" y="110836"/>
                        </a:cubicBezTo>
                        <a:cubicBezTo>
                          <a:pt x="27628" y="111709"/>
                          <a:pt x="27628" y="111709"/>
                          <a:pt x="27628" y="111709"/>
                        </a:cubicBezTo>
                        <a:cubicBezTo>
                          <a:pt x="27628" y="111709"/>
                          <a:pt x="26804" y="111927"/>
                          <a:pt x="26804" y="112145"/>
                        </a:cubicBezTo>
                        <a:cubicBezTo>
                          <a:pt x="26391" y="112363"/>
                          <a:pt x="24742" y="113018"/>
                          <a:pt x="24742" y="113018"/>
                        </a:cubicBezTo>
                        <a:cubicBezTo>
                          <a:pt x="24742" y="113018"/>
                          <a:pt x="24742" y="113236"/>
                          <a:pt x="24329" y="113236"/>
                        </a:cubicBezTo>
                        <a:cubicBezTo>
                          <a:pt x="23917" y="113236"/>
                          <a:pt x="21030" y="113890"/>
                          <a:pt x="21030" y="113890"/>
                        </a:cubicBezTo>
                        <a:cubicBezTo>
                          <a:pt x="20206" y="114763"/>
                          <a:pt x="20206" y="114763"/>
                          <a:pt x="20206" y="114763"/>
                        </a:cubicBezTo>
                        <a:cubicBezTo>
                          <a:pt x="18556" y="114981"/>
                          <a:pt x="18556" y="114981"/>
                          <a:pt x="18556" y="114981"/>
                        </a:cubicBezTo>
                        <a:cubicBezTo>
                          <a:pt x="17319" y="116072"/>
                          <a:pt x="17319" y="116072"/>
                          <a:pt x="17319" y="116072"/>
                        </a:cubicBezTo>
                        <a:cubicBezTo>
                          <a:pt x="15257" y="116509"/>
                          <a:pt x="15257" y="116509"/>
                          <a:pt x="15257" y="116509"/>
                        </a:cubicBezTo>
                        <a:cubicBezTo>
                          <a:pt x="13608" y="116727"/>
                          <a:pt x="13608" y="116727"/>
                          <a:pt x="13608" y="116727"/>
                        </a:cubicBezTo>
                        <a:cubicBezTo>
                          <a:pt x="11958" y="116290"/>
                          <a:pt x="11958" y="116290"/>
                          <a:pt x="11958" y="116290"/>
                        </a:cubicBezTo>
                        <a:cubicBezTo>
                          <a:pt x="10721" y="116727"/>
                          <a:pt x="10721" y="116727"/>
                          <a:pt x="10721" y="116727"/>
                        </a:cubicBezTo>
                        <a:cubicBezTo>
                          <a:pt x="9484" y="117163"/>
                          <a:pt x="9484" y="117163"/>
                          <a:pt x="9484" y="117163"/>
                        </a:cubicBezTo>
                        <a:cubicBezTo>
                          <a:pt x="9896" y="118036"/>
                          <a:pt x="9896" y="118036"/>
                          <a:pt x="9896" y="118036"/>
                        </a:cubicBezTo>
                        <a:cubicBezTo>
                          <a:pt x="11134" y="118472"/>
                          <a:pt x="11134" y="118472"/>
                          <a:pt x="11134" y="118472"/>
                        </a:cubicBezTo>
                        <a:cubicBezTo>
                          <a:pt x="11958" y="117818"/>
                          <a:pt x="11958" y="117818"/>
                          <a:pt x="11958" y="117818"/>
                        </a:cubicBezTo>
                        <a:cubicBezTo>
                          <a:pt x="14432" y="118254"/>
                          <a:pt x="14432" y="118254"/>
                          <a:pt x="14432" y="118254"/>
                        </a:cubicBezTo>
                        <a:cubicBezTo>
                          <a:pt x="14432" y="118254"/>
                          <a:pt x="15257" y="118909"/>
                          <a:pt x="15670" y="119127"/>
                        </a:cubicBezTo>
                        <a:cubicBezTo>
                          <a:pt x="15670" y="119345"/>
                          <a:pt x="15670" y="120000"/>
                          <a:pt x="16082" y="120000"/>
                        </a:cubicBezTo>
                        <a:cubicBezTo>
                          <a:pt x="16494" y="119781"/>
                          <a:pt x="18556" y="119127"/>
                          <a:pt x="18556" y="119127"/>
                        </a:cubicBezTo>
                        <a:cubicBezTo>
                          <a:pt x="17731" y="118254"/>
                          <a:pt x="17731" y="118254"/>
                          <a:pt x="17731" y="118254"/>
                        </a:cubicBezTo>
                        <a:cubicBezTo>
                          <a:pt x="17731" y="118254"/>
                          <a:pt x="18969" y="118036"/>
                          <a:pt x="19793" y="118036"/>
                        </a:cubicBezTo>
                        <a:cubicBezTo>
                          <a:pt x="20618" y="118036"/>
                          <a:pt x="21443" y="118254"/>
                          <a:pt x="21855" y="117818"/>
                        </a:cubicBezTo>
                        <a:cubicBezTo>
                          <a:pt x="21855" y="117600"/>
                          <a:pt x="23092" y="117600"/>
                          <a:pt x="23092" y="117600"/>
                        </a:cubicBezTo>
                        <a:cubicBezTo>
                          <a:pt x="23092" y="117600"/>
                          <a:pt x="23917" y="116945"/>
                          <a:pt x="23917" y="116945"/>
                        </a:cubicBezTo>
                        <a:cubicBezTo>
                          <a:pt x="23917" y="116727"/>
                          <a:pt x="25154" y="116290"/>
                          <a:pt x="25154" y="116290"/>
                        </a:cubicBezTo>
                        <a:cubicBezTo>
                          <a:pt x="25154" y="116290"/>
                          <a:pt x="28041" y="116945"/>
                          <a:pt x="28453" y="116945"/>
                        </a:cubicBezTo>
                        <a:cubicBezTo>
                          <a:pt x="28865" y="116945"/>
                          <a:pt x="31752" y="116509"/>
                          <a:pt x="31752" y="116509"/>
                        </a:cubicBezTo>
                        <a:cubicBezTo>
                          <a:pt x="32989" y="117163"/>
                          <a:pt x="32989" y="117163"/>
                          <a:pt x="32989" y="117163"/>
                        </a:cubicBezTo>
                        <a:cubicBezTo>
                          <a:pt x="32989" y="117163"/>
                          <a:pt x="32989" y="117600"/>
                          <a:pt x="33814" y="117818"/>
                        </a:cubicBezTo>
                        <a:cubicBezTo>
                          <a:pt x="34639" y="117818"/>
                          <a:pt x="35051" y="117818"/>
                          <a:pt x="35051" y="117818"/>
                        </a:cubicBezTo>
                        <a:cubicBezTo>
                          <a:pt x="36288" y="118690"/>
                          <a:pt x="36288" y="118690"/>
                          <a:pt x="36288" y="118690"/>
                        </a:cubicBezTo>
                        <a:cubicBezTo>
                          <a:pt x="37525" y="119127"/>
                          <a:pt x="37525" y="119127"/>
                          <a:pt x="37525" y="119127"/>
                        </a:cubicBezTo>
                        <a:cubicBezTo>
                          <a:pt x="37525" y="119127"/>
                          <a:pt x="38762" y="119127"/>
                          <a:pt x="38762" y="118909"/>
                        </a:cubicBezTo>
                        <a:cubicBezTo>
                          <a:pt x="38762" y="118690"/>
                          <a:pt x="39175" y="118254"/>
                          <a:pt x="39587" y="118036"/>
                        </a:cubicBezTo>
                        <a:cubicBezTo>
                          <a:pt x="40000" y="118036"/>
                          <a:pt x="41237" y="117818"/>
                          <a:pt x="41237" y="117818"/>
                        </a:cubicBezTo>
                        <a:cubicBezTo>
                          <a:pt x="41237" y="117818"/>
                          <a:pt x="41237" y="117381"/>
                          <a:pt x="41237" y="117163"/>
                        </a:cubicBezTo>
                        <a:cubicBezTo>
                          <a:pt x="41237" y="116727"/>
                          <a:pt x="41237" y="116072"/>
                          <a:pt x="41649" y="115854"/>
                        </a:cubicBezTo>
                        <a:cubicBezTo>
                          <a:pt x="41649" y="115854"/>
                          <a:pt x="42886" y="114981"/>
                          <a:pt x="42886" y="114981"/>
                        </a:cubicBezTo>
                        <a:cubicBezTo>
                          <a:pt x="44948" y="114763"/>
                          <a:pt x="44948" y="114763"/>
                          <a:pt x="44948" y="114763"/>
                        </a:cubicBezTo>
                        <a:cubicBezTo>
                          <a:pt x="49896" y="114545"/>
                          <a:pt x="49896" y="114545"/>
                          <a:pt x="49896" y="114545"/>
                        </a:cubicBezTo>
                        <a:cubicBezTo>
                          <a:pt x="51546" y="114545"/>
                          <a:pt x="51546" y="114545"/>
                          <a:pt x="51546" y="114545"/>
                        </a:cubicBezTo>
                        <a:cubicBezTo>
                          <a:pt x="53608" y="115418"/>
                          <a:pt x="53608" y="115418"/>
                          <a:pt x="53608" y="115418"/>
                        </a:cubicBezTo>
                        <a:cubicBezTo>
                          <a:pt x="55670" y="116509"/>
                          <a:pt x="55670" y="116509"/>
                          <a:pt x="55670" y="116509"/>
                        </a:cubicBezTo>
                        <a:cubicBezTo>
                          <a:pt x="55670" y="116509"/>
                          <a:pt x="56907" y="117381"/>
                          <a:pt x="56907" y="117163"/>
                        </a:cubicBezTo>
                        <a:cubicBezTo>
                          <a:pt x="57319" y="116727"/>
                          <a:pt x="57731" y="115854"/>
                          <a:pt x="58144" y="115854"/>
                        </a:cubicBezTo>
                        <a:cubicBezTo>
                          <a:pt x="58556" y="115854"/>
                          <a:pt x="59793" y="116727"/>
                          <a:pt x="59793" y="116727"/>
                        </a:cubicBezTo>
                        <a:cubicBezTo>
                          <a:pt x="61443" y="116945"/>
                          <a:pt x="61443" y="116945"/>
                          <a:pt x="61443" y="116945"/>
                        </a:cubicBezTo>
                        <a:cubicBezTo>
                          <a:pt x="62680" y="116945"/>
                          <a:pt x="62680" y="116945"/>
                          <a:pt x="62680" y="116945"/>
                        </a:cubicBezTo>
                        <a:cubicBezTo>
                          <a:pt x="63917" y="116290"/>
                          <a:pt x="63917" y="116290"/>
                          <a:pt x="63917" y="116290"/>
                        </a:cubicBezTo>
                        <a:cubicBezTo>
                          <a:pt x="63092" y="115636"/>
                          <a:pt x="63092" y="115636"/>
                          <a:pt x="63092" y="115636"/>
                        </a:cubicBezTo>
                        <a:cubicBezTo>
                          <a:pt x="64742" y="115854"/>
                          <a:pt x="64742" y="115854"/>
                          <a:pt x="64742" y="115854"/>
                        </a:cubicBezTo>
                        <a:cubicBezTo>
                          <a:pt x="69278" y="116072"/>
                          <a:pt x="69278" y="116072"/>
                          <a:pt x="69278" y="116072"/>
                        </a:cubicBezTo>
                        <a:cubicBezTo>
                          <a:pt x="71340" y="115854"/>
                          <a:pt x="71340" y="115854"/>
                          <a:pt x="71340" y="115854"/>
                        </a:cubicBezTo>
                        <a:cubicBezTo>
                          <a:pt x="72989" y="115636"/>
                          <a:pt x="72989" y="115636"/>
                          <a:pt x="72989" y="115636"/>
                        </a:cubicBezTo>
                        <a:cubicBezTo>
                          <a:pt x="72989" y="116072"/>
                          <a:pt x="72989" y="116072"/>
                          <a:pt x="72989" y="116072"/>
                        </a:cubicBezTo>
                        <a:cubicBezTo>
                          <a:pt x="70515" y="116509"/>
                          <a:pt x="70515" y="116509"/>
                          <a:pt x="70515" y="116509"/>
                        </a:cubicBezTo>
                        <a:cubicBezTo>
                          <a:pt x="70515" y="116509"/>
                          <a:pt x="69278" y="116509"/>
                          <a:pt x="69690" y="116727"/>
                        </a:cubicBezTo>
                        <a:cubicBezTo>
                          <a:pt x="70103" y="117163"/>
                          <a:pt x="72164" y="117600"/>
                          <a:pt x="72164" y="117600"/>
                        </a:cubicBezTo>
                        <a:cubicBezTo>
                          <a:pt x="72164" y="117600"/>
                          <a:pt x="70927" y="117818"/>
                          <a:pt x="72577" y="117818"/>
                        </a:cubicBezTo>
                        <a:cubicBezTo>
                          <a:pt x="74226" y="117818"/>
                          <a:pt x="75051" y="117600"/>
                          <a:pt x="75051" y="117600"/>
                        </a:cubicBezTo>
                        <a:cubicBezTo>
                          <a:pt x="76288" y="116945"/>
                          <a:pt x="76288" y="116945"/>
                          <a:pt x="76288" y="116945"/>
                        </a:cubicBezTo>
                        <a:cubicBezTo>
                          <a:pt x="75463" y="116509"/>
                          <a:pt x="75463" y="116509"/>
                          <a:pt x="75463" y="116509"/>
                        </a:cubicBezTo>
                        <a:cubicBezTo>
                          <a:pt x="73402" y="116290"/>
                          <a:pt x="73402" y="116290"/>
                          <a:pt x="73402" y="116290"/>
                        </a:cubicBezTo>
                        <a:cubicBezTo>
                          <a:pt x="73814" y="115418"/>
                          <a:pt x="73814" y="115418"/>
                          <a:pt x="73814" y="115418"/>
                        </a:cubicBezTo>
                        <a:cubicBezTo>
                          <a:pt x="74226" y="115418"/>
                          <a:pt x="74226" y="115418"/>
                          <a:pt x="74226" y="115418"/>
                        </a:cubicBezTo>
                        <a:cubicBezTo>
                          <a:pt x="75463" y="116072"/>
                          <a:pt x="75463" y="116072"/>
                          <a:pt x="75463" y="116072"/>
                        </a:cubicBezTo>
                        <a:cubicBezTo>
                          <a:pt x="76701" y="115636"/>
                          <a:pt x="76701" y="115636"/>
                          <a:pt x="76701" y="115636"/>
                        </a:cubicBezTo>
                        <a:cubicBezTo>
                          <a:pt x="78350" y="115854"/>
                          <a:pt x="78350" y="115854"/>
                          <a:pt x="78350" y="115854"/>
                        </a:cubicBezTo>
                        <a:cubicBezTo>
                          <a:pt x="79175" y="116727"/>
                          <a:pt x="79175" y="116727"/>
                          <a:pt x="79175" y="116727"/>
                        </a:cubicBezTo>
                        <a:cubicBezTo>
                          <a:pt x="79175" y="116727"/>
                          <a:pt x="80000" y="117163"/>
                          <a:pt x="80824" y="116727"/>
                        </a:cubicBezTo>
                        <a:cubicBezTo>
                          <a:pt x="81649" y="116509"/>
                          <a:pt x="82474" y="116290"/>
                          <a:pt x="82474" y="116290"/>
                        </a:cubicBezTo>
                        <a:cubicBezTo>
                          <a:pt x="87422" y="116509"/>
                          <a:pt x="87422" y="116509"/>
                          <a:pt x="87422" y="116509"/>
                        </a:cubicBezTo>
                        <a:cubicBezTo>
                          <a:pt x="87422" y="116509"/>
                          <a:pt x="89896" y="116290"/>
                          <a:pt x="90309" y="116727"/>
                        </a:cubicBezTo>
                        <a:cubicBezTo>
                          <a:pt x="90721" y="116945"/>
                          <a:pt x="91958" y="117381"/>
                          <a:pt x="91958" y="117381"/>
                        </a:cubicBezTo>
                        <a:cubicBezTo>
                          <a:pt x="94020" y="117600"/>
                          <a:pt x="94020" y="117600"/>
                          <a:pt x="94020" y="117600"/>
                        </a:cubicBezTo>
                        <a:cubicBezTo>
                          <a:pt x="96082" y="117600"/>
                          <a:pt x="96082" y="117600"/>
                          <a:pt x="96082" y="117600"/>
                        </a:cubicBezTo>
                        <a:cubicBezTo>
                          <a:pt x="96082" y="117600"/>
                          <a:pt x="96907" y="117163"/>
                          <a:pt x="97319" y="116945"/>
                        </a:cubicBezTo>
                        <a:cubicBezTo>
                          <a:pt x="98144" y="116945"/>
                          <a:pt x="99381" y="116509"/>
                          <a:pt x="99793" y="116509"/>
                        </a:cubicBezTo>
                        <a:cubicBezTo>
                          <a:pt x="100618" y="116509"/>
                          <a:pt x="102680" y="116290"/>
                          <a:pt x="102680" y="116290"/>
                        </a:cubicBezTo>
                        <a:cubicBezTo>
                          <a:pt x="103092" y="116290"/>
                          <a:pt x="103505" y="116509"/>
                          <a:pt x="104329" y="116290"/>
                        </a:cubicBezTo>
                        <a:cubicBezTo>
                          <a:pt x="104742" y="116290"/>
                          <a:pt x="105979" y="115200"/>
                          <a:pt x="105979" y="115200"/>
                        </a:cubicBezTo>
                        <a:cubicBezTo>
                          <a:pt x="105979" y="115200"/>
                          <a:pt x="106391" y="114763"/>
                          <a:pt x="107216" y="114763"/>
                        </a:cubicBezTo>
                        <a:cubicBezTo>
                          <a:pt x="108041" y="114763"/>
                          <a:pt x="109278" y="114763"/>
                          <a:pt x="109690" y="114545"/>
                        </a:cubicBezTo>
                        <a:cubicBezTo>
                          <a:pt x="110103" y="114109"/>
                          <a:pt x="110515" y="113890"/>
                          <a:pt x="110927" y="113672"/>
                        </a:cubicBezTo>
                        <a:cubicBezTo>
                          <a:pt x="111340" y="113454"/>
                          <a:pt x="112164" y="112800"/>
                          <a:pt x="111752" y="112581"/>
                        </a:cubicBezTo>
                        <a:cubicBezTo>
                          <a:pt x="111752" y="112363"/>
                          <a:pt x="112164" y="111490"/>
                          <a:pt x="112164" y="111490"/>
                        </a:cubicBezTo>
                        <a:cubicBezTo>
                          <a:pt x="112164" y="111490"/>
                          <a:pt x="110927" y="111490"/>
                          <a:pt x="110515" y="111490"/>
                        </a:cubicBezTo>
                        <a:cubicBezTo>
                          <a:pt x="110103" y="111272"/>
                          <a:pt x="108453" y="111490"/>
                          <a:pt x="108041" y="111272"/>
                        </a:cubicBezTo>
                        <a:cubicBezTo>
                          <a:pt x="107628" y="111272"/>
                          <a:pt x="105979" y="111272"/>
                          <a:pt x="105979" y="111272"/>
                        </a:cubicBezTo>
                        <a:cubicBezTo>
                          <a:pt x="105567" y="110836"/>
                          <a:pt x="105567" y="110836"/>
                          <a:pt x="105567" y="110836"/>
                        </a:cubicBezTo>
                        <a:cubicBezTo>
                          <a:pt x="105567" y="110836"/>
                          <a:pt x="105154" y="110618"/>
                          <a:pt x="104742" y="110400"/>
                        </a:cubicBezTo>
                        <a:cubicBezTo>
                          <a:pt x="104329" y="110400"/>
                          <a:pt x="104742" y="110400"/>
                          <a:pt x="103917" y="110181"/>
                        </a:cubicBezTo>
                        <a:cubicBezTo>
                          <a:pt x="103505" y="110181"/>
                          <a:pt x="102680" y="109745"/>
                          <a:pt x="102680" y="109745"/>
                        </a:cubicBezTo>
                        <a:cubicBezTo>
                          <a:pt x="101443" y="109527"/>
                          <a:pt x="101443" y="109527"/>
                          <a:pt x="101443" y="109527"/>
                        </a:cubicBezTo>
                        <a:cubicBezTo>
                          <a:pt x="99793" y="109527"/>
                          <a:pt x="99793" y="109527"/>
                          <a:pt x="99793" y="109527"/>
                        </a:cubicBezTo>
                        <a:cubicBezTo>
                          <a:pt x="101443" y="109090"/>
                          <a:pt x="101443" y="109090"/>
                          <a:pt x="101443" y="109090"/>
                        </a:cubicBezTo>
                        <a:cubicBezTo>
                          <a:pt x="101443" y="109090"/>
                          <a:pt x="103092" y="109090"/>
                          <a:pt x="103505" y="109090"/>
                        </a:cubicBezTo>
                        <a:cubicBezTo>
                          <a:pt x="103917" y="109309"/>
                          <a:pt x="105567" y="109309"/>
                          <a:pt x="105567" y="109090"/>
                        </a:cubicBezTo>
                        <a:cubicBezTo>
                          <a:pt x="105979" y="109090"/>
                          <a:pt x="107216" y="108000"/>
                          <a:pt x="107216" y="108000"/>
                        </a:cubicBezTo>
                        <a:cubicBezTo>
                          <a:pt x="106804" y="107345"/>
                          <a:pt x="106804" y="107345"/>
                          <a:pt x="106804" y="107345"/>
                        </a:cubicBezTo>
                        <a:cubicBezTo>
                          <a:pt x="105979" y="106909"/>
                          <a:pt x="105979" y="106909"/>
                          <a:pt x="105979" y="106909"/>
                        </a:cubicBezTo>
                        <a:cubicBezTo>
                          <a:pt x="104329" y="107127"/>
                          <a:pt x="104329" y="107127"/>
                          <a:pt x="104329" y="107127"/>
                        </a:cubicBezTo>
                        <a:cubicBezTo>
                          <a:pt x="106804" y="106472"/>
                          <a:pt x="106804" y="106472"/>
                          <a:pt x="106804" y="106472"/>
                        </a:cubicBezTo>
                        <a:cubicBezTo>
                          <a:pt x="107628" y="106036"/>
                          <a:pt x="107628" y="106036"/>
                          <a:pt x="107628" y="106036"/>
                        </a:cubicBezTo>
                        <a:cubicBezTo>
                          <a:pt x="108865" y="106472"/>
                          <a:pt x="108865" y="106472"/>
                          <a:pt x="108865" y="106472"/>
                        </a:cubicBezTo>
                        <a:cubicBezTo>
                          <a:pt x="108865" y="106472"/>
                          <a:pt x="110927" y="106690"/>
                          <a:pt x="110927" y="106472"/>
                        </a:cubicBezTo>
                        <a:cubicBezTo>
                          <a:pt x="111340" y="106254"/>
                          <a:pt x="111752" y="105818"/>
                          <a:pt x="111752" y="105818"/>
                        </a:cubicBezTo>
                        <a:cubicBezTo>
                          <a:pt x="111752" y="105163"/>
                          <a:pt x="111752" y="105163"/>
                          <a:pt x="111752" y="105163"/>
                        </a:cubicBezTo>
                        <a:cubicBezTo>
                          <a:pt x="115876" y="103636"/>
                          <a:pt x="115876" y="103636"/>
                          <a:pt x="115876" y="103636"/>
                        </a:cubicBezTo>
                        <a:cubicBezTo>
                          <a:pt x="117525" y="102327"/>
                          <a:pt x="117525" y="102327"/>
                          <a:pt x="117525" y="102327"/>
                        </a:cubicBezTo>
                        <a:cubicBezTo>
                          <a:pt x="117938" y="101018"/>
                          <a:pt x="117938" y="101018"/>
                          <a:pt x="117938" y="101018"/>
                        </a:cubicBezTo>
                        <a:cubicBezTo>
                          <a:pt x="120000" y="99054"/>
                          <a:pt x="120000" y="99054"/>
                          <a:pt x="120000" y="99054"/>
                        </a:cubicBezTo>
                        <a:cubicBezTo>
                          <a:pt x="119587" y="96436"/>
                          <a:pt x="119587" y="96436"/>
                          <a:pt x="119587" y="96436"/>
                        </a:cubicBezTo>
                        <a:cubicBezTo>
                          <a:pt x="117525" y="94690"/>
                          <a:pt x="117525" y="94690"/>
                          <a:pt x="117525" y="94690"/>
                        </a:cubicBezTo>
                        <a:cubicBezTo>
                          <a:pt x="117525" y="94690"/>
                          <a:pt x="115051" y="93600"/>
                          <a:pt x="114226" y="93381"/>
                        </a:cubicBezTo>
                        <a:cubicBezTo>
                          <a:pt x="113402" y="93381"/>
                          <a:pt x="108865" y="92727"/>
                          <a:pt x="108865" y="92727"/>
                        </a:cubicBezTo>
                        <a:cubicBezTo>
                          <a:pt x="105567" y="92290"/>
                          <a:pt x="105567" y="92290"/>
                          <a:pt x="105567" y="92290"/>
                        </a:cubicBezTo>
                        <a:cubicBezTo>
                          <a:pt x="103917" y="92727"/>
                          <a:pt x="103917" y="92727"/>
                          <a:pt x="103917" y="92727"/>
                        </a:cubicBezTo>
                        <a:cubicBezTo>
                          <a:pt x="103505" y="93381"/>
                          <a:pt x="103505" y="93381"/>
                          <a:pt x="103505" y="93381"/>
                        </a:cubicBezTo>
                        <a:cubicBezTo>
                          <a:pt x="102268" y="93818"/>
                          <a:pt x="102268" y="93818"/>
                          <a:pt x="102268" y="93818"/>
                        </a:cubicBezTo>
                        <a:cubicBezTo>
                          <a:pt x="102268" y="93818"/>
                          <a:pt x="101030" y="94254"/>
                          <a:pt x="101030" y="94254"/>
                        </a:cubicBezTo>
                        <a:cubicBezTo>
                          <a:pt x="100618" y="94254"/>
                          <a:pt x="99793" y="93600"/>
                          <a:pt x="99793" y="93600"/>
                        </a:cubicBezTo>
                        <a:cubicBezTo>
                          <a:pt x="99793" y="93600"/>
                          <a:pt x="98556" y="92945"/>
                          <a:pt x="98556" y="92945"/>
                        </a:cubicBezTo>
                        <a:cubicBezTo>
                          <a:pt x="98144" y="92945"/>
                          <a:pt x="96907" y="92727"/>
                          <a:pt x="96907" y="92727"/>
                        </a:cubicBezTo>
                        <a:cubicBezTo>
                          <a:pt x="98556" y="92072"/>
                          <a:pt x="98556" y="92072"/>
                          <a:pt x="98556" y="92072"/>
                        </a:cubicBezTo>
                        <a:cubicBezTo>
                          <a:pt x="100618" y="91636"/>
                          <a:pt x="100618" y="91636"/>
                          <a:pt x="100618" y="91636"/>
                        </a:cubicBezTo>
                        <a:cubicBezTo>
                          <a:pt x="100618" y="91636"/>
                          <a:pt x="101443" y="91200"/>
                          <a:pt x="101443" y="90981"/>
                        </a:cubicBezTo>
                        <a:cubicBezTo>
                          <a:pt x="101855" y="90981"/>
                          <a:pt x="102680" y="90545"/>
                          <a:pt x="102680" y="90545"/>
                        </a:cubicBezTo>
                        <a:cubicBezTo>
                          <a:pt x="103092" y="88800"/>
                          <a:pt x="103092" y="88800"/>
                          <a:pt x="103092" y="88800"/>
                        </a:cubicBezTo>
                        <a:cubicBezTo>
                          <a:pt x="102268" y="87054"/>
                          <a:pt x="102268" y="87054"/>
                          <a:pt x="102268" y="87054"/>
                        </a:cubicBezTo>
                        <a:cubicBezTo>
                          <a:pt x="101030" y="86181"/>
                          <a:pt x="101030" y="86181"/>
                          <a:pt x="101030" y="86181"/>
                        </a:cubicBezTo>
                        <a:cubicBezTo>
                          <a:pt x="100206" y="85309"/>
                          <a:pt x="100206" y="85309"/>
                          <a:pt x="100206" y="85309"/>
                        </a:cubicBezTo>
                        <a:cubicBezTo>
                          <a:pt x="99381" y="85309"/>
                          <a:pt x="99381" y="85309"/>
                          <a:pt x="99381" y="85309"/>
                        </a:cubicBezTo>
                        <a:cubicBezTo>
                          <a:pt x="97731" y="84654"/>
                          <a:pt x="97731" y="84654"/>
                          <a:pt x="97731" y="84654"/>
                        </a:cubicBezTo>
                        <a:cubicBezTo>
                          <a:pt x="96494" y="83781"/>
                          <a:pt x="96494" y="83781"/>
                          <a:pt x="96494" y="83781"/>
                        </a:cubicBezTo>
                        <a:cubicBezTo>
                          <a:pt x="96082" y="83127"/>
                          <a:pt x="96082" y="83127"/>
                          <a:pt x="96082" y="83127"/>
                        </a:cubicBezTo>
                        <a:cubicBezTo>
                          <a:pt x="96494" y="82690"/>
                          <a:pt x="96494" y="82690"/>
                          <a:pt x="96494" y="82690"/>
                        </a:cubicBezTo>
                        <a:cubicBezTo>
                          <a:pt x="96907" y="82909"/>
                          <a:pt x="96907" y="82909"/>
                          <a:pt x="96907" y="82909"/>
                        </a:cubicBezTo>
                        <a:cubicBezTo>
                          <a:pt x="96907" y="82909"/>
                          <a:pt x="96907" y="83345"/>
                          <a:pt x="97319" y="83345"/>
                        </a:cubicBezTo>
                        <a:cubicBezTo>
                          <a:pt x="97319" y="83563"/>
                          <a:pt x="97731" y="83781"/>
                          <a:pt x="97731" y="83781"/>
                        </a:cubicBezTo>
                        <a:cubicBezTo>
                          <a:pt x="98144" y="84000"/>
                          <a:pt x="99793" y="84436"/>
                          <a:pt x="99793" y="84436"/>
                        </a:cubicBezTo>
                        <a:cubicBezTo>
                          <a:pt x="100618" y="84436"/>
                          <a:pt x="100618" y="84436"/>
                          <a:pt x="100618" y="84436"/>
                        </a:cubicBezTo>
                        <a:cubicBezTo>
                          <a:pt x="101443" y="85090"/>
                          <a:pt x="101443" y="85090"/>
                          <a:pt x="101443" y="85090"/>
                        </a:cubicBezTo>
                        <a:cubicBezTo>
                          <a:pt x="101443" y="85090"/>
                          <a:pt x="101855" y="84436"/>
                          <a:pt x="101855" y="84436"/>
                        </a:cubicBezTo>
                        <a:cubicBezTo>
                          <a:pt x="101855" y="84218"/>
                          <a:pt x="100618" y="83345"/>
                          <a:pt x="100618" y="83345"/>
                        </a:cubicBezTo>
                        <a:cubicBezTo>
                          <a:pt x="100206" y="83345"/>
                          <a:pt x="99793" y="82472"/>
                          <a:pt x="99793" y="82472"/>
                        </a:cubicBezTo>
                        <a:cubicBezTo>
                          <a:pt x="99381" y="82254"/>
                          <a:pt x="98556" y="80945"/>
                          <a:pt x="98556" y="80945"/>
                        </a:cubicBezTo>
                        <a:cubicBezTo>
                          <a:pt x="98556" y="80945"/>
                          <a:pt x="98144" y="80509"/>
                          <a:pt x="98144" y="80290"/>
                        </a:cubicBezTo>
                        <a:cubicBezTo>
                          <a:pt x="98144" y="80290"/>
                          <a:pt x="98144" y="79200"/>
                          <a:pt x="98144" y="79200"/>
                        </a:cubicBezTo>
                        <a:cubicBezTo>
                          <a:pt x="98969" y="78981"/>
                          <a:pt x="98969" y="78981"/>
                          <a:pt x="98969" y="78981"/>
                        </a:cubicBezTo>
                        <a:cubicBezTo>
                          <a:pt x="99793" y="78545"/>
                          <a:pt x="99793" y="78545"/>
                          <a:pt x="99793" y="78545"/>
                        </a:cubicBezTo>
                        <a:cubicBezTo>
                          <a:pt x="99793" y="78545"/>
                          <a:pt x="99381" y="78545"/>
                          <a:pt x="99381" y="78327"/>
                        </a:cubicBezTo>
                        <a:cubicBezTo>
                          <a:pt x="98969" y="77890"/>
                          <a:pt x="98144" y="77454"/>
                          <a:pt x="98144" y="77454"/>
                        </a:cubicBezTo>
                        <a:cubicBezTo>
                          <a:pt x="98144" y="77454"/>
                          <a:pt x="97319" y="77236"/>
                          <a:pt x="96907" y="77018"/>
                        </a:cubicBezTo>
                        <a:cubicBezTo>
                          <a:pt x="96907" y="76581"/>
                          <a:pt x="96494" y="76145"/>
                          <a:pt x="96494" y="76145"/>
                        </a:cubicBezTo>
                        <a:cubicBezTo>
                          <a:pt x="96494" y="75927"/>
                          <a:pt x="96082" y="74618"/>
                          <a:pt x="96082" y="74618"/>
                        </a:cubicBezTo>
                        <a:cubicBezTo>
                          <a:pt x="94020" y="73527"/>
                          <a:pt x="94020" y="73527"/>
                          <a:pt x="94020" y="73527"/>
                        </a:cubicBezTo>
                        <a:cubicBezTo>
                          <a:pt x="94020" y="73527"/>
                          <a:pt x="93195" y="73090"/>
                          <a:pt x="92783" y="72872"/>
                        </a:cubicBezTo>
                        <a:cubicBezTo>
                          <a:pt x="92783" y="72872"/>
                          <a:pt x="91546" y="72654"/>
                          <a:pt x="91546" y="72654"/>
                        </a:cubicBezTo>
                        <a:cubicBezTo>
                          <a:pt x="91134" y="72654"/>
                          <a:pt x="89072" y="72000"/>
                          <a:pt x="89072" y="72000"/>
                        </a:cubicBezTo>
                        <a:cubicBezTo>
                          <a:pt x="89072" y="72000"/>
                          <a:pt x="87422" y="70909"/>
                          <a:pt x="87422" y="70690"/>
                        </a:cubicBezTo>
                        <a:cubicBezTo>
                          <a:pt x="87422" y="70472"/>
                          <a:pt x="86597" y="69163"/>
                          <a:pt x="86597" y="69163"/>
                        </a:cubicBezTo>
                        <a:cubicBezTo>
                          <a:pt x="86597" y="68290"/>
                          <a:pt x="86597" y="68290"/>
                          <a:pt x="86597" y="68290"/>
                        </a:cubicBezTo>
                        <a:cubicBezTo>
                          <a:pt x="85773" y="66545"/>
                          <a:pt x="85773" y="66545"/>
                          <a:pt x="85773" y="66545"/>
                        </a:cubicBezTo>
                        <a:cubicBezTo>
                          <a:pt x="85360" y="64800"/>
                          <a:pt x="85360" y="64800"/>
                          <a:pt x="85360" y="64800"/>
                        </a:cubicBezTo>
                        <a:cubicBezTo>
                          <a:pt x="85360" y="63054"/>
                          <a:pt x="85360" y="63054"/>
                          <a:pt x="85360" y="63054"/>
                        </a:cubicBezTo>
                        <a:cubicBezTo>
                          <a:pt x="85360" y="61527"/>
                          <a:pt x="85360" y="61527"/>
                          <a:pt x="85360" y="61527"/>
                        </a:cubicBezTo>
                        <a:cubicBezTo>
                          <a:pt x="85360" y="60218"/>
                          <a:pt x="85360" y="60218"/>
                          <a:pt x="85360" y="60218"/>
                        </a:cubicBezTo>
                        <a:cubicBezTo>
                          <a:pt x="83298" y="58909"/>
                          <a:pt x="83298" y="58909"/>
                          <a:pt x="83298" y="58909"/>
                        </a:cubicBezTo>
                        <a:cubicBezTo>
                          <a:pt x="82474" y="57600"/>
                          <a:pt x="82474" y="57600"/>
                          <a:pt x="82474" y="57600"/>
                        </a:cubicBezTo>
                        <a:cubicBezTo>
                          <a:pt x="80000" y="56290"/>
                          <a:pt x="80000" y="56290"/>
                          <a:pt x="80000" y="56290"/>
                        </a:cubicBezTo>
                        <a:cubicBezTo>
                          <a:pt x="78350" y="55200"/>
                          <a:pt x="78350" y="55200"/>
                          <a:pt x="78350" y="55200"/>
                        </a:cubicBezTo>
                        <a:cubicBezTo>
                          <a:pt x="77113" y="54981"/>
                          <a:pt x="77113" y="54981"/>
                          <a:pt x="77113" y="54981"/>
                        </a:cubicBezTo>
                        <a:cubicBezTo>
                          <a:pt x="75051" y="53672"/>
                          <a:pt x="75051" y="53672"/>
                          <a:pt x="75051" y="53672"/>
                        </a:cubicBezTo>
                        <a:cubicBezTo>
                          <a:pt x="73402" y="53454"/>
                          <a:pt x="73402" y="53454"/>
                          <a:pt x="73402" y="53454"/>
                        </a:cubicBezTo>
                        <a:cubicBezTo>
                          <a:pt x="71752" y="53890"/>
                          <a:pt x="71752" y="53890"/>
                          <a:pt x="71752" y="53890"/>
                        </a:cubicBezTo>
                        <a:cubicBezTo>
                          <a:pt x="70103" y="54109"/>
                          <a:pt x="70103" y="54109"/>
                          <a:pt x="70103" y="54109"/>
                        </a:cubicBezTo>
                        <a:cubicBezTo>
                          <a:pt x="68453" y="54327"/>
                          <a:pt x="68453" y="54327"/>
                          <a:pt x="68453" y="54327"/>
                        </a:cubicBezTo>
                        <a:cubicBezTo>
                          <a:pt x="65567" y="53672"/>
                          <a:pt x="65567" y="53672"/>
                          <a:pt x="65567" y="53672"/>
                        </a:cubicBezTo>
                        <a:cubicBezTo>
                          <a:pt x="64329" y="53018"/>
                          <a:pt x="64329" y="53018"/>
                          <a:pt x="64329" y="53018"/>
                        </a:cubicBezTo>
                        <a:cubicBezTo>
                          <a:pt x="62680" y="52800"/>
                          <a:pt x="62680" y="52800"/>
                          <a:pt x="62680" y="52800"/>
                        </a:cubicBezTo>
                        <a:cubicBezTo>
                          <a:pt x="61855" y="52800"/>
                          <a:pt x="61855" y="52800"/>
                          <a:pt x="61855" y="52800"/>
                        </a:cubicBezTo>
                        <a:cubicBezTo>
                          <a:pt x="61855" y="52800"/>
                          <a:pt x="61855" y="52581"/>
                          <a:pt x="61855" y="52581"/>
                        </a:cubicBezTo>
                        <a:cubicBezTo>
                          <a:pt x="61855" y="52581"/>
                          <a:pt x="62680" y="52581"/>
                          <a:pt x="62680" y="52581"/>
                        </a:cubicBezTo>
                        <a:cubicBezTo>
                          <a:pt x="62680" y="52581"/>
                          <a:pt x="63505" y="52800"/>
                          <a:pt x="63917" y="52800"/>
                        </a:cubicBezTo>
                        <a:cubicBezTo>
                          <a:pt x="63917" y="52800"/>
                          <a:pt x="65154" y="53018"/>
                          <a:pt x="65154" y="53018"/>
                        </a:cubicBezTo>
                        <a:cubicBezTo>
                          <a:pt x="65154" y="53018"/>
                          <a:pt x="65567" y="53236"/>
                          <a:pt x="65979" y="53236"/>
                        </a:cubicBezTo>
                        <a:cubicBezTo>
                          <a:pt x="66391" y="53236"/>
                          <a:pt x="67628" y="53236"/>
                          <a:pt x="67628" y="53236"/>
                        </a:cubicBezTo>
                        <a:cubicBezTo>
                          <a:pt x="68865" y="52800"/>
                          <a:pt x="68865" y="52800"/>
                          <a:pt x="68865" y="52800"/>
                        </a:cubicBezTo>
                        <a:cubicBezTo>
                          <a:pt x="69278" y="52145"/>
                          <a:pt x="69278" y="52145"/>
                          <a:pt x="69278" y="52145"/>
                        </a:cubicBezTo>
                        <a:cubicBezTo>
                          <a:pt x="70515" y="51927"/>
                          <a:pt x="70515" y="51927"/>
                          <a:pt x="70515" y="51927"/>
                        </a:cubicBezTo>
                        <a:cubicBezTo>
                          <a:pt x="71340" y="51709"/>
                          <a:pt x="71340" y="51709"/>
                          <a:pt x="71340" y="51709"/>
                        </a:cubicBezTo>
                        <a:cubicBezTo>
                          <a:pt x="72164" y="51709"/>
                          <a:pt x="72164" y="51709"/>
                          <a:pt x="72164" y="51709"/>
                        </a:cubicBezTo>
                        <a:cubicBezTo>
                          <a:pt x="72164" y="51709"/>
                          <a:pt x="72577" y="52145"/>
                          <a:pt x="73402" y="51927"/>
                        </a:cubicBezTo>
                        <a:cubicBezTo>
                          <a:pt x="74226" y="51927"/>
                          <a:pt x="74639" y="51709"/>
                          <a:pt x="74639" y="51709"/>
                        </a:cubicBezTo>
                        <a:cubicBezTo>
                          <a:pt x="74639" y="51709"/>
                          <a:pt x="76288" y="51272"/>
                          <a:pt x="75876" y="51272"/>
                        </a:cubicBezTo>
                        <a:cubicBezTo>
                          <a:pt x="75876" y="51054"/>
                          <a:pt x="75876" y="50836"/>
                          <a:pt x="75463" y="50836"/>
                        </a:cubicBezTo>
                        <a:cubicBezTo>
                          <a:pt x="75463" y="50618"/>
                          <a:pt x="74639" y="50181"/>
                          <a:pt x="74639" y="50181"/>
                        </a:cubicBezTo>
                        <a:cubicBezTo>
                          <a:pt x="74639" y="50181"/>
                          <a:pt x="74226" y="50181"/>
                          <a:pt x="74226" y="49963"/>
                        </a:cubicBezTo>
                        <a:cubicBezTo>
                          <a:pt x="74226" y="49745"/>
                          <a:pt x="74226" y="49309"/>
                          <a:pt x="74226" y="49309"/>
                        </a:cubicBezTo>
                        <a:cubicBezTo>
                          <a:pt x="73402" y="48872"/>
                          <a:pt x="73402" y="48872"/>
                          <a:pt x="73402" y="48872"/>
                        </a:cubicBezTo>
                        <a:cubicBezTo>
                          <a:pt x="73402" y="48872"/>
                          <a:pt x="72989" y="48872"/>
                          <a:pt x="72577" y="48872"/>
                        </a:cubicBezTo>
                        <a:cubicBezTo>
                          <a:pt x="72164" y="48872"/>
                          <a:pt x="71752" y="49090"/>
                          <a:pt x="71752" y="49090"/>
                        </a:cubicBezTo>
                        <a:cubicBezTo>
                          <a:pt x="70103" y="49309"/>
                          <a:pt x="70103" y="49309"/>
                          <a:pt x="70103" y="49309"/>
                        </a:cubicBezTo>
                        <a:cubicBezTo>
                          <a:pt x="68041" y="49527"/>
                          <a:pt x="68041" y="49527"/>
                          <a:pt x="68041" y="49527"/>
                        </a:cubicBezTo>
                        <a:cubicBezTo>
                          <a:pt x="68041" y="49309"/>
                          <a:pt x="68041" y="49309"/>
                          <a:pt x="68041" y="49309"/>
                        </a:cubicBezTo>
                        <a:cubicBezTo>
                          <a:pt x="70103" y="49090"/>
                          <a:pt x="70103" y="49090"/>
                          <a:pt x="70103" y="49090"/>
                        </a:cubicBezTo>
                        <a:cubicBezTo>
                          <a:pt x="71340" y="48654"/>
                          <a:pt x="71340" y="48654"/>
                          <a:pt x="71340" y="48654"/>
                        </a:cubicBezTo>
                        <a:cubicBezTo>
                          <a:pt x="71340" y="48654"/>
                          <a:pt x="71340" y="48436"/>
                          <a:pt x="71752" y="48436"/>
                        </a:cubicBezTo>
                        <a:cubicBezTo>
                          <a:pt x="72164" y="48436"/>
                          <a:pt x="73402" y="48654"/>
                          <a:pt x="73402" y="48654"/>
                        </a:cubicBezTo>
                        <a:cubicBezTo>
                          <a:pt x="73814" y="48654"/>
                          <a:pt x="75463" y="48654"/>
                          <a:pt x="75463" y="48654"/>
                        </a:cubicBezTo>
                        <a:cubicBezTo>
                          <a:pt x="75463" y="48654"/>
                          <a:pt x="76701" y="48218"/>
                          <a:pt x="76701" y="48000"/>
                        </a:cubicBezTo>
                        <a:cubicBezTo>
                          <a:pt x="77113" y="48000"/>
                          <a:pt x="78762" y="47563"/>
                          <a:pt x="78762" y="47563"/>
                        </a:cubicBezTo>
                        <a:cubicBezTo>
                          <a:pt x="78762" y="46909"/>
                          <a:pt x="78762" y="46909"/>
                          <a:pt x="78762" y="46909"/>
                        </a:cubicBezTo>
                        <a:cubicBezTo>
                          <a:pt x="78762" y="46909"/>
                          <a:pt x="79175" y="46254"/>
                          <a:pt x="79587" y="46254"/>
                        </a:cubicBezTo>
                        <a:cubicBezTo>
                          <a:pt x="79587" y="46254"/>
                          <a:pt x="81237" y="45600"/>
                          <a:pt x="81237" y="45600"/>
                        </a:cubicBezTo>
                        <a:cubicBezTo>
                          <a:pt x="82886" y="44727"/>
                          <a:pt x="82886" y="44727"/>
                          <a:pt x="82886" y="44727"/>
                        </a:cubicBezTo>
                        <a:cubicBezTo>
                          <a:pt x="83711" y="43636"/>
                          <a:pt x="83711" y="43636"/>
                          <a:pt x="83711" y="43636"/>
                        </a:cubicBezTo>
                        <a:cubicBezTo>
                          <a:pt x="84536" y="42763"/>
                          <a:pt x="84536" y="42763"/>
                          <a:pt x="84536" y="42763"/>
                        </a:cubicBezTo>
                        <a:cubicBezTo>
                          <a:pt x="84536" y="42763"/>
                          <a:pt x="86185" y="42109"/>
                          <a:pt x="85773" y="41890"/>
                        </a:cubicBezTo>
                        <a:cubicBezTo>
                          <a:pt x="85773" y="41454"/>
                          <a:pt x="85773" y="40800"/>
                          <a:pt x="85773" y="40800"/>
                        </a:cubicBezTo>
                        <a:cubicBezTo>
                          <a:pt x="85773" y="40800"/>
                          <a:pt x="87010" y="40363"/>
                          <a:pt x="87422" y="40145"/>
                        </a:cubicBezTo>
                        <a:cubicBezTo>
                          <a:pt x="87422" y="39927"/>
                          <a:pt x="90309" y="38836"/>
                          <a:pt x="90309" y="38836"/>
                        </a:cubicBezTo>
                        <a:cubicBezTo>
                          <a:pt x="90721" y="37745"/>
                          <a:pt x="90721" y="37745"/>
                          <a:pt x="90721" y="37745"/>
                        </a:cubicBezTo>
                        <a:cubicBezTo>
                          <a:pt x="90309" y="37309"/>
                          <a:pt x="90309" y="37309"/>
                          <a:pt x="90309" y="37309"/>
                        </a:cubicBezTo>
                        <a:cubicBezTo>
                          <a:pt x="89896" y="36654"/>
                          <a:pt x="89896" y="36654"/>
                          <a:pt x="89896" y="36654"/>
                        </a:cubicBezTo>
                        <a:cubicBezTo>
                          <a:pt x="89072" y="36000"/>
                          <a:pt x="89072" y="36000"/>
                          <a:pt x="89072" y="36000"/>
                        </a:cubicBezTo>
                        <a:cubicBezTo>
                          <a:pt x="88247" y="35345"/>
                          <a:pt x="88247" y="35345"/>
                          <a:pt x="88247" y="35345"/>
                        </a:cubicBezTo>
                        <a:cubicBezTo>
                          <a:pt x="86597" y="35345"/>
                          <a:pt x="86597" y="35345"/>
                          <a:pt x="86597" y="35345"/>
                        </a:cubicBezTo>
                        <a:cubicBezTo>
                          <a:pt x="86597" y="35345"/>
                          <a:pt x="86185" y="35781"/>
                          <a:pt x="86185" y="35563"/>
                        </a:cubicBezTo>
                        <a:cubicBezTo>
                          <a:pt x="85773" y="35563"/>
                          <a:pt x="84948" y="35127"/>
                          <a:pt x="84948" y="35127"/>
                        </a:cubicBezTo>
                        <a:cubicBezTo>
                          <a:pt x="83298" y="35345"/>
                          <a:pt x="83298" y="35345"/>
                          <a:pt x="83298" y="35345"/>
                        </a:cubicBezTo>
                        <a:cubicBezTo>
                          <a:pt x="81237" y="35127"/>
                          <a:pt x="81237" y="35127"/>
                          <a:pt x="81237" y="35127"/>
                        </a:cubicBezTo>
                        <a:cubicBezTo>
                          <a:pt x="80824" y="34690"/>
                          <a:pt x="80824" y="34690"/>
                          <a:pt x="80824" y="34690"/>
                        </a:cubicBezTo>
                        <a:cubicBezTo>
                          <a:pt x="79175" y="34690"/>
                          <a:pt x="79175" y="34690"/>
                          <a:pt x="79175" y="34690"/>
                        </a:cubicBezTo>
                        <a:cubicBezTo>
                          <a:pt x="78350" y="34472"/>
                          <a:pt x="78350" y="34472"/>
                          <a:pt x="78350" y="34472"/>
                        </a:cubicBezTo>
                        <a:cubicBezTo>
                          <a:pt x="76701" y="34690"/>
                          <a:pt x="76701" y="34690"/>
                          <a:pt x="76701" y="34690"/>
                        </a:cubicBezTo>
                        <a:cubicBezTo>
                          <a:pt x="75463" y="34690"/>
                          <a:pt x="75463" y="34690"/>
                          <a:pt x="75463" y="34690"/>
                        </a:cubicBezTo>
                        <a:cubicBezTo>
                          <a:pt x="74639" y="34472"/>
                          <a:pt x="74639" y="34472"/>
                          <a:pt x="74639" y="34472"/>
                        </a:cubicBezTo>
                        <a:cubicBezTo>
                          <a:pt x="73402" y="33818"/>
                          <a:pt x="73402" y="33818"/>
                          <a:pt x="73402" y="33818"/>
                        </a:cubicBezTo>
                        <a:cubicBezTo>
                          <a:pt x="70927" y="33818"/>
                          <a:pt x="70927" y="33818"/>
                          <a:pt x="70927" y="33818"/>
                        </a:cubicBezTo>
                        <a:cubicBezTo>
                          <a:pt x="70515" y="34254"/>
                          <a:pt x="70515" y="34254"/>
                          <a:pt x="70515" y="34254"/>
                        </a:cubicBezTo>
                        <a:cubicBezTo>
                          <a:pt x="68865" y="34254"/>
                          <a:pt x="68865" y="34254"/>
                          <a:pt x="68865" y="34254"/>
                        </a:cubicBezTo>
                        <a:cubicBezTo>
                          <a:pt x="68865" y="34254"/>
                          <a:pt x="68453" y="34254"/>
                          <a:pt x="68041" y="34254"/>
                        </a:cubicBezTo>
                        <a:cubicBezTo>
                          <a:pt x="68041" y="34254"/>
                          <a:pt x="67216" y="34472"/>
                          <a:pt x="67216" y="34472"/>
                        </a:cubicBezTo>
                        <a:cubicBezTo>
                          <a:pt x="66391" y="34690"/>
                          <a:pt x="66391" y="34690"/>
                          <a:pt x="66391" y="34690"/>
                        </a:cubicBezTo>
                        <a:cubicBezTo>
                          <a:pt x="65567" y="34690"/>
                          <a:pt x="65567" y="34690"/>
                          <a:pt x="65567" y="34690"/>
                        </a:cubicBezTo>
                        <a:cubicBezTo>
                          <a:pt x="63917" y="34472"/>
                          <a:pt x="63917" y="34472"/>
                          <a:pt x="63917" y="34472"/>
                        </a:cubicBezTo>
                        <a:cubicBezTo>
                          <a:pt x="63092" y="35127"/>
                          <a:pt x="63092" y="35127"/>
                          <a:pt x="63092" y="35127"/>
                        </a:cubicBezTo>
                        <a:cubicBezTo>
                          <a:pt x="61855" y="35345"/>
                          <a:pt x="61855" y="35345"/>
                          <a:pt x="61855" y="35345"/>
                        </a:cubicBezTo>
                        <a:cubicBezTo>
                          <a:pt x="60618" y="36000"/>
                          <a:pt x="60618" y="36000"/>
                          <a:pt x="60618" y="36000"/>
                        </a:cubicBezTo>
                        <a:cubicBezTo>
                          <a:pt x="61030" y="35345"/>
                          <a:pt x="61030" y="35345"/>
                          <a:pt x="61030" y="35345"/>
                        </a:cubicBezTo>
                        <a:cubicBezTo>
                          <a:pt x="61855" y="34909"/>
                          <a:pt x="61855" y="34909"/>
                          <a:pt x="61855" y="34909"/>
                        </a:cubicBezTo>
                        <a:cubicBezTo>
                          <a:pt x="63092" y="34690"/>
                          <a:pt x="63092" y="34690"/>
                          <a:pt x="63092" y="34690"/>
                        </a:cubicBezTo>
                        <a:cubicBezTo>
                          <a:pt x="63917" y="34036"/>
                          <a:pt x="63917" y="34036"/>
                          <a:pt x="63917" y="34036"/>
                        </a:cubicBezTo>
                        <a:cubicBezTo>
                          <a:pt x="63917" y="34036"/>
                          <a:pt x="64742" y="33818"/>
                          <a:pt x="64742" y="33600"/>
                        </a:cubicBezTo>
                        <a:cubicBezTo>
                          <a:pt x="65154" y="33600"/>
                          <a:pt x="65979" y="33163"/>
                          <a:pt x="65979" y="33163"/>
                        </a:cubicBezTo>
                        <a:cubicBezTo>
                          <a:pt x="64742" y="32945"/>
                          <a:pt x="64742" y="32945"/>
                          <a:pt x="64742" y="32945"/>
                        </a:cubicBezTo>
                        <a:cubicBezTo>
                          <a:pt x="63505" y="33381"/>
                          <a:pt x="63505" y="33381"/>
                          <a:pt x="63505" y="33381"/>
                        </a:cubicBezTo>
                        <a:cubicBezTo>
                          <a:pt x="63505" y="33381"/>
                          <a:pt x="63092" y="33381"/>
                          <a:pt x="62680" y="33381"/>
                        </a:cubicBezTo>
                        <a:cubicBezTo>
                          <a:pt x="62680" y="33381"/>
                          <a:pt x="61443" y="33600"/>
                          <a:pt x="61443" y="33600"/>
                        </a:cubicBezTo>
                        <a:cubicBezTo>
                          <a:pt x="58969" y="34036"/>
                          <a:pt x="58969" y="34036"/>
                          <a:pt x="58969" y="34036"/>
                        </a:cubicBezTo>
                        <a:cubicBezTo>
                          <a:pt x="61443" y="33381"/>
                          <a:pt x="61443" y="33381"/>
                          <a:pt x="61443" y="33381"/>
                        </a:cubicBezTo>
                        <a:cubicBezTo>
                          <a:pt x="61443" y="33381"/>
                          <a:pt x="62268" y="33163"/>
                          <a:pt x="62680" y="32945"/>
                        </a:cubicBezTo>
                        <a:cubicBezTo>
                          <a:pt x="63092" y="32945"/>
                          <a:pt x="63917" y="32727"/>
                          <a:pt x="63917" y="32727"/>
                        </a:cubicBezTo>
                        <a:cubicBezTo>
                          <a:pt x="64329" y="32727"/>
                          <a:pt x="65154" y="32509"/>
                          <a:pt x="65154" y="32509"/>
                        </a:cubicBezTo>
                        <a:cubicBezTo>
                          <a:pt x="65567" y="32727"/>
                          <a:pt x="66391" y="32945"/>
                          <a:pt x="66804" y="32727"/>
                        </a:cubicBezTo>
                        <a:cubicBezTo>
                          <a:pt x="66804" y="32727"/>
                          <a:pt x="67216" y="32290"/>
                          <a:pt x="67628" y="32290"/>
                        </a:cubicBezTo>
                        <a:cubicBezTo>
                          <a:pt x="67628" y="32072"/>
                          <a:pt x="68453" y="31636"/>
                          <a:pt x="68453" y="31636"/>
                        </a:cubicBezTo>
                        <a:cubicBezTo>
                          <a:pt x="65979" y="31636"/>
                          <a:pt x="65979" y="31636"/>
                          <a:pt x="65979" y="31636"/>
                        </a:cubicBezTo>
                        <a:cubicBezTo>
                          <a:pt x="65979" y="31636"/>
                          <a:pt x="65567" y="31854"/>
                          <a:pt x="65154" y="31854"/>
                        </a:cubicBezTo>
                        <a:cubicBezTo>
                          <a:pt x="64742" y="31636"/>
                          <a:pt x="63917" y="31636"/>
                          <a:pt x="63505" y="31418"/>
                        </a:cubicBezTo>
                        <a:cubicBezTo>
                          <a:pt x="63505" y="31418"/>
                          <a:pt x="63092" y="31200"/>
                          <a:pt x="63092" y="31200"/>
                        </a:cubicBezTo>
                        <a:cubicBezTo>
                          <a:pt x="62680" y="31200"/>
                          <a:pt x="61855" y="30763"/>
                          <a:pt x="61855" y="30763"/>
                        </a:cubicBezTo>
                        <a:cubicBezTo>
                          <a:pt x="62268" y="30545"/>
                          <a:pt x="62268" y="30545"/>
                          <a:pt x="62268" y="30545"/>
                        </a:cubicBezTo>
                        <a:cubicBezTo>
                          <a:pt x="63092" y="30981"/>
                          <a:pt x="63092" y="30981"/>
                          <a:pt x="63092" y="30981"/>
                        </a:cubicBezTo>
                        <a:cubicBezTo>
                          <a:pt x="63092" y="30981"/>
                          <a:pt x="63505" y="31200"/>
                          <a:pt x="63917" y="31200"/>
                        </a:cubicBezTo>
                        <a:cubicBezTo>
                          <a:pt x="64329" y="31200"/>
                          <a:pt x="64742" y="30981"/>
                          <a:pt x="65567" y="30981"/>
                        </a:cubicBezTo>
                        <a:cubicBezTo>
                          <a:pt x="65979" y="31200"/>
                          <a:pt x="66804" y="30545"/>
                          <a:pt x="66804" y="30545"/>
                        </a:cubicBezTo>
                        <a:cubicBezTo>
                          <a:pt x="66804" y="30545"/>
                          <a:pt x="65979" y="30545"/>
                          <a:pt x="67216" y="30327"/>
                        </a:cubicBezTo>
                        <a:cubicBezTo>
                          <a:pt x="68041" y="29890"/>
                          <a:pt x="67628" y="30109"/>
                          <a:pt x="68453" y="29672"/>
                        </a:cubicBezTo>
                        <a:cubicBezTo>
                          <a:pt x="69278" y="29454"/>
                          <a:pt x="71340" y="28800"/>
                          <a:pt x="71340" y="28800"/>
                        </a:cubicBezTo>
                        <a:cubicBezTo>
                          <a:pt x="73814" y="28363"/>
                          <a:pt x="73814" y="28363"/>
                          <a:pt x="73814" y="28363"/>
                        </a:cubicBezTo>
                        <a:cubicBezTo>
                          <a:pt x="75463" y="27272"/>
                          <a:pt x="75463" y="27272"/>
                          <a:pt x="75463" y="27272"/>
                        </a:cubicBezTo>
                        <a:cubicBezTo>
                          <a:pt x="76701" y="27272"/>
                          <a:pt x="76701" y="27272"/>
                          <a:pt x="76701" y="27272"/>
                        </a:cubicBezTo>
                        <a:cubicBezTo>
                          <a:pt x="78350" y="26400"/>
                          <a:pt x="78350" y="26400"/>
                          <a:pt x="78350" y="26400"/>
                        </a:cubicBezTo>
                        <a:cubicBezTo>
                          <a:pt x="79175" y="25963"/>
                          <a:pt x="79175" y="25963"/>
                          <a:pt x="79175" y="25963"/>
                        </a:cubicBezTo>
                        <a:cubicBezTo>
                          <a:pt x="78762" y="24872"/>
                          <a:pt x="78762" y="24872"/>
                          <a:pt x="78762" y="24872"/>
                        </a:cubicBezTo>
                        <a:cubicBezTo>
                          <a:pt x="79587" y="24000"/>
                          <a:pt x="79587" y="24000"/>
                          <a:pt x="79587" y="24000"/>
                        </a:cubicBezTo>
                        <a:cubicBezTo>
                          <a:pt x="79587" y="23345"/>
                          <a:pt x="79587" y="23345"/>
                          <a:pt x="79587" y="23345"/>
                        </a:cubicBezTo>
                        <a:cubicBezTo>
                          <a:pt x="78350" y="23127"/>
                          <a:pt x="78350" y="23127"/>
                          <a:pt x="78350" y="23127"/>
                        </a:cubicBezTo>
                        <a:cubicBezTo>
                          <a:pt x="75876" y="23127"/>
                          <a:pt x="75876" y="23127"/>
                          <a:pt x="75876" y="23127"/>
                        </a:cubicBezTo>
                        <a:cubicBezTo>
                          <a:pt x="75876" y="23127"/>
                          <a:pt x="75463" y="23781"/>
                          <a:pt x="75051" y="23563"/>
                        </a:cubicBezTo>
                        <a:cubicBezTo>
                          <a:pt x="75051" y="23563"/>
                          <a:pt x="73402" y="22909"/>
                          <a:pt x="72989" y="22909"/>
                        </a:cubicBezTo>
                        <a:cubicBezTo>
                          <a:pt x="72989" y="22909"/>
                          <a:pt x="71340" y="23563"/>
                          <a:pt x="71340" y="23563"/>
                        </a:cubicBezTo>
                        <a:cubicBezTo>
                          <a:pt x="70515" y="23563"/>
                          <a:pt x="70515" y="23563"/>
                          <a:pt x="70515" y="23563"/>
                        </a:cubicBezTo>
                        <a:cubicBezTo>
                          <a:pt x="70515" y="23563"/>
                          <a:pt x="70103" y="23563"/>
                          <a:pt x="69278" y="23563"/>
                        </a:cubicBezTo>
                        <a:cubicBezTo>
                          <a:pt x="68453" y="23345"/>
                          <a:pt x="66804" y="23127"/>
                          <a:pt x="66804" y="23127"/>
                        </a:cubicBezTo>
                        <a:cubicBezTo>
                          <a:pt x="65567" y="23563"/>
                          <a:pt x="65567" y="23563"/>
                          <a:pt x="65567" y="23563"/>
                        </a:cubicBezTo>
                        <a:cubicBezTo>
                          <a:pt x="64742" y="23345"/>
                          <a:pt x="64742" y="23345"/>
                          <a:pt x="64742" y="23345"/>
                        </a:cubicBezTo>
                        <a:cubicBezTo>
                          <a:pt x="63092" y="24000"/>
                          <a:pt x="63092" y="24000"/>
                          <a:pt x="63092" y="24000"/>
                        </a:cubicBezTo>
                        <a:cubicBezTo>
                          <a:pt x="63092" y="23563"/>
                          <a:pt x="63092" y="23563"/>
                          <a:pt x="63092" y="23563"/>
                        </a:cubicBezTo>
                        <a:cubicBezTo>
                          <a:pt x="63917" y="22909"/>
                          <a:pt x="63917" y="22909"/>
                          <a:pt x="63917" y="22909"/>
                        </a:cubicBezTo>
                        <a:cubicBezTo>
                          <a:pt x="63917" y="22909"/>
                          <a:pt x="63505" y="22690"/>
                          <a:pt x="63092" y="22690"/>
                        </a:cubicBezTo>
                        <a:cubicBezTo>
                          <a:pt x="63092" y="22690"/>
                          <a:pt x="62268" y="22472"/>
                          <a:pt x="62268" y="22472"/>
                        </a:cubicBezTo>
                        <a:cubicBezTo>
                          <a:pt x="61443" y="23127"/>
                          <a:pt x="61443" y="23127"/>
                          <a:pt x="61443" y="23127"/>
                        </a:cubicBezTo>
                        <a:cubicBezTo>
                          <a:pt x="59793" y="23563"/>
                          <a:pt x="59793" y="23563"/>
                          <a:pt x="59793" y="23563"/>
                        </a:cubicBezTo>
                        <a:cubicBezTo>
                          <a:pt x="60206" y="23345"/>
                          <a:pt x="60206" y="23345"/>
                          <a:pt x="60206" y="23345"/>
                        </a:cubicBezTo>
                        <a:cubicBezTo>
                          <a:pt x="61443" y="22909"/>
                          <a:pt x="61443" y="22909"/>
                          <a:pt x="61443" y="22909"/>
                        </a:cubicBezTo>
                        <a:cubicBezTo>
                          <a:pt x="61443" y="22472"/>
                          <a:pt x="61443" y="22472"/>
                          <a:pt x="61443" y="22472"/>
                        </a:cubicBezTo>
                        <a:cubicBezTo>
                          <a:pt x="61443" y="22472"/>
                          <a:pt x="61030" y="22472"/>
                          <a:pt x="61030" y="22472"/>
                        </a:cubicBezTo>
                        <a:cubicBezTo>
                          <a:pt x="60618" y="22472"/>
                          <a:pt x="60206" y="22254"/>
                          <a:pt x="60206" y="22254"/>
                        </a:cubicBezTo>
                        <a:cubicBezTo>
                          <a:pt x="59381" y="22036"/>
                          <a:pt x="59381" y="22036"/>
                          <a:pt x="59381" y="22036"/>
                        </a:cubicBezTo>
                        <a:cubicBezTo>
                          <a:pt x="58969" y="21600"/>
                          <a:pt x="58969" y="21600"/>
                          <a:pt x="58969" y="21600"/>
                        </a:cubicBezTo>
                        <a:cubicBezTo>
                          <a:pt x="57731" y="21818"/>
                          <a:pt x="57731" y="21818"/>
                          <a:pt x="57731" y="21818"/>
                        </a:cubicBezTo>
                        <a:cubicBezTo>
                          <a:pt x="57319" y="22254"/>
                          <a:pt x="57319" y="22254"/>
                          <a:pt x="57319" y="22254"/>
                        </a:cubicBezTo>
                        <a:cubicBezTo>
                          <a:pt x="56494" y="22472"/>
                          <a:pt x="56494" y="22472"/>
                          <a:pt x="56494" y="22472"/>
                        </a:cubicBezTo>
                        <a:cubicBezTo>
                          <a:pt x="55670" y="22472"/>
                          <a:pt x="55670" y="22472"/>
                          <a:pt x="55670" y="22472"/>
                        </a:cubicBezTo>
                        <a:cubicBezTo>
                          <a:pt x="56082" y="23127"/>
                          <a:pt x="56082" y="23127"/>
                          <a:pt x="56082" y="23127"/>
                        </a:cubicBezTo>
                        <a:cubicBezTo>
                          <a:pt x="55670" y="23781"/>
                          <a:pt x="55670" y="23781"/>
                          <a:pt x="55670" y="23781"/>
                        </a:cubicBezTo>
                        <a:cubicBezTo>
                          <a:pt x="54432" y="23781"/>
                          <a:pt x="54432" y="23781"/>
                          <a:pt x="54432" y="23781"/>
                        </a:cubicBezTo>
                        <a:cubicBezTo>
                          <a:pt x="54432" y="23781"/>
                          <a:pt x="54432" y="24654"/>
                          <a:pt x="54845" y="24654"/>
                        </a:cubicBezTo>
                        <a:cubicBezTo>
                          <a:pt x="54845" y="24654"/>
                          <a:pt x="55257" y="25090"/>
                          <a:pt x="55257" y="25090"/>
                        </a:cubicBezTo>
                        <a:cubicBezTo>
                          <a:pt x="55257" y="25527"/>
                          <a:pt x="55257" y="25527"/>
                          <a:pt x="55257" y="25527"/>
                        </a:cubicBezTo>
                        <a:cubicBezTo>
                          <a:pt x="55670" y="25745"/>
                          <a:pt x="55670" y="25745"/>
                          <a:pt x="55670" y="25745"/>
                        </a:cubicBezTo>
                        <a:cubicBezTo>
                          <a:pt x="55670" y="25745"/>
                          <a:pt x="55257" y="25745"/>
                          <a:pt x="54845" y="25745"/>
                        </a:cubicBezTo>
                        <a:cubicBezTo>
                          <a:pt x="54845" y="25745"/>
                          <a:pt x="54432" y="25309"/>
                          <a:pt x="54432" y="25309"/>
                        </a:cubicBezTo>
                        <a:cubicBezTo>
                          <a:pt x="52783" y="25309"/>
                          <a:pt x="52783" y="25309"/>
                          <a:pt x="52783" y="25309"/>
                        </a:cubicBezTo>
                        <a:cubicBezTo>
                          <a:pt x="52371" y="25309"/>
                          <a:pt x="52371" y="25309"/>
                          <a:pt x="52371" y="25309"/>
                        </a:cubicBezTo>
                        <a:cubicBezTo>
                          <a:pt x="51958" y="25963"/>
                          <a:pt x="51958" y="25963"/>
                          <a:pt x="51958" y="25963"/>
                        </a:cubicBezTo>
                        <a:cubicBezTo>
                          <a:pt x="52371" y="26618"/>
                          <a:pt x="52371" y="26618"/>
                          <a:pt x="52371" y="26618"/>
                        </a:cubicBezTo>
                        <a:cubicBezTo>
                          <a:pt x="51958" y="27054"/>
                          <a:pt x="51958" y="27054"/>
                          <a:pt x="51958" y="27054"/>
                        </a:cubicBezTo>
                        <a:cubicBezTo>
                          <a:pt x="51546" y="27272"/>
                          <a:pt x="51546" y="27272"/>
                          <a:pt x="51546" y="27272"/>
                        </a:cubicBezTo>
                        <a:cubicBezTo>
                          <a:pt x="51546" y="27272"/>
                          <a:pt x="50721" y="27709"/>
                          <a:pt x="50721" y="27709"/>
                        </a:cubicBezTo>
                        <a:cubicBezTo>
                          <a:pt x="50721" y="27927"/>
                          <a:pt x="51134" y="28581"/>
                          <a:pt x="51134" y="28581"/>
                        </a:cubicBezTo>
                        <a:cubicBezTo>
                          <a:pt x="51134" y="28581"/>
                          <a:pt x="51546" y="29018"/>
                          <a:pt x="51958" y="29018"/>
                        </a:cubicBezTo>
                        <a:cubicBezTo>
                          <a:pt x="51958" y="29236"/>
                          <a:pt x="52783" y="29454"/>
                          <a:pt x="52783" y="29454"/>
                        </a:cubicBezTo>
                        <a:cubicBezTo>
                          <a:pt x="52783" y="30109"/>
                          <a:pt x="52783" y="30109"/>
                          <a:pt x="52783" y="30109"/>
                        </a:cubicBezTo>
                        <a:cubicBezTo>
                          <a:pt x="51958" y="29454"/>
                          <a:pt x="51958" y="29454"/>
                          <a:pt x="51958" y="29454"/>
                        </a:cubicBezTo>
                        <a:cubicBezTo>
                          <a:pt x="51958" y="29454"/>
                          <a:pt x="51546" y="29236"/>
                          <a:pt x="51134" y="29018"/>
                        </a:cubicBezTo>
                        <a:cubicBezTo>
                          <a:pt x="51134" y="29018"/>
                          <a:pt x="50721" y="28581"/>
                          <a:pt x="50721" y="28581"/>
                        </a:cubicBezTo>
                        <a:cubicBezTo>
                          <a:pt x="50721" y="28581"/>
                          <a:pt x="49896" y="28800"/>
                          <a:pt x="49896" y="28800"/>
                        </a:cubicBezTo>
                        <a:cubicBezTo>
                          <a:pt x="49896" y="28800"/>
                          <a:pt x="49484" y="28800"/>
                          <a:pt x="49896" y="29018"/>
                        </a:cubicBezTo>
                        <a:cubicBezTo>
                          <a:pt x="49896" y="29236"/>
                          <a:pt x="49072" y="29454"/>
                          <a:pt x="49072" y="29454"/>
                        </a:cubicBezTo>
                        <a:cubicBezTo>
                          <a:pt x="49072" y="29454"/>
                          <a:pt x="47835" y="29672"/>
                          <a:pt x="47835" y="29454"/>
                        </a:cubicBezTo>
                        <a:cubicBezTo>
                          <a:pt x="47835" y="29236"/>
                          <a:pt x="47835" y="29018"/>
                          <a:pt x="47422" y="28800"/>
                        </a:cubicBezTo>
                        <a:cubicBezTo>
                          <a:pt x="47422" y="28800"/>
                          <a:pt x="47010" y="28800"/>
                          <a:pt x="47010" y="28800"/>
                        </a:cubicBezTo>
                        <a:cubicBezTo>
                          <a:pt x="47010" y="29018"/>
                          <a:pt x="46597" y="29236"/>
                          <a:pt x="46597" y="29236"/>
                        </a:cubicBezTo>
                        <a:cubicBezTo>
                          <a:pt x="47010" y="29890"/>
                          <a:pt x="47010" y="29890"/>
                          <a:pt x="47010" y="29890"/>
                        </a:cubicBezTo>
                        <a:cubicBezTo>
                          <a:pt x="47010" y="29890"/>
                          <a:pt x="46597" y="30327"/>
                          <a:pt x="46597" y="30327"/>
                        </a:cubicBezTo>
                        <a:cubicBezTo>
                          <a:pt x="46597" y="30109"/>
                          <a:pt x="46185" y="29672"/>
                          <a:pt x="46185" y="29454"/>
                        </a:cubicBezTo>
                        <a:cubicBezTo>
                          <a:pt x="46185" y="29454"/>
                          <a:pt x="46185" y="29018"/>
                          <a:pt x="45773" y="29018"/>
                        </a:cubicBezTo>
                        <a:cubicBezTo>
                          <a:pt x="45773" y="29018"/>
                          <a:pt x="44948" y="29454"/>
                          <a:pt x="44948" y="29454"/>
                        </a:cubicBezTo>
                        <a:cubicBezTo>
                          <a:pt x="44948" y="29454"/>
                          <a:pt x="44536" y="29454"/>
                          <a:pt x="44536" y="29672"/>
                        </a:cubicBezTo>
                        <a:cubicBezTo>
                          <a:pt x="44536" y="29672"/>
                          <a:pt x="44123" y="30327"/>
                          <a:pt x="44536" y="30545"/>
                        </a:cubicBezTo>
                        <a:cubicBezTo>
                          <a:pt x="44948" y="30763"/>
                          <a:pt x="44948" y="30763"/>
                          <a:pt x="45360" y="30763"/>
                        </a:cubicBezTo>
                        <a:cubicBezTo>
                          <a:pt x="45773" y="30763"/>
                          <a:pt x="45773" y="30981"/>
                          <a:pt x="45773" y="30981"/>
                        </a:cubicBezTo>
                        <a:cubicBezTo>
                          <a:pt x="44123" y="30981"/>
                          <a:pt x="44123" y="30981"/>
                          <a:pt x="44123" y="30981"/>
                        </a:cubicBezTo>
                        <a:cubicBezTo>
                          <a:pt x="44123" y="30981"/>
                          <a:pt x="43711" y="31200"/>
                          <a:pt x="44123" y="31418"/>
                        </a:cubicBezTo>
                        <a:cubicBezTo>
                          <a:pt x="44123" y="31418"/>
                          <a:pt x="44123" y="31854"/>
                          <a:pt x="44123" y="31854"/>
                        </a:cubicBezTo>
                        <a:cubicBezTo>
                          <a:pt x="44123" y="31854"/>
                          <a:pt x="44948" y="32290"/>
                          <a:pt x="44948" y="32290"/>
                        </a:cubicBezTo>
                        <a:cubicBezTo>
                          <a:pt x="44948" y="32290"/>
                          <a:pt x="44536" y="32727"/>
                          <a:pt x="44536" y="32727"/>
                        </a:cubicBezTo>
                        <a:cubicBezTo>
                          <a:pt x="44536" y="32727"/>
                          <a:pt x="43711" y="32509"/>
                          <a:pt x="43711" y="32509"/>
                        </a:cubicBezTo>
                        <a:cubicBezTo>
                          <a:pt x="43298" y="32290"/>
                          <a:pt x="43298" y="32509"/>
                          <a:pt x="42886" y="32509"/>
                        </a:cubicBezTo>
                        <a:cubicBezTo>
                          <a:pt x="42886" y="32727"/>
                          <a:pt x="42474" y="32945"/>
                          <a:pt x="42474" y="33163"/>
                        </a:cubicBezTo>
                        <a:cubicBezTo>
                          <a:pt x="42474" y="33163"/>
                          <a:pt x="42886" y="33381"/>
                          <a:pt x="42886" y="33600"/>
                        </a:cubicBezTo>
                        <a:cubicBezTo>
                          <a:pt x="42474" y="34036"/>
                          <a:pt x="42474" y="34472"/>
                          <a:pt x="42474" y="34472"/>
                        </a:cubicBezTo>
                        <a:cubicBezTo>
                          <a:pt x="42474" y="34472"/>
                          <a:pt x="42061" y="34472"/>
                          <a:pt x="42474" y="34690"/>
                        </a:cubicBezTo>
                        <a:cubicBezTo>
                          <a:pt x="42886" y="34909"/>
                          <a:pt x="43711" y="34909"/>
                          <a:pt x="44123" y="34909"/>
                        </a:cubicBezTo>
                        <a:cubicBezTo>
                          <a:pt x="44536" y="34909"/>
                          <a:pt x="44536" y="34909"/>
                          <a:pt x="44536" y="34909"/>
                        </a:cubicBezTo>
                        <a:cubicBezTo>
                          <a:pt x="44948" y="34909"/>
                          <a:pt x="45360" y="34909"/>
                          <a:pt x="45773" y="35127"/>
                        </a:cubicBezTo>
                        <a:cubicBezTo>
                          <a:pt x="45773" y="35127"/>
                          <a:pt x="46185" y="35127"/>
                          <a:pt x="46185" y="35127"/>
                        </a:cubicBezTo>
                        <a:cubicBezTo>
                          <a:pt x="46185" y="35127"/>
                          <a:pt x="45773" y="35563"/>
                          <a:pt x="45360" y="35345"/>
                        </a:cubicBezTo>
                        <a:cubicBezTo>
                          <a:pt x="44948" y="35127"/>
                          <a:pt x="44123" y="35127"/>
                          <a:pt x="43711" y="35127"/>
                        </a:cubicBezTo>
                        <a:cubicBezTo>
                          <a:pt x="43298" y="35127"/>
                          <a:pt x="43711" y="35563"/>
                          <a:pt x="43711" y="35563"/>
                        </a:cubicBezTo>
                        <a:cubicBezTo>
                          <a:pt x="44123" y="36000"/>
                          <a:pt x="44123" y="36000"/>
                          <a:pt x="44123" y="36000"/>
                        </a:cubicBezTo>
                        <a:cubicBezTo>
                          <a:pt x="44123" y="36000"/>
                          <a:pt x="44536" y="36218"/>
                          <a:pt x="44123" y="36218"/>
                        </a:cubicBezTo>
                        <a:cubicBezTo>
                          <a:pt x="43711" y="36218"/>
                          <a:pt x="42886" y="36000"/>
                          <a:pt x="42886" y="36000"/>
                        </a:cubicBezTo>
                        <a:cubicBezTo>
                          <a:pt x="42886" y="36000"/>
                          <a:pt x="42886" y="36000"/>
                          <a:pt x="42474" y="36000"/>
                        </a:cubicBezTo>
                        <a:cubicBezTo>
                          <a:pt x="42474" y="36000"/>
                          <a:pt x="42061" y="36218"/>
                          <a:pt x="41649" y="36218"/>
                        </a:cubicBezTo>
                        <a:cubicBezTo>
                          <a:pt x="41237" y="36218"/>
                          <a:pt x="41237" y="36218"/>
                          <a:pt x="40824" y="36000"/>
                        </a:cubicBezTo>
                        <a:cubicBezTo>
                          <a:pt x="40412" y="36000"/>
                          <a:pt x="39587" y="35563"/>
                          <a:pt x="39587" y="35563"/>
                        </a:cubicBezTo>
                        <a:cubicBezTo>
                          <a:pt x="39587" y="35563"/>
                          <a:pt x="39175" y="35563"/>
                          <a:pt x="39175" y="35345"/>
                        </a:cubicBezTo>
                        <a:cubicBezTo>
                          <a:pt x="39175" y="35127"/>
                          <a:pt x="39587" y="34690"/>
                          <a:pt x="39587" y="34690"/>
                        </a:cubicBezTo>
                        <a:cubicBezTo>
                          <a:pt x="40000" y="34472"/>
                          <a:pt x="39587" y="34472"/>
                          <a:pt x="40000" y="34472"/>
                        </a:cubicBezTo>
                        <a:cubicBezTo>
                          <a:pt x="40412" y="34472"/>
                          <a:pt x="41649" y="34472"/>
                          <a:pt x="40824" y="34036"/>
                        </a:cubicBezTo>
                        <a:cubicBezTo>
                          <a:pt x="40412" y="33600"/>
                          <a:pt x="40412" y="33600"/>
                          <a:pt x="40000" y="33600"/>
                        </a:cubicBezTo>
                        <a:cubicBezTo>
                          <a:pt x="39587" y="33818"/>
                          <a:pt x="38762" y="34036"/>
                          <a:pt x="38762" y="34036"/>
                        </a:cubicBezTo>
                        <a:cubicBezTo>
                          <a:pt x="38762" y="34036"/>
                          <a:pt x="38350" y="33818"/>
                          <a:pt x="38762" y="33163"/>
                        </a:cubicBezTo>
                        <a:cubicBezTo>
                          <a:pt x="39175" y="32509"/>
                          <a:pt x="38762" y="32509"/>
                          <a:pt x="39175" y="32290"/>
                        </a:cubicBezTo>
                        <a:cubicBezTo>
                          <a:pt x="39587" y="32072"/>
                          <a:pt x="40000" y="31854"/>
                          <a:pt x="40000" y="31854"/>
                        </a:cubicBezTo>
                        <a:cubicBezTo>
                          <a:pt x="40000" y="31854"/>
                          <a:pt x="40000" y="31636"/>
                          <a:pt x="39175" y="31200"/>
                        </a:cubicBezTo>
                        <a:cubicBezTo>
                          <a:pt x="38762" y="30763"/>
                          <a:pt x="38350" y="30327"/>
                          <a:pt x="38350" y="30327"/>
                        </a:cubicBezTo>
                        <a:cubicBezTo>
                          <a:pt x="37938" y="30109"/>
                          <a:pt x="37113" y="30545"/>
                          <a:pt x="37113" y="30545"/>
                        </a:cubicBezTo>
                        <a:cubicBezTo>
                          <a:pt x="37113" y="30763"/>
                          <a:pt x="36701" y="31200"/>
                          <a:pt x="37113" y="31418"/>
                        </a:cubicBezTo>
                        <a:cubicBezTo>
                          <a:pt x="37113" y="31636"/>
                          <a:pt x="37113" y="31854"/>
                          <a:pt x="36701" y="32072"/>
                        </a:cubicBezTo>
                        <a:cubicBezTo>
                          <a:pt x="36288" y="32072"/>
                          <a:pt x="36288" y="32290"/>
                          <a:pt x="35876" y="32072"/>
                        </a:cubicBezTo>
                        <a:cubicBezTo>
                          <a:pt x="35463" y="31854"/>
                          <a:pt x="35876" y="32072"/>
                          <a:pt x="35463" y="31636"/>
                        </a:cubicBezTo>
                        <a:cubicBezTo>
                          <a:pt x="35051" y="31418"/>
                          <a:pt x="35463" y="31418"/>
                          <a:pt x="35051" y="31418"/>
                        </a:cubicBezTo>
                        <a:cubicBezTo>
                          <a:pt x="34639" y="31200"/>
                          <a:pt x="34226" y="30981"/>
                          <a:pt x="34226" y="30981"/>
                        </a:cubicBezTo>
                        <a:cubicBezTo>
                          <a:pt x="34226" y="30981"/>
                          <a:pt x="32989" y="30763"/>
                          <a:pt x="32989" y="30981"/>
                        </a:cubicBezTo>
                        <a:cubicBezTo>
                          <a:pt x="32989" y="31200"/>
                          <a:pt x="32989" y="31200"/>
                          <a:pt x="33402" y="31418"/>
                        </a:cubicBezTo>
                        <a:cubicBezTo>
                          <a:pt x="33402" y="31636"/>
                          <a:pt x="33814" y="31636"/>
                          <a:pt x="33814" y="31854"/>
                        </a:cubicBezTo>
                        <a:cubicBezTo>
                          <a:pt x="33814" y="32072"/>
                          <a:pt x="33402" y="32072"/>
                          <a:pt x="33402" y="32072"/>
                        </a:cubicBezTo>
                        <a:cubicBezTo>
                          <a:pt x="33402" y="32072"/>
                          <a:pt x="32989" y="31854"/>
                          <a:pt x="32577" y="31854"/>
                        </a:cubicBezTo>
                        <a:cubicBezTo>
                          <a:pt x="32577" y="31854"/>
                          <a:pt x="31752" y="32290"/>
                          <a:pt x="31752" y="32290"/>
                        </a:cubicBezTo>
                        <a:cubicBezTo>
                          <a:pt x="31752" y="32290"/>
                          <a:pt x="31752" y="32509"/>
                          <a:pt x="31752" y="32727"/>
                        </a:cubicBezTo>
                        <a:cubicBezTo>
                          <a:pt x="31752" y="32727"/>
                          <a:pt x="31752" y="32945"/>
                          <a:pt x="31752" y="33163"/>
                        </a:cubicBezTo>
                        <a:cubicBezTo>
                          <a:pt x="32164" y="33381"/>
                          <a:pt x="32164" y="33818"/>
                          <a:pt x="32577" y="33818"/>
                        </a:cubicBezTo>
                        <a:cubicBezTo>
                          <a:pt x="33402" y="33818"/>
                          <a:pt x="35051" y="33381"/>
                          <a:pt x="35051" y="33381"/>
                        </a:cubicBezTo>
                        <a:cubicBezTo>
                          <a:pt x="35051" y="33600"/>
                          <a:pt x="35876" y="33818"/>
                          <a:pt x="36288" y="34036"/>
                        </a:cubicBezTo>
                        <a:cubicBezTo>
                          <a:pt x="36288" y="34036"/>
                          <a:pt x="36288" y="34472"/>
                          <a:pt x="36288" y="34472"/>
                        </a:cubicBezTo>
                        <a:cubicBezTo>
                          <a:pt x="36288" y="34472"/>
                          <a:pt x="35876" y="34690"/>
                          <a:pt x="35463" y="34690"/>
                        </a:cubicBezTo>
                        <a:cubicBezTo>
                          <a:pt x="35051" y="34690"/>
                          <a:pt x="34639" y="34254"/>
                          <a:pt x="34639" y="34690"/>
                        </a:cubicBezTo>
                        <a:cubicBezTo>
                          <a:pt x="34639" y="34909"/>
                          <a:pt x="34226" y="35345"/>
                          <a:pt x="34639" y="35563"/>
                        </a:cubicBezTo>
                        <a:cubicBezTo>
                          <a:pt x="35051" y="35781"/>
                          <a:pt x="35051" y="36218"/>
                          <a:pt x="35876" y="36218"/>
                        </a:cubicBezTo>
                        <a:cubicBezTo>
                          <a:pt x="36701" y="36436"/>
                          <a:pt x="36701" y="36654"/>
                          <a:pt x="37113" y="36436"/>
                        </a:cubicBezTo>
                        <a:cubicBezTo>
                          <a:pt x="37525" y="36218"/>
                          <a:pt x="37525" y="36000"/>
                          <a:pt x="37938" y="36218"/>
                        </a:cubicBezTo>
                        <a:cubicBezTo>
                          <a:pt x="38350" y="36218"/>
                          <a:pt x="38762" y="36218"/>
                          <a:pt x="39175" y="36436"/>
                        </a:cubicBezTo>
                        <a:cubicBezTo>
                          <a:pt x="39175" y="36654"/>
                          <a:pt x="38762" y="36654"/>
                          <a:pt x="38762" y="36654"/>
                        </a:cubicBezTo>
                        <a:cubicBezTo>
                          <a:pt x="38762" y="36654"/>
                          <a:pt x="38350" y="36654"/>
                          <a:pt x="38350" y="36872"/>
                        </a:cubicBezTo>
                        <a:cubicBezTo>
                          <a:pt x="38350" y="36872"/>
                          <a:pt x="37938" y="37090"/>
                          <a:pt x="38350" y="37090"/>
                        </a:cubicBezTo>
                        <a:cubicBezTo>
                          <a:pt x="39175" y="37090"/>
                          <a:pt x="39587" y="37090"/>
                          <a:pt x="39587" y="37090"/>
                        </a:cubicBezTo>
                        <a:cubicBezTo>
                          <a:pt x="39587" y="37090"/>
                          <a:pt x="40000" y="36654"/>
                          <a:pt x="40412" y="36872"/>
                        </a:cubicBezTo>
                        <a:cubicBezTo>
                          <a:pt x="40412" y="37090"/>
                          <a:pt x="40000" y="37090"/>
                          <a:pt x="39587" y="37309"/>
                        </a:cubicBezTo>
                        <a:cubicBezTo>
                          <a:pt x="39175" y="37527"/>
                          <a:pt x="39175" y="37527"/>
                          <a:pt x="39175" y="37745"/>
                        </a:cubicBezTo>
                        <a:cubicBezTo>
                          <a:pt x="39175" y="37963"/>
                          <a:pt x="38762" y="37963"/>
                          <a:pt x="38762" y="38181"/>
                        </a:cubicBezTo>
                        <a:cubicBezTo>
                          <a:pt x="38762" y="38400"/>
                          <a:pt x="37938" y="39272"/>
                          <a:pt x="39175" y="38618"/>
                        </a:cubicBezTo>
                        <a:cubicBezTo>
                          <a:pt x="40824" y="37963"/>
                          <a:pt x="40824" y="38181"/>
                          <a:pt x="40824" y="37963"/>
                        </a:cubicBezTo>
                        <a:cubicBezTo>
                          <a:pt x="40824" y="37745"/>
                          <a:pt x="40824" y="37745"/>
                          <a:pt x="41649" y="37527"/>
                        </a:cubicBezTo>
                        <a:cubicBezTo>
                          <a:pt x="42061" y="37309"/>
                          <a:pt x="42474" y="37309"/>
                          <a:pt x="42886" y="37309"/>
                        </a:cubicBezTo>
                        <a:cubicBezTo>
                          <a:pt x="42886" y="37090"/>
                          <a:pt x="43711" y="37090"/>
                          <a:pt x="43298" y="37309"/>
                        </a:cubicBezTo>
                        <a:cubicBezTo>
                          <a:pt x="42886" y="37527"/>
                          <a:pt x="42474" y="37309"/>
                          <a:pt x="42886" y="37527"/>
                        </a:cubicBezTo>
                        <a:cubicBezTo>
                          <a:pt x="43298" y="37745"/>
                          <a:pt x="43298" y="37963"/>
                          <a:pt x="43711" y="37963"/>
                        </a:cubicBezTo>
                        <a:cubicBezTo>
                          <a:pt x="44123" y="37963"/>
                          <a:pt x="44123" y="37963"/>
                          <a:pt x="44123" y="37963"/>
                        </a:cubicBezTo>
                        <a:cubicBezTo>
                          <a:pt x="44123" y="37963"/>
                          <a:pt x="43298" y="37963"/>
                          <a:pt x="42886" y="37963"/>
                        </a:cubicBezTo>
                        <a:cubicBezTo>
                          <a:pt x="42886" y="37963"/>
                          <a:pt x="42474" y="37963"/>
                          <a:pt x="42474" y="37963"/>
                        </a:cubicBezTo>
                        <a:cubicBezTo>
                          <a:pt x="42061" y="37963"/>
                          <a:pt x="42061" y="38181"/>
                          <a:pt x="42061" y="38181"/>
                        </a:cubicBezTo>
                        <a:cubicBezTo>
                          <a:pt x="41649" y="38400"/>
                          <a:pt x="41649" y="38400"/>
                          <a:pt x="41649" y="38400"/>
                        </a:cubicBezTo>
                        <a:cubicBezTo>
                          <a:pt x="41649" y="38400"/>
                          <a:pt x="42061" y="38618"/>
                          <a:pt x="42061" y="38836"/>
                        </a:cubicBezTo>
                        <a:cubicBezTo>
                          <a:pt x="42061" y="38836"/>
                          <a:pt x="42061" y="38836"/>
                          <a:pt x="41649" y="38836"/>
                        </a:cubicBezTo>
                        <a:cubicBezTo>
                          <a:pt x="41237" y="38836"/>
                          <a:pt x="41649" y="38618"/>
                          <a:pt x="40824" y="38836"/>
                        </a:cubicBezTo>
                        <a:cubicBezTo>
                          <a:pt x="40000" y="38836"/>
                          <a:pt x="40412" y="38400"/>
                          <a:pt x="40000" y="39054"/>
                        </a:cubicBezTo>
                        <a:cubicBezTo>
                          <a:pt x="39587" y="39709"/>
                          <a:pt x="39175" y="39709"/>
                          <a:pt x="39175" y="39709"/>
                        </a:cubicBezTo>
                        <a:cubicBezTo>
                          <a:pt x="39175" y="39709"/>
                          <a:pt x="39175" y="39709"/>
                          <a:pt x="39175" y="39927"/>
                        </a:cubicBezTo>
                        <a:cubicBezTo>
                          <a:pt x="39175" y="39927"/>
                          <a:pt x="39587" y="40145"/>
                          <a:pt x="40000" y="40363"/>
                        </a:cubicBezTo>
                        <a:cubicBezTo>
                          <a:pt x="40824" y="40581"/>
                          <a:pt x="41237" y="40800"/>
                          <a:pt x="41237" y="40800"/>
                        </a:cubicBezTo>
                        <a:cubicBezTo>
                          <a:pt x="41237" y="40800"/>
                          <a:pt x="40824" y="40800"/>
                          <a:pt x="40412" y="40800"/>
                        </a:cubicBezTo>
                        <a:cubicBezTo>
                          <a:pt x="39587" y="41018"/>
                          <a:pt x="39175" y="41018"/>
                          <a:pt x="38762" y="41236"/>
                        </a:cubicBezTo>
                        <a:cubicBezTo>
                          <a:pt x="38762" y="41236"/>
                          <a:pt x="38350" y="41454"/>
                          <a:pt x="37938" y="41454"/>
                        </a:cubicBezTo>
                        <a:cubicBezTo>
                          <a:pt x="37525" y="41454"/>
                          <a:pt x="36288" y="41236"/>
                          <a:pt x="35876" y="41454"/>
                        </a:cubicBezTo>
                        <a:cubicBezTo>
                          <a:pt x="35463" y="41454"/>
                          <a:pt x="35051" y="41454"/>
                          <a:pt x="34639" y="41672"/>
                        </a:cubicBezTo>
                        <a:cubicBezTo>
                          <a:pt x="34639" y="41672"/>
                          <a:pt x="34639" y="41890"/>
                          <a:pt x="34639" y="41890"/>
                        </a:cubicBezTo>
                        <a:cubicBezTo>
                          <a:pt x="34639" y="41890"/>
                          <a:pt x="34226" y="42109"/>
                          <a:pt x="34639" y="42109"/>
                        </a:cubicBezTo>
                        <a:cubicBezTo>
                          <a:pt x="35051" y="42109"/>
                          <a:pt x="36701" y="42109"/>
                          <a:pt x="36701" y="42109"/>
                        </a:cubicBezTo>
                        <a:cubicBezTo>
                          <a:pt x="37113" y="42109"/>
                          <a:pt x="37113" y="42327"/>
                          <a:pt x="37113" y="42327"/>
                        </a:cubicBezTo>
                        <a:cubicBezTo>
                          <a:pt x="36288" y="42327"/>
                          <a:pt x="36288" y="42327"/>
                          <a:pt x="36288" y="42327"/>
                        </a:cubicBezTo>
                        <a:cubicBezTo>
                          <a:pt x="36288" y="42327"/>
                          <a:pt x="35463" y="42327"/>
                          <a:pt x="35051" y="42327"/>
                        </a:cubicBezTo>
                        <a:cubicBezTo>
                          <a:pt x="35051" y="42327"/>
                          <a:pt x="33814" y="42545"/>
                          <a:pt x="33814" y="42545"/>
                        </a:cubicBezTo>
                        <a:cubicBezTo>
                          <a:pt x="33814" y="42545"/>
                          <a:pt x="32989" y="42981"/>
                          <a:pt x="32989" y="43200"/>
                        </a:cubicBezTo>
                        <a:cubicBezTo>
                          <a:pt x="32989" y="43200"/>
                          <a:pt x="32989" y="43418"/>
                          <a:pt x="33402" y="43854"/>
                        </a:cubicBezTo>
                        <a:cubicBezTo>
                          <a:pt x="34226" y="44072"/>
                          <a:pt x="34226" y="44290"/>
                          <a:pt x="34226" y="44509"/>
                        </a:cubicBezTo>
                        <a:cubicBezTo>
                          <a:pt x="34226" y="44509"/>
                          <a:pt x="34226" y="44509"/>
                          <a:pt x="34226" y="44727"/>
                        </a:cubicBezTo>
                        <a:cubicBezTo>
                          <a:pt x="33814" y="44727"/>
                          <a:pt x="32989" y="45163"/>
                          <a:pt x="32989" y="45163"/>
                        </a:cubicBezTo>
                        <a:cubicBezTo>
                          <a:pt x="32989" y="45163"/>
                          <a:pt x="32989" y="45163"/>
                          <a:pt x="32989" y="45600"/>
                        </a:cubicBezTo>
                        <a:cubicBezTo>
                          <a:pt x="32577" y="45818"/>
                          <a:pt x="31752" y="46472"/>
                          <a:pt x="32577" y="46472"/>
                        </a:cubicBezTo>
                        <a:cubicBezTo>
                          <a:pt x="33402" y="46690"/>
                          <a:pt x="32989" y="46909"/>
                          <a:pt x="33814" y="46690"/>
                        </a:cubicBezTo>
                        <a:cubicBezTo>
                          <a:pt x="35051" y="46472"/>
                          <a:pt x="33814" y="46254"/>
                          <a:pt x="35463" y="46472"/>
                        </a:cubicBezTo>
                        <a:cubicBezTo>
                          <a:pt x="37113" y="46690"/>
                          <a:pt x="37525" y="46472"/>
                          <a:pt x="37938" y="46472"/>
                        </a:cubicBezTo>
                        <a:cubicBezTo>
                          <a:pt x="38350" y="46254"/>
                          <a:pt x="38350" y="46254"/>
                          <a:pt x="38762" y="46036"/>
                        </a:cubicBezTo>
                        <a:cubicBezTo>
                          <a:pt x="38762" y="46036"/>
                          <a:pt x="37938" y="45818"/>
                          <a:pt x="39175" y="45818"/>
                        </a:cubicBezTo>
                        <a:cubicBezTo>
                          <a:pt x="40412" y="45600"/>
                          <a:pt x="40412" y="45600"/>
                          <a:pt x="40412" y="45600"/>
                        </a:cubicBezTo>
                        <a:cubicBezTo>
                          <a:pt x="40412" y="45600"/>
                          <a:pt x="39587" y="44945"/>
                          <a:pt x="40412" y="45381"/>
                        </a:cubicBezTo>
                        <a:cubicBezTo>
                          <a:pt x="41649" y="45818"/>
                          <a:pt x="41649" y="46036"/>
                          <a:pt x="41649" y="46036"/>
                        </a:cubicBezTo>
                        <a:cubicBezTo>
                          <a:pt x="40824" y="46472"/>
                          <a:pt x="40824" y="46472"/>
                          <a:pt x="40824" y="46472"/>
                        </a:cubicBezTo>
                        <a:cubicBezTo>
                          <a:pt x="40824" y="46690"/>
                          <a:pt x="40824" y="46690"/>
                          <a:pt x="40824" y="46690"/>
                        </a:cubicBezTo>
                        <a:cubicBezTo>
                          <a:pt x="40824" y="46690"/>
                          <a:pt x="40000" y="46690"/>
                          <a:pt x="39587" y="47127"/>
                        </a:cubicBezTo>
                        <a:cubicBezTo>
                          <a:pt x="39175" y="47563"/>
                          <a:pt x="37938" y="48218"/>
                          <a:pt x="37938" y="48436"/>
                        </a:cubicBezTo>
                        <a:cubicBezTo>
                          <a:pt x="37938" y="48436"/>
                          <a:pt x="38350" y="48218"/>
                          <a:pt x="37525" y="48654"/>
                        </a:cubicBezTo>
                        <a:cubicBezTo>
                          <a:pt x="36288" y="49090"/>
                          <a:pt x="35876" y="49090"/>
                          <a:pt x="35051" y="49309"/>
                        </a:cubicBezTo>
                        <a:cubicBezTo>
                          <a:pt x="34639" y="49745"/>
                          <a:pt x="34639" y="49527"/>
                          <a:pt x="34226" y="49745"/>
                        </a:cubicBezTo>
                        <a:cubicBezTo>
                          <a:pt x="34226" y="49963"/>
                          <a:pt x="33814" y="50181"/>
                          <a:pt x="33814" y="50181"/>
                        </a:cubicBezTo>
                        <a:cubicBezTo>
                          <a:pt x="33402" y="50618"/>
                          <a:pt x="33402" y="50618"/>
                          <a:pt x="33402" y="50618"/>
                        </a:cubicBezTo>
                        <a:cubicBezTo>
                          <a:pt x="32164" y="50836"/>
                          <a:pt x="32164" y="50836"/>
                          <a:pt x="32164" y="50836"/>
                        </a:cubicBezTo>
                        <a:cubicBezTo>
                          <a:pt x="30927" y="50618"/>
                          <a:pt x="30927" y="50618"/>
                          <a:pt x="30927" y="50618"/>
                        </a:cubicBezTo>
                        <a:cubicBezTo>
                          <a:pt x="30103" y="51054"/>
                          <a:pt x="30103" y="51054"/>
                          <a:pt x="30103" y="51054"/>
                        </a:cubicBezTo>
                        <a:cubicBezTo>
                          <a:pt x="30103" y="51054"/>
                          <a:pt x="28865" y="50836"/>
                          <a:pt x="28453" y="50836"/>
                        </a:cubicBezTo>
                        <a:cubicBezTo>
                          <a:pt x="28041" y="51054"/>
                          <a:pt x="27628" y="51272"/>
                          <a:pt x="27628" y="51272"/>
                        </a:cubicBezTo>
                        <a:cubicBezTo>
                          <a:pt x="27628" y="51272"/>
                          <a:pt x="27216" y="51272"/>
                          <a:pt x="27216" y="51709"/>
                        </a:cubicBezTo>
                        <a:cubicBezTo>
                          <a:pt x="27216" y="51927"/>
                          <a:pt x="26804" y="52581"/>
                          <a:pt x="26804" y="52581"/>
                        </a:cubicBezTo>
                        <a:cubicBezTo>
                          <a:pt x="25979" y="53018"/>
                          <a:pt x="25979" y="53018"/>
                          <a:pt x="25979" y="53018"/>
                        </a:cubicBezTo>
                        <a:cubicBezTo>
                          <a:pt x="25979" y="53018"/>
                          <a:pt x="25567" y="53454"/>
                          <a:pt x="26391" y="53236"/>
                        </a:cubicBezTo>
                        <a:cubicBezTo>
                          <a:pt x="27216" y="53018"/>
                          <a:pt x="27628" y="52800"/>
                          <a:pt x="28041" y="52581"/>
                        </a:cubicBezTo>
                        <a:cubicBezTo>
                          <a:pt x="28041" y="52581"/>
                          <a:pt x="28865" y="52363"/>
                          <a:pt x="28865" y="52363"/>
                        </a:cubicBezTo>
                        <a:cubicBezTo>
                          <a:pt x="28865" y="52800"/>
                          <a:pt x="28865" y="52800"/>
                          <a:pt x="28865" y="52800"/>
                        </a:cubicBezTo>
                        <a:cubicBezTo>
                          <a:pt x="28453" y="53672"/>
                          <a:pt x="28453" y="53672"/>
                          <a:pt x="28453" y="53672"/>
                        </a:cubicBezTo>
                        <a:cubicBezTo>
                          <a:pt x="28041" y="53890"/>
                          <a:pt x="28041" y="53890"/>
                          <a:pt x="28041" y="53890"/>
                        </a:cubicBezTo>
                        <a:cubicBezTo>
                          <a:pt x="27628" y="54109"/>
                          <a:pt x="27628" y="54109"/>
                          <a:pt x="27628" y="54109"/>
                        </a:cubicBezTo>
                        <a:cubicBezTo>
                          <a:pt x="27628" y="54109"/>
                          <a:pt x="26804" y="54981"/>
                          <a:pt x="27628" y="54981"/>
                        </a:cubicBezTo>
                        <a:cubicBezTo>
                          <a:pt x="28453" y="54763"/>
                          <a:pt x="28041" y="54763"/>
                          <a:pt x="28865" y="54545"/>
                        </a:cubicBezTo>
                        <a:cubicBezTo>
                          <a:pt x="29690" y="54545"/>
                          <a:pt x="29278" y="54327"/>
                          <a:pt x="30927" y="54109"/>
                        </a:cubicBezTo>
                        <a:cubicBezTo>
                          <a:pt x="32164" y="54109"/>
                          <a:pt x="32164" y="53672"/>
                          <a:pt x="32164" y="53454"/>
                        </a:cubicBezTo>
                        <a:cubicBezTo>
                          <a:pt x="32164" y="53454"/>
                          <a:pt x="32164" y="53236"/>
                          <a:pt x="32164" y="53018"/>
                        </a:cubicBezTo>
                        <a:cubicBezTo>
                          <a:pt x="32164" y="52800"/>
                          <a:pt x="31340" y="52581"/>
                          <a:pt x="32577" y="52363"/>
                        </a:cubicBezTo>
                        <a:cubicBezTo>
                          <a:pt x="33402" y="52363"/>
                          <a:pt x="32989" y="52581"/>
                          <a:pt x="33402" y="52363"/>
                        </a:cubicBezTo>
                        <a:cubicBezTo>
                          <a:pt x="33814" y="52145"/>
                          <a:pt x="33814" y="52581"/>
                          <a:pt x="33814" y="51927"/>
                        </a:cubicBezTo>
                        <a:cubicBezTo>
                          <a:pt x="33814" y="51490"/>
                          <a:pt x="33814" y="51490"/>
                          <a:pt x="34639" y="51272"/>
                        </a:cubicBezTo>
                        <a:cubicBezTo>
                          <a:pt x="35463" y="50836"/>
                          <a:pt x="35051" y="51054"/>
                          <a:pt x="35463" y="50836"/>
                        </a:cubicBezTo>
                        <a:cubicBezTo>
                          <a:pt x="35876" y="50618"/>
                          <a:pt x="35463" y="50618"/>
                          <a:pt x="35876" y="50400"/>
                        </a:cubicBezTo>
                        <a:cubicBezTo>
                          <a:pt x="36701" y="50181"/>
                          <a:pt x="36701" y="50181"/>
                          <a:pt x="36701" y="50181"/>
                        </a:cubicBezTo>
                        <a:cubicBezTo>
                          <a:pt x="36701" y="49963"/>
                          <a:pt x="37938" y="49527"/>
                          <a:pt x="37938" y="49527"/>
                        </a:cubicBezTo>
                        <a:cubicBezTo>
                          <a:pt x="37938" y="49090"/>
                          <a:pt x="37938" y="49090"/>
                          <a:pt x="37938" y="49090"/>
                        </a:cubicBezTo>
                        <a:cubicBezTo>
                          <a:pt x="39587" y="48654"/>
                          <a:pt x="39587" y="48654"/>
                          <a:pt x="39587" y="48654"/>
                        </a:cubicBezTo>
                        <a:cubicBezTo>
                          <a:pt x="39587" y="48654"/>
                          <a:pt x="40000" y="48436"/>
                          <a:pt x="40000" y="48654"/>
                        </a:cubicBezTo>
                        <a:cubicBezTo>
                          <a:pt x="39587" y="48872"/>
                          <a:pt x="39175" y="49309"/>
                          <a:pt x="39175" y="49309"/>
                        </a:cubicBezTo>
                        <a:cubicBezTo>
                          <a:pt x="39175" y="49745"/>
                          <a:pt x="39175" y="49745"/>
                          <a:pt x="39175" y="49745"/>
                        </a:cubicBezTo>
                        <a:cubicBezTo>
                          <a:pt x="37938" y="50181"/>
                          <a:pt x="37938" y="50181"/>
                          <a:pt x="37938" y="50181"/>
                        </a:cubicBezTo>
                        <a:cubicBezTo>
                          <a:pt x="37938" y="50181"/>
                          <a:pt x="38762" y="50400"/>
                          <a:pt x="38350" y="50618"/>
                        </a:cubicBezTo>
                        <a:cubicBezTo>
                          <a:pt x="37938" y="50836"/>
                          <a:pt x="37113" y="51054"/>
                          <a:pt x="37113" y="51054"/>
                        </a:cubicBezTo>
                        <a:cubicBezTo>
                          <a:pt x="37113" y="51490"/>
                          <a:pt x="37113" y="51490"/>
                          <a:pt x="37113" y="51490"/>
                        </a:cubicBezTo>
                        <a:cubicBezTo>
                          <a:pt x="37525" y="51709"/>
                          <a:pt x="37525" y="51709"/>
                          <a:pt x="37525" y="51709"/>
                        </a:cubicBezTo>
                        <a:cubicBezTo>
                          <a:pt x="36701" y="52581"/>
                          <a:pt x="36701" y="52581"/>
                          <a:pt x="36701" y="52581"/>
                        </a:cubicBezTo>
                        <a:cubicBezTo>
                          <a:pt x="37525" y="53018"/>
                          <a:pt x="37525" y="53018"/>
                          <a:pt x="37525" y="53018"/>
                        </a:cubicBezTo>
                        <a:cubicBezTo>
                          <a:pt x="37938" y="53454"/>
                          <a:pt x="37938" y="53454"/>
                          <a:pt x="37938" y="53454"/>
                        </a:cubicBezTo>
                        <a:cubicBezTo>
                          <a:pt x="37938" y="53454"/>
                          <a:pt x="37525" y="53672"/>
                          <a:pt x="37113" y="53890"/>
                        </a:cubicBezTo>
                        <a:cubicBezTo>
                          <a:pt x="36701" y="53890"/>
                          <a:pt x="35876" y="54545"/>
                          <a:pt x="35876" y="54545"/>
                        </a:cubicBezTo>
                        <a:cubicBezTo>
                          <a:pt x="35051" y="55200"/>
                          <a:pt x="35051" y="55200"/>
                          <a:pt x="35051" y="55200"/>
                        </a:cubicBezTo>
                        <a:cubicBezTo>
                          <a:pt x="34226" y="55854"/>
                          <a:pt x="34226" y="55854"/>
                          <a:pt x="34226" y="55854"/>
                        </a:cubicBezTo>
                        <a:cubicBezTo>
                          <a:pt x="34226" y="56509"/>
                          <a:pt x="34226" y="56509"/>
                          <a:pt x="34226" y="56509"/>
                        </a:cubicBezTo>
                        <a:cubicBezTo>
                          <a:pt x="33814" y="57381"/>
                          <a:pt x="33814" y="57381"/>
                          <a:pt x="33814" y="57381"/>
                        </a:cubicBezTo>
                        <a:cubicBezTo>
                          <a:pt x="32989" y="57600"/>
                          <a:pt x="32989" y="57600"/>
                          <a:pt x="32989" y="57600"/>
                        </a:cubicBezTo>
                        <a:cubicBezTo>
                          <a:pt x="32989" y="57600"/>
                          <a:pt x="32577" y="58254"/>
                          <a:pt x="33402" y="58254"/>
                        </a:cubicBezTo>
                        <a:cubicBezTo>
                          <a:pt x="34226" y="58472"/>
                          <a:pt x="34226" y="58472"/>
                          <a:pt x="34639" y="58472"/>
                        </a:cubicBezTo>
                        <a:cubicBezTo>
                          <a:pt x="35463" y="58472"/>
                          <a:pt x="35051" y="58472"/>
                          <a:pt x="35463" y="58472"/>
                        </a:cubicBezTo>
                        <a:cubicBezTo>
                          <a:pt x="35876" y="58472"/>
                          <a:pt x="36701" y="58472"/>
                          <a:pt x="36701" y="58036"/>
                        </a:cubicBezTo>
                        <a:cubicBezTo>
                          <a:pt x="36701" y="57600"/>
                          <a:pt x="36701" y="57163"/>
                          <a:pt x="36701" y="56945"/>
                        </a:cubicBezTo>
                        <a:cubicBezTo>
                          <a:pt x="36701" y="56945"/>
                          <a:pt x="37525" y="56290"/>
                          <a:pt x="37525" y="56290"/>
                        </a:cubicBezTo>
                        <a:cubicBezTo>
                          <a:pt x="37525" y="55418"/>
                          <a:pt x="37525" y="55418"/>
                          <a:pt x="37525" y="55418"/>
                        </a:cubicBezTo>
                        <a:cubicBezTo>
                          <a:pt x="37525" y="55418"/>
                          <a:pt x="37525" y="55200"/>
                          <a:pt x="38350" y="54763"/>
                        </a:cubicBezTo>
                        <a:cubicBezTo>
                          <a:pt x="39175" y="54545"/>
                          <a:pt x="38762" y="54545"/>
                          <a:pt x="39175" y="54545"/>
                        </a:cubicBezTo>
                        <a:cubicBezTo>
                          <a:pt x="39587" y="54327"/>
                          <a:pt x="39587" y="54109"/>
                          <a:pt x="39587" y="53890"/>
                        </a:cubicBezTo>
                        <a:cubicBezTo>
                          <a:pt x="40000" y="53672"/>
                          <a:pt x="40000" y="53672"/>
                          <a:pt x="40000" y="53672"/>
                        </a:cubicBezTo>
                        <a:cubicBezTo>
                          <a:pt x="40412" y="53236"/>
                          <a:pt x="40412" y="53236"/>
                          <a:pt x="40412" y="53236"/>
                        </a:cubicBezTo>
                        <a:cubicBezTo>
                          <a:pt x="40412" y="51490"/>
                          <a:pt x="40412" y="51490"/>
                          <a:pt x="40412" y="51490"/>
                        </a:cubicBezTo>
                        <a:cubicBezTo>
                          <a:pt x="40412" y="51490"/>
                          <a:pt x="40412" y="51054"/>
                          <a:pt x="40824" y="51054"/>
                        </a:cubicBezTo>
                        <a:cubicBezTo>
                          <a:pt x="41237" y="51054"/>
                          <a:pt x="41649" y="51054"/>
                          <a:pt x="41649" y="51054"/>
                        </a:cubicBezTo>
                        <a:cubicBezTo>
                          <a:pt x="41649" y="51054"/>
                          <a:pt x="41649" y="51272"/>
                          <a:pt x="41649" y="51709"/>
                        </a:cubicBezTo>
                        <a:cubicBezTo>
                          <a:pt x="41237" y="52145"/>
                          <a:pt x="41649" y="52800"/>
                          <a:pt x="41649" y="52800"/>
                        </a:cubicBezTo>
                        <a:cubicBezTo>
                          <a:pt x="44536" y="54109"/>
                          <a:pt x="44536" y="54109"/>
                          <a:pt x="44536" y="54109"/>
                        </a:cubicBezTo>
                        <a:cubicBezTo>
                          <a:pt x="44536" y="54109"/>
                          <a:pt x="45773" y="55200"/>
                          <a:pt x="45773" y="55418"/>
                        </a:cubicBezTo>
                        <a:cubicBezTo>
                          <a:pt x="45773" y="55418"/>
                          <a:pt x="47835" y="56290"/>
                          <a:pt x="47835" y="56290"/>
                        </a:cubicBezTo>
                        <a:cubicBezTo>
                          <a:pt x="47835" y="56290"/>
                          <a:pt x="48247" y="56509"/>
                          <a:pt x="47835" y="56727"/>
                        </a:cubicBezTo>
                        <a:cubicBezTo>
                          <a:pt x="47835" y="56945"/>
                          <a:pt x="48247" y="57163"/>
                          <a:pt x="48247" y="57381"/>
                        </a:cubicBezTo>
                        <a:cubicBezTo>
                          <a:pt x="47835" y="57600"/>
                          <a:pt x="47422" y="58254"/>
                          <a:pt x="47422" y="58254"/>
                        </a:cubicBezTo>
                        <a:cubicBezTo>
                          <a:pt x="46597" y="58472"/>
                          <a:pt x="46597" y="58472"/>
                          <a:pt x="46597" y="58472"/>
                        </a:cubicBezTo>
                        <a:cubicBezTo>
                          <a:pt x="45360" y="59127"/>
                          <a:pt x="45360" y="59127"/>
                          <a:pt x="45360" y="59127"/>
                        </a:cubicBezTo>
                        <a:cubicBezTo>
                          <a:pt x="44948" y="60000"/>
                          <a:pt x="44948" y="60000"/>
                          <a:pt x="44948" y="60000"/>
                        </a:cubicBezTo>
                        <a:cubicBezTo>
                          <a:pt x="44123" y="60654"/>
                          <a:pt x="44123" y="60654"/>
                          <a:pt x="44123" y="60654"/>
                        </a:cubicBezTo>
                        <a:cubicBezTo>
                          <a:pt x="42474" y="61090"/>
                          <a:pt x="42474" y="61090"/>
                          <a:pt x="42474" y="61090"/>
                        </a:cubicBezTo>
                        <a:cubicBezTo>
                          <a:pt x="40412" y="62181"/>
                          <a:pt x="40412" y="62181"/>
                          <a:pt x="40412" y="62181"/>
                        </a:cubicBezTo>
                        <a:cubicBezTo>
                          <a:pt x="39587" y="63054"/>
                          <a:pt x="39587" y="63054"/>
                          <a:pt x="39587" y="63054"/>
                        </a:cubicBezTo>
                        <a:cubicBezTo>
                          <a:pt x="38350" y="63927"/>
                          <a:pt x="38350" y="63927"/>
                          <a:pt x="38350" y="63927"/>
                        </a:cubicBezTo>
                        <a:cubicBezTo>
                          <a:pt x="38350" y="64581"/>
                          <a:pt x="38350" y="64581"/>
                          <a:pt x="38350" y="64581"/>
                        </a:cubicBezTo>
                        <a:cubicBezTo>
                          <a:pt x="38350" y="64581"/>
                          <a:pt x="39175" y="65454"/>
                          <a:pt x="39587" y="65454"/>
                        </a:cubicBezTo>
                        <a:cubicBezTo>
                          <a:pt x="39587" y="65454"/>
                          <a:pt x="40000" y="65672"/>
                          <a:pt x="40000" y="65672"/>
                        </a:cubicBezTo>
                        <a:cubicBezTo>
                          <a:pt x="40412" y="66763"/>
                          <a:pt x="40412" y="66763"/>
                          <a:pt x="40412" y="66763"/>
                        </a:cubicBezTo>
                        <a:cubicBezTo>
                          <a:pt x="40412" y="66763"/>
                          <a:pt x="40412" y="67418"/>
                          <a:pt x="40824" y="67418"/>
                        </a:cubicBezTo>
                        <a:cubicBezTo>
                          <a:pt x="41237" y="67200"/>
                          <a:pt x="41649" y="66545"/>
                          <a:pt x="41649" y="66545"/>
                        </a:cubicBezTo>
                        <a:cubicBezTo>
                          <a:pt x="41649" y="66545"/>
                          <a:pt x="40824" y="66109"/>
                          <a:pt x="40824" y="65672"/>
                        </a:cubicBezTo>
                        <a:cubicBezTo>
                          <a:pt x="40824" y="65236"/>
                          <a:pt x="41649" y="64581"/>
                          <a:pt x="41649" y="64581"/>
                        </a:cubicBezTo>
                        <a:cubicBezTo>
                          <a:pt x="42474" y="64363"/>
                          <a:pt x="42474" y="64363"/>
                          <a:pt x="42474" y="64363"/>
                        </a:cubicBezTo>
                        <a:cubicBezTo>
                          <a:pt x="42474" y="64363"/>
                          <a:pt x="42061" y="64363"/>
                          <a:pt x="42474" y="64581"/>
                        </a:cubicBezTo>
                        <a:cubicBezTo>
                          <a:pt x="42886" y="65018"/>
                          <a:pt x="42886" y="64800"/>
                          <a:pt x="43298" y="65018"/>
                        </a:cubicBezTo>
                        <a:cubicBezTo>
                          <a:pt x="43298" y="65236"/>
                          <a:pt x="44536" y="65890"/>
                          <a:pt x="44536" y="65890"/>
                        </a:cubicBezTo>
                        <a:cubicBezTo>
                          <a:pt x="44536" y="65890"/>
                          <a:pt x="45773" y="66545"/>
                          <a:pt x="46185" y="66763"/>
                        </a:cubicBezTo>
                        <a:cubicBezTo>
                          <a:pt x="46597" y="66981"/>
                          <a:pt x="47010" y="67418"/>
                          <a:pt x="47422" y="67418"/>
                        </a:cubicBezTo>
                        <a:cubicBezTo>
                          <a:pt x="47835" y="67200"/>
                          <a:pt x="48247" y="67418"/>
                          <a:pt x="48247" y="66981"/>
                        </a:cubicBezTo>
                        <a:cubicBezTo>
                          <a:pt x="48247" y="66545"/>
                          <a:pt x="48659" y="66545"/>
                          <a:pt x="48659" y="66109"/>
                        </a:cubicBezTo>
                        <a:cubicBezTo>
                          <a:pt x="48247" y="65890"/>
                          <a:pt x="48247" y="65236"/>
                          <a:pt x="48247" y="65236"/>
                        </a:cubicBezTo>
                        <a:cubicBezTo>
                          <a:pt x="48247" y="65236"/>
                          <a:pt x="48247" y="65018"/>
                          <a:pt x="48659" y="65018"/>
                        </a:cubicBezTo>
                        <a:cubicBezTo>
                          <a:pt x="49484" y="65018"/>
                          <a:pt x="49484" y="65454"/>
                          <a:pt x="49484" y="65454"/>
                        </a:cubicBezTo>
                        <a:cubicBezTo>
                          <a:pt x="49484" y="65454"/>
                          <a:pt x="49896" y="66109"/>
                          <a:pt x="50309" y="66327"/>
                        </a:cubicBezTo>
                        <a:cubicBezTo>
                          <a:pt x="50721" y="66327"/>
                          <a:pt x="51134" y="66327"/>
                          <a:pt x="51546" y="66545"/>
                        </a:cubicBezTo>
                        <a:cubicBezTo>
                          <a:pt x="51958" y="66981"/>
                          <a:pt x="54020" y="67200"/>
                          <a:pt x="54020" y="67200"/>
                        </a:cubicBezTo>
                        <a:cubicBezTo>
                          <a:pt x="54020" y="67200"/>
                          <a:pt x="54432" y="66981"/>
                          <a:pt x="54845" y="66763"/>
                        </a:cubicBezTo>
                        <a:cubicBezTo>
                          <a:pt x="54845" y="66545"/>
                          <a:pt x="55670" y="66545"/>
                          <a:pt x="55670" y="66545"/>
                        </a:cubicBezTo>
                        <a:cubicBezTo>
                          <a:pt x="55670" y="66545"/>
                          <a:pt x="55257" y="66109"/>
                          <a:pt x="56494" y="66327"/>
                        </a:cubicBezTo>
                        <a:cubicBezTo>
                          <a:pt x="57319" y="66327"/>
                          <a:pt x="57731" y="66545"/>
                          <a:pt x="57731" y="66327"/>
                        </a:cubicBezTo>
                        <a:cubicBezTo>
                          <a:pt x="58144" y="66109"/>
                          <a:pt x="58969" y="65236"/>
                          <a:pt x="58969" y="65236"/>
                        </a:cubicBezTo>
                        <a:cubicBezTo>
                          <a:pt x="58969" y="65236"/>
                          <a:pt x="58556" y="64581"/>
                          <a:pt x="59793" y="64800"/>
                        </a:cubicBezTo>
                        <a:cubicBezTo>
                          <a:pt x="60618" y="65236"/>
                          <a:pt x="65154" y="65672"/>
                          <a:pt x="65154" y="65672"/>
                        </a:cubicBezTo>
                        <a:cubicBezTo>
                          <a:pt x="64742" y="66109"/>
                          <a:pt x="64742" y="66109"/>
                          <a:pt x="64742" y="66109"/>
                        </a:cubicBezTo>
                        <a:cubicBezTo>
                          <a:pt x="63092" y="65890"/>
                          <a:pt x="63092" y="65890"/>
                          <a:pt x="63092" y="65890"/>
                        </a:cubicBezTo>
                        <a:cubicBezTo>
                          <a:pt x="61855" y="66109"/>
                          <a:pt x="61855" y="66109"/>
                          <a:pt x="61855" y="66109"/>
                        </a:cubicBezTo>
                        <a:cubicBezTo>
                          <a:pt x="61855" y="66109"/>
                          <a:pt x="61443" y="66109"/>
                          <a:pt x="61030" y="66545"/>
                        </a:cubicBezTo>
                        <a:cubicBezTo>
                          <a:pt x="61030" y="66763"/>
                          <a:pt x="61030" y="66981"/>
                          <a:pt x="60618" y="67200"/>
                        </a:cubicBezTo>
                        <a:cubicBezTo>
                          <a:pt x="60618" y="67418"/>
                          <a:pt x="60206" y="67636"/>
                          <a:pt x="59793" y="67636"/>
                        </a:cubicBezTo>
                        <a:cubicBezTo>
                          <a:pt x="59793" y="67854"/>
                          <a:pt x="58144" y="68509"/>
                          <a:pt x="58144" y="68509"/>
                        </a:cubicBezTo>
                        <a:cubicBezTo>
                          <a:pt x="57319" y="69163"/>
                          <a:pt x="57319" y="69163"/>
                          <a:pt x="57319" y="69163"/>
                        </a:cubicBezTo>
                        <a:cubicBezTo>
                          <a:pt x="56494" y="70254"/>
                          <a:pt x="56494" y="70254"/>
                          <a:pt x="56494" y="70254"/>
                        </a:cubicBezTo>
                        <a:cubicBezTo>
                          <a:pt x="56494" y="70254"/>
                          <a:pt x="56494" y="71127"/>
                          <a:pt x="56907" y="71127"/>
                        </a:cubicBezTo>
                        <a:cubicBezTo>
                          <a:pt x="57319" y="71345"/>
                          <a:pt x="58144" y="72000"/>
                          <a:pt x="58144" y="72000"/>
                        </a:cubicBezTo>
                        <a:cubicBezTo>
                          <a:pt x="58144" y="72000"/>
                          <a:pt x="58144" y="72436"/>
                          <a:pt x="58144" y="72654"/>
                        </a:cubicBezTo>
                        <a:cubicBezTo>
                          <a:pt x="58144" y="72872"/>
                          <a:pt x="58144" y="73090"/>
                          <a:pt x="58556" y="73527"/>
                        </a:cubicBezTo>
                        <a:cubicBezTo>
                          <a:pt x="58969" y="73745"/>
                          <a:pt x="59381" y="74618"/>
                          <a:pt x="59381" y="74618"/>
                        </a:cubicBezTo>
                        <a:cubicBezTo>
                          <a:pt x="59793" y="74618"/>
                          <a:pt x="59793" y="74618"/>
                          <a:pt x="59793" y="74618"/>
                        </a:cubicBezTo>
                        <a:cubicBezTo>
                          <a:pt x="59793" y="75272"/>
                          <a:pt x="59793" y="75272"/>
                          <a:pt x="59793" y="75272"/>
                        </a:cubicBezTo>
                        <a:cubicBezTo>
                          <a:pt x="59793" y="75272"/>
                          <a:pt x="59793" y="75927"/>
                          <a:pt x="60206" y="75927"/>
                        </a:cubicBezTo>
                        <a:cubicBezTo>
                          <a:pt x="61030" y="75927"/>
                          <a:pt x="62268" y="75490"/>
                          <a:pt x="62268" y="75490"/>
                        </a:cubicBezTo>
                        <a:cubicBezTo>
                          <a:pt x="65567" y="75054"/>
                          <a:pt x="65567" y="75054"/>
                          <a:pt x="65567" y="75054"/>
                        </a:cubicBezTo>
                        <a:cubicBezTo>
                          <a:pt x="65567" y="75054"/>
                          <a:pt x="65154" y="75927"/>
                          <a:pt x="65154" y="76145"/>
                        </a:cubicBezTo>
                        <a:cubicBezTo>
                          <a:pt x="65154" y="76363"/>
                          <a:pt x="64329" y="76363"/>
                          <a:pt x="63917" y="76581"/>
                        </a:cubicBezTo>
                        <a:cubicBezTo>
                          <a:pt x="63917" y="76800"/>
                          <a:pt x="63917" y="77018"/>
                          <a:pt x="63917" y="77018"/>
                        </a:cubicBezTo>
                        <a:cubicBezTo>
                          <a:pt x="63917" y="77018"/>
                          <a:pt x="63505" y="77672"/>
                          <a:pt x="63092" y="77672"/>
                        </a:cubicBezTo>
                        <a:cubicBezTo>
                          <a:pt x="62268" y="77672"/>
                          <a:pt x="61443" y="77890"/>
                          <a:pt x="61443" y="77890"/>
                        </a:cubicBezTo>
                        <a:cubicBezTo>
                          <a:pt x="61443" y="77890"/>
                          <a:pt x="61030" y="77454"/>
                          <a:pt x="61030" y="78109"/>
                        </a:cubicBezTo>
                        <a:cubicBezTo>
                          <a:pt x="60618" y="78545"/>
                          <a:pt x="60206" y="78981"/>
                          <a:pt x="60206" y="79200"/>
                        </a:cubicBezTo>
                        <a:cubicBezTo>
                          <a:pt x="60206" y="79418"/>
                          <a:pt x="59381" y="79636"/>
                          <a:pt x="60618" y="79854"/>
                        </a:cubicBezTo>
                        <a:cubicBezTo>
                          <a:pt x="61443" y="79854"/>
                          <a:pt x="61443" y="80509"/>
                          <a:pt x="61443" y="80509"/>
                        </a:cubicBezTo>
                        <a:cubicBezTo>
                          <a:pt x="61443" y="80509"/>
                          <a:pt x="60618" y="80945"/>
                          <a:pt x="60206" y="81163"/>
                        </a:cubicBezTo>
                        <a:cubicBezTo>
                          <a:pt x="59793" y="81381"/>
                          <a:pt x="59381" y="81163"/>
                          <a:pt x="59381" y="81381"/>
                        </a:cubicBezTo>
                        <a:cubicBezTo>
                          <a:pt x="59381" y="81600"/>
                          <a:pt x="60206" y="82690"/>
                          <a:pt x="60206" y="82690"/>
                        </a:cubicBezTo>
                        <a:cubicBezTo>
                          <a:pt x="60206" y="82690"/>
                          <a:pt x="60206" y="83345"/>
                          <a:pt x="59381" y="83345"/>
                        </a:cubicBezTo>
                        <a:cubicBezTo>
                          <a:pt x="58556" y="83345"/>
                          <a:pt x="58556" y="83345"/>
                          <a:pt x="58144" y="83345"/>
                        </a:cubicBezTo>
                        <a:cubicBezTo>
                          <a:pt x="57731" y="83345"/>
                          <a:pt x="57319" y="83345"/>
                          <a:pt x="57319" y="83345"/>
                        </a:cubicBezTo>
                        <a:cubicBezTo>
                          <a:pt x="57319" y="83345"/>
                          <a:pt x="57731" y="83563"/>
                          <a:pt x="57731" y="84000"/>
                        </a:cubicBezTo>
                        <a:cubicBezTo>
                          <a:pt x="57731" y="84436"/>
                          <a:pt x="57731" y="84872"/>
                          <a:pt x="57731" y="84872"/>
                        </a:cubicBezTo>
                        <a:cubicBezTo>
                          <a:pt x="56494" y="84654"/>
                          <a:pt x="56494" y="84654"/>
                          <a:pt x="56494" y="84654"/>
                        </a:cubicBezTo>
                        <a:cubicBezTo>
                          <a:pt x="55257" y="84000"/>
                          <a:pt x="55257" y="84000"/>
                          <a:pt x="55257" y="84000"/>
                        </a:cubicBezTo>
                        <a:cubicBezTo>
                          <a:pt x="55257" y="84000"/>
                          <a:pt x="54020" y="84000"/>
                          <a:pt x="53608" y="84000"/>
                        </a:cubicBezTo>
                        <a:cubicBezTo>
                          <a:pt x="53195" y="84218"/>
                          <a:pt x="51958" y="84218"/>
                          <a:pt x="51958" y="84218"/>
                        </a:cubicBezTo>
                        <a:cubicBezTo>
                          <a:pt x="51958" y="84218"/>
                          <a:pt x="49896" y="83781"/>
                          <a:pt x="49484" y="83563"/>
                        </a:cubicBezTo>
                        <a:cubicBezTo>
                          <a:pt x="49484" y="83345"/>
                          <a:pt x="49484" y="83345"/>
                          <a:pt x="49072" y="83563"/>
                        </a:cubicBezTo>
                        <a:cubicBezTo>
                          <a:pt x="49072" y="83563"/>
                          <a:pt x="49484" y="83563"/>
                          <a:pt x="49072" y="83563"/>
                        </a:cubicBezTo>
                        <a:cubicBezTo>
                          <a:pt x="48659" y="83781"/>
                          <a:pt x="49484" y="83781"/>
                          <a:pt x="47835" y="83781"/>
                        </a:cubicBezTo>
                        <a:cubicBezTo>
                          <a:pt x="46185" y="84000"/>
                          <a:pt x="44536" y="84218"/>
                          <a:pt x="44536" y="84218"/>
                        </a:cubicBezTo>
                        <a:cubicBezTo>
                          <a:pt x="44536" y="84218"/>
                          <a:pt x="45773" y="83563"/>
                          <a:pt x="45360" y="83345"/>
                        </a:cubicBezTo>
                        <a:cubicBezTo>
                          <a:pt x="44948" y="83127"/>
                          <a:pt x="45360" y="83345"/>
                          <a:pt x="44536" y="83127"/>
                        </a:cubicBezTo>
                        <a:cubicBezTo>
                          <a:pt x="44123" y="82909"/>
                          <a:pt x="43298" y="82472"/>
                          <a:pt x="43298" y="82254"/>
                        </a:cubicBezTo>
                        <a:cubicBezTo>
                          <a:pt x="43298" y="82036"/>
                          <a:pt x="43298" y="81600"/>
                          <a:pt x="42474" y="81600"/>
                        </a:cubicBezTo>
                        <a:cubicBezTo>
                          <a:pt x="42061" y="81600"/>
                          <a:pt x="41649" y="81163"/>
                          <a:pt x="40824" y="81600"/>
                        </a:cubicBezTo>
                        <a:cubicBezTo>
                          <a:pt x="40412" y="81818"/>
                          <a:pt x="40000" y="81818"/>
                          <a:pt x="40000" y="82036"/>
                        </a:cubicBezTo>
                        <a:cubicBezTo>
                          <a:pt x="39587" y="82254"/>
                          <a:pt x="37938" y="82472"/>
                          <a:pt x="37938" y="82472"/>
                        </a:cubicBezTo>
                        <a:cubicBezTo>
                          <a:pt x="37938" y="82472"/>
                          <a:pt x="39175" y="83345"/>
                          <a:pt x="39175" y="83563"/>
                        </a:cubicBezTo>
                        <a:cubicBezTo>
                          <a:pt x="39175" y="83781"/>
                          <a:pt x="40000" y="84654"/>
                          <a:pt x="40000" y="84654"/>
                        </a:cubicBezTo>
                        <a:cubicBezTo>
                          <a:pt x="42886" y="84654"/>
                          <a:pt x="42886" y="84654"/>
                          <a:pt x="42886" y="84654"/>
                        </a:cubicBezTo>
                        <a:cubicBezTo>
                          <a:pt x="42886" y="84654"/>
                          <a:pt x="40824" y="85090"/>
                          <a:pt x="40824" y="85527"/>
                        </a:cubicBezTo>
                        <a:cubicBezTo>
                          <a:pt x="40412" y="85745"/>
                          <a:pt x="40412" y="85963"/>
                          <a:pt x="40000" y="86181"/>
                        </a:cubicBezTo>
                        <a:cubicBezTo>
                          <a:pt x="39587" y="86400"/>
                          <a:pt x="39587" y="86618"/>
                          <a:pt x="38762" y="86836"/>
                        </a:cubicBezTo>
                        <a:cubicBezTo>
                          <a:pt x="37525" y="86836"/>
                          <a:pt x="36288" y="87054"/>
                          <a:pt x="35463" y="87272"/>
                        </a:cubicBezTo>
                        <a:cubicBezTo>
                          <a:pt x="35051" y="87490"/>
                          <a:pt x="34639" y="87490"/>
                          <a:pt x="34639" y="87709"/>
                        </a:cubicBezTo>
                        <a:cubicBezTo>
                          <a:pt x="34639" y="88145"/>
                          <a:pt x="32164" y="87927"/>
                          <a:pt x="34639" y="88363"/>
                        </a:cubicBezTo>
                        <a:cubicBezTo>
                          <a:pt x="37113" y="88581"/>
                          <a:pt x="37525" y="88800"/>
                          <a:pt x="37525" y="88800"/>
                        </a:cubicBezTo>
                        <a:cubicBezTo>
                          <a:pt x="37525" y="88800"/>
                          <a:pt x="38762" y="88145"/>
                          <a:pt x="39175" y="87927"/>
                        </a:cubicBezTo>
                        <a:cubicBezTo>
                          <a:pt x="40000" y="87490"/>
                          <a:pt x="40000" y="87490"/>
                          <a:pt x="41649" y="87490"/>
                        </a:cubicBezTo>
                        <a:cubicBezTo>
                          <a:pt x="43298" y="87709"/>
                          <a:pt x="43298" y="87490"/>
                          <a:pt x="43298" y="87709"/>
                        </a:cubicBezTo>
                        <a:cubicBezTo>
                          <a:pt x="43298" y="88145"/>
                          <a:pt x="43298" y="88363"/>
                          <a:pt x="43298" y="88800"/>
                        </a:cubicBezTo>
                        <a:cubicBezTo>
                          <a:pt x="42886" y="89236"/>
                          <a:pt x="42061" y="89454"/>
                          <a:pt x="42886" y="90109"/>
                        </a:cubicBezTo>
                        <a:cubicBezTo>
                          <a:pt x="43711" y="90545"/>
                          <a:pt x="42474" y="90981"/>
                          <a:pt x="42474" y="91200"/>
                        </a:cubicBezTo>
                        <a:cubicBezTo>
                          <a:pt x="42474" y="91200"/>
                          <a:pt x="41649" y="91854"/>
                          <a:pt x="42061" y="91854"/>
                        </a:cubicBezTo>
                        <a:cubicBezTo>
                          <a:pt x="42474" y="92072"/>
                          <a:pt x="42474" y="92072"/>
                          <a:pt x="42474" y="92072"/>
                        </a:cubicBezTo>
                        <a:cubicBezTo>
                          <a:pt x="42474" y="92072"/>
                          <a:pt x="41649" y="93163"/>
                          <a:pt x="41649" y="93381"/>
                        </a:cubicBezTo>
                        <a:cubicBezTo>
                          <a:pt x="41649" y="93381"/>
                          <a:pt x="40412" y="94690"/>
                          <a:pt x="40000" y="94690"/>
                        </a:cubicBezTo>
                        <a:cubicBezTo>
                          <a:pt x="39587" y="94909"/>
                          <a:pt x="40412" y="94909"/>
                          <a:pt x="37938" y="95345"/>
                        </a:cubicBezTo>
                        <a:cubicBezTo>
                          <a:pt x="35463" y="95563"/>
                          <a:pt x="34226" y="95781"/>
                          <a:pt x="34226" y="95781"/>
                        </a:cubicBezTo>
                        <a:cubicBezTo>
                          <a:pt x="32164" y="96218"/>
                          <a:pt x="32164" y="96218"/>
                          <a:pt x="32164" y="96218"/>
                        </a:cubicBezTo>
                        <a:cubicBezTo>
                          <a:pt x="30515" y="96872"/>
                          <a:pt x="30515" y="96872"/>
                          <a:pt x="30515" y="96872"/>
                        </a:cubicBezTo>
                        <a:cubicBezTo>
                          <a:pt x="29278" y="96872"/>
                          <a:pt x="29278" y="96872"/>
                          <a:pt x="29278" y="96872"/>
                        </a:cubicBezTo>
                        <a:cubicBezTo>
                          <a:pt x="27216" y="96654"/>
                          <a:pt x="27216" y="96654"/>
                          <a:pt x="27216" y="96654"/>
                        </a:cubicBezTo>
                        <a:cubicBezTo>
                          <a:pt x="27216" y="96654"/>
                          <a:pt x="25154" y="97309"/>
                          <a:pt x="25154" y="97527"/>
                        </a:cubicBezTo>
                        <a:cubicBezTo>
                          <a:pt x="25154" y="97527"/>
                          <a:pt x="23917" y="97745"/>
                          <a:pt x="23505" y="97963"/>
                        </a:cubicBezTo>
                        <a:cubicBezTo>
                          <a:pt x="23505" y="98181"/>
                          <a:pt x="25567" y="98618"/>
                          <a:pt x="25567" y="98618"/>
                        </a:cubicBezTo>
                        <a:cubicBezTo>
                          <a:pt x="25979" y="99272"/>
                          <a:pt x="25979" y="99272"/>
                          <a:pt x="25979" y="99272"/>
                        </a:cubicBezTo>
                        <a:cubicBezTo>
                          <a:pt x="25154" y="99272"/>
                          <a:pt x="25154" y="99272"/>
                          <a:pt x="25154" y="99272"/>
                        </a:cubicBezTo>
                        <a:cubicBezTo>
                          <a:pt x="23505" y="99490"/>
                          <a:pt x="23505" y="99490"/>
                          <a:pt x="23505" y="99490"/>
                        </a:cubicBezTo>
                        <a:cubicBezTo>
                          <a:pt x="23505" y="99927"/>
                          <a:pt x="23505" y="99927"/>
                          <a:pt x="23505" y="99927"/>
                        </a:cubicBezTo>
                        <a:cubicBezTo>
                          <a:pt x="24329" y="100145"/>
                          <a:pt x="24329" y="100145"/>
                          <a:pt x="24329" y="100145"/>
                        </a:cubicBezTo>
                        <a:cubicBezTo>
                          <a:pt x="24329" y="100145"/>
                          <a:pt x="24742" y="100363"/>
                          <a:pt x="25154" y="100363"/>
                        </a:cubicBezTo>
                        <a:cubicBezTo>
                          <a:pt x="25979" y="100363"/>
                          <a:pt x="27628" y="99927"/>
                          <a:pt x="27628" y="99927"/>
                        </a:cubicBezTo>
                        <a:cubicBezTo>
                          <a:pt x="25567" y="100581"/>
                          <a:pt x="25567" y="100581"/>
                          <a:pt x="25567" y="100581"/>
                        </a:cubicBezTo>
                        <a:cubicBezTo>
                          <a:pt x="25154" y="101236"/>
                          <a:pt x="25154" y="101236"/>
                          <a:pt x="25154" y="101236"/>
                        </a:cubicBezTo>
                        <a:cubicBezTo>
                          <a:pt x="25154" y="101236"/>
                          <a:pt x="24742" y="101672"/>
                          <a:pt x="25567" y="101672"/>
                        </a:cubicBezTo>
                        <a:cubicBezTo>
                          <a:pt x="26391" y="101672"/>
                          <a:pt x="27216" y="101672"/>
                          <a:pt x="27216" y="101672"/>
                        </a:cubicBezTo>
                        <a:cubicBezTo>
                          <a:pt x="27216" y="101672"/>
                          <a:pt x="27628" y="101236"/>
                          <a:pt x="28453" y="101236"/>
                        </a:cubicBezTo>
                        <a:cubicBezTo>
                          <a:pt x="29690" y="101454"/>
                          <a:pt x="29690" y="101454"/>
                          <a:pt x="29690" y="101454"/>
                        </a:cubicBezTo>
                        <a:cubicBezTo>
                          <a:pt x="29690" y="101454"/>
                          <a:pt x="30103" y="100800"/>
                          <a:pt x="30515" y="100800"/>
                        </a:cubicBezTo>
                        <a:cubicBezTo>
                          <a:pt x="30515" y="100800"/>
                          <a:pt x="30103" y="100800"/>
                          <a:pt x="31340" y="100800"/>
                        </a:cubicBezTo>
                        <a:cubicBezTo>
                          <a:pt x="32164" y="101018"/>
                          <a:pt x="35051" y="100800"/>
                          <a:pt x="35051" y="100800"/>
                        </a:cubicBezTo>
                        <a:cubicBezTo>
                          <a:pt x="35051" y="100800"/>
                          <a:pt x="35463" y="100800"/>
                          <a:pt x="35463" y="101018"/>
                        </a:cubicBezTo>
                        <a:cubicBezTo>
                          <a:pt x="35463" y="101454"/>
                          <a:pt x="36288" y="101454"/>
                          <a:pt x="36701" y="101890"/>
                        </a:cubicBezTo>
                        <a:cubicBezTo>
                          <a:pt x="37525" y="102109"/>
                          <a:pt x="39175" y="102327"/>
                          <a:pt x="39175" y="102327"/>
                        </a:cubicBezTo>
                        <a:cubicBezTo>
                          <a:pt x="37938" y="102545"/>
                          <a:pt x="37938" y="102545"/>
                          <a:pt x="37938" y="102545"/>
                        </a:cubicBezTo>
                        <a:cubicBezTo>
                          <a:pt x="36288" y="102327"/>
                          <a:pt x="36288" y="102327"/>
                          <a:pt x="36288" y="102327"/>
                        </a:cubicBezTo>
                        <a:cubicBezTo>
                          <a:pt x="36288" y="102327"/>
                          <a:pt x="35463" y="102109"/>
                          <a:pt x="35463" y="102327"/>
                        </a:cubicBezTo>
                        <a:cubicBezTo>
                          <a:pt x="35463" y="102763"/>
                          <a:pt x="35051" y="103418"/>
                          <a:pt x="35051" y="103418"/>
                        </a:cubicBezTo>
                        <a:cubicBezTo>
                          <a:pt x="35463" y="103418"/>
                          <a:pt x="37525" y="103636"/>
                          <a:pt x="37525" y="103636"/>
                        </a:cubicBezTo>
                        <a:cubicBezTo>
                          <a:pt x="39587" y="103636"/>
                          <a:pt x="39587" y="103636"/>
                          <a:pt x="39587" y="103636"/>
                        </a:cubicBezTo>
                        <a:cubicBezTo>
                          <a:pt x="40412" y="103418"/>
                          <a:pt x="40412" y="103418"/>
                          <a:pt x="40412" y="103418"/>
                        </a:cubicBezTo>
                        <a:cubicBezTo>
                          <a:pt x="41649" y="102981"/>
                          <a:pt x="41649" y="102981"/>
                          <a:pt x="41649" y="102981"/>
                        </a:cubicBezTo>
                        <a:cubicBezTo>
                          <a:pt x="41649" y="102981"/>
                          <a:pt x="42061" y="103418"/>
                          <a:pt x="41649" y="103418"/>
                        </a:cubicBezTo>
                        <a:cubicBezTo>
                          <a:pt x="41649" y="103636"/>
                          <a:pt x="42061" y="104072"/>
                          <a:pt x="42061" y="104072"/>
                        </a:cubicBezTo>
                        <a:cubicBezTo>
                          <a:pt x="42061" y="104072"/>
                          <a:pt x="42061" y="104727"/>
                          <a:pt x="42474" y="104727"/>
                        </a:cubicBezTo>
                        <a:cubicBezTo>
                          <a:pt x="42886" y="104727"/>
                          <a:pt x="43711" y="105381"/>
                          <a:pt x="43711" y="105381"/>
                        </a:cubicBezTo>
                        <a:cubicBezTo>
                          <a:pt x="44536" y="106036"/>
                          <a:pt x="44536" y="106036"/>
                          <a:pt x="44536" y="106036"/>
                        </a:cubicBezTo>
                        <a:cubicBezTo>
                          <a:pt x="46185" y="106254"/>
                          <a:pt x="46185" y="106254"/>
                          <a:pt x="46185" y="106254"/>
                        </a:cubicBezTo>
                        <a:cubicBezTo>
                          <a:pt x="46185" y="106254"/>
                          <a:pt x="47422" y="106254"/>
                          <a:pt x="47835" y="106254"/>
                        </a:cubicBezTo>
                        <a:cubicBezTo>
                          <a:pt x="48247" y="106472"/>
                          <a:pt x="49072" y="106690"/>
                          <a:pt x="49072" y="106472"/>
                        </a:cubicBezTo>
                        <a:cubicBezTo>
                          <a:pt x="49484" y="106254"/>
                          <a:pt x="50309" y="105818"/>
                          <a:pt x="50309" y="105818"/>
                        </a:cubicBezTo>
                        <a:cubicBezTo>
                          <a:pt x="51958" y="105163"/>
                          <a:pt x="51958" y="105163"/>
                          <a:pt x="51958" y="105163"/>
                        </a:cubicBezTo>
                        <a:cubicBezTo>
                          <a:pt x="51958" y="105163"/>
                          <a:pt x="52783" y="105163"/>
                          <a:pt x="53608" y="105163"/>
                        </a:cubicBezTo>
                        <a:cubicBezTo>
                          <a:pt x="54020" y="105163"/>
                          <a:pt x="56907" y="104945"/>
                          <a:pt x="56907" y="104945"/>
                        </a:cubicBezTo>
                        <a:cubicBezTo>
                          <a:pt x="56907" y="104945"/>
                          <a:pt x="57319" y="104509"/>
                          <a:pt x="58144" y="104290"/>
                        </a:cubicBezTo>
                        <a:cubicBezTo>
                          <a:pt x="58556" y="104072"/>
                          <a:pt x="60206" y="103636"/>
                          <a:pt x="60206" y="103636"/>
                        </a:cubicBezTo>
                        <a:cubicBezTo>
                          <a:pt x="63092" y="103200"/>
                          <a:pt x="63092" y="103200"/>
                          <a:pt x="63092" y="103200"/>
                        </a:cubicBezTo>
                        <a:cubicBezTo>
                          <a:pt x="60618" y="103636"/>
                          <a:pt x="60618" y="103636"/>
                          <a:pt x="60618" y="103636"/>
                        </a:cubicBezTo>
                        <a:cubicBezTo>
                          <a:pt x="59793" y="104072"/>
                          <a:pt x="59793" y="104072"/>
                          <a:pt x="59793" y="104072"/>
                        </a:cubicBezTo>
                        <a:cubicBezTo>
                          <a:pt x="58144" y="104727"/>
                          <a:pt x="58144" y="104727"/>
                          <a:pt x="58144" y="104727"/>
                        </a:cubicBezTo>
                        <a:cubicBezTo>
                          <a:pt x="57319" y="105163"/>
                          <a:pt x="57319" y="105163"/>
                          <a:pt x="57319" y="105163"/>
                        </a:cubicBezTo>
                        <a:cubicBezTo>
                          <a:pt x="57319" y="105163"/>
                          <a:pt x="56494" y="105381"/>
                          <a:pt x="56082" y="105600"/>
                        </a:cubicBezTo>
                        <a:cubicBezTo>
                          <a:pt x="56082" y="105600"/>
                          <a:pt x="54845" y="106690"/>
                          <a:pt x="54845" y="106690"/>
                        </a:cubicBezTo>
                        <a:cubicBezTo>
                          <a:pt x="53608" y="106909"/>
                          <a:pt x="53608" y="106909"/>
                          <a:pt x="53608" y="106909"/>
                        </a:cubicBezTo>
                        <a:cubicBezTo>
                          <a:pt x="53608" y="106909"/>
                          <a:pt x="52371" y="107345"/>
                          <a:pt x="51958" y="107781"/>
                        </a:cubicBezTo>
                        <a:cubicBezTo>
                          <a:pt x="51546" y="108000"/>
                          <a:pt x="51134" y="108218"/>
                          <a:pt x="51134" y="108218"/>
                        </a:cubicBezTo>
                        <a:cubicBezTo>
                          <a:pt x="51134" y="108218"/>
                          <a:pt x="51546" y="108654"/>
                          <a:pt x="49484" y="108654"/>
                        </a:cubicBezTo>
                        <a:cubicBezTo>
                          <a:pt x="47422" y="108436"/>
                          <a:pt x="45773" y="108218"/>
                          <a:pt x="45773" y="108218"/>
                        </a:cubicBezTo>
                        <a:cubicBezTo>
                          <a:pt x="45773" y="108218"/>
                          <a:pt x="43711" y="108000"/>
                          <a:pt x="43298" y="108000"/>
                        </a:cubicBezTo>
                        <a:cubicBezTo>
                          <a:pt x="42886" y="107781"/>
                          <a:pt x="42886" y="107781"/>
                          <a:pt x="41649" y="107781"/>
                        </a:cubicBezTo>
                        <a:cubicBezTo>
                          <a:pt x="40824" y="107781"/>
                          <a:pt x="36701" y="107127"/>
                          <a:pt x="36701" y="107127"/>
                        </a:cubicBezTo>
                        <a:cubicBezTo>
                          <a:pt x="36701" y="107127"/>
                          <a:pt x="35876" y="107127"/>
                          <a:pt x="35463" y="107345"/>
                        </a:cubicBezTo>
                        <a:cubicBezTo>
                          <a:pt x="35051" y="107563"/>
                          <a:pt x="34226" y="107563"/>
                          <a:pt x="34226" y="107781"/>
                        </a:cubicBezTo>
                        <a:cubicBezTo>
                          <a:pt x="34226" y="108218"/>
                          <a:pt x="34226" y="108436"/>
                          <a:pt x="34226" y="108436"/>
                        </a:cubicBezTo>
                        <a:cubicBezTo>
                          <a:pt x="33814" y="109090"/>
                          <a:pt x="33814" y="109090"/>
                          <a:pt x="33814" y="109090"/>
                        </a:cubicBezTo>
                        <a:cubicBezTo>
                          <a:pt x="32164" y="109309"/>
                          <a:pt x="32164" y="109309"/>
                          <a:pt x="32164" y="109309"/>
                        </a:cubicBezTo>
                        <a:cubicBezTo>
                          <a:pt x="30103" y="109309"/>
                          <a:pt x="30103" y="109309"/>
                          <a:pt x="30103" y="109309"/>
                        </a:cubicBezTo>
                        <a:close/>
                        <a:moveTo>
                          <a:pt x="17731" y="58036"/>
                        </a:moveTo>
                        <a:cubicBezTo>
                          <a:pt x="17731" y="58036"/>
                          <a:pt x="17731" y="58036"/>
                          <a:pt x="17731" y="58036"/>
                        </a:cubicBezTo>
                        <a:cubicBezTo>
                          <a:pt x="18144" y="58036"/>
                          <a:pt x="20618" y="58036"/>
                          <a:pt x="20618" y="58036"/>
                        </a:cubicBezTo>
                        <a:cubicBezTo>
                          <a:pt x="22268" y="58036"/>
                          <a:pt x="22268" y="58036"/>
                          <a:pt x="22268" y="58036"/>
                        </a:cubicBezTo>
                        <a:cubicBezTo>
                          <a:pt x="22268" y="58036"/>
                          <a:pt x="24329" y="58036"/>
                          <a:pt x="24742" y="58036"/>
                        </a:cubicBezTo>
                        <a:cubicBezTo>
                          <a:pt x="25154" y="58036"/>
                          <a:pt x="25567" y="58254"/>
                          <a:pt x="25567" y="58254"/>
                        </a:cubicBezTo>
                        <a:cubicBezTo>
                          <a:pt x="25567" y="58254"/>
                          <a:pt x="26391" y="57818"/>
                          <a:pt x="26804" y="58036"/>
                        </a:cubicBezTo>
                        <a:cubicBezTo>
                          <a:pt x="27216" y="58036"/>
                          <a:pt x="28041" y="58690"/>
                          <a:pt x="28041" y="58690"/>
                        </a:cubicBezTo>
                        <a:cubicBezTo>
                          <a:pt x="28865" y="59781"/>
                          <a:pt x="28865" y="59781"/>
                          <a:pt x="28865" y="59781"/>
                        </a:cubicBezTo>
                        <a:cubicBezTo>
                          <a:pt x="29278" y="61090"/>
                          <a:pt x="29278" y="61090"/>
                          <a:pt x="29278" y="61090"/>
                        </a:cubicBezTo>
                        <a:cubicBezTo>
                          <a:pt x="29690" y="62181"/>
                          <a:pt x="29690" y="62181"/>
                          <a:pt x="29690" y="62181"/>
                        </a:cubicBezTo>
                        <a:cubicBezTo>
                          <a:pt x="31340" y="63272"/>
                          <a:pt x="31340" y="63272"/>
                          <a:pt x="31340" y="63272"/>
                        </a:cubicBezTo>
                        <a:cubicBezTo>
                          <a:pt x="30515" y="63927"/>
                          <a:pt x="30515" y="63927"/>
                          <a:pt x="30515" y="63927"/>
                        </a:cubicBezTo>
                        <a:cubicBezTo>
                          <a:pt x="30515" y="63927"/>
                          <a:pt x="30515" y="64800"/>
                          <a:pt x="30515" y="64800"/>
                        </a:cubicBezTo>
                        <a:cubicBezTo>
                          <a:pt x="30103" y="64800"/>
                          <a:pt x="28865" y="65018"/>
                          <a:pt x="28865" y="65018"/>
                        </a:cubicBezTo>
                        <a:cubicBezTo>
                          <a:pt x="28453" y="65236"/>
                          <a:pt x="28041" y="65890"/>
                          <a:pt x="28041" y="65890"/>
                        </a:cubicBezTo>
                        <a:cubicBezTo>
                          <a:pt x="28041" y="65890"/>
                          <a:pt x="29690" y="65018"/>
                          <a:pt x="30103" y="65236"/>
                        </a:cubicBezTo>
                        <a:cubicBezTo>
                          <a:pt x="30515" y="65236"/>
                          <a:pt x="31752" y="65236"/>
                          <a:pt x="31752" y="65236"/>
                        </a:cubicBezTo>
                        <a:cubicBezTo>
                          <a:pt x="32577" y="65672"/>
                          <a:pt x="32577" y="65672"/>
                          <a:pt x="32577" y="65672"/>
                        </a:cubicBezTo>
                        <a:cubicBezTo>
                          <a:pt x="33402" y="66545"/>
                          <a:pt x="33402" y="66545"/>
                          <a:pt x="33402" y="66545"/>
                        </a:cubicBezTo>
                        <a:cubicBezTo>
                          <a:pt x="33402" y="67636"/>
                          <a:pt x="33402" y="67636"/>
                          <a:pt x="33402" y="67636"/>
                        </a:cubicBezTo>
                        <a:cubicBezTo>
                          <a:pt x="33402" y="67636"/>
                          <a:pt x="33402" y="68509"/>
                          <a:pt x="32989" y="68509"/>
                        </a:cubicBezTo>
                        <a:cubicBezTo>
                          <a:pt x="32989" y="68727"/>
                          <a:pt x="32577" y="68945"/>
                          <a:pt x="32164" y="68945"/>
                        </a:cubicBezTo>
                        <a:cubicBezTo>
                          <a:pt x="31752" y="68945"/>
                          <a:pt x="31340" y="68945"/>
                          <a:pt x="31752" y="68509"/>
                        </a:cubicBezTo>
                        <a:cubicBezTo>
                          <a:pt x="31752" y="68072"/>
                          <a:pt x="32164" y="67636"/>
                          <a:pt x="32164" y="67636"/>
                        </a:cubicBezTo>
                        <a:cubicBezTo>
                          <a:pt x="32164" y="67418"/>
                          <a:pt x="32577" y="66545"/>
                          <a:pt x="32164" y="66545"/>
                        </a:cubicBezTo>
                        <a:cubicBezTo>
                          <a:pt x="31340" y="66545"/>
                          <a:pt x="30927" y="66109"/>
                          <a:pt x="30927" y="66545"/>
                        </a:cubicBezTo>
                        <a:cubicBezTo>
                          <a:pt x="30515" y="66763"/>
                          <a:pt x="30927" y="67636"/>
                          <a:pt x="30927" y="67636"/>
                        </a:cubicBezTo>
                        <a:cubicBezTo>
                          <a:pt x="30927" y="67636"/>
                          <a:pt x="31340" y="67854"/>
                          <a:pt x="31340" y="68072"/>
                        </a:cubicBezTo>
                        <a:cubicBezTo>
                          <a:pt x="30927" y="68290"/>
                          <a:pt x="30927" y="68072"/>
                          <a:pt x="30515" y="68509"/>
                        </a:cubicBezTo>
                        <a:cubicBezTo>
                          <a:pt x="29690" y="68727"/>
                          <a:pt x="30927" y="68945"/>
                          <a:pt x="30927" y="68945"/>
                        </a:cubicBezTo>
                        <a:cubicBezTo>
                          <a:pt x="31340" y="69381"/>
                          <a:pt x="31340" y="69381"/>
                          <a:pt x="31340" y="69381"/>
                        </a:cubicBezTo>
                        <a:cubicBezTo>
                          <a:pt x="31340" y="69381"/>
                          <a:pt x="31340" y="70036"/>
                          <a:pt x="30927" y="70036"/>
                        </a:cubicBezTo>
                        <a:cubicBezTo>
                          <a:pt x="30515" y="70254"/>
                          <a:pt x="30515" y="70472"/>
                          <a:pt x="28865" y="70036"/>
                        </a:cubicBezTo>
                        <a:cubicBezTo>
                          <a:pt x="27216" y="69818"/>
                          <a:pt x="26804" y="69600"/>
                          <a:pt x="26804" y="69600"/>
                        </a:cubicBezTo>
                        <a:cubicBezTo>
                          <a:pt x="26391" y="70690"/>
                          <a:pt x="26391" y="70690"/>
                          <a:pt x="26391" y="70690"/>
                        </a:cubicBezTo>
                        <a:cubicBezTo>
                          <a:pt x="25567" y="71563"/>
                          <a:pt x="25567" y="71563"/>
                          <a:pt x="25567" y="71563"/>
                        </a:cubicBezTo>
                        <a:cubicBezTo>
                          <a:pt x="22680" y="72000"/>
                          <a:pt x="22680" y="72000"/>
                          <a:pt x="22680" y="72000"/>
                        </a:cubicBezTo>
                        <a:cubicBezTo>
                          <a:pt x="21030" y="70909"/>
                          <a:pt x="21030" y="70909"/>
                          <a:pt x="21030" y="70909"/>
                        </a:cubicBezTo>
                        <a:cubicBezTo>
                          <a:pt x="21030" y="70909"/>
                          <a:pt x="19793" y="71127"/>
                          <a:pt x="19381" y="71127"/>
                        </a:cubicBezTo>
                        <a:cubicBezTo>
                          <a:pt x="18969" y="70909"/>
                          <a:pt x="16907" y="70690"/>
                          <a:pt x="16907" y="70690"/>
                        </a:cubicBezTo>
                        <a:cubicBezTo>
                          <a:pt x="16494" y="69600"/>
                          <a:pt x="16494" y="69600"/>
                          <a:pt x="16494" y="69600"/>
                        </a:cubicBezTo>
                        <a:cubicBezTo>
                          <a:pt x="14432" y="68509"/>
                          <a:pt x="14432" y="68509"/>
                          <a:pt x="14432" y="68509"/>
                        </a:cubicBezTo>
                        <a:cubicBezTo>
                          <a:pt x="14845" y="67636"/>
                          <a:pt x="14845" y="67636"/>
                          <a:pt x="14845" y="67636"/>
                        </a:cubicBezTo>
                        <a:cubicBezTo>
                          <a:pt x="13608" y="66327"/>
                          <a:pt x="13608" y="66327"/>
                          <a:pt x="13608" y="66327"/>
                        </a:cubicBezTo>
                        <a:cubicBezTo>
                          <a:pt x="11134" y="66545"/>
                          <a:pt x="11134" y="66545"/>
                          <a:pt x="11134" y="66545"/>
                        </a:cubicBezTo>
                        <a:cubicBezTo>
                          <a:pt x="10309" y="67636"/>
                          <a:pt x="10309" y="67636"/>
                          <a:pt x="10309" y="67636"/>
                        </a:cubicBezTo>
                        <a:cubicBezTo>
                          <a:pt x="10309" y="67636"/>
                          <a:pt x="11134" y="68072"/>
                          <a:pt x="10309" y="68290"/>
                        </a:cubicBezTo>
                        <a:cubicBezTo>
                          <a:pt x="9484" y="68290"/>
                          <a:pt x="7835" y="68509"/>
                          <a:pt x="7835" y="68509"/>
                        </a:cubicBezTo>
                        <a:cubicBezTo>
                          <a:pt x="7835" y="68509"/>
                          <a:pt x="5773" y="68727"/>
                          <a:pt x="5360" y="68727"/>
                        </a:cubicBezTo>
                        <a:cubicBezTo>
                          <a:pt x="5360" y="68727"/>
                          <a:pt x="3711" y="67418"/>
                          <a:pt x="3711" y="67418"/>
                        </a:cubicBezTo>
                        <a:cubicBezTo>
                          <a:pt x="3711" y="67418"/>
                          <a:pt x="2886" y="67418"/>
                          <a:pt x="2474" y="67418"/>
                        </a:cubicBezTo>
                        <a:cubicBezTo>
                          <a:pt x="2061" y="67418"/>
                          <a:pt x="2061" y="67636"/>
                          <a:pt x="2061" y="67200"/>
                        </a:cubicBezTo>
                        <a:cubicBezTo>
                          <a:pt x="2061" y="66763"/>
                          <a:pt x="1649" y="66109"/>
                          <a:pt x="1649" y="66109"/>
                        </a:cubicBezTo>
                        <a:cubicBezTo>
                          <a:pt x="1649" y="66109"/>
                          <a:pt x="2886" y="66763"/>
                          <a:pt x="1649" y="65890"/>
                        </a:cubicBezTo>
                        <a:cubicBezTo>
                          <a:pt x="412" y="65018"/>
                          <a:pt x="0" y="64145"/>
                          <a:pt x="0" y="64145"/>
                        </a:cubicBezTo>
                        <a:cubicBezTo>
                          <a:pt x="2061" y="63490"/>
                          <a:pt x="2061" y="63490"/>
                          <a:pt x="2061" y="63490"/>
                        </a:cubicBezTo>
                        <a:cubicBezTo>
                          <a:pt x="2061" y="63490"/>
                          <a:pt x="4123" y="63490"/>
                          <a:pt x="4536" y="63709"/>
                        </a:cubicBezTo>
                        <a:cubicBezTo>
                          <a:pt x="4948" y="63709"/>
                          <a:pt x="5360" y="63272"/>
                          <a:pt x="5360" y="63272"/>
                        </a:cubicBezTo>
                        <a:cubicBezTo>
                          <a:pt x="5360" y="63272"/>
                          <a:pt x="6185" y="62836"/>
                          <a:pt x="5360" y="62618"/>
                        </a:cubicBezTo>
                        <a:cubicBezTo>
                          <a:pt x="4948" y="62618"/>
                          <a:pt x="4123" y="62181"/>
                          <a:pt x="4123" y="62181"/>
                        </a:cubicBezTo>
                        <a:cubicBezTo>
                          <a:pt x="4123" y="62181"/>
                          <a:pt x="3298" y="61745"/>
                          <a:pt x="4536" y="61527"/>
                        </a:cubicBezTo>
                        <a:cubicBezTo>
                          <a:pt x="5773" y="61527"/>
                          <a:pt x="5773" y="61527"/>
                          <a:pt x="6597" y="61527"/>
                        </a:cubicBezTo>
                        <a:cubicBezTo>
                          <a:pt x="7422" y="61745"/>
                          <a:pt x="7835" y="62400"/>
                          <a:pt x="8247" y="61527"/>
                        </a:cubicBezTo>
                        <a:cubicBezTo>
                          <a:pt x="8659" y="60872"/>
                          <a:pt x="7835" y="60872"/>
                          <a:pt x="9072" y="60654"/>
                        </a:cubicBezTo>
                        <a:cubicBezTo>
                          <a:pt x="10309" y="60654"/>
                          <a:pt x="11134" y="60436"/>
                          <a:pt x="11134" y="60218"/>
                        </a:cubicBezTo>
                        <a:cubicBezTo>
                          <a:pt x="11134" y="60000"/>
                          <a:pt x="11134" y="59127"/>
                          <a:pt x="11546" y="59127"/>
                        </a:cubicBezTo>
                        <a:cubicBezTo>
                          <a:pt x="11958" y="59127"/>
                          <a:pt x="14020" y="59345"/>
                          <a:pt x="14020" y="59345"/>
                        </a:cubicBezTo>
                        <a:cubicBezTo>
                          <a:pt x="14020" y="59345"/>
                          <a:pt x="14845" y="58909"/>
                          <a:pt x="15670" y="59127"/>
                        </a:cubicBezTo>
                        <a:cubicBezTo>
                          <a:pt x="16494" y="59127"/>
                          <a:pt x="16907" y="58909"/>
                          <a:pt x="16907" y="58909"/>
                        </a:cubicBezTo>
                        <a:cubicBezTo>
                          <a:pt x="16907" y="58909"/>
                          <a:pt x="17731" y="58036"/>
                          <a:pt x="17731" y="58036"/>
                        </a:cubicBezTo>
                        <a:close/>
                        <a:moveTo>
                          <a:pt x="30515" y="49527"/>
                        </a:moveTo>
                        <a:cubicBezTo>
                          <a:pt x="30515" y="49527"/>
                          <a:pt x="30515" y="49527"/>
                          <a:pt x="30515" y="49527"/>
                        </a:cubicBezTo>
                        <a:cubicBezTo>
                          <a:pt x="30515" y="49527"/>
                          <a:pt x="30103" y="48872"/>
                          <a:pt x="30515" y="48872"/>
                        </a:cubicBezTo>
                        <a:cubicBezTo>
                          <a:pt x="30927" y="48872"/>
                          <a:pt x="32164" y="48654"/>
                          <a:pt x="32164" y="48654"/>
                        </a:cubicBezTo>
                        <a:cubicBezTo>
                          <a:pt x="32164" y="48654"/>
                          <a:pt x="32577" y="48218"/>
                          <a:pt x="32577" y="48436"/>
                        </a:cubicBezTo>
                        <a:cubicBezTo>
                          <a:pt x="32989" y="48436"/>
                          <a:pt x="32989" y="48872"/>
                          <a:pt x="32577" y="48872"/>
                        </a:cubicBezTo>
                        <a:cubicBezTo>
                          <a:pt x="32577" y="48872"/>
                          <a:pt x="31752" y="49309"/>
                          <a:pt x="31752" y="49309"/>
                        </a:cubicBezTo>
                        <a:cubicBezTo>
                          <a:pt x="31752" y="49309"/>
                          <a:pt x="30927" y="49527"/>
                          <a:pt x="30927" y="49527"/>
                        </a:cubicBezTo>
                        <a:cubicBezTo>
                          <a:pt x="30515" y="49527"/>
                          <a:pt x="30515" y="49527"/>
                          <a:pt x="30515" y="49527"/>
                        </a:cubicBezTo>
                        <a:close/>
                        <a:moveTo>
                          <a:pt x="35876" y="54109"/>
                        </a:moveTo>
                        <a:cubicBezTo>
                          <a:pt x="35876" y="54109"/>
                          <a:pt x="35876" y="54109"/>
                          <a:pt x="35876" y="54109"/>
                        </a:cubicBezTo>
                        <a:cubicBezTo>
                          <a:pt x="35876" y="54109"/>
                          <a:pt x="35876" y="54327"/>
                          <a:pt x="35463" y="54327"/>
                        </a:cubicBezTo>
                        <a:cubicBezTo>
                          <a:pt x="35051" y="54327"/>
                          <a:pt x="34226" y="54327"/>
                          <a:pt x="34226" y="54109"/>
                        </a:cubicBezTo>
                        <a:cubicBezTo>
                          <a:pt x="34226" y="54109"/>
                          <a:pt x="34639" y="53672"/>
                          <a:pt x="35051" y="53672"/>
                        </a:cubicBezTo>
                        <a:cubicBezTo>
                          <a:pt x="35051" y="53672"/>
                          <a:pt x="35463" y="53454"/>
                          <a:pt x="35463" y="53454"/>
                        </a:cubicBezTo>
                        <a:cubicBezTo>
                          <a:pt x="35463" y="53454"/>
                          <a:pt x="35463" y="53236"/>
                          <a:pt x="35463" y="53236"/>
                        </a:cubicBezTo>
                        <a:cubicBezTo>
                          <a:pt x="35876" y="53236"/>
                          <a:pt x="36288" y="53672"/>
                          <a:pt x="36288" y="53672"/>
                        </a:cubicBezTo>
                        <a:cubicBezTo>
                          <a:pt x="35876" y="54109"/>
                          <a:pt x="35876" y="54109"/>
                          <a:pt x="35876" y="54109"/>
                        </a:cubicBezTo>
                        <a:close/>
                        <a:moveTo>
                          <a:pt x="39175" y="55636"/>
                        </a:moveTo>
                        <a:cubicBezTo>
                          <a:pt x="39175" y="55636"/>
                          <a:pt x="39175" y="55636"/>
                          <a:pt x="39175" y="55636"/>
                        </a:cubicBezTo>
                        <a:cubicBezTo>
                          <a:pt x="39175" y="55418"/>
                          <a:pt x="40000" y="54981"/>
                          <a:pt x="40000" y="54763"/>
                        </a:cubicBezTo>
                        <a:cubicBezTo>
                          <a:pt x="40412" y="54763"/>
                          <a:pt x="40412" y="54545"/>
                          <a:pt x="40412" y="54545"/>
                        </a:cubicBezTo>
                        <a:cubicBezTo>
                          <a:pt x="40824" y="54327"/>
                          <a:pt x="41237" y="54327"/>
                          <a:pt x="41649" y="54327"/>
                        </a:cubicBezTo>
                        <a:cubicBezTo>
                          <a:pt x="42474" y="54545"/>
                          <a:pt x="43298" y="54981"/>
                          <a:pt x="42886" y="54981"/>
                        </a:cubicBezTo>
                        <a:cubicBezTo>
                          <a:pt x="42886" y="55200"/>
                          <a:pt x="42474" y="54981"/>
                          <a:pt x="42474" y="55636"/>
                        </a:cubicBezTo>
                        <a:cubicBezTo>
                          <a:pt x="42474" y="56290"/>
                          <a:pt x="42474" y="56290"/>
                          <a:pt x="42474" y="56509"/>
                        </a:cubicBezTo>
                        <a:cubicBezTo>
                          <a:pt x="42886" y="56727"/>
                          <a:pt x="42474" y="57381"/>
                          <a:pt x="42474" y="57381"/>
                        </a:cubicBezTo>
                        <a:cubicBezTo>
                          <a:pt x="42474" y="57381"/>
                          <a:pt x="42061" y="57818"/>
                          <a:pt x="41649" y="57818"/>
                        </a:cubicBezTo>
                        <a:cubicBezTo>
                          <a:pt x="41649" y="57818"/>
                          <a:pt x="41649" y="57818"/>
                          <a:pt x="40824" y="57600"/>
                        </a:cubicBezTo>
                        <a:cubicBezTo>
                          <a:pt x="40412" y="57600"/>
                          <a:pt x="39175" y="57163"/>
                          <a:pt x="39175" y="57163"/>
                        </a:cubicBezTo>
                        <a:cubicBezTo>
                          <a:pt x="39175" y="57163"/>
                          <a:pt x="39175" y="56072"/>
                          <a:pt x="39175" y="56072"/>
                        </a:cubicBezTo>
                        <a:cubicBezTo>
                          <a:pt x="39175" y="55854"/>
                          <a:pt x="38762" y="55636"/>
                          <a:pt x="38762" y="55636"/>
                        </a:cubicBezTo>
                        <a:cubicBezTo>
                          <a:pt x="39175" y="55636"/>
                          <a:pt x="39175" y="55636"/>
                          <a:pt x="39175" y="55636"/>
                        </a:cubicBezTo>
                        <a:close/>
                        <a:moveTo>
                          <a:pt x="30515" y="45818"/>
                        </a:moveTo>
                        <a:cubicBezTo>
                          <a:pt x="30515" y="45818"/>
                          <a:pt x="30515" y="45818"/>
                          <a:pt x="30515" y="45818"/>
                        </a:cubicBezTo>
                        <a:cubicBezTo>
                          <a:pt x="30515" y="45818"/>
                          <a:pt x="30515" y="45600"/>
                          <a:pt x="31340" y="45600"/>
                        </a:cubicBezTo>
                        <a:cubicBezTo>
                          <a:pt x="31752" y="45818"/>
                          <a:pt x="31752" y="46036"/>
                          <a:pt x="31752" y="46254"/>
                        </a:cubicBezTo>
                        <a:cubicBezTo>
                          <a:pt x="31752" y="46472"/>
                          <a:pt x="32989" y="46472"/>
                          <a:pt x="32577" y="46690"/>
                        </a:cubicBezTo>
                        <a:cubicBezTo>
                          <a:pt x="31752" y="46909"/>
                          <a:pt x="31340" y="46909"/>
                          <a:pt x="31340" y="46909"/>
                        </a:cubicBezTo>
                        <a:cubicBezTo>
                          <a:pt x="31340" y="46690"/>
                          <a:pt x="30927" y="46909"/>
                          <a:pt x="30927" y="46690"/>
                        </a:cubicBezTo>
                        <a:cubicBezTo>
                          <a:pt x="30927" y="46472"/>
                          <a:pt x="30103" y="46254"/>
                          <a:pt x="30103" y="46254"/>
                        </a:cubicBezTo>
                        <a:cubicBezTo>
                          <a:pt x="30103" y="46254"/>
                          <a:pt x="30515" y="45818"/>
                          <a:pt x="30515" y="45818"/>
                        </a:cubicBezTo>
                        <a:close/>
                        <a:moveTo>
                          <a:pt x="25154" y="42763"/>
                        </a:moveTo>
                        <a:cubicBezTo>
                          <a:pt x="25154" y="42763"/>
                          <a:pt x="25154" y="42763"/>
                          <a:pt x="25154" y="42763"/>
                        </a:cubicBezTo>
                        <a:cubicBezTo>
                          <a:pt x="25979" y="42981"/>
                          <a:pt x="26391" y="42763"/>
                          <a:pt x="26391" y="42981"/>
                        </a:cubicBezTo>
                        <a:cubicBezTo>
                          <a:pt x="26804" y="42981"/>
                          <a:pt x="27216" y="43200"/>
                          <a:pt x="26804" y="43418"/>
                        </a:cubicBezTo>
                        <a:cubicBezTo>
                          <a:pt x="25979" y="43636"/>
                          <a:pt x="25979" y="43636"/>
                          <a:pt x="25154" y="43636"/>
                        </a:cubicBezTo>
                        <a:cubicBezTo>
                          <a:pt x="24742" y="43636"/>
                          <a:pt x="25567" y="43636"/>
                          <a:pt x="24742" y="43636"/>
                        </a:cubicBezTo>
                        <a:cubicBezTo>
                          <a:pt x="23917" y="43636"/>
                          <a:pt x="22680" y="44072"/>
                          <a:pt x="23505" y="43418"/>
                        </a:cubicBezTo>
                        <a:cubicBezTo>
                          <a:pt x="24329" y="42981"/>
                          <a:pt x="25154" y="42763"/>
                          <a:pt x="25154" y="42763"/>
                        </a:cubicBezTo>
                        <a:close/>
                        <a:moveTo>
                          <a:pt x="29690" y="41672"/>
                        </a:moveTo>
                        <a:cubicBezTo>
                          <a:pt x="29690" y="41672"/>
                          <a:pt x="29690" y="41672"/>
                          <a:pt x="29690" y="41672"/>
                        </a:cubicBezTo>
                        <a:cubicBezTo>
                          <a:pt x="30103" y="41672"/>
                          <a:pt x="30515" y="41236"/>
                          <a:pt x="30927" y="41454"/>
                        </a:cubicBezTo>
                        <a:cubicBezTo>
                          <a:pt x="31340" y="41672"/>
                          <a:pt x="32164" y="41890"/>
                          <a:pt x="31340" y="42109"/>
                        </a:cubicBezTo>
                        <a:cubicBezTo>
                          <a:pt x="30515" y="42327"/>
                          <a:pt x="30515" y="42327"/>
                          <a:pt x="30103" y="42545"/>
                        </a:cubicBezTo>
                        <a:cubicBezTo>
                          <a:pt x="29278" y="42763"/>
                          <a:pt x="28453" y="42981"/>
                          <a:pt x="28041" y="42981"/>
                        </a:cubicBezTo>
                        <a:cubicBezTo>
                          <a:pt x="27628" y="42981"/>
                          <a:pt x="27216" y="42545"/>
                          <a:pt x="27628" y="42545"/>
                        </a:cubicBezTo>
                        <a:cubicBezTo>
                          <a:pt x="28041" y="42545"/>
                          <a:pt x="28453" y="42327"/>
                          <a:pt x="28865" y="42327"/>
                        </a:cubicBezTo>
                        <a:cubicBezTo>
                          <a:pt x="28865" y="42109"/>
                          <a:pt x="29690" y="41672"/>
                          <a:pt x="29690" y="41672"/>
                        </a:cubicBezTo>
                        <a:close/>
                        <a:moveTo>
                          <a:pt x="32164" y="37309"/>
                        </a:moveTo>
                        <a:cubicBezTo>
                          <a:pt x="32164" y="37309"/>
                          <a:pt x="32164" y="37309"/>
                          <a:pt x="32164" y="37309"/>
                        </a:cubicBezTo>
                        <a:cubicBezTo>
                          <a:pt x="32164" y="37309"/>
                          <a:pt x="32164" y="36654"/>
                          <a:pt x="32577" y="36872"/>
                        </a:cubicBezTo>
                        <a:cubicBezTo>
                          <a:pt x="33402" y="36872"/>
                          <a:pt x="33402" y="36872"/>
                          <a:pt x="33402" y="37090"/>
                        </a:cubicBezTo>
                        <a:cubicBezTo>
                          <a:pt x="33402" y="37309"/>
                          <a:pt x="34226" y="37090"/>
                          <a:pt x="33402" y="37309"/>
                        </a:cubicBezTo>
                        <a:cubicBezTo>
                          <a:pt x="32989" y="37309"/>
                          <a:pt x="32164" y="37309"/>
                          <a:pt x="32164" y="37309"/>
                        </a:cubicBezTo>
                        <a:close/>
                        <a:moveTo>
                          <a:pt x="35876" y="39490"/>
                        </a:moveTo>
                        <a:cubicBezTo>
                          <a:pt x="35876" y="39490"/>
                          <a:pt x="35876" y="39490"/>
                          <a:pt x="35876" y="39490"/>
                        </a:cubicBezTo>
                        <a:cubicBezTo>
                          <a:pt x="35876" y="39490"/>
                          <a:pt x="36288" y="39054"/>
                          <a:pt x="36701" y="39054"/>
                        </a:cubicBezTo>
                        <a:cubicBezTo>
                          <a:pt x="36701" y="39054"/>
                          <a:pt x="37113" y="39054"/>
                          <a:pt x="37113" y="39272"/>
                        </a:cubicBezTo>
                        <a:cubicBezTo>
                          <a:pt x="37113" y="39490"/>
                          <a:pt x="37113" y="39927"/>
                          <a:pt x="36701" y="39927"/>
                        </a:cubicBezTo>
                        <a:cubicBezTo>
                          <a:pt x="36288" y="39927"/>
                          <a:pt x="36288" y="40145"/>
                          <a:pt x="35876" y="39927"/>
                        </a:cubicBezTo>
                        <a:cubicBezTo>
                          <a:pt x="35463" y="39927"/>
                          <a:pt x="35876" y="39490"/>
                          <a:pt x="35876" y="39490"/>
                        </a:cubicBezTo>
                        <a:close/>
                        <a:moveTo>
                          <a:pt x="33814" y="38618"/>
                        </a:moveTo>
                        <a:cubicBezTo>
                          <a:pt x="33814" y="38618"/>
                          <a:pt x="33814" y="38618"/>
                          <a:pt x="33814" y="38618"/>
                        </a:cubicBezTo>
                        <a:cubicBezTo>
                          <a:pt x="33814" y="38618"/>
                          <a:pt x="33402" y="37745"/>
                          <a:pt x="34226" y="37745"/>
                        </a:cubicBezTo>
                        <a:cubicBezTo>
                          <a:pt x="35051" y="37527"/>
                          <a:pt x="35463" y="37527"/>
                          <a:pt x="35463" y="37527"/>
                        </a:cubicBezTo>
                        <a:cubicBezTo>
                          <a:pt x="35463" y="37527"/>
                          <a:pt x="36701" y="38400"/>
                          <a:pt x="36701" y="38400"/>
                        </a:cubicBezTo>
                        <a:cubicBezTo>
                          <a:pt x="36288" y="38618"/>
                          <a:pt x="36288" y="38836"/>
                          <a:pt x="35463" y="38836"/>
                        </a:cubicBezTo>
                        <a:cubicBezTo>
                          <a:pt x="35051" y="38836"/>
                          <a:pt x="34639" y="39054"/>
                          <a:pt x="34639" y="38836"/>
                        </a:cubicBezTo>
                        <a:cubicBezTo>
                          <a:pt x="34226" y="38618"/>
                          <a:pt x="33814" y="38618"/>
                          <a:pt x="33814" y="38618"/>
                        </a:cubicBezTo>
                        <a:close/>
                        <a:moveTo>
                          <a:pt x="18556" y="37963"/>
                        </a:moveTo>
                        <a:cubicBezTo>
                          <a:pt x="18556" y="37963"/>
                          <a:pt x="18556" y="37963"/>
                          <a:pt x="18556" y="37963"/>
                        </a:cubicBezTo>
                        <a:cubicBezTo>
                          <a:pt x="18969" y="37963"/>
                          <a:pt x="18969" y="37745"/>
                          <a:pt x="18969" y="38181"/>
                        </a:cubicBezTo>
                        <a:cubicBezTo>
                          <a:pt x="18969" y="38400"/>
                          <a:pt x="18969" y="38618"/>
                          <a:pt x="18969" y="38618"/>
                        </a:cubicBezTo>
                        <a:cubicBezTo>
                          <a:pt x="18969" y="38618"/>
                          <a:pt x="18556" y="39054"/>
                          <a:pt x="18144" y="38836"/>
                        </a:cubicBezTo>
                        <a:cubicBezTo>
                          <a:pt x="17731" y="38618"/>
                          <a:pt x="17731" y="38400"/>
                          <a:pt x="17731" y="38400"/>
                        </a:cubicBezTo>
                        <a:cubicBezTo>
                          <a:pt x="18556" y="37963"/>
                          <a:pt x="18556" y="37963"/>
                          <a:pt x="18556" y="37963"/>
                        </a:cubicBezTo>
                        <a:close/>
                        <a:moveTo>
                          <a:pt x="21855" y="35781"/>
                        </a:moveTo>
                        <a:cubicBezTo>
                          <a:pt x="21855" y="35781"/>
                          <a:pt x="21855" y="35781"/>
                          <a:pt x="21855" y="35781"/>
                        </a:cubicBezTo>
                        <a:cubicBezTo>
                          <a:pt x="22268" y="36000"/>
                          <a:pt x="23092" y="36436"/>
                          <a:pt x="23092" y="36436"/>
                        </a:cubicBezTo>
                        <a:cubicBezTo>
                          <a:pt x="21855" y="37090"/>
                          <a:pt x="21855" y="37090"/>
                          <a:pt x="21855" y="37090"/>
                        </a:cubicBezTo>
                        <a:cubicBezTo>
                          <a:pt x="21855" y="37090"/>
                          <a:pt x="20618" y="37309"/>
                          <a:pt x="20618" y="37527"/>
                        </a:cubicBezTo>
                        <a:cubicBezTo>
                          <a:pt x="20206" y="37527"/>
                          <a:pt x="21030" y="38181"/>
                          <a:pt x="20206" y="37963"/>
                        </a:cubicBezTo>
                        <a:cubicBezTo>
                          <a:pt x="19381" y="37745"/>
                          <a:pt x="18969" y="37309"/>
                          <a:pt x="19381" y="37309"/>
                        </a:cubicBezTo>
                        <a:cubicBezTo>
                          <a:pt x="19793" y="37090"/>
                          <a:pt x="19793" y="37090"/>
                          <a:pt x="20206" y="36872"/>
                        </a:cubicBezTo>
                        <a:cubicBezTo>
                          <a:pt x="20618" y="36654"/>
                          <a:pt x="21443" y="36000"/>
                          <a:pt x="21443" y="36000"/>
                        </a:cubicBezTo>
                        <a:cubicBezTo>
                          <a:pt x="21855" y="35781"/>
                          <a:pt x="21855" y="35781"/>
                          <a:pt x="21855" y="35781"/>
                        </a:cubicBezTo>
                        <a:close/>
                        <a:moveTo>
                          <a:pt x="23917" y="32727"/>
                        </a:moveTo>
                        <a:cubicBezTo>
                          <a:pt x="23917" y="32727"/>
                          <a:pt x="23917" y="32727"/>
                          <a:pt x="23917" y="32727"/>
                        </a:cubicBezTo>
                        <a:cubicBezTo>
                          <a:pt x="23917" y="32727"/>
                          <a:pt x="24742" y="32727"/>
                          <a:pt x="25154" y="32945"/>
                        </a:cubicBezTo>
                        <a:cubicBezTo>
                          <a:pt x="25154" y="32945"/>
                          <a:pt x="25567" y="33600"/>
                          <a:pt x="25567" y="33600"/>
                        </a:cubicBezTo>
                        <a:cubicBezTo>
                          <a:pt x="25567" y="33600"/>
                          <a:pt x="25979" y="33818"/>
                          <a:pt x="25567" y="34036"/>
                        </a:cubicBezTo>
                        <a:cubicBezTo>
                          <a:pt x="25154" y="34254"/>
                          <a:pt x="24329" y="34472"/>
                          <a:pt x="24329" y="34472"/>
                        </a:cubicBezTo>
                        <a:cubicBezTo>
                          <a:pt x="24329" y="35563"/>
                          <a:pt x="24329" y="35563"/>
                          <a:pt x="24329" y="35563"/>
                        </a:cubicBezTo>
                        <a:cubicBezTo>
                          <a:pt x="23917" y="36000"/>
                          <a:pt x="23917" y="36000"/>
                          <a:pt x="23917" y="36000"/>
                        </a:cubicBezTo>
                        <a:cubicBezTo>
                          <a:pt x="22680" y="35781"/>
                          <a:pt x="22680" y="35781"/>
                          <a:pt x="22680" y="35781"/>
                        </a:cubicBezTo>
                        <a:cubicBezTo>
                          <a:pt x="22680" y="34472"/>
                          <a:pt x="22680" y="34472"/>
                          <a:pt x="22680" y="34472"/>
                        </a:cubicBezTo>
                        <a:cubicBezTo>
                          <a:pt x="22268" y="33818"/>
                          <a:pt x="22268" y="33818"/>
                          <a:pt x="22268" y="33818"/>
                        </a:cubicBezTo>
                        <a:cubicBezTo>
                          <a:pt x="23505" y="33163"/>
                          <a:pt x="23505" y="33163"/>
                          <a:pt x="23505" y="33163"/>
                        </a:cubicBezTo>
                        <a:cubicBezTo>
                          <a:pt x="23917" y="32727"/>
                          <a:pt x="23917" y="32727"/>
                          <a:pt x="23917" y="32727"/>
                        </a:cubicBezTo>
                        <a:close/>
                        <a:moveTo>
                          <a:pt x="24742" y="30981"/>
                        </a:moveTo>
                        <a:cubicBezTo>
                          <a:pt x="24742" y="30981"/>
                          <a:pt x="24742" y="30981"/>
                          <a:pt x="24742" y="30981"/>
                        </a:cubicBezTo>
                        <a:cubicBezTo>
                          <a:pt x="24742" y="30981"/>
                          <a:pt x="25567" y="30763"/>
                          <a:pt x="25979" y="30981"/>
                        </a:cubicBezTo>
                        <a:cubicBezTo>
                          <a:pt x="26391" y="31200"/>
                          <a:pt x="26391" y="30763"/>
                          <a:pt x="26804" y="31200"/>
                        </a:cubicBezTo>
                        <a:cubicBezTo>
                          <a:pt x="27216" y="31636"/>
                          <a:pt x="27628" y="31636"/>
                          <a:pt x="27216" y="31854"/>
                        </a:cubicBezTo>
                        <a:cubicBezTo>
                          <a:pt x="27216" y="32072"/>
                          <a:pt x="27216" y="32290"/>
                          <a:pt x="26804" y="32509"/>
                        </a:cubicBezTo>
                        <a:cubicBezTo>
                          <a:pt x="26391" y="32727"/>
                          <a:pt x="26804" y="32945"/>
                          <a:pt x="25979" y="32727"/>
                        </a:cubicBezTo>
                        <a:cubicBezTo>
                          <a:pt x="25154" y="32509"/>
                          <a:pt x="25154" y="32509"/>
                          <a:pt x="24742" y="32290"/>
                        </a:cubicBezTo>
                        <a:cubicBezTo>
                          <a:pt x="24329" y="32072"/>
                          <a:pt x="24329" y="32072"/>
                          <a:pt x="24329" y="32072"/>
                        </a:cubicBezTo>
                        <a:cubicBezTo>
                          <a:pt x="24742" y="30981"/>
                          <a:pt x="24742" y="30981"/>
                          <a:pt x="24742" y="30981"/>
                        </a:cubicBezTo>
                        <a:close/>
                        <a:moveTo>
                          <a:pt x="28453" y="28800"/>
                        </a:moveTo>
                        <a:cubicBezTo>
                          <a:pt x="28453" y="28800"/>
                          <a:pt x="28453" y="28800"/>
                          <a:pt x="28453" y="28800"/>
                        </a:cubicBezTo>
                        <a:cubicBezTo>
                          <a:pt x="28453" y="28800"/>
                          <a:pt x="28865" y="28581"/>
                          <a:pt x="28453" y="29018"/>
                        </a:cubicBezTo>
                        <a:cubicBezTo>
                          <a:pt x="27628" y="29672"/>
                          <a:pt x="27628" y="29890"/>
                          <a:pt x="28041" y="29890"/>
                        </a:cubicBezTo>
                        <a:cubicBezTo>
                          <a:pt x="28041" y="29890"/>
                          <a:pt x="28453" y="29890"/>
                          <a:pt x="28453" y="29890"/>
                        </a:cubicBezTo>
                        <a:cubicBezTo>
                          <a:pt x="28453" y="30763"/>
                          <a:pt x="28453" y="30763"/>
                          <a:pt x="28453" y="30763"/>
                        </a:cubicBezTo>
                        <a:cubicBezTo>
                          <a:pt x="28453" y="30763"/>
                          <a:pt x="28453" y="30981"/>
                          <a:pt x="27216" y="30763"/>
                        </a:cubicBezTo>
                        <a:cubicBezTo>
                          <a:pt x="25979" y="30763"/>
                          <a:pt x="25154" y="30545"/>
                          <a:pt x="25154" y="30545"/>
                        </a:cubicBezTo>
                        <a:cubicBezTo>
                          <a:pt x="23917" y="29890"/>
                          <a:pt x="23917" y="29890"/>
                          <a:pt x="23917" y="29890"/>
                        </a:cubicBezTo>
                        <a:cubicBezTo>
                          <a:pt x="23917" y="29890"/>
                          <a:pt x="23505" y="29672"/>
                          <a:pt x="24329" y="29236"/>
                        </a:cubicBezTo>
                        <a:cubicBezTo>
                          <a:pt x="24742" y="28800"/>
                          <a:pt x="25979" y="29018"/>
                          <a:pt x="25979" y="29018"/>
                        </a:cubicBezTo>
                        <a:cubicBezTo>
                          <a:pt x="25979" y="29018"/>
                          <a:pt x="26391" y="29454"/>
                          <a:pt x="26804" y="29018"/>
                        </a:cubicBezTo>
                        <a:cubicBezTo>
                          <a:pt x="27216" y="28581"/>
                          <a:pt x="27216" y="28145"/>
                          <a:pt x="27628" y="28363"/>
                        </a:cubicBezTo>
                        <a:cubicBezTo>
                          <a:pt x="28041" y="28581"/>
                          <a:pt x="28453" y="28800"/>
                          <a:pt x="28453" y="28800"/>
                        </a:cubicBezTo>
                        <a:close/>
                        <a:moveTo>
                          <a:pt x="31752" y="26400"/>
                        </a:moveTo>
                        <a:cubicBezTo>
                          <a:pt x="31752" y="26400"/>
                          <a:pt x="31752" y="26400"/>
                          <a:pt x="31752" y="26400"/>
                        </a:cubicBezTo>
                        <a:cubicBezTo>
                          <a:pt x="31340" y="26181"/>
                          <a:pt x="31340" y="25745"/>
                          <a:pt x="31340" y="25745"/>
                        </a:cubicBezTo>
                        <a:cubicBezTo>
                          <a:pt x="31752" y="25309"/>
                          <a:pt x="31752" y="25309"/>
                          <a:pt x="31752" y="25309"/>
                        </a:cubicBezTo>
                        <a:cubicBezTo>
                          <a:pt x="31752" y="25309"/>
                          <a:pt x="30927" y="24872"/>
                          <a:pt x="30927" y="24654"/>
                        </a:cubicBezTo>
                        <a:cubicBezTo>
                          <a:pt x="30927" y="24436"/>
                          <a:pt x="30927" y="24000"/>
                          <a:pt x="31752" y="23781"/>
                        </a:cubicBezTo>
                        <a:cubicBezTo>
                          <a:pt x="32164" y="23563"/>
                          <a:pt x="32577" y="23127"/>
                          <a:pt x="32989" y="23127"/>
                        </a:cubicBezTo>
                        <a:cubicBezTo>
                          <a:pt x="32989" y="23345"/>
                          <a:pt x="32989" y="23345"/>
                          <a:pt x="33402" y="23781"/>
                        </a:cubicBezTo>
                        <a:cubicBezTo>
                          <a:pt x="33814" y="24000"/>
                          <a:pt x="33814" y="24436"/>
                          <a:pt x="34226" y="24218"/>
                        </a:cubicBezTo>
                        <a:cubicBezTo>
                          <a:pt x="34639" y="24000"/>
                          <a:pt x="34639" y="23781"/>
                          <a:pt x="35051" y="23563"/>
                        </a:cubicBezTo>
                        <a:cubicBezTo>
                          <a:pt x="35463" y="23345"/>
                          <a:pt x="35876" y="22690"/>
                          <a:pt x="35876" y="22690"/>
                        </a:cubicBezTo>
                        <a:cubicBezTo>
                          <a:pt x="35876" y="22690"/>
                          <a:pt x="36701" y="22909"/>
                          <a:pt x="37113" y="22690"/>
                        </a:cubicBezTo>
                        <a:cubicBezTo>
                          <a:pt x="37938" y="22472"/>
                          <a:pt x="37113" y="22472"/>
                          <a:pt x="38350" y="22254"/>
                        </a:cubicBezTo>
                        <a:cubicBezTo>
                          <a:pt x="39587" y="22254"/>
                          <a:pt x="40000" y="22254"/>
                          <a:pt x="40412" y="21818"/>
                        </a:cubicBezTo>
                        <a:cubicBezTo>
                          <a:pt x="40824" y="21600"/>
                          <a:pt x="40824" y="21818"/>
                          <a:pt x="41237" y="21600"/>
                        </a:cubicBezTo>
                        <a:cubicBezTo>
                          <a:pt x="41649" y="21381"/>
                          <a:pt x="42061" y="21163"/>
                          <a:pt x="42474" y="21163"/>
                        </a:cubicBezTo>
                        <a:cubicBezTo>
                          <a:pt x="42886" y="21381"/>
                          <a:pt x="43298" y="21600"/>
                          <a:pt x="43298" y="21818"/>
                        </a:cubicBezTo>
                        <a:cubicBezTo>
                          <a:pt x="43298" y="22036"/>
                          <a:pt x="43711" y="22472"/>
                          <a:pt x="43298" y="22690"/>
                        </a:cubicBezTo>
                        <a:cubicBezTo>
                          <a:pt x="42886" y="22909"/>
                          <a:pt x="42886" y="23127"/>
                          <a:pt x="42474" y="23127"/>
                        </a:cubicBezTo>
                        <a:cubicBezTo>
                          <a:pt x="42061" y="23345"/>
                          <a:pt x="40824" y="23781"/>
                          <a:pt x="40824" y="23781"/>
                        </a:cubicBezTo>
                        <a:cubicBezTo>
                          <a:pt x="40824" y="23781"/>
                          <a:pt x="40824" y="24218"/>
                          <a:pt x="41237" y="24218"/>
                        </a:cubicBezTo>
                        <a:cubicBezTo>
                          <a:pt x="41649" y="24218"/>
                          <a:pt x="42474" y="23563"/>
                          <a:pt x="42474" y="24000"/>
                        </a:cubicBezTo>
                        <a:cubicBezTo>
                          <a:pt x="42061" y="24436"/>
                          <a:pt x="43298" y="24654"/>
                          <a:pt x="42061" y="24872"/>
                        </a:cubicBezTo>
                        <a:cubicBezTo>
                          <a:pt x="41237" y="24872"/>
                          <a:pt x="40412" y="24654"/>
                          <a:pt x="40412" y="24654"/>
                        </a:cubicBezTo>
                        <a:cubicBezTo>
                          <a:pt x="39587" y="25309"/>
                          <a:pt x="39587" y="25309"/>
                          <a:pt x="39587" y="25309"/>
                        </a:cubicBezTo>
                        <a:cubicBezTo>
                          <a:pt x="39587" y="25309"/>
                          <a:pt x="38762" y="25090"/>
                          <a:pt x="38762" y="25309"/>
                        </a:cubicBezTo>
                        <a:cubicBezTo>
                          <a:pt x="38762" y="25527"/>
                          <a:pt x="39175" y="25963"/>
                          <a:pt x="39175" y="25963"/>
                        </a:cubicBezTo>
                        <a:cubicBezTo>
                          <a:pt x="38350" y="26400"/>
                          <a:pt x="38350" y="26400"/>
                          <a:pt x="38350" y="26400"/>
                        </a:cubicBezTo>
                        <a:cubicBezTo>
                          <a:pt x="38350" y="26400"/>
                          <a:pt x="37113" y="26181"/>
                          <a:pt x="37113" y="26400"/>
                        </a:cubicBezTo>
                        <a:cubicBezTo>
                          <a:pt x="37525" y="26618"/>
                          <a:pt x="37938" y="27054"/>
                          <a:pt x="37938" y="27054"/>
                        </a:cubicBezTo>
                        <a:cubicBezTo>
                          <a:pt x="37938" y="27054"/>
                          <a:pt x="37938" y="27490"/>
                          <a:pt x="37113" y="27490"/>
                        </a:cubicBezTo>
                        <a:cubicBezTo>
                          <a:pt x="36288" y="27490"/>
                          <a:pt x="35463" y="27490"/>
                          <a:pt x="35051" y="27490"/>
                        </a:cubicBezTo>
                        <a:cubicBezTo>
                          <a:pt x="34639" y="27272"/>
                          <a:pt x="34639" y="27272"/>
                          <a:pt x="34639" y="27272"/>
                        </a:cubicBezTo>
                        <a:cubicBezTo>
                          <a:pt x="34226" y="27927"/>
                          <a:pt x="34226" y="27927"/>
                          <a:pt x="34226" y="27927"/>
                        </a:cubicBezTo>
                        <a:cubicBezTo>
                          <a:pt x="34226" y="27927"/>
                          <a:pt x="34639" y="28145"/>
                          <a:pt x="34226" y="28363"/>
                        </a:cubicBezTo>
                        <a:cubicBezTo>
                          <a:pt x="33814" y="28581"/>
                          <a:pt x="32577" y="28581"/>
                          <a:pt x="32577" y="28581"/>
                        </a:cubicBezTo>
                        <a:cubicBezTo>
                          <a:pt x="32577" y="28581"/>
                          <a:pt x="32164" y="28581"/>
                          <a:pt x="32164" y="28581"/>
                        </a:cubicBezTo>
                        <a:cubicBezTo>
                          <a:pt x="32164" y="28800"/>
                          <a:pt x="31752" y="29236"/>
                          <a:pt x="31340" y="29236"/>
                        </a:cubicBezTo>
                        <a:cubicBezTo>
                          <a:pt x="30927" y="29018"/>
                          <a:pt x="30103" y="28800"/>
                          <a:pt x="29690" y="28581"/>
                        </a:cubicBezTo>
                        <a:cubicBezTo>
                          <a:pt x="29690" y="28363"/>
                          <a:pt x="29278" y="27490"/>
                          <a:pt x="30103" y="27709"/>
                        </a:cubicBezTo>
                        <a:cubicBezTo>
                          <a:pt x="30927" y="27709"/>
                          <a:pt x="31752" y="27927"/>
                          <a:pt x="31752" y="27490"/>
                        </a:cubicBezTo>
                        <a:cubicBezTo>
                          <a:pt x="31752" y="27054"/>
                          <a:pt x="31340" y="26836"/>
                          <a:pt x="31340" y="26836"/>
                        </a:cubicBezTo>
                        <a:cubicBezTo>
                          <a:pt x="31752" y="26400"/>
                          <a:pt x="31752" y="26400"/>
                          <a:pt x="31752" y="26400"/>
                        </a:cubicBezTo>
                        <a:close/>
                        <a:moveTo>
                          <a:pt x="110103" y="3272"/>
                        </a:moveTo>
                        <a:cubicBezTo>
                          <a:pt x="110103" y="3272"/>
                          <a:pt x="110103" y="3272"/>
                          <a:pt x="110103" y="3272"/>
                        </a:cubicBezTo>
                        <a:cubicBezTo>
                          <a:pt x="110515" y="3272"/>
                          <a:pt x="111752" y="3490"/>
                          <a:pt x="111752" y="3272"/>
                        </a:cubicBezTo>
                        <a:cubicBezTo>
                          <a:pt x="111752" y="3272"/>
                          <a:pt x="112164" y="2836"/>
                          <a:pt x="112164" y="2836"/>
                        </a:cubicBezTo>
                        <a:cubicBezTo>
                          <a:pt x="111752" y="2618"/>
                          <a:pt x="111340" y="2400"/>
                          <a:pt x="110927" y="2618"/>
                        </a:cubicBezTo>
                        <a:cubicBezTo>
                          <a:pt x="110515" y="2618"/>
                          <a:pt x="110103" y="2836"/>
                          <a:pt x="110103" y="2836"/>
                        </a:cubicBezTo>
                        <a:cubicBezTo>
                          <a:pt x="110103" y="3054"/>
                          <a:pt x="110103" y="3272"/>
                          <a:pt x="110103" y="3272"/>
                        </a:cubicBezTo>
                        <a:close/>
                        <a:moveTo>
                          <a:pt x="96907" y="6981"/>
                        </a:moveTo>
                        <a:cubicBezTo>
                          <a:pt x="96907" y="6981"/>
                          <a:pt x="96907" y="6981"/>
                          <a:pt x="96907" y="6981"/>
                        </a:cubicBezTo>
                        <a:cubicBezTo>
                          <a:pt x="97319" y="6981"/>
                          <a:pt x="97731" y="6545"/>
                          <a:pt x="97731" y="6763"/>
                        </a:cubicBezTo>
                        <a:cubicBezTo>
                          <a:pt x="97731" y="7200"/>
                          <a:pt x="98144" y="7200"/>
                          <a:pt x="97731" y="7418"/>
                        </a:cubicBezTo>
                        <a:cubicBezTo>
                          <a:pt x="97319" y="7418"/>
                          <a:pt x="96494" y="7854"/>
                          <a:pt x="96082" y="7636"/>
                        </a:cubicBezTo>
                        <a:cubicBezTo>
                          <a:pt x="96082" y="7636"/>
                          <a:pt x="96494" y="6763"/>
                          <a:pt x="96494" y="6763"/>
                        </a:cubicBezTo>
                        <a:cubicBezTo>
                          <a:pt x="96907" y="6981"/>
                          <a:pt x="96907" y="6981"/>
                          <a:pt x="96907" y="6981"/>
                        </a:cubicBezTo>
                        <a:close/>
                        <a:moveTo>
                          <a:pt x="104742" y="7418"/>
                        </a:moveTo>
                        <a:cubicBezTo>
                          <a:pt x="104742" y="7418"/>
                          <a:pt x="104742" y="7418"/>
                          <a:pt x="104742" y="7418"/>
                        </a:cubicBezTo>
                        <a:cubicBezTo>
                          <a:pt x="104742" y="7418"/>
                          <a:pt x="104742" y="7636"/>
                          <a:pt x="103917" y="7418"/>
                        </a:cubicBezTo>
                        <a:cubicBezTo>
                          <a:pt x="102680" y="7418"/>
                          <a:pt x="102268" y="7636"/>
                          <a:pt x="102268" y="7200"/>
                        </a:cubicBezTo>
                        <a:cubicBezTo>
                          <a:pt x="102268" y="6981"/>
                          <a:pt x="102680" y="6763"/>
                          <a:pt x="101855" y="6545"/>
                        </a:cubicBezTo>
                        <a:cubicBezTo>
                          <a:pt x="101030" y="6545"/>
                          <a:pt x="101030" y="6545"/>
                          <a:pt x="101030" y="6545"/>
                        </a:cubicBezTo>
                        <a:cubicBezTo>
                          <a:pt x="101030" y="6545"/>
                          <a:pt x="100618" y="6109"/>
                          <a:pt x="101030" y="5890"/>
                        </a:cubicBezTo>
                        <a:cubicBezTo>
                          <a:pt x="101855" y="5454"/>
                          <a:pt x="101855" y="5672"/>
                          <a:pt x="102268" y="5672"/>
                        </a:cubicBezTo>
                        <a:cubicBezTo>
                          <a:pt x="103092" y="5672"/>
                          <a:pt x="102680" y="5672"/>
                          <a:pt x="103505" y="5890"/>
                        </a:cubicBezTo>
                        <a:cubicBezTo>
                          <a:pt x="104329" y="5890"/>
                          <a:pt x="104742" y="6109"/>
                          <a:pt x="104742" y="5672"/>
                        </a:cubicBezTo>
                        <a:cubicBezTo>
                          <a:pt x="104742" y="5454"/>
                          <a:pt x="105154" y="5454"/>
                          <a:pt x="104329" y="5018"/>
                        </a:cubicBezTo>
                        <a:cubicBezTo>
                          <a:pt x="103917" y="4581"/>
                          <a:pt x="103917" y="4800"/>
                          <a:pt x="103505" y="4581"/>
                        </a:cubicBezTo>
                        <a:cubicBezTo>
                          <a:pt x="103092" y="4145"/>
                          <a:pt x="102268" y="3709"/>
                          <a:pt x="102680" y="3490"/>
                        </a:cubicBezTo>
                        <a:cubicBezTo>
                          <a:pt x="102680" y="3272"/>
                          <a:pt x="102268" y="3272"/>
                          <a:pt x="103092" y="2836"/>
                        </a:cubicBezTo>
                        <a:cubicBezTo>
                          <a:pt x="104329" y="2618"/>
                          <a:pt x="105154" y="2181"/>
                          <a:pt x="105567" y="2181"/>
                        </a:cubicBezTo>
                        <a:cubicBezTo>
                          <a:pt x="105979" y="2181"/>
                          <a:pt x="106391" y="2181"/>
                          <a:pt x="106391" y="2400"/>
                        </a:cubicBezTo>
                        <a:cubicBezTo>
                          <a:pt x="106391" y="2836"/>
                          <a:pt x="106391" y="3054"/>
                          <a:pt x="105979" y="3272"/>
                        </a:cubicBezTo>
                        <a:cubicBezTo>
                          <a:pt x="105567" y="3272"/>
                          <a:pt x="105567" y="3490"/>
                          <a:pt x="105567" y="3490"/>
                        </a:cubicBezTo>
                        <a:cubicBezTo>
                          <a:pt x="105567" y="3490"/>
                          <a:pt x="105154" y="4145"/>
                          <a:pt x="105979" y="4145"/>
                        </a:cubicBezTo>
                        <a:cubicBezTo>
                          <a:pt x="106804" y="3927"/>
                          <a:pt x="107216" y="3490"/>
                          <a:pt x="107216" y="3272"/>
                        </a:cubicBezTo>
                        <a:cubicBezTo>
                          <a:pt x="107628" y="3054"/>
                          <a:pt x="108041" y="3272"/>
                          <a:pt x="107628" y="2836"/>
                        </a:cubicBezTo>
                        <a:cubicBezTo>
                          <a:pt x="107628" y="2400"/>
                          <a:pt x="107216" y="2181"/>
                          <a:pt x="107628" y="2181"/>
                        </a:cubicBezTo>
                        <a:cubicBezTo>
                          <a:pt x="108041" y="2181"/>
                          <a:pt x="108453" y="2618"/>
                          <a:pt x="108865" y="2181"/>
                        </a:cubicBezTo>
                        <a:cubicBezTo>
                          <a:pt x="109690" y="1527"/>
                          <a:pt x="109690" y="1309"/>
                          <a:pt x="109690" y="1309"/>
                        </a:cubicBezTo>
                        <a:cubicBezTo>
                          <a:pt x="109690" y="1309"/>
                          <a:pt x="109278" y="1309"/>
                          <a:pt x="110103" y="1090"/>
                        </a:cubicBezTo>
                        <a:cubicBezTo>
                          <a:pt x="110927" y="872"/>
                          <a:pt x="110515" y="654"/>
                          <a:pt x="110927" y="436"/>
                        </a:cubicBezTo>
                        <a:cubicBezTo>
                          <a:pt x="111340" y="218"/>
                          <a:pt x="110515" y="0"/>
                          <a:pt x="111752" y="0"/>
                        </a:cubicBezTo>
                        <a:cubicBezTo>
                          <a:pt x="112577" y="218"/>
                          <a:pt x="112577" y="218"/>
                          <a:pt x="112989" y="436"/>
                        </a:cubicBezTo>
                        <a:cubicBezTo>
                          <a:pt x="113402" y="436"/>
                          <a:pt x="112577" y="1309"/>
                          <a:pt x="112164" y="1309"/>
                        </a:cubicBezTo>
                        <a:cubicBezTo>
                          <a:pt x="111752" y="1309"/>
                          <a:pt x="111752" y="1090"/>
                          <a:pt x="110927" y="1309"/>
                        </a:cubicBezTo>
                        <a:cubicBezTo>
                          <a:pt x="110515" y="1527"/>
                          <a:pt x="111340" y="1963"/>
                          <a:pt x="110927" y="2181"/>
                        </a:cubicBezTo>
                        <a:cubicBezTo>
                          <a:pt x="110515" y="2400"/>
                          <a:pt x="110103" y="2181"/>
                          <a:pt x="109690" y="2400"/>
                        </a:cubicBezTo>
                        <a:cubicBezTo>
                          <a:pt x="109278" y="2618"/>
                          <a:pt x="109278" y="2618"/>
                          <a:pt x="109278" y="2836"/>
                        </a:cubicBezTo>
                        <a:cubicBezTo>
                          <a:pt x="109278" y="3054"/>
                          <a:pt x="108865" y="3272"/>
                          <a:pt x="108453" y="3490"/>
                        </a:cubicBezTo>
                        <a:cubicBezTo>
                          <a:pt x="108453" y="3490"/>
                          <a:pt x="107216" y="3054"/>
                          <a:pt x="108453" y="3490"/>
                        </a:cubicBezTo>
                        <a:cubicBezTo>
                          <a:pt x="109690" y="3927"/>
                          <a:pt x="110103" y="3927"/>
                          <a:pt x="109690" y="4145"/>
                        </a:cubicBezTo>
                        <a:cubicBezTo>
                          <a:pt x="109278" y="4145"/>
                          <a:pt x="108453" y="4145"/>
                          <a:pt x="108041" y="4363"/>
                        </a:cubicBezTo>
                        <a:cubicBezTo>
                          <a:pt x="107628" y="4363"/>
                          <a:pt x="107216" y="4581"/>
                          <a:pt x="108041" y="4800"/>
                        </a:cubicBezTo>
                        <a:cubicBezTo>
                          <a:pt x="108865" y="5018"/>
                          <a:pt x="108453" y="5018"/>
                          <a:pt x="108865" y="5018"/>
                        </a:cubicBezTo>
                        <a:cubicBezTo>
                          <a:pt x="109278" y="4800"/>
                          <a:pt x="111340" y="4800"/>
                          <a:pt x="111340" y="5018"/>
                        </a:cubicBezTo>
                        <a:cubicBezTo>
                          <a:pt x="110927" y="5454"/>
                          <a:pt x="111340" y="5454"/>
                          <a:pt x="110515" y="5672"/>
                        </a:cubicBezTo>
                        <a:cubicBezTo>
                          <a:pt x="109278" y="5890"/>
                          <a:pt x="108453" y="5672"/>
                          <a:pt x="108041" y="5454"/>
                        </a:cubicBezTo>
                        <a:cubicBezTo>
                          <a:pt x="107628" y="5454"/>
                          <a:pt x="107628" y="5018"/>
                          <a:pt x="107628" y="5672"/>
                        </a:cubicBezTo>
                        <a:cubicBezTo>
                          <a:pt x="108041" y="6327"/>
                          <a:pt x="108865" y="6327"/>
                          <a:pt x="108453" y="6327"/>
                        </a:cubicBezTo>
                        <a:cubicBezTo>
                          <a:pt x="107628" y="6327"/>
                          <a:pt x="106804" y="6327"/>
                          <a:pt x="106804" y="6327"/>
                        </a:cubicBezTo>
                        <a:cubicBezTo>
                          <a:pt x="106804" y="6327"/>
                          <a:pt x="106391" y="5890"/>
                          <a:pt x="106804" y="6545"/>
                        </a:cubicBezTo>
                        <a:cubicBezTo>
                          <a:pt x="107216" y="7200"/>
                          <a:pt x="107216" y="7200"/>
                          <a:pt x="107216" y="7200"/>
                        </a:cubicBezTo>
                        <a:cubicBezTo>
                          <a:pt x="107216" y="7200"/>
                          <a:pt x="106391" y="7418"/>
                          <a:pt x="106391" y="7418"/>
                        </a:cubicBezTo>
                        <a:cubicBezTo>
                          <a:pt x="106391" y="7636"/>
                          <a:pt x="106804" y="8072"/>
                          <a:pt x="107216" y="8290"/>
                        </a:cubicBezTo>
                        <a:cubicBezTo>
                          <a:pt x="107216" y="8290"/>
                          <a:pt x="106804" y="9163"/>
                          <a:pt x="106391" y="9163"/>
                        </a:cubicBezTo>
                        <a:cubicBezTo>
                          <a:pt x="106391" y="9163"/>
                          <a:pt x="106391" y="9381"/>
                          <a:pt x="105979" y="9600"/>
                        </a:cubicBezTo>
                        <a:cubicBezTo>
                          <a:pt x="105567" y="9818"/>
                          <a:pt x="105154" y="10036"/>
                          <a:pt x="105154" y="10036"/>
                        </a:cubicBezTo>
                        <a:cubicBezTo>
                          <a:pt x="104329" y="11345"/>
                          <a:pt x="104329" y="11345"/>
                          <a:pt x="104329" y="11345"/>
                        </a:cubicBezTo>
                        <a:cubicBezTo>
                          <a:pt x="104329" y="11345"/>
                          <a:pt x="103917" y="11781"/>
                          <a:pt x="103505" y="11345"/>
                        </a:cubicBezTo>
                        <a:cubicBezTo>
                          <a:pt x="103505" y="10909"/>
                          <a:pt x="103092" y="10909"/>
                          <a:pt x="103505" y="10690"/>
                        </a:cubicBezTo>
                        <a:cubicBezTo>
                          <a:pt x="103917" y="10690"/>
                          <a:pt x="103917" y="10254"/>
                          <a:pt x="104329" y="10036"/>
                        </a:cubicBezTo>
                        <a:cubicBezTo>
                          <a:pt x="104329" y="9818"/>
                          <a:pt x="104742" y="8945"/>
                          <a:pt x="104742" y="8945"/>
                        </a:cubicBezTo>
                        <a:cubicBezTo>
                          <a:pt x="104742" y="8945"/>
                          <a:pt x="105567" y="8945"/>
                          <a:pt x="105979" y="8727"/>
                        </a:cubicBezTo>
                        <a:cubicBezTo>
                          <a:pt x="105979" y="8727"/>
                          <a:pt x="105154" y="7854"/>
                          <a:pt x="105154" y="7854"/>
                        </a:cubicBezTo>
                        <a:cubicBezTo>
                          <a:pt x="105567" y="7418"/>
                          <a:pt x="105567" y="7418"/>
                          <a:pt x="105567" y="7418"/>
                        </a:cubicBezTo>
                        <a:cubicBezTo>
                          <a:pt x="104742" y="7418"/>
                          <a:pt x="104742" y="7418"/>
                          <a:pt x="104742" y="7418"/>
                        </a:cubicBezTo>
                        <a:close/>
                        <a:moveTo>
                          <a:pt x="98556" y="14618"/>
                        </a:moveTo>
                        <a:cubicBezTo>
                          <a:pt x="98556" y="14618"/>
                          <a:pt x="98556" y="14618"/>
                          <a:pt x="98556" y="14618"/>
                        </a:cubicBezTo>
                        <a:cubicBezTo>
                          <a:pt x="98556" y="14618"/>
                          <a:pt x="99793" y="13745"/>
                          <a:pt x="100206" y="13963"/>
                        </a:cubicBezTo>
                        <a:cubicBezTo>
                          <a:pt x="100206" y="13963"/>
                          <a:pt x="100206" y="14181"/>
                          <a:pt x="100206" y="14400"/>
                        </a:cubicBezTo>
                        <a:cubicBezTo>
                          <a:pt x="100206" y="14400"/>
                          <a:pt x="100618" y="14836"/>
                          <a:pt x="100206" y="14836"/>
                        </a:cubicBezTo>
                        <a:cubicBezTo>
                          <a:pt x="99793" y="14836"/>
                          <a:pt x="99381" y="14836"/>
                          <a:pt x="98969" y="14836"/>
                        </a:cubicBezTo>
                        <a:cubicBezTo>
                          <a:pt x="98969" y="14836"/>
                          <a:pt x="98556" y="14618"/>
                          <a:pt x="98556" y="14618"/>
                        </a:cubicBezTo>
                        <a:close/>
                        <a:moveTo>
                          <a:pt x="80824" y="21381"/>
                        </a:moveTo>
                        <a:cubicBezTo>
                          <a:pt x="80824" y="21381"/>
                          <a:pt x="80824" y="21381"/>
                          <a:pt x="80824" y="21381"/>
                        </a:cubicBezTo>
                        <a:cubicBezTo>
                          <a:pt x="81649" y="20945"/>
                          <a:pt x="81649" y="20945"/>
                          <a:pt x="81649" y="20945"/>
                        </a:cubicBezTo>
                        <a:cubicBezTo>
                          <a:pt x="82886" y="21163"/>
                          <a:pt x="82886" y="21163"/>
                          <a:pt x="82886" y="21163"/>
                        </a:cubicBezTo>
                        <a:cubicBezTo>
                          <a:pt x="82886" y="21163"/>
                          <a:pt x="83298" y="20727"/>
                          <a:pt x="83298" y="21163"/>
                        </a:cubicBezTo>
                        <a:cubicBezTo>
                          <a:pt x="82886" y="21600"/>
                          <a:pt x="82061" y="22254"/>
                          <a:pt x="82061" y="22254"/>
                        </a:cubicBezTo>
                        <a:cubicBezTo>
                          <a:pt x="82061" y="22254"/>
                          <a:pt x="82474" y="22254"/>
                          <a:pt x="81649" y="22472"/>
                        </a:cubicBezTo>
                        <a:cubicBezTo>
                          <a:pt x="80824" y="22690"/>
                          <a:pt x="80824" y="22909"/>
                          <a:pt x="80412" y="22472"/>
                        </a:cubicBezTo>
                        <a:cubicBezTo>
                          <a:pt x="80000" y="22254"/>
                          <a:pt x="79587" y="22254"/>
                          <a:pt x="79587" y="22036"/>
                        </a:cubicBezTo>
                        <a:cubicBezTo>
                          <a:pt x="80000" y="21818"/>
                          <a:pt x="80000" y="21381"/>
                          <a:pt x="80000" y="21381"/>
                        </a:cubicBezTo>
                        <a:cubicBezTo>
                          <a:pt x="80824" y="21381"/>
                          <a:pt x="80824" y="21381"/>
                          <a:pt x="80824" y="21381"/>
                        </a:cubicBezTo>
                        <a:close/>
                        <a:moveTo>
                          <a:pt x="89484" y="15709"/>
                        </a:moveTo>
                        <a:cubicBezTo>
                          <a:pt x="89484" y="15709"/>
                          <a:pt x="89484" y="15709"/>
                          <a:pt x="89484" y="15709"/>
                        </a:cubicBezTo>
                        <a:cubicBezTo>
                          <a:pt x="89484" y="15709"/>
                          <a:pt x="89896" y="15272"/>
                          <a:pt x="90309" y="15272"/>
                        </a:cubicBezTo>
                        <a:cubicBezTo>
                          <a:pt x="90721" y="15490"/>
                          <a:pt x="91134" y="15490"/>
                          <a:pt x="91134" y="15709"/>
                        </a:cubicBezTo>
                        <a:cubicBezTo>
                          <a:pt x="90721" y="15927"/>
                          <a:pt x="90309" y="16145"/>
                          <a:pt x="89896" y="16145"/>
                        </a:cubicBezTo>
                        <a:cubicBezTo>
                          <a:pt x="89484" y="16145"/>
                          <a:pt x="89484" y="15709"/>
                          <a:pt x="89484" y="15709"/>
                        </a:cubicBezTo>
                        <a:close/>
                        <a:moveTo>
                          <a:pt x="87835" y="16800"/>
                        </a:moveTo>
                        <a:cubicBezTo>
                          <a:pt x="87835" y="16800"/>
                          <a:pt x="87835" y="16800"/>
                          <a:pt x="87835" y="16800"/>
                        </a:cubicBezTo>
                        <a:cubicBezTo>
                          <a:pt x="87835" y="16800"/>
                          <a:pt x="88659" y="16363"/>
                          <a:pt x="89072" y="16581"/>
                        </a:cubicBezTo>
                        <a:cubicBezTo>
                          <a:pt x="89072" y="16581"/>
                          <a:pt x="89484" y="16581"/>
                          <a:pt x="89072" y="16800"/>
                        </a:cubicBezTo>
                        <a:cubicBezTo>
                          <a:pt x="89072" y="17018"/>
                          <a:pt x="89896" y="16800"/>
                          <a:pt x="88659" y="17018"/>
                        </a:cubicBezTo>
                        <a:cubicBezTo>
                          <a:pt x="87835" y="17454"/>
                          <a:pt x="88247" y="17672"/>
                          <a:pt x="87422" y="17454"/>
                        </a:cubicBezTo>
                        <a:cubicBezTo>
                          <a:pt x="87010" y="17236"/>
                          <a:pt x="87010" y="17018"/>
                          <a:pt x="87010" y="16800"/>
                        </a:cubicBezTo>
                        <a:cubicBezTo>
                          <a:pt x="87010" y="16800"/>
                          <a:pt x="87422" y="16363"/>
                          <a:pt x="87422" y="16363"/>
                        </a:cubicBezTo>
                        <a:cubicBezTo>
                          <a:pt x="87835" y="16581"/>
                          <a:pt x="87835" y="16800"/>
                          <a:pt x="87835" y="16800"/>
                        </a:cubicBezTo>
                        <a:close/>
                        <a:moveTo>
                          <a:pt x="84536" y="17454"/>
                        </a:moveTo>
                        <a:cubicBezTo>
                          <a:pt x="84536" y="17454"/>
                          <a:pt x="84536" y="17454"/>
                          <a:pt x="84536" y="17454"/>
                        </a:cubicBezTo>
                        <a:cubicBezTo>
                          <a:pt x="84536" y="17454"/>
                          <a:pt x="85360" y="17672"/>
                          <a:pt x="85360" y="17672"/>
                        </a:cubicBezTo>
                        <a:cubicBezTo>
                          <a:pt x="85773" y="17890"/>
                          <a:pt x="85773" y="17672"/>
                          <a:pt x="86185" y="17454"/>
                        </a:cubicBezTo>
                        <a:cubicBezTo>
                          <a:pt x="87010" y="17454"/>
                          <a:pt x="86185" y="17454"/>
                          <a:pt x="86597" y="17236"/>
                        </a:cubicBezTo>
                        <a:cubicBezTo>
                          <a:pt x="87010" y="16800"/>
                          <a:pt x="86597" y="17018"/>
                          <a:pt x="86597" y="16800"/>
                        </a:cubicBezTo>
                        <a:cubicBezTo>
                          <a:pt x="86185" y="16800"/>
                          <a:pt x="86185" y="16800"/>
                          <a:pt x="85773" y="16800"/>
                        </a:cubicBezTo>
                        <a:cubicBezTo>
                          <a:pt x="84948" y="16800"/>
                          <a:pt x="84536" y="17454"/>
                          <a:pt x="84536" y="17454"/>
                        </a:cubicBezTo>
                        <a:close/>
                        <a:moveTo>
                          <a:pt x="86185" y="18763"/>
                        </a:moveTo>
                        <a:cubicBezTo>
                          <a:pt x="86185" y="18763"/>
                          <a:pt x="86185" y="18763"/>
                          <a:pt x="86185" y="18763"/>
                        </a:cubicBezTo>
                        <a:cubicBezTo>
                          <a:pt x="86185" y="18763"/>
                          <a:pt x="86597" y="18109"/>
                          <a:pt x="87010" y="18109"/>
                        </a:cubicBezTo>
                        <a:cubicBezTo>
                          <a:pt x="87422" y="18327"/>
                          <a:pt x="87422" y="18109"/>
                          <a:pt x="87422" y="18327"/>
                        </a:cubicBezTo>
                        <a:cubicBezTo>
                          <a:pt x="87422" y="18545"/>
                          <a:pt x="87422" y="18981"/>
                          <a:pt x="87010" y="18981"/>
                        </a:cubicBezTo>
                        <a:cubicBezTo>
                          <a:pt x="86597" y="18981"/>
                          <a:pt x="86185" y="18763"/>
                          <a:pt x="86185" y="18763"/>
                        </a:cubicBezTo>
                        <a:close/>
                        <a:moveTo>
                          <a:pt x="82886" y="18763"/>
                        </a:moveTo>
                        <a:cubicBezTo>
                          <a:pt x="82886" y="18763"/>
                          <a:pt x="82886" y="18763"/>
                          <a:pt x="82886" y="18763"/>
                        </a:cubicBezTo>
                        <a:cubicBezTo>
                          <a:pt x="83298" y="18327"/>
                          <a:pt x="83298" y="18327"/>
                          <a:pt x="83298" y="18327"/>
                        </a:cubicBezTo>
                        <a:cubicBezTo>
                          <a:pt x="84123" y="18545"/>
                          <a:pt x="84123" y="18545"/>
                          <a:pt x="84123" y="18545"/>
                        </a:cubicBezTo>
                        <a:cubicBezTo>
                          <a:pt x="84123" y="18545"/>
                          <a:pt x="84536" y="18763"/>
                          <a:pt x="84123" y="18763"/>
                        </a:cubicBezTo>
                        <a:cubicBezTo>
                          <a:pt x="84123" y="18981"/>
                          <a:pt x="83711" y="18981"/>
                          <a:pt x="83711" y="19200"/>
                        </a:cubicBezTo>
                        <a:cubicBezTo>
                          <a:pt x="83298" y="19200"/>
                          <a:pt x="82886" y="18981"/>
                          <a:pt x="82886" y="18981"/>
                        </a:cubicBezTo>
                        <a:cubicBezTo>
                          <a:pt x="82886" y="18763"/>
                          <a:pt x="82886" y="18763"/>
                          <a:pt x="82886" y="18763"/>
                        </a:cubicBezTo>
                        <a:close/>
                        <a:moveTo>
                          <a:pt x="82886" y="15927"/>
                        </a:moveTo>
                        <a:cubicBezTo>
                          <a:pt x="82886" y="15927"/>
                          <a:pt x="82886" y="15927"/>
                          <a:pt x="82886" y="15927"/>
                        </a:cubicBezTo>
                        <a:cubicBezTo>
                          <a:pt x="82886" y="15927"/>
                          <a:pt x="83711" y="15272"/>
                          <a:pt x="83711" y="15272"/>
                        </a:cubicBezTo>
                        <a:cubicBezTo>
                          <a:pt x="84123" y="15272"/>
                          <a:pt x="84536" y="15054"/>
                          <a:pt x="84536" y="15490"/>
                        </a:cubicBezTo>
                        <a:cubicBezTo>
                          <a:pt x="84536" y="15927"/>
                          <a:pt x="85360" y="16363"/>
                          <a:pt x="84123" y="16363"/>
                        </a:cubicBezTo>
                        <a:cubicBezTo>
                          <a:pt x="83298" y="16363"/>
                          <a:pt x="82886" y="16581"/>
                          <a:pt x="82886" y="16363"/>
                        </a:cubicBezTo>
                        <a:cubicBezTo>
                          <a:pt x="82474" y="16145"/>
                          <a:pt x="82886" y="15927"/>
                          <a:pt x="82886" y="15927"/>
                        </a:cubicBezTo>
                        <a:close/>
                        <a:moveTo>
                          <a:pt x="81237" y="17236"/>
                        </a:moveTo>
                        <a:cubicBezTo>
                          <a:pt x="81237" y="17236"/>
                          <a:pt x="81237" y="17236"/>
                          <a:pt x="81237" y="17236"/>
                        </a:cubicBezTo>
                        <a:cubicBezTo>
                          <a:pt x="81237" y="17236"/>
                          <a:pt x="82061" y="16800"/>
                          <a:pt x="82474" y="16800"/>
                        </a:cubicBezTo>
                        <a:cubicBezTo>
                          <a:pt x="82886" y="17018"/>
                          <a:pt x="83298" y="17018"/>
                          <a:pt x="83298" y="17236"/>
                        </a:cubicBezTo>
                        <a:cubicBezTo>
                          <a:pt x="83298" y="17454"/>
                          <a:pt x="83298" y="17454"/>
                          <a:pt x="82886" y="17672"/>
                        </a:cubicBezTo>
                        <a:cubicBezTo>
                          <a:pt x="82886" y="17890"/>
                          <a:pt x="82474" y="17890"/>
                          <a:pt x="82061" y="17890"/>
                        </a:cubicBezTo>
                        <a:cubicBezTo>
                          <a:pt x="82061" y="17890"/>
                          <a:pt x="81237" y="17236"/>
                          <a:pt x="81237" y="17236"/>
                        </a:cubicBezTo>
                        <a:close/>
                        <a:moveTo>
                          <a:pt x="82474" y="19854"/>
                        </a:moveTo>
                        <a:cubicBezTo>
                          <a:pt x="82474" y="19854"/>
                          <a:pt x="82474" y="19854"/>
                          <a:pt x="82474" y="19854"/>
                        </a:cubicBezTo>
                        <a:cubicBezTo>
                          <a:pt x="82474" y="19854"/>
                          <a:pt x="82061" y="20509"/>
                          <a:pt x="82061" y="20727"/>
                        </a:cubicBezTo>
                        <a:cubicBezTo>
                          <a:pt x="82061" y="20945"/>
                          <a:pt x="83298" y="20945"/>
                          <a:pt x="83711" y="20727"/>
                        </a:cubicBezTo>
                        <a:cubicBezTo>
                          <a:pt x="83711" y="20727"/>
                          <a:pt x="84123" y="20290"/>
                          <a:pt x="84123" y="20290"/>
                        </a:cubicBezTo>
                        <a:cubicBezTo>
                          <a:pt x="84123" y="20290"/>
                          <a:pt x="83711" y="19854"/>
                          <a:pt x="83298" y="19636"/>
                        </a:cubicBezTo>
                        <a:cubicBezTo>
                          <a:pt x="82886" y="19418"/>
                          <a:pt x="82474" y="19854"/>
                          <a:pt x="82474" y="19854"/>
                        </a:cubicBezTo>
                        <a:close/>
                        <a:moveTo>
                          <a:pt x="78762" y="19200"/>
                        </a:moveTo>
                        <a:cubicBezTo>
                          <a:pt x="78762" y="19200"/>
                          <a:pt x="78762" y="19200"/>
                          <a:pt x="78762" y="19200"/>
                        </a:cubicBezTo>
                        <a:cubicBezTo>
                          <a:pt x="78762" y="19854"/>
                          <a:pt x="78762" y="19854"/>
                          <a:pt x="78762" y="19854"/>
                        </a:cubicBezTo>
                        <a:cubicBezTo>
                          <a:pt x="78762" y="19854"/>
                          <a:pt x="79587" y="20290"/>
                          <a:pt x="80000" y="20290"/>
                        </a:cubicBezTo>
                        <a:cubicBezTo>
                          <a:pt x="80412" y="20509"/>
                          <a:pt x="80412" y="20290"/>
                          <a:pt x="81237" y="20509"/>
                        </a:cubicBezTo>
                        <a:cubicBezTo>
                          <a:pt x="81649" y="20509"/>
                          <a:pt x="81649" y="20290"/>
                          <a:pt x="81649" y="20290"/>
                        </a:cubicBezTo>
                        <a:cubicBezTo>
                          <a:pt x="82061" y="20290"/>
                          <a:pt x="82061" y="20290"/>
                          <a:pt x="82061" y="20072"/>
                        </a:cubicBezTo>
                        <a:cubicBezTo>
                          <a:pt x="82061" y="20072"/>
                          <a:pt x="81237" y="19854"/>
                          <a:pt x="80824" y="19636"/>
                        </a:cubicBezTo>
                        <a:cubicBezTo>
                          <a:pt x="80824" y="19418"/>
                          <a:pt x="80824" y="19418"/>
                          <a:pt x="80824" y="19200"/>
                        </a:cubicBezTo>
                        <a:cubicBezTo>
                          <a:pt x="80824" y="19200"/>
                          <a:pt x="81237" y="18981"/>
                          <a:pt x="81649" y="18981"/>
                        </a:cubicBezTo>
                        <a:cubicBezTo>
                          <a:pt x="81649" y="18763"/>
                          <a:pt x="81649" y="18327"/>
                          <a:pt x="81649" y="18327"/>
                        </a:cubicBezTo>
                        <a:cubicBezTo>
                          <a:pt x="81649" y="18327"/>
                          <a:pt x="80824" y="18327"/>
                          <a:pt x="80824" y="18109"/>
                        </a:cubicBezTo>
                        <a:cubicBezTo>
                          <a:pt x="80824" y="18109"/>
                          <a:pt x="80412" y="17890"/>
                          <a:pt x="80000" y="17672"/>
                        </a:cubicBezTo>
                        <a:cubicBezTo>
                          <a:pt x="80000" y="17454"/>
                          <a:pt x="79175" y="17454"/>
                          <a:pt x="78762" y="17454"/>
                        </a:cubicBezTo>
                        <a:cubicBezTo>
                          <a:pt x="78762" y="17454"/>
                          <a:pt x="78350" y="18109"/>
                          <a:pt x="77938" y="18327"/>
                        </a:cubicBezTo>
                        <a:cubicBezTo>
                          <a:pt x="77938" y="18327"/>
                          <a:pt x="77525" y="18763"/>
                          <a:pt x="77525" y="18763"/>
                        </a:cubicBezTo>
                        <a:cubicBezTo>
                          <a:pt x="77525" y="18981"/>
                          <a:pt x="77525" y="19200"/>
                          <a:pt x="77938" y="19418"/>
                        </a:cubicBezTo>
                        <a:cubicBezTo>
                          <a:pt x="78350" y="19418"/>
                          <a:pt x="78762" y="19200"/>
                          <a:pt x="78762" y="19200"/>
                        </a:cubicBezTo>
                        <a:close/>
                        <a:moveTo>
                          <a:pt x="77525" y="20945"/>
                        </a:moveTo>
                        <a:cubicBezTo>
                          <a:pt x="77525" y="20945"/>
                          <a:pt x="77525" y="20945"/>
                          <a:pt x="77525" y="20945"/>
                        </a:cubicBezTo>
                        <a:cubicBezTo>
                          <a:pt x="77113" y="20945"/>
                          <a:pt x="76288" y="20509"/>
                          <a:pt x="76288" y="20509"/>
                        </a:cubicBezTo>
                        <a:cubicBezTo>
                          <a:pt x="76288" y="20509"/>
                          <a:pt x="77113" y="20290"/>
                          <a:pt x="77113" y="20072"/>
                        </a:cubicBezTo>
                        <a:cubicBezTo>
                          <a:pt x="77525" y="20072"/>
                          <a:pt x="77113" y="19854"/>
                          <a:pt x="77938" y="19854"/>
                        </a:cubicBezTo>
                        <a:cubicBezTo>
                          <a:pt x="78762" y="20072"/>
                          <a:pt x="78762" y="20290"/>
                          <a:pt x="78762" y="20290"/>
                        </a:cubicBezTo>
                        <a:cubicBezTo>
                          <a:pt x="78762" y="20290"/>
                          <a:pt x="79175" y="20727"/>
                          <a:pt x="79175" y="20945"/>
                        </a:cubicBezTo>
                        <a:cubicBezTo>
                          <a:pt x="79175" y="20945"/>
                          <a:pt x="79175" y="21163"/>
                          <a:pt x="79175" y="21163"/>
                        </a:cubicBezTo>
                        <a:cubicBezTo>
                          <a:pt x="79175" y="21381"/>
                          <a:pt x="80000" y="21600"/>
                          <a:pt x="78762" y="21600"/>
                        </a:cubicBezTo>
                        <a:cubicBezTo>
                          <a:pt x="77938" y="21600"/>
                          <a:pt x="77938" y="21600"/>
                          <a:pt x="77938" y="21600"/>
                        </a:cubicBezTo>
                        <a:lnTo>
                          <a:pt x="77525" y="20945"/>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7" name="Shape 2054"/>
                  <p:cNvSpPr/>
                  <p:nvPr/>
                </p:nvSpPr>
                <p:spPr>
                  <a:xfrm>
                    <a:off x="3278971" y="3425810"/>
                    <a:ext cx="1218169" cy="970595"/>
                  </a:xfrm>
                  <a:custGeom>
                    <a:avLst/>
                    <a:gdLst/>
                    <a:ahLst/>
                    <a:cxnLst/>
                    <a:rect l="0" t="0" r="0" b="0"/>
                    <a:pathLst>
                      <a:path w="120000" h="120000" extrusionOk="0">
                        <a:moveTo>
                          <a:pt x="111460" y="43462"/>
                        </a:moveTo>
                        <a:cubicBezTo>
                          <a:pt x="110786" y="44009"/>
                          <a:pt x="110561" y="42642"/>
                          <a:pt x="110112" y="43462"/>
                        </a:cubicBezTo>
                        <a:cubicBezTo>
                          <a:pt x="109438" y="44555"/>
                          <a:pt x="111235" y="47015"/>
                          <a:pt x="110561" y="48382"/>
                        </a:cubicBezTo>
                        <a:cubicBezTo>
                          <a:pt x="109662" y="49749"/>
                          <a:pt x="107865" y="51662"/>
                          <a:pt x="105393" y="52209"/>
                        </a:cubicBezTo>
                        <a:cubicBezTo>
                          <a:pt x="104269" y="52482"/>
                          <a:pt x="103370" y="53849"/>
                          <a:pt x="102471" y="53576"/>
                        </a:cubicBezTo>
                        <a:cubicBezTo>
                          <a:pt x="101797" y="53576"/>
                          <a:pt x="100224" y="55489"/>
                          <a:pt x="100000" y="56036"/>
                        </a:cubicBezTo>
                        <a:cubicBezTo>
                          <a:pt x="99550" y="56856"/>
                          <a:pt x="98202" y="56036"/>
                          <a:pt x="97078" y="56856"/>
                        </a:cubicBezTo>
                        <a:cubicBezTo>
                          <a:pt x="95505" y="57676"/>
                          <a:pt x="96404" y="56583"/>
                          <a:pt x="90786" y="58496"/>
                        </a:cubicBezTo>
                        <a:cubicBezTo>
                          <a:pt x="89662" y="58769"/>
                          <a:pt x="88764" y="59316"/>
                          <a:pt x="87865" y="59589"/>
                        </a:cubicBezTo>
                        <a:cubicBezTo>
                          <a:pt x="86966" y="60136"/>
                          <a:pt x="86067" y="59863"/>
                          <a:pt x="86067" y="62050"/>
                        </a:cubicBezTo>
                        <a:cubicBezTo>
                          <a:pt x="86292" y="63143"/>
                          <a:pt x="87415" y="62323"/>
                          <a:pt x="87191" y="63416"/>
                        </a:cubicBezTo>
                        <a:cubicBezTo>
                          <a:pt x="87191" y="64236"/>
                          <a:pt x="85617" y="63963"/>
                          <a:pt x="84044" y="65056"/>
                        </a:cubicBezTo>
                        <a:cubicBezTo>
                          <a:pt x="83370" y="65603"/>
                          <a:pt x="82921" y="67517"/>
                          <a:pt x="82471" y="68063"/>
                        </a:cubicBezTo>
                        <a:cubicBezTo>
                          <a:pt x="80224" y="69703"/>
                          <a:pt x="78651" y="73257"/>
                          <a:pt x="78651" y="73257"/>
                        </a:cubicBezTo>
                        <a:cubicBezTo>
                          <a:pt x="77528" y="74624"/>
                          <a:pt x="76179" y="75717"/>
                          <a:pt x="75505" y="77357"/>
                        </a:cubicBezTo>
                        <a:cubicBezTo>
                          <a:pt x="73932" y="80911"/>
                          <a:pt x="73483" y="78997"/>
                          <a:pt x="74382" y="83371"/>
                        </a:cubicBezTo>
                        <a:cubicBezTo>
                          <a:pt x="74606" y="83917"/>
                          <a:pt x="74606" y="85831"/>
                          <a:pt x="75280" y="87198"/>
                        </a:cubicBezTo>
                        <a:cubicBezTo>
                          <a:pt x="76404" y="89111"/>
                          <a:pt x="78876" y="91025"/>
                          <a:pt x="78202" y="91571"/>
                        </a:cubicBezTo>
                        <a:cubicBezTo>
                          <a:pt x="77752" y="91845"/>
                          <a:pt x="75056" y="94031"/>
                          <a:pt x="74157" y="94031"/>
                        </a:cubicBezTo>
                        <a:cubicBezTo>
                          <a:pt x="72808" y="94305"/>
                          <a:pt x="72134" y="95398"/>
                          <a:pt x="70337" y="97858"/>
                        </a:cubicBezTo>
                        <a:cubicBezTo>
                          <a:pt x="69438" y="98678"/>
                          <a:pt x="69213" y="99498"/>
                          <a:pt x="68539" y="100592"/>
                        </a:cubicBezTo>
                        <a:cubicBezTo>
                          <a:pt x="67415" y="102232"/>
                          <a:pt x="67865" y="101958"/>
                          <a:pt x="66966" y="103872"/>
                        </a:cubicBezTo>
                        <a:cubicBezTo>
                          <a:pt x="66741" y="104419"/>
                          <a:pt x="66966" y="106332"/>
                          <a:pt x="66966" y="107152"/>
                        </a:cubicBezTo>
                        <a:cubicBezTo>
                          <a:pt x="64719" y="107425"/>
                          <a:pt x="64719" y="107425"/>
                          <a:pt x="64719" y="107425"/>
                        </a:cubicBezTo>
                        <a:cubicBezTo>
                          <a:pt x="60898" y="106059"/>
                          <a:pt x="60898" y="106059"/>
                          <a:pt x="60898" y="106059"/>
                        </a:cubicBezTo>
                        <a:cubicBezTo>
                          <a:pt x="58651" y="108519"/>
                          <a:pt x="58651" y="108519"/>
                          <a:pt x="58651" y="108519"/>
                        </a:cubicBezTo>
                        <a:cubicBezTo>
                          <a:pt x="57752" y="109339"/>
                          <a:pt x="56404" y="108792"/>
                          <a:pt x="55505" y="109612"/>
                        </a:cubicBezTo>
                        <a:cubicBezTo>
                          <a:pt x="55505" y="109612"/>
                          <a:pt x="54831" y="112072"/>
                          <a:pt x="54606" y="112619"/>
                        </a:cubicBezTo>
                        <a:cubicBezTo>
                          <a:pt x="54606" y="113439"/>
                          <a:pt x="53033" y="115626"/>
                          <a:pt x="53033" y="115626"/>
                        </a:cubicBezTo>
                        <a:cubicBezTo>
                          <a:pt x="52808" y="115899"/>
                          <a:pt x="51685" y="117266"/>
                          <a:pt x="51235" y="117539"/>
                        </a:cubicBezTo>
                        <a:cubicBezTo>
                          <a:pt x="50561" y="117813"/>
                          <a:pt x="50112" y="115626"/>
                          <a:pt x="49662" y="115626"/>
                        </a:cubicBezTo>
                        <a:cubicBezTo>
                          <a:pt x="48764" y="115626"/>
                          <a:pt x="48764" y="115353"/>
                          <a:pt x="47865" y="115079"/>
                        </a:cubicBezTo>
                        <a:cubicBezTo>
                          <a:pt x="46741" y="115079"/>
                          <a:pt x="46516" y="116993"/>
                          <a:pt x="45393" y="116993"/>
                        </a:cubicBezTo>
                        <a:cubicBezTo>
                          <a:pt x="43595" y="116719"/>
                          <a:pt x="40449" y="114533"/>
                          <a:pt x="40449" y="114533"/>
                        </a:cubicBezTo>
                        <a:cubicBezTo>
                          <a:pt x="39775" y="114259"/>
                          <a:pt x="39775" y="115353"/>
                          <a:pt x="39101" y="115353"/>
                        </a:cubicBezTo>
                        <a:cubicBezTo>
                          <a:pt x="37752" y="115079"/>
                          <a:pt x="35955" y="113986"/>
                          <a:pt x="34157" y="113439"/>
                        </a:cubicBezTo>
                        <a:cubicBezTo>
                          <a:pt x="32808" y="113166"/>
                          <a:pt x="30112" y="112619"/>
                          <a:pt x="30112" y="112619"/>
                        </a:cubicBezTo>
                        <a:cubicBezTo>
                          <a:pt x="29438" y="113166"/>
                          <a:pt x="28764" y="113166"/>
                          <a:pt x="28089" y="113439"/>
                        </a:cubicBezTo>
                        <a:cubicBezTo>
                          <a:pt x="27191" y="113986"/>
                          <a:pt x="26292" y="114806"/>
                          <a:pt x="25617" y="115079"/>
                        </a:cubicBezTo>
                        <a:cubicBezTo>
                          <a:pt x="24943" y="115353"/>
                          <a:pt x="23595" y="113986"/>
                          <a:pt x="21573" y="115353"/>
                        </a:cubicBezTo>
                        <a:cubicBezTo>
                          <a:pt x="20898" y="115626"/>
                          <a:pt x="20000" y="115353"/>
                          <a:pt x="19550" y="115899"/>
                        </a:cubicBezTo>
                        <a:cubicBezTo>
                          <a:pt x="18876" y="116719"/>
                          <a:pt x="18651" y="117813"/>
                          <a:pt x="17528" y="118359"/>
                        </a:cubicBezTo>
                        <a:cubicBezTo>
                          <a:pt x="16853" y="118633"/>
                          <a:pt x="15955" y="119726"/>
                          <a:pt x="15505" y="120000"/>
                        </a:cubicBezTo>
                        <a:cubicBezTo>
                          <a:pt x="14382" y="119179"/>
                          <a:pt x="12808" y="119179"/>
                          <a:pt x="12359" y="116993"/>
                        </a:cubicBezTo>
                        <a:cubicBezTo>
                          <a:pt x="12134" y="116173"/>
                          <a:pt x="11460" y="116993"/>
                          <a:pt x="11011" y="116173"/>
                        </a:cubicBezTo>
                        <a:cubicBezTo>
                          <a:pt x="10112" y="115079"/>
                          <a:pt x="9438" y="112619"/>
                          <a:pt x="9438" y="111526"/>
                        </a:cubicBezTo>
                        <a:cubicBezTo>
                          <a:pt x="9438" y="111526"/>
                          <a:pt x="10112" y="110432"/>
                          <a:pt x="9438" y="109339"/>
                        </a:cubicBezTo>
                        <a:cubicBezTo>
                          <a:pt x="8988" y="108246"/>
                          <a:pt x="8314" y="107972"/>
                          <a:pt x="8539" y="106879"/>
                        </a:cubicBezTo>
                        <a:cubicBezTo>
                          <a:pt x="9213" y="106879"/>
                          <a:pt x="8988" y="104965"/>
                          <a:pt x="8988" y="104965"/>
                        </a:cubicBezTo>
                        <a:cubicBezTo>
                          <a:pt x="8988" y="104419"/>
                          <a:pt x="7415" y="101138"/>
                          <a:pt x="6966" y="100592"/>
                        </a:cubicBezTo>
                        <a:cubicBezTo>
                          <a:pt x="5842" y="99772"/>
                          <a:pt x="4494" y="98678"/>
                          <a:pt x="3146" y="98405"/>
                        </a:cubicBezTo>
                        <a:cubicBezTo>
                          <a:pt x="0" y="97858"/>
                          <a:pt x="0" y="97858"/>
                          <a:pt x="0" y="97858"/>
                        </a:cubicBezTo>
                        <a:cubicBezTo>
                          <a:pt x="0" y="96765"/>
                          <a:pt x="0" y="96765"/>
                          <a:pt x="0" y="96765"/>
                        </a:cubicBezTo>
                        <a:cubicBezTo>
                          <a:pt x="0" y="96218"/>
                          <a:pt x="0" y="96218"/>
                          <a:pt x="0" y="96218"/>
                        </a:cubicBezTo>
                        <a:cubicBezTo>
                          <a:pt x="0" y="95945"/>
                          <a:pt x="0" y="95945"/>
                          <a:pt x="0" y="95945"/>
                        </a:cubicBezTo>
                        <a:cubicBezTo>
                          <a:pt x="224" y="95125"/>
                          <a:pt x="224" y="95125"/>
                          <a:pt x="224" y="95125"/>
                        </a:cubicBezTo>
                        <a:cubicBezTo>
                          <a:pt x="449" y="94578"/>
                          <a:pt x="449" y="94578"/>
                          <a:pt x="449" y="94578"/>
                        </a:cubicBezTo>
                        <a:cubicBezTo>
                          <a:pt x="224" y="94031"/>
                          <a:pt x="224" y="94031"/>
                          <a:pt x="224" y="94031"/>
                        </a:cubicBezTo>
                        <a:cubicBezTo>
                          <a:pt x="224" y="93485"/>
                          <a:pt x="224" y="93485"/>
                          <a:pt x="224" y="93485"/>
                        </a:cubicBezTo>
                        <a:cubicBezTo>
                          <a:pt x="224" y="92665"/>
                          <a:pt x="224" y="92665"/>
                          <a:pt x="224" y="92665"/>
                        </a:cubicBezTo>
                        <a:cubicBezTo>
                          <a:pt x="224" y="92665"/>
                          <a:pt x="0" y="92118"/>
                          <a:pt x="0" y="92118"/>
                        </a:cubicBezTo>
                        <a:cubicBezTo>
                          <a:pt x="0" y="92118"/>
                          <a:pt x="0" y="91571"/>
                          <a:pt x="0" y="91571"/>
                        </a:cubicBezTo>
                        <a:cubicBezTo>
                          <a:pt x="0" y="91571"/>
                          <a:pt x="449" y="91298"/>
                          <a:pt x="449" y="91298"/>
                        </a:cubicBezTo>
                        <a:cubicBezTo>
                          <a:pt x="449" y="91025"/>
                          <a:pt x="898" y="90751"/>
                          <a:pt x="898" y="90751"/>
                        </a:cubicBezTo>
                        <a:cubicBezTo>
                          <a:pt x="898" y="90751"/>
                          <a:pt x="1123" y="89931"/>
                          <a:pt x="1123" y="89658"/>
                        </a:cubicBezTo>
                        <a:cubicBezTo>
                          <a:pt x="1123" y="89658"/>
                          <a:pt x="1348" y="89384"/>
                          <a:pt x="1348" y="89384"/>
                        </a:cubicBezTo>
                        <a:cubicBezTo>
                          <a:pt x="2022" y="89111"/>
                          <a:pt x="2022" y="89111"/>
                          <a:pt x="2022" y="89111"/>
                        </a:cubicBezTo>
                        <a:cubicBezTo>
                          <a:pt x="2471" y="88564"/>
                          <a:pt x="2471" y="88564"/>
                          <a:pt x="2471" y="88564"/>
                        </a:cubicBezTo>
                        <a:cubicBezTo>
                          <a:pt x="2921" y="88291"/>
                          <a:pt x="2921" y="88291"/>
                          <a:pt x="2921" y="88291"/>
                        </a:cubicBezTo>
                        <a:cubicBezTo>
                          <a:pt x="3370" y="87744"/>
                          <a:pt x="3370" y="87744"/>
                          <a:pt x="3370" y="87744"/>
                        </a:cubicBezTo>
                        <a:cubicBezTo>
                          <a:pt x="3595" y="86651"/>
                          <a:pt x="3595" y="86651"/>
                          <a:pt x="3595" y="86651"/>
                        </a:cubicBezTo>
                        <a:cubicBezTo>
                          <a:pt x="3820" y="86378"/>
                          <a:pt x="3820" y="86378"/>
                          <a:pt x="3820" y="86378"/>
                        </a:cubicBezTo>
                        <a:cubicBezTo>
                          <a:pt x="3820" y="86378"/>
                          <a:pt x="4494" y="86378"/>
                          <a:pt x="4494" y="86378"/>
                        </a:cubicBezTo>
                        <a:cubicBezTo>
                          <a:pt x="4494" y="86378"/>
                          <a:pt x="4943" y="86378"/>
                          <a:pt x="4943" y="86378"/>
                        </a:cubicBezTo>
                        <a:cubicBezTo>
                          <a:pt x="4943" y="86104"/>
                          <a:pt x="4943" y="86104"/>
                          <a:pt x="4943" y="86104"/>
                        </a:cubicBezTo>
                        <a:cubicBezTo>
                          <a:pt x="5393" y="85831"/>
                          <a:pt x="5393" y="85831"/>
                          <a:pt x="5393" y="85831"/>
                        </a:cubicBezTo>
                        <a:cubicBezTo>
                          <a:pt x="5842" y="86378"/>
                          <a:pt x="5842" y="86378"/>
                          <a:pt x="5842" y="86378"/>
                        </a:cubicBezTo>
                        <a:cubicBezTo>
                          <a:pt x="5842" y="86378"/>
                          <a:pt x="6067" y="86378"/>
                          <a:pt x="6292" y="86378"/>
                        </a:cubicBezTo>
                        <a:cubicBezTo>
                          <a:pt x="6292" y="86378"/>
                          <a:pt x="6516" y="86378"/>
                          <a:pt x="6516" y="86378"/>
                        </a:cubicBezTo>
                        <a:cubicBezTo>
                          <a:pt x="6516" y="85558"/>
                          <a:pt x="6516" y="85558"/>
                          <a:pt x="6516" y="85558"/>
                        </a:cubicBezTo>
                        <a:cubicBezTo>
                          <a:pt x="7415" y="84464"/>
                          <a:pt x="7415" y="84464"/>
                          <a:pt x="7415" y="84464"/>
                        </a:cubicBezTo>
                        <a:cubicBezTo>
                          <a:pt x="7415" y="84464"/>
                          <a:pt x="7415" y="84191"/>
                          <a:pt x="7415" y="84191"/>
                        </a:cubicBezTo>
                        <a:cubicBezTo>
                          <a:pt x="7415" y="84191"/>
                          <a:pt x="7415" y="83917"/>
                          <a:pt x="7415" y="83917"/>
                        </a:cubicBezTo>
                        <a:cubicBezTo>
                          <a:pt x="7191" y="83644"/>
                          <a:pt x="6966" y="83917"/>
                          <a:pt x="6966" y="83917"/>
                        </a:cubicBezTo>
                        <a:cubicBezTo>
                          <a:pt x="6966" y="83917"/>
                          <a:pt x="6516" y="83917"/>
                          <a:pt x="6516" y="83917"/>
                        </a:cubicBezTo>
                        <a:cubicBezTo>
                          <a:pt x="6516" y="83917"/>
                          <a:pt x="6067" y="83917"/>
                          <a:pt x="5842" y="83917"/>
                        </a:cubicBezTo>
                        <a:cubicBezTo>
                          <a:pt x="5842" y="83917"/>
                          <a:pt x="5842" y="83644"/>
                          <a:pt x="5842" y="83644"/>
                        </a:cubicBezTo>
                        <a:cubicBezTo>
                          <a:pt x="5617" y="83097"/>
                          <a:pt x="5617" y="83097"/>
                          <a:pt x="5617" y="83097"/>
                        </a:cubicBezTo>
                        <a:cubicBezTo>
                          <a:pt x="5617" y="83097"/>
                          <a:pt x="5393" y="82551"/>
                          <a:pt x="5393" y="82277"/>
                        </a:cubicBezTo>
                        <a:cubicBezTo>
                          <a:pt x="5393" y="82004"/>
                          <a:pt x="5393" y="81731"/>
                          <a:pt x="5393" y="81457"/>
                        </a:cubicBezTo>
                        <a:cubicBezTo>
                          <a:pt x="5393" y="81457"/>
                          <a:pt x="5168" y="81184"/>
                          <a:pt x="5168" y="81184"/>
                        </a:cubicBezTo>
                        <a:cubicBezTo>
                          <a:pt x="5168" y="81184"/>
                          <a:pt x="4943" y="80911"/>
                          <a:pt x="4943" y="80637"/>
                        </a:cubicBezTo>
                        <a:cubicBezTo>
                          <a:pt x="4943" y="80637"/>
                          <a:pt x="4719" y="79817"/>
                          <a:pt x="4719" y="79817"/>
                        </a:cubicBezTo>
                        <a:cubicBezTo>
                          <a:pt x="4494" y="79544"/>
                          <a:pt x="4494" y="79544"/>
                          <a:pt x="4494" y="79544"/>
                        </a:cubicBezTo>
                        <a:cubicBezTo>
                          <a:pt x="4719" y="79271"/>
                          <a:pt x="4719" y="79271"/>
                          <a:pt x="4719" y="79271"/>
                        </a:cubicBezTo>
                        <a:cubicBezTo>
                          <a:pt x="4494" y="78724"/>
                          <a:pt x="4494" y="78724"/>
                          <a:pt x="4494" y="78724"/>
                        </a:cubicBezTo>
                        <a:cubicBezTo>
                          <a:pt x="4943" y="78724"/>
                          <a:pt x="4943" y="78724"/>
                          <a:pt x="4943" y="78724"/>
                        </a:cubicBezTo>
                        <a:cubicBezTo>
                          <a:pt x="4719" y="78451"/>
                          <a:pt x="4719" y="78451"/>
                          <a:pt x="4719" y="78451"/>
                        </a:cubicBezTo>
                        <a:cubicBezTo>
                          <a:pt x="4943" y="77904"/>
                          <a:pt x="4943" y="77904"/>
                          <a:pt x="4943" y="77904"/>
                        </a:cubicBezTo>
                        <a:cubicBezTo>
                          <a:pt x="4943" y="77904"/>
                          <a:pt x="5393" y="77630"/>
                          <a:pt x="5393" y="77630"/>
                        </a:cubicBezTo>
                        <a:cubicBezTo>
                          <a:pt x="5393" y="77630"/>
                          <a:pt x="5842" y="77084"/>
                          <a:pt x="5842" y="77084"/>
                        </a:cubicBezTo>
                        <a:cubicBezTo>
                          <a:pt x="5842" y="77084"/>
                          <a:pt x="5617" y="76810"/>
                          <a:pt x="5617" y="76810"/>
                        </a:cubicBezTo>
                        <a:cubicBezTo>
                          <a:pt x="5617" y="76810"/>
                          <a:pt x="5617" y="76264"/>
                          <a:pt x="5617" y="76264"/>
                        </a:cubicBezTo>
                        <a:cubicBezTo>
                          <a:pt x="6067" y="75170"/>
                          <a:pt x="6067" y="75170"/>
                          <a:pt x="6067" y="75170"/>
                        </a:cubicBezTo>
                        <a:cubicBezTo>
                          <a:pt x="6292" y="75170"/>
                          <a:pt x="6292" y="75170"/>
                          <a:pt x="6292" y="75170"/>
                        </a:cubicBezTo>
                        <a:cubicBezTo>
                          <a:pt x="6966" y="74897"/>
                          <a:pt x="6966" y="74897"/>
                          <a:pt x="6966" y="74897"/>
                        </a:cubicBezTo>
                        <a:cubicBezTo>
                          <a:pt x="7191" y="74624"/>
                          <a:pt x="7191" y="74624"/>
                          <a:pt x="7191" y="74624"/>
                        </a:cubicBezTo>
                        <a:cubicBezTo>
                          <a:pt x="7415" y="74624"/>
                          <a:pt x="7415" y="74624"/>
                          <a:pt x="7415" y="74624"/>
                        </a:cubicBezTo>
                        <a:cubicBezTo>
                          <a:pt x="7865" y="74350"/>
                          <a:pt x="7865" y="74350"/>
                          <a:pt x="7865" y="74350"/>
                        </a:cubicBezTo>
                        <a:cubicBezTo>
                          <a:pt x="8314" y="74077"/>
                          <a:pt x="8314" y="74077"/>
                          <a:pt x="8314" y="74077"/>
                        </a:cubicBezTo>
                        <a:cubicBezTo>
                          <a:pt x="8539" y="73804"/>
                          <a:pt x="8539" y="73804"/>
                          <a:pt x="8539" y="73804"/>
                        </a:cubicBezTo>
                        <a:cubicBezTo>
                          <a:pt x="8539" y="73257"/>
                          <a:pt x="8539" y="73257"/>
                          <a:pt x="8539" y="73257"/>
                        </a:cubicBezTo>
                        <a:cubicBezTo>
                          <a:pt x="8764" y="72984"/>
                          <a:pt x="8764" y="72984"/>
                          <a:pt x="8764" y="72984"/>
                        </a:cubicBezTo>
                        <a:cubicBezTo>
                          <a:pt x="9213" y="72437"/>
                          <a:pt x="9213" y="72437"/>
                          <a:pt x="9213" y="72437"/>
                        </a:cubicBezTo>
                        <a:cubicBezTo>
                          <a:pt x="9662" y="71890"/>
                          <a:pt x="9662" y="71890"/>
                          <a:pt x="9662" y="71890"/>
                        </a:cubicBezTo>
                        <a:cubicBezTo>
                          <a:pt x="9662" y="71343"/>
                          <a:pt x="9662" y="71343"/>
                          <a:pt x="9662" y="71343"/>
                        </a:cubicBezTo>
                        <a:cubicBezTo>
                          <a:pt x="9438" y="71070"/>
                          <a:pt x="9438" y="71070"/>
                          <a:pt x="9438" y="71070"/>
                        </a:cubicBezTo>
                        <a:cubicBezTo>
                          <a:pt x="9438" y="71070"/>
                          <a:pt x="9213" y="70523"/>
                          <a:pt x="9213" y="70250"/>
                        </a:cubicBezTo>
                        <a:cubicBezTo>
                          <a:pt x="9213" y="70250"/>
                          <a:pt x="8988" y="70250"/>
                          <a:pt x="8988" y="70250"/>
                        </a:cubicBezTo>
                        <a:cubicBezTo>
                          <a:pt x="8539" y="70523"/>
                          <a:pt x="8539" y="70523"/>
                          <a:pt x="8539" y="70523"/>
                        </a:cubicBezTo>
                        <a:cubicBezTo>
                          <a:pt x="8539" y="70523"/>
                          <a:pt x="8314" y="70250"/>
                          <a:pt x="8089" y="70250"/>
                        </a:cubicBezTo>
                        <a:cubicBezTo>
                          <a:pt x="8089" y="70250"/>
                          <a:pt x="8089" y="69977"/>
                          <a:pt x="8089" y="69977"/>
                        </a:cubicBezTo>
                        <a:cubicBezTo>
                          <a:pt x="8314" y="69703"/>
                          <a:pt x="8314" y="69703"/>
                          <a:pt x="8314" y="69703"/>
                        </a:cubicBezTo>
                        <a:cubicBezTo>
                          <a:pt x="8314" y="69157"/>
                          <a:pt x="8314" y="69157"/>
                          <a:pt x="8314" y="69157"/>
                        </a:cubicBezTo>
                        <a:cubicBezTo>
                          <a:pt x="7865" y="69157"/>
                          <a:pt x="7865" y="69157"/>
                          <a:pt x="7865" y="69157"/>
                        </a:cubicBezTo>
                        <a:cubicBezTo>
                          <a:pt x="7640" y="68610"/>
                          <a:pt x="7640" y="68610"/>
                          <a:pt x="7640" y="68610"/>
                        </a:cubicBezTo>
                        <a:cubicBezTo>
                          <a:pt x="7415" y="68063"/>
                          <a:pt x="7415" y="68063"/>
                          <a:pt x="7415" y="68063"/>
                        </a:cubicBezTo>
                        <a:cubicBezTo>
                          <a:pt x="7415" y="67517"/>
                          <a:pt x="7415" y="67517"/>
                          <a:pt x="7415" y="67517"/>
                        </a:cubicBezTo>
                        <a:cubicBezTo>
                          <a:pt x="7640" y="67243"/>
                          <a:pt x="7640" y="67243"/>
                          <a:pt x="7640" y="67243"/>
                        </a:cubicBezTo>
                        <a:cubicBezTo>
                          <a:pt x="7640" y="66970"/>
                          <a:pt x="7640" y="66970"/>
                          <a:pt x="7640" y="66970"/>
                        </a:cubicBezTo>
                        <a:cubicBezTo>
                          <a:pt x="7415" y="66697"/>
                          <a:pt x="7415" y="66697"/>
                          <a:pt x="7415" y="66697"/>
                        </a:cubicBezTo>
                        <a:cubicBezTo>
                          <a:pt x="7415" y="66150"/>
                          <a:pt x="7415" y="66150"/>
                          <a:pt x="7415" y="66150"/>
                        </a:cubicBezTo>
                        <a:cubicBezTo>
                          <a:pt x="7191" y="65603"/>
                          <a:pt x="7191" y="65603"/>
                          <a:pt x="7191" y="65603"/>
                        </a:cubicBezTo>
                        <a:cubicBezTo>
                          <a:pt x="7415" y="65330"/>
                          <a:pt x="7415" y="65330"/>
                          <a:pt x="7415" y="65330"/>
                        </a:cubicBezTo>
                        <a:cubicBezTo>
                          <a:pt x="7640" y="65056"/>
                          <a:pt x="7640" y="65056"/>
                          <a:pt x="7640" y="65056"/>
                        </a:cubicBezTo>
                        <a:cubicBezTo>
                          <a:pt x="7640" y="64510"/>
                          <a:pt x="7640" y="64510"/>
                          <a:pt x="7640" y="64510"/>
                        </a:cubicBezTo>
                        <a:cubicBezTo>
                          <a:pt x="7640" y="64510"/>
                          <a:pt x="7191" y="64236"/>
                          <a:pt x="7191" y="64236"/>
                        </a:cubicBezTo>
                        <a:cubicBezTo>
                          <a:pt x="7191" y="64236"/>
                          <a:pt x="6966" y="63690"/>
                          <a:pt x="6966" y="63690"/>
                        </a:cubicBezTo>
                        <a:cubicBezTo>
                          <a:pt x="6966" y="63416"/>
                          <a:pt x="6966" y="63416"/>
                          <a:pt x="6966" y="63416"/>
                        </a:cubicBezTo>
                        <a:cubicBezTo>
                          <a:pt x="6966" y="63416"/>
                          <a:pt x="6516" y="62870"/>
                          <a:pt x="6516" y="62870"/>
                        </a:cubicBezTo>
                        <a:cubicBezTo>
                          <a:pt x="6516" y="62870"/>
                          <a:pt x="6516" y="62323"/>
                          <a:pt x="6516" y="62323"/>
                        </a:cubicBezTo>
                        <a:cubicBezTo>
                          <a:pt x="6516" y="62323"/>
                          <a:pt x="6292" y="61776"/>
                          <a:pt x="6292" y="61776"/>
                        </a:cubicBezTo>
                        <a:cubicBezTo>
                          <a:pt x="6067" y="61503"/>
                          <a:pt x="6067" y="61230"/>
                          <a:pt x="6067" y="61230"/>
                        </a:cubicBezTo>
                        <a:cubicBezTo>
                          <a:pt x="6516" y="61230"/>
                          <a:pt x="6516" y="61230"/>
                          <a:pt x="6516" y="61230"/>
                        </a:cubicBezTo>
                        <a:cubicBezTo>
                          <a:pt x="6966" y="61230"/>
                          <a:pt x="6966" y="61230"/>
                          <a:pt x="6966" y="61230"/>
                        </a:cubicBezTo>
                        <a:cubicBezTo>
                          <a:pt x="7191" y="61776"/>
                          <a:pt x="7191" y="61776"/>
                          <a:pt x="7191" y="61776"/>
                        </a:cubicBezTo>
                        <a:cubicBezTo>
                          <a:pt x="7415" y="61503"/>
                          <a:pt x="7415" y="61503"/>
                          <a:pt x="7415" y="61503"/>
                        </a:cubicBezTo>
                        <a:cubicBezTo>
                          <a:pt x="7415" y="61776"/>
                          <a:pt x="7415" y="61776"/>
                          <a:pt x="7415" y="61776"/>
                        </a:cubicBezTo>
                        <a:cubicBezTo>
                          <a:pt x="7865" y="61776"/>
                          <a:pt x="7865" y="61776"/>
                          <a:pt x="7865" y="61776"/>
                        </a:cubicBezTo>
                        <a:cubicBezTo>
                          <a:pt x="8539" y="61776"/>
                          <a:pt x="8539" y="61776"/>
                          <a:pt x="8539" y="61776"/>
                        </a:cubicBezTo>
                        <a:cubicBezTo>
                          <a:pt x="8988" y="61776"/>
                          <a:pt x="8988" y="61776"/>
                          <a:pt x="8988" y="61776"/>
                        </a:cubicBezTo>
                        <a:cubicBezTo>
                          <a:pt x="9213" y="61776"/>
                          <a:pt x="9213" y="61776"/>
                          <a:pt x="9213" y="61776"/>
                        </a:cubicBezTo>
                        <a:cubicBezTo>
                          <a:pt x="9213" y="61776"/>
                          <a:pt x="9438" y="62050"/>
                          <a:pt x="9438" y="62050"/>
                        </a:cubicBezTo>
                        <a:cubicBezTo>
                          <a:pt x="9662" y="62323"/>
                          <a:pt x="9887" y="62050"/>
                          <a:pt x="9887" y="62050"/>
                        </a:cubicBezTo>
                        <a:cubicBezTo>
                          <a:pt x="9887" y="62323"/>
                          <a:pt x="10337" y="62323"/>
                          <a:pt x="10337" y="62323"/>
                        </a:cubicBezTo>
                        <a:cubicBezTo>
                          <a:pt x="10337" y="62323"/>
                          <a:pt x="10561" y="62050"/>
                          <a:pt x="10786" y="62050"/>
                        </a:cubicBezTo>
                        <a:cubicBezTo>
                          <a:pt x="10786" y="62050"/>
                          <a:pt x="11011" y="62050"/>
                          <a:pt x="11011" y="62050"/>
                        </a:cubicBezTo>
                        <a:cubicBezTo>
                          <a:pt x="11235" y="61776"/>
                          <a:pt x="11235" y="61776"/>
                          <a:pt x="11235" y="61776"/>
                        </a:cubicBezTo>
                        <a:cubicBezTo>
                          <a:pt x="11235" y="61230"/>
                          <a:pt x="11235" y="61230"/>
                          <a:pt x="11235" y="61230"/>
                        </a:cubicBezTo>
                        <a:cubicBezTo>
                          <a:pt x="11460" y="61230"/>
                          <a:pt x="11460" y="61230"/>
                          <a:pt x="11460" y="61230"/>
                        </a:cubicBezTo>
                        <a:cubicBezTo>
                          <a:pt x="11460" y="60956"/>
                          <a:pt x="11460" y="60956"/>
                          <a:pt x="11460" y="60956"/>
                        </a:cubicBezTo>
                        <a:cubicBezTo>
                          <a:pt x="11685" y="60410"/>
                          <a:pt x="11685" y="60410"/>
                          <a:pt x="11685" y="60410"/>
                        </a:cubicBezTo>
                        <a:cubicBezTo>
                          <a:pt x="11685" y="60136"/>
                          <a:pt x="11685" y="60136"/>
                          <a:pt x="11685" y="60136"/>
                        </a:cubicBezTo>
                        <a:cubicBezTo>
                          <a:pt x="12134" y="60136"/>
                          <a:pt x="12134" y="60136"/>
                          <a:pt x="12134" y="60136"/>
                        </a:cubicBezTo>
                        <a:cubicBezTo>
                          <a:pt x="12359" y="59863"/>
                          <a:pt x="12359" y="59863"/>
                          <a:pt x="12359" y="59863"/>
                        </a:cubicBezTo>
                        <a:cubicBezTo>
                          <a:pt x="12584" y="59316"/>
                          <a:pt x="12584" y="59316"/>
                          <a:pt x="12584" y="59316"/>
                        </a:cubicBezTo>
                        <a:cubicBezTo>
                          <a:pt x="12808" y="58769"/>
                          <a:pt x="12808" y="58769"/>
                          <a:pt x="12808" y="58769"/>
                        </a:cubicBezTo>
                        <a:cubicBezTo>
                          <a:pt x="12808" y="58769"/>
                          <a:pt x="13033" y="58223"/>
                          <a:pt x="13033" y="58223"/>
                        </a:cubicBezTo>
                        <a:cubicBezTo>
                          <a:pt x="13033" y="58223"/>
                          <a:pt x="13258" y="57676"/>
                          <a:pt x="13258" y="57676"/>
                        </a:cubicBezTo>
                        <a:cubicBezTo>
                          <a:pt x="13033" y="56856"/>
                          <a:pt x="13033" y="56856"/>
                          <a:pt x="13033" y="56856"/>
                        </a:cubicBezTo>
                        <a:cubicBezTo>
                          <a:pt x="12808" y="56309"/>
                          <a:pt x="12808" y="56309"/>
                          <a:pt x="12808" y="56309"/>
                        </a:cubicBezTo>
                        <a:cubicBezTo>
                          <a:pt x="12584" y="55763"/>
                          <a:pt x="12584" y="55763"/>
                          <a:pt x="12584" y="55763"/>
                        </a:cubicBezTo>
                        <a:cubicBezTo>
                          <a:pt x="12584" y="55763"/>
                          <a:pt x="12584" y="55489"/>
                          <a:pt x="12359" y="55489"/>
                        </a:cubicBezTo>
                        <a:cubicBezTo>
                          <a:pt x="12359" y="55489"/>
                          <a:pt x="12359" y="55216"/>
                          <a:pt x="12359" y="55216"/>
                        </a:cubicBezTo>
                        <a:cubicBezTo>
                          <a:pt x="12359" y="54669"/>
                          <a:pt x="12359" y="54669"/>
                          <a:pt x="12359" y="54669"/>
                        </a:cubicBezTo>
                        <a:cubicBezTo>
                          <a:pt x="12584" y="54396"/>
                          <a:pt x="12584" y="54396"/>
                          <a:pt x="12584" y="54396"/>
                        </a:cubicBezTo>
                        <a:cubicBezTo>
                          <a:pt x="12808" y="54396"/>
                          <a:pt x="12808" y="54396"/>
                          <a:pt x="12808" y="54396"/>
                        </a:cubicBezTo>
                        <a:cubicBezTo>
                          <a:pt x="13258" y="53849"/>
                          <a:pt x="13258" y="53849"/>
                          <a:pt x="13258" y="53849"/>
                        </a:cubicBezTo>
                        <a:cubicBezTo>
                          <a:pt x="13483" y="53849"/>
                          <a:pt x="13483" y="53849"/>
                          <a:pt x="13483" y="53849"/>
                        </a:cubicBezTo>
                        <a:cubicBezTo>
                          <a:pt x="13932" y="53849"/>
                          <a:pt x="13932" y="53849"/>
                          <a:pt x="13932" y="53849"/>
                        </a:cubicBezTo>
                        <a:cubicBezTo>
                          <a:pt x="14382" y="53302"/>
                          <a:pt x="14382" y="53302"/>
                          <a:pt x="14382" y="53302"/>
                        </a:cubicBezTo>
                        <a:cubicBezTo>
                          <a:pt x="14606" y="53302"/>
                          <a:pt x="14606" y="53302"/>
                          <a:pt x="14606" y="53302"/>
                        </a:cubicBezTo>
                        <a:cubicBezTo>
                          <a:pt x="14831" y="53029"/>
                          <a:pt x="14831" y="53029"/>
                          <a:pt x="14831" y="53029"/>
                        </a:cubicBezTo>
                        <a:cubicBezTo>
                          <a:pt x="15056" y="52482"/>
                          <a:pt x="15056" y="52482"/>
                          <a:pt x="15056" y="52482"/>
                        </a:cubicBezTo>
                        <a:cubicBezTo>
                          <a:pt x="14831" y="51936"/>
                          <a:pt x="14831" y="51936"/>
                          <a:pt x="14831" y="51936"/>
                        </a:cubicBezTo>
                        <a:cubicBezTo>
                          <a:pt x="14606" y="51662"/>
                          <a:pt x="14606" y="51662"/>
                          <a:pt x="14606" y="51662"/>
                        </a:cubicBezTo>
                        <a:cubicBezTo>
                          <a:pt x="14831" y="50842"/>
                          <a:pt x="14831" y="50842"/>
                          <a:pt x="14831" y="50842"/>
                        </a:cubicBezTo>
                        <a:cubicBezTo>
                          <a:pt x="15280" y="50569"/>
                          <a:pt x="15280" y="50569"/>
                          <a:pt x="15280" y="50569"/>
                        </a:cubicBezTo>
                        <a:cubicBezTo>
                          <a:pt x="15280" y="49749"/>
                          <a:pt x="15280" y="49749"/>
                          <a:pt x="15280" y="49749"/>
                        </a:cubicBezTo>
                        <a:cubicBezTo>
                          <a:pt x="15056" y="49476"/>
                          <a:pt x="15056" y="49476"/>
                          <a:pt x="15056" y="49476"/>
                        </a:cubicBezTo>
                        <a:cubicBezTo>
                          <a:pt x="15280" y="48929"/>
                          <a:pt x="15280" y="48929"/>
                          <a:pt x="15280" y="48929"/>
                        </a:cubicBezTo>
                        <a:cubicBezTo>
                          <a:pt x="15505" y="48656"/>
                          <a:pt x="15505" y="48656"/>
                          <a:pt x="15505" y="48656"/>
                        </a:cubicBezTo>
                        <a:cubicBezTo>
                          <a:pt x="15505" y="48656"/>
                          <a:pt x="15730" y="48109"/>
                          <a:pt x="15730" y="47835"/>
                        </a:cubicBezTo>
                        <a:cubicBezTo>
                          <a:pt x="15955" y="47835"/>
                          <a:pt x="15955" y="47015"/>
                          <a:pt x="15955" y="47015"/>
                        </a:cubicBezTo>
                        <a:cubicBezTo>
                          <a:pt x="15730" y="46469"/>
                          <a:pt x="15730" y="46469"/>
                          <a:pt x="15730" y="46469"/>
                        </a:cubicBezTo>
                        <a:cubicBezTo>
                          <a:pt x="15730" y="46195"/>
                          <a:pt x="15730" y="46195"/>
                          <a:pt x="15730" y="46195"/>
                        </a:cubicBezTo>
                        <a:cubicBezTo>
                          <a:pt x="15730" y="46195"/>
                          <a:pt x="16179" y="45922"/>
                          <a:pt x="16179" y="45922"/>
                        </a:cubicBezTo>
                        <a:cubicBezTo>
                          <a:pt x="16404" y="45922"/>
                          <a:pt x="16404" y="45102"/>
                          <a:pt x="16404" y="45102"/>
                        </a:cubicBezTo>
                        <a:cubicBezTo>
                          <a:pt x="15955" y="44829"/>
                          <a:pt x="15955" y="44829"/>
                          <a:pt x="15955" y="44829"/>
                        </a:cubicBezTo>
                        <a:cubicBezTo>
                          <a:pt x="15955" y="44829"/>
                          <a:pt x="15955" y="44282"/>
                          <a:pt x="15955" y="44009"/>
                        </a:cubicBezTo>
                        <a:cubicBezTo>
                          <a:pt x="15955" y="44009"/>
                          <a:pt x="15955" y="43462"/>
                          <a:pt x="15955" y="43462"/>
                        </a:cubicBezTo>
                        <a:cubicBezTo>
                          <a:pt x="15730" y="43462"/>
                          <a:pt x="15730" y="43462"/>
                          <a:pt x="15730" y="43462"/>
                        </a:cubicBezTo>
                        <a:cubicBezTo>
                          <a:pt x="15730" y="42915"/>
                          <a:pt x="15730" y="42915"/>
                          <a:pt x="15730" y="42915"/>
                        </a:cubicBezTo>
                        <a:cubicBezTo>
                          <a:pt x="15955" y="42642"/>
                          <a:pt x="15955" y="42642"/>
                          <a:pt x="15955" y="42642"/>
                        </a:cubicBezTo>
                        <a:cubicBezTo>
                          <a:pt x="16404" y="42915"/>
                          <a:pt x="16404" y="42915"/>
                          <a:pt x="16404" y="42915"/>
                        </a:cubicBezTo>
                        <a:cubicBezTo>
                          <a:pt x="16404" y="42915"/>
                          <a:pt x="16629" y="42642"/>
                          <a:pt x="16853" y="42642"/>
                        </a:cubicBezTo>
                        <a:cubicBezTo>
                          <a:pt x="16853" y="42369"/>
                          <a:pt x="17303" y="42369"/>
                          <a:pt x="17303" y="42369"/>
                        </a:cubicBezTo>
                        <a:cubicBezTo>
                          <a:pt x="17528" y="41548"/>
                          <a:pt x="17528" y="41548"/>
                          <a:pt x="17528" y="41548"/>
                        </a:cubicBezTo>
                        <a:cubicBezTo>
                          <a:pt x="18426" y="41002"/>
                          <a:pt x="18426" y="41002"/>
                          <a:pt x="18426" y="41002"/>
                        </a:cubicBezTo>
                        <a:cubicBezTo>
                          <a:pt x="18426" y="40728"/>
                          <a:pt x="18426" y="40728"/>
                          <a:pt x="18426" y="40728"/>
                        </a:cubicBezTo>
                        <a:cubicBezTo>
                          <a:pt x="19101" y="40455"/>
                          <a:pt x="19101" y="40455"/>
                          <a:pt x="19101" y="40455"/>
                        </a:cubicBezTo>
                        <a:cubicBezTo>
                          <a:pt x="19550" y="40728"/>
                          <a:pt x="19550" y="40728"/>
                          <a:pt x="19550" y="40728"/>
                        </a:cubicBezTo>
                        <a:cubicBezTo>
                          <a:pt x="20000" y="40182"/>
                          <a:pt x="20000" y="40182"/>
                          <a:pt x="20000" y="40182"/>
                        </a:cubicBezTo>
                        <a:cubicBezTo>
                          <a:pt x="20224" y="40182"/>
                          <a:pt x="20224" y="40182"/>
                          <a:pt x="20224" y="40182"/>
                        </a:cubicBezTo>
                        <a:cubicBezTo>
                          <a:pt x="20674" y="39908"/>
                          <a:pt x="20674" y="39908"/>
                          <a:pt x="20674" y="39908"/>
                        </a:cubicBezTo>
                        <a:cubicBezTo>
                          <a:pt x="21123" y="39635"/>
                          <a:pt x="21123" y="39635"/>
                          <a:pt x="21123" y="39635"/>
                        </a:cubicBezTo>
                        <a:cubicBezTo>
                          <a:pt x="21797" y="38815"/>
                          <a:pt x="21797" y="38815"/>
                          <a:pt x="21797" y="38815"/>
                        </a:cubicBezTo>
                        <a:cubicBezTo>
                          <a:pt x="22022" y="38815"/>
                          <a:pt x="22022" y="38815"/>
                          <a:pt x="22022" y="38815"/>
                        </a:cubicBezTo>
                        <a:cubicBezTo>
                          <a:pt x="22022" y="38815"/>
                          <a:pt x="22471" y="38542"/>
                          <a:pt x="22471" y="38542"/>
                        </a:cubicBezTo>
                        <a:cubicBezTo>
                          <a:pt x="22471" y="38542"/>
                          <a:pt x="22696" y="37995"/>
                          <a:pt x="22696" y="37995"/>
                        </a:cubicBezTo>
                        <a:cubicBezTo>
                          <a:pt x="23146" y="37722"/>
                          <a:pt x="23146" y="37722"/>
                          <a:pt x="23146" y="37722"/>
                        </a:cubicBezTo>
                        <a:cubicBezTo>
                          <a:pt x="23595" y="36902"/>
                          <a:pt x="23595" y="36902"/>
                          <a:pt x="23595" y="36902"/>
                        </a:cubicBezTo>
                        <a:cubicBezTo>
                          <a:pt x="24044" y="36355"/>
                          <a:pt x="24044" y="36355"/>
                          <a:pt x="24044" y="36355"/>
                        </a:cubicBezTo>
                        <a:cubicBezTo>
                          <a:pt x="23595" y="35535"/>
                          <a:pt x="23595" y="35535"/>
                          <a:pt x="23595" y="35535"/>
                        </a:cubicBezTo>
                        <a:cubicBezTo>
                          <a:pt x="23595" y="35535"/>
                          <a:pt x="23146" y="34988"/>
                          <a:pt x="22921" y="34988"/>
                        </a:cubicBezTo>
                        <a:cubicBezTo>
                          <a:pt x="22921" y="34715"/>
                          <a:pt x="22471" y="34441"/>
                          <a:pt x="22471" y="34441"/>
                        </a:cubicBezTo>
                        <a:cubicBezTo>
                          <a:pt x="22471" y="34441"/>
                          <a:pt x="21797" y="34168"/>
                          <a:pt x="21797" y="34168"/>
                        </a:cubicBezTo>
                        <a:cubicBezTo>
                          <a:pt x="21797" y="34168"/>
                          <a:pt x="21348" y="34441"/>
                          <a:pt x="21348" y="34441"/>
                        </a:cubicBezTo>
                        <a:cubicBezTo>
                          <a:pt x="21123" y="34168"/>
                          <a:pt x="21123" y="34168"/>
                          <a:pt x="21123" y="34168"/>
                        </a:cubicBezTo>
                        <a:cubicBezTo>
                          <a:pt x="21123" y="34168"/>
                          <a:pt x="20898" y="33621"/>
                          <a:pt x="21123" y="33621"/>
                        </a:cubicBezTo>
                        <a:cubicBezTo>
                          <a:pt x="21123" y="33621"/>
                          <a:pt x="21123" y="33348"/>
                          <a:pt x="21123" y="33348"/>
                        </a:cubicBezTo>
                        <a:cubicBezTo>
                          <a:pt x="21123" y="33075"/>
                          <a:pt x="21123" y="33075"/>
                          <a:pt x="21123" y="33075"/>
                        </a:cubicBezTo>
                        <a:cubicBezTo>
                          <a:pt x="21123" y="32801"/>
                          <a:pt x="21123" y="32801"/>
                          <a:pt x="21123" y="32801"/>
                        </a:cubicBezTo>
                        <a:cubicBezTo>
                          <a:pt x="21348" y="32528"/>
                          <a:pt x="21348" y="32528"/>
                          <a:pt x="21348" y="32528"/>
                        </a:cubicBezTo>
                        <a:cubicBezTo>
                          <a:pt x="21348" y="32528"/>
                          <a:pt x="21573" y="32255"/>
                          <a:pt x="21573" y="31981"/>
                        </a:cubicBezTo>
                        <a:cubicBezTo>
                          <a:pt x="21573" y="31981"/>
                          <a:pt x="21797" y="31435"/>
                          <a:pt x="21797" y="31435"/>
                        </a:cubicBezTo>
                        <a:cubicBezTo>
                          <a:pt x="21797" y="31435"/>
                          <a:pt x="21573" y="31161"/>
                          <a:pt x="21573" y="30888"/>
                        </a:cubicBezTo>
                        <a:cubicBezTo>
                          <a:pt x="21348" y="30888"/>
                          <a:pt x="21348" y="30888"/>
                          <a:pt x="21573" y="30615"/>
                        </a:cubicBezTo>
                        <a:cubicBezTo>
                          <a:pt x="21573" y="30615"/>
                          <a:pt x="21573" y="30341"/>
                          <a:pt x="21573" y="30341"/>
                        </a:cubicBezTo>
                        <a:cubicBezTo>
                          <a:pt x="21573" y="30341"/>
                          <a:pt x="21573" y="29794"/>
                          <a:pt x="21348" y="29794"/>
                        </a:cubicBezTo>
                        <a:cubicBezTo>
                          <a:pt x="21348" y="29794"/>
                          <a:pt x="20898" y="30068"/>
                          <a:pt x="20898" y="30068"/>
                        </a:cubicBezTo>
                        <a:cubicBezTo>
                          <a:pt x="20898" y="30068"/>
                          <a:pt x="20224" y="29794"/>
                          <a:pt x="20224" y="29794"/>
                        </a:cubicBezTo>
                        <a:cubicBezTo>
                          <a:pt x="20224" y="29794"/>
                          <a:pt x="20000" y="29521"/>
                          <a:pt x="20000" y="29521"/>
                        </a:cubicBezTo>
                        <a:cubicBezTo>
                          <a:pt x="20000" y="29521"/>
                          <a:pt x="20000" y="28974"/>
                          <a:pt x="19775" y="28974"/>
                        </a:cubicBezTo>
                        <a:cubicBezTo>
                          <a:pt x="19550" y="28701"/>
                          <a:pt x="19550" y="28974"/>
                          <a:pt x="19550" y="28974"/>
                        </a:cubicBezTo>
                        <a:cubicBezTo>
                          <a:pt x="19325" y="29521"/>
                          <a:pt x="19325" y="29521"/>
                          <a:pt x="19325" y="29521"/>
                        </a:cubicBezTo>
                        <a:cubicBezTo>
                          <a:pt x="19325" y="29521"/>
                          <a:pt x="18876" y="29521"/>
                          <a:pt x="18651" y="29248"/>
                        </a:cubicBezTo>
                        <a:cubicBezTo>
                          <a:pt x="18651" y="29248"/>
                          <a:pt x="18426" y="29248"/>
                          <a:pt x="18426" y="29248"/>
                        </a:cubicBezTo>
                        <a:cubicBezTo>
                          <a:pt x="18202" y="29248"/>
                          <a:pt x="18202" y="28974"/>
                          <a:pt x="18202" y="28701"/>
                        </a:cubicBezTo>
                        <a:cubicBezTo>
                          <a:pt x="17977" y="28428"/>
                          <a:pt x="17977" y="28701"/>
                          <a:pt x="17752" y="28701"/>
                        </a:cubicBezTo>
                        <a:cubicBezTo>
                          <a:pt x="17752" y="28701"/>
                          <a:pt x="17303" y="28701"/>
                          <a:pt x="17303" y="28701"/>
                        </a:cubicBezTo>
                        <a:cubicBezTo>
                          <a:pt x="17303" y="28701"/>
                          <a:pt x="16853" y="28154"/>
                          <a:pt x="16853" y="28154"/>
                        </a:cubicBezTo>
                        <a:cubicBezTo>
                          <a:pt x="16853" y="27881"/>
                          <a:pt x="16629" y="27881"/>
                          <a:pt x="16629" y="27881"/>
                        </a:cubicBezTo>
                        <a:cubicBezTo>
                          <a:pt x="16629" y="27881"/>
                          <a:pt x="16179" y="28154"/>
                          <a:pt x="16179" y="28154"/>
                        </a:cubicBezTo>
                        <a:cubicBezTo>
                          <a:pt x="16179" y="28428"/>
                          <a:pt x="16179" y="28428"/>
                          <a:pt x="16179" y="28428"/>
                        </a:cubicBezTo>
                        <a:cubicBezTo>
                          <a:pt x="15955" y="29248"/>
                          <a:pt x="15955" y="29248"/>
                          <a:pt x="15955" y="29248"/>
                        </a:cubicBezTo>
                        <a:cubicBezTo>
                          <a:pt x="15280" y="29794"/>
                          <a:pt x="15280" y="29794"/>
                          <a:pt x="15280" y="29794"/>
                        </a:cubicBezTo>
                        <a:cubicBezTo>
                          <a:pt x="15280" y="29794"/>
                          <a:pt x="14606" y="29794"/>
                          <a:pt x="14382" y="29521"/>
                        </a:cubicBezTo>
                        <a:cubicBezTo>
                          <a:pt x="14382" y="29521"/>
                          <a:pt x="14382" y="29521"/>
                          <a:pt x="14157" y="29521"/>
                        </a:cubicBezTo>
                        <a:cubicBezTo>
                          <a:pt x="13932" y="29521"/>
                          <a:pt x="13932" y="29521"/>
                          <a:pt x="13932" y="29521"/>
                        </a:cubicBezTo>
                        <a:cubicBezTo>
                          <a:pt x="13932" y="29521"/>
                          <a:pt x="13483" y="29794"/>
                          <a:pt x="13483" y="29794"/>
                        </a:cubicBezTo>
                        <a:cubicBezTo>
                          <a:pt x="13483" y="29794"/>
                          <a:pt x="13258" y="29248"/>
                          <a:pt x="13258" y="29248"/>
                        </a:cubicBezTo>
                        <a:cubicBezTo>
                          <a:pt x="13258" y="29248"/>
                          <a:pt x="12808" y="28974"/>
                          <a:pt x="12808" y="28701"/>
                        </a:cubicBezTo>
                        <a:cubicBezTo>
                          <a:pt x="12808" y="28701"/>
                          <a:pt x="12808" y="28974"/>
                          <a:pt x="12808" y="28974"/>
                        </a:cubicBezTo>
                        <a:cubicBezTo>
                          <a:pt x="12808" y="28974"/>
                          <a:pt x="12584" y="29248"/>
                          <a:pt x="12359" y="29248"/>
                        </a:cubicBezTo>
                        <a:cubicBezTo>
                          <a:pt x="12359" y="29248"/>
                          <a:pt x="12134" y="29521"/>
                          <a:pt x="12134" y="29521"/>
                        </a:cubicBezTo>
                        <a:cubicBezTo>
                          <a:pt x="11910" y="29521"/>
                          <a:pt x="12134" y="28974"/>
                          <a:pt x="12134" y="28974"/>
                        </a:cubicBezTo>
                        <a:cubicBezTo>
                          <a:pt x="12359" y="28428"/>
                          <a:pt x="12359" y="28428"/>
                          <a:pt x="12359" y="28428"/>
                        </a:cubicBezTo>
                        <a:cubicBezTo>
                          <a:pt x="12359" y="28428"/>
                          <a:pt x="11685" y="28154"/>
                          <a:pt x="11685" y="27881"/>
                        </a:cubicBezTo>
                        <a:cubicBezTo>
                          <a:pt x="11460" y="27881"/>
                          <a:pt x="11235" y="27608"/>
                          <a:pt x="11235" y="27608"/>
                        </a:cubicBezTo>
                        <a:cubicBezTo>
                          <a:pt x="11235" y="27608"/>
                          <a:pt x="10786" y="27608"/>
                          <a:pt x="10786" y="27608"/>
                        </a:cubicBezTo>
                        <a:cubicBezTo>
                          <a:pt x="10337" y="27608"/>
                          <a:pt x="10337" y="27608"/>
                          <a:pt x="10337" y="27608"/>
                        </a:cubicBezTo>
                        <a:cubicBezTo>
                          <a:pt x="10337" y="27608"/>
                          <a:pt x="10112" y="27608"/>
                          <a:pt x="9887" y="27881"/>
                        </a:cubicBezTo>
                        <a:cubicBezTo>
                          <a:pt x="9887" y="27881"/>
                          <a:pt x="9662" y="28154"/>
                          <a:pt x="9438" y="27881"/>
                        </a:cubicBezTo>
                        <a:cubicBezTo>
                          <a:pt x="9438" y="27881"/>
                          <a:pt x="9662" y="27334"/>
                          <a:pt x="9662" y="27334"/>
                        </a:cubicBezTo>
                        <a:cubicBezTo>
                          <a:pt x="9662" y="27334"/>
                          <a:pt x="9662" y="26788"/>
                          <a:pt x="9662" y="26788"/>
                        </a:cubicBezTo>
                        <a:cubicBezTo>
                          <a:pt x="9438" y="26514"/>
                          <a:pt x="9438" y="27061"/>
                          <a:pt x="9438" y="27061"/>
                        </a:cubicBezTo>
                        <a:cubicBezTo>
                          <a:pt x="9438" y="27061"/>
                          <a:pt x="8988" y="27334"/>
                          <a:pt x="8764" y="27608"/>
                        </a:cubicBezTo>
                        <a:cubicBezTo>
                          <a:pt x="8764" y="27608"/>
                          <a:pt x="8539" y="27608"/>
                          <a:pt x="8539" y="27608"/>
                        </a:cubicBezTo>
                        <a:cubicBezTo>
                          <a:pt x="8314" y="27608"/>
                          <a:pt x="8089" y="27881"/>
                          <a:pt x="7640" y="27881"/>
                        </a:cubicBezTo>
                        <a:cubicBezTo>
                          <a:pt x="7415" y="27881"/>
                          <a:pt x="7191" y="28154"/>
                          <a:pt x="7191" y="27881"/>
                        </a:cubicBezTo>
                        <a:cubicBezTo>
                          <a:pt x="6966" y="27881"/>
                          <a:pt x="6966" y="27608"/>
                          <a:pt x="6966" y="27608"/>
                        </a:cubicBezTo>
                        <a:cubicBezTo>
                          <a:pt x="6966" y="27061"/>
                          <a:pt x="6966" y="27061"/>
                          <a:pt x="6966" y="27061"/>
                        </a:cubicBezTo>
                        <a:cubicBezTo>
                          <a:pt x="6966" y="27061"/>
                          <a:pt x="6741" y="26788"/>
                          <a:pt x="6741" y="26514"/>
                        </a:cubicBezTo>
                        <a:cubicBezTo>
                          <a:pt x="6516" y="26241"/>
                          <a:pt x="6741" y="26241"/>
                          <a:pt x="6741" y="25968"/>
                        </a:cubicBezTo>
                        <a:cubicBezTo>
                          <a:pt x="6741" y="25968"/>
                          <a:pt x="7191" y="25694"/>
                          <a:pt x="7191" y="25694"/>
                        </a:cubicBezTo>
                        <a:cubicBezTo>
                          <a:pt x="7191" y="25421"/>
                          <a:pt x="7415" y="25421"/>
                          <a:pt x="7415" y="25421"/>
                        </a:cubicBezTo>
                        <a:cubicBezTo>
                          <a:pt x="8089" y="25148"/>
                          <a:pt x="8089" y="25148"/>
                          <a:pt x="8089" y="25148"/>
                        </a:cubicBezTo>
                        <a:cubicBezTo>
                          <a:pt x="8089" y="25148"/>
                          <a:pt x="8089" y="24328"/>
                          <a:pt x="8089" y="24054"/>
                        </a:cubicBezTo>
                        <a:cubicBezTo>
                          <a:pt x="8089" y="24054"/>
                          <a:pt x="8089" y="24054"/>
                          <a:pt x="7865" y="24054"/>
                        </a:cubicBezTo>
                        <a:cubicBezTo>
                          <a:pt x="7640" y="24054"/>
                          <a:pt x="7640" y="23781"/>
                          <a:pt x="7640" y="23781"/>
                        </a:cubicBezTo>
                        <a:cubicBezTo>
                          <a:pt x="7640" y="23781"/>
                          <a:pt x="7640" y="23234"/>
                          <a:pt x="7640" y="23234"/>
                        </a:cubicBezTo>
                        <a:cubicBezTo>
                          <a:pt x="7415" y="22687"/>
                          <a:pt x="7415" y="22687"/>
                          <a:pt x="7415" y="22687"/>
                        </a:cubicBezTo>
                        <a:cubicBezTo>
                          <a:pt x="6516" y="22961"/>
                          <a:pt x="6516" y="22961"/>
                          <a:pt x="6516" y="22961"/>
                        </a:cubicBezTo>
                        <a:cubicBezTo>
                          <a:pt x="6516" y="22961"/>
                          <a:pt x="6067" y="23234"/>
                          <a:pt x="5842" y="23234"/>
                        </a:cubicBezTo>
                        <a:cubicBezTo>
                          <a:pt x="5842" y="23234"/>
                          <a:pt x="5393" y="23234"/>
                          <a:pt x="5393" y="23234"/>
                        </a:cubicBezTo>
                        <a:cubicBezTo>
                          <a:pt x="5168" y="23234"/>
                          <a:pt x="4943" y="22961"/>
                          <a:pt x="4943" y="22961"/>
                        </a:cubicBezTo>
                        <a:cubicBezTo>
                          <a:pt x="4943" y="22961"/>
                          <a:pt x="4044" y="23234"/>
                          <a:pt x="4044" y="23234"/>
                        </a:cubicBezTo>
                        <a:cubicBezTo>
                          <a:pt x="4044" y="23234"/>
                          <a:pt x="3820" y="23234"/>
                          <a:pt x="3820" y="23234"/>
                        </a:cubicBezTo>
                        <a:cubicBezTo>
                          <a:pt x="3370" y="23234"/>
                          <a:pt x="3370" y="23234"/>
                          <a:pt x="3370" y="23234"/>
                        </a:cubicBezTo>
                        <a:cubicBezTo>
                          <a:pt x="2921" y="23507"/>
                          <a:pt x="2921" y="23507"/>
                          <a:pt x="2921" y="23507"/>
                        </a:cubicBezTo>
                        <a:cubicBezTo>
                          <a:pt x="2696" y="23781"/>
                          <a:pt x="2696" y="23781"/>
                          <a:pt x="2696" y="23781"/>
                        </a:cubicBezTo>
                        <a:cubicBezTo>
                          <a:pt x="2696" y="23781"/>
                          <a:pt x="2471" y="24054"/>
                          <a:pt x="2471" y="24054"/>
                        </a:cubicBezTo>
                        <a:cubicBezTo>
                          <a:pt x="2247" y="24054"/>
                          <a:pt x="2022" y="24054"/>
                          <a:pt x="1797" y="24054"/>
                        </a:cubicBezTo>
                        <a:cubicBezTo>
                          <a:pt x="1797" y="24054"/>
                          <a:pt x="1573" y="24328"/>
                          <a:pt x="1573" y="24328"/>
                        </a:cubicBezTo>
                        <a:cubicBezTo>
                          <a:pt x="1573" y="24328"/>
                          <a:pt x="1123" y="24601"/>
                          <a:pt x="898" y="24874"/>
                        </a:cubicBezTo>
                        <a:cubicBezTo>
                          <a:pt x="674" y="23507"/>
                          <a:pt x="674" y="23507"/>
                          <a:pt x="674" y="23507"/>
                        </a:cubicBezTo>
                        <a:cubicBezTo>
                          <a:pt x="1348" y="21047"/>
                          <a:pt x="1348" y="21047"/>
                          <a:pt x="1348" y="21047"/>
                        </a:cubicBezTo>
                        <a:cubicBezTo>
                          <a:pt x="2471" y="19954"/>
                          <a:pt x="2471" y="19954"/>
                          <a:pt x="2471" y="19954"/>
                        </a:cubicBezTo>
                        <a:cubicBezTo>
                          <a:pt x="2921" y="17767"/>
                          <a:pt x="2921" y="17767"/>
                          <a:pt x="2921" y="17767"/>
                        </a:cubicBezTo>
                        <a:cubicBezTo>
                          <a:pt x="2247" y="16947"/>
                          <a:pt x="2247" y="16947"/>
                          <a:pt x="2247" y="16947"/>
                        </a:cubicBezTo>
                        <a:cubicBezTo>
                          <a:pt x="2247" y="16127"/>
                          <a:pt x="4269" y="14487"/>
                          <a:pt x="4044" y="13667"/>
                        </a:cubicBezTo>
                        <a:cubicBezTo>
                          <a:pt x="3820" y="12847"/>
                          <a:pt x="1348" y="15307"/>
                          <a:pt x="1123" y="14487"/>
                        </a:cubicBezTo>
                        <a:cubicBezTo>
                          <a:pt x="898" y="12847"/>
                          <a:pt x="1573" y="13120"/>
                          <a:pt x="2696" y="11753"/>
                        </a:cubicBezTo>
                        <a:cubicBezTo>
                          <a:pt x="1348" y="11207"/>
                          <a:pt x="1348" y="11207"/>
                          <a:pt x="1348" y="11207"/>
                        </a:cubicBezTo>
                        <a:cubicBezTo>
                          <a:pt x="1348" y="9567"/>
                          <a:pt x="1348" y="9567"/>
                          <a:pt x="1348" y="9567"/>
                        </a:cubicBezTo>
                        <a:cubicBezTo>
                          <a:pt x="449" y="9020"/>
                          <a:pt x="449" y="9020"/>
                          <a:pt x="449" y="9020"/>
                        </a:cubicBezTo>
                        <a:cubicBezTo>
                          <a:pt x="449" y="9020"/>
                          <a:pt x="674" y="8200"/>
                          <a:pt x="674" y="7380"/>
                        </a:cubicBezTo>
                        <a:cubicBezTo>
                          <a:pt x="674" y="6560"/>
                          <a:pt x="1348" y="6287"/>
                          <a:pt x="1348" y="6287"/>
                        </a:cubicBezTo>
                        <a:cubicBezTo>
                          <a:pt x="2022" y="6013"/>
                          <a:pt x="2471" y="5466"/>
                          <a:pt x="3146" y="4920"/>
                        </a:cubicBezTo>
                        <a:cubicBezTo>
                          <a:pt x="3820" y="3826"/>
                          <a:pt x="4494" y="4373"/>
                          <a:pt x="4943" y="4100"/>
                        </a:cubicBezTo>
                        <a:cubicBezTo>
                          <a:pt x="5617" y="3553"/>
                          <a:pt x="5617" y="4100"/>
                          <a:pt x="7865" y="4646"/>
                        </a:cubicBezTo>
                        <a:cubicBezTo>
                          <a:pt x="8314" y="4373"/>
                          <a:pt x="9213" y="4373"/>
                          <a:pt x="9438" y="3826"/>
                        </a:cubicBezTo>
                        <a:cubicBezTo>
                          <a:pt x="9887" y="3280"/>
                          <a:pt x="10561" y="3553"/>
                          <a:pt x="10561" y="2460"/>
                        </a:cubicBezTo>
                        <a:cubicBezTo>
                          <a:pt x="10786" y="820"/>
                          <a:pt x="13258" y="1913"/>
                          <a:pt x="13258" y="1366"/>
                        </a:cubicBezTo>
                        <a:cubicBezTo>
                          <a:pt x="13707" y="1366"/>
                          <a:pt x="14157" y="0"/>
                          <a:pt x="15280" y="0"/>
                        </a:cubicBezTo>
                        <a:cubicBezTo>
                          <a:pt x="16179" y="273"/>
                          <a:pt x="16404" y="546"/>
                          <a:pt x="17078" y="820"/>
                        </a:cubicBezTo>
                        <a:cubicBezTo>
                          <a:pt x="19550" y="2733"/>
                          <a:pt x="18426" y="3826"/>
                          <a:pt x="21348" y="4920"/>
                        </a:cubicBezTo>
                        <a:cubicBezTo>
                          <a:pt x="23820" y="5740"/>
                          <a:pt x="26741" y="6560"/>
                          <a:pt x="29213" y="7107"/>
                        </a:cubicBezTo>
                        <a:cubicBezTo>
                          <a:pt x="31460" y="7380"/>
                          <a:pt x="33707" y="8473"/>
                          <a:pt x="35955" y="9567"/>
                        </a:cubicBezTo>
                        <a:cubicBezTo>
                          <a:pt x="35955" y="9567"/>
                          <a:pt x="44269" y="14214"/>
                          <a:pt x="44494" y="14487"/>
                        </a:cubicBezTo>
                        <a:cubicBezTo>
                          <a:pt x="44719" y="14487"/>
                          <a:pt x="49438" y="13394"/>
                          <a:pt x="49662" y="13394"/>
                        </a:cubicBezTo>
                        <a:cubicBezTo>
                          <a:pt x="49887" y="13394"/>
                          <a:pt x="51460" y="13667"/>
                          <a:pt x="52584" y="14487"/>
                        </a:cubicBezTo>
                        <a:cubicBezTo>
                          <a:pt x="53258" y="15307"/>
                          <a:pt x="55505" y="17220"/>
                          <a:pt x="55505" y="17220"/>
                        </a:cubicBezTo>
                        <a:cubicBezTo>
                          <a:pt x="55955" y="17494"/>
                          <a:pt x="58651" y="16947"/>
                          <a:pt x="58651" y="16947"/>
                        </a:cubicBezTo>
                        <a:cubicBezTo>
                          <a:pt x="60449" y="16947"/>
                          <a:pt x="62022" y="19407"/>
                          <a:pt x="62921" y="19681"/>
                        </a:cubicBezTo>
                        <a:cubicBezTo>
                          <a:pt x="64044" y="19954"/>
                          <a:pt x="66741" y="18314"/>
                          <a:pt x="67865" y="19681"/>
                        </a:cubicBezTo>
                        <a:cubicBezTo>
                          <a:pt x="67865" y="19681"/>
                          <a:pt x="70112" y="19954"/>
                          <a:pt x="70337" y="21321"/>
                        </a:cubicBezTo>
                        <a:cubicBezTo>
                          <a:pt x="70786" y="22687"/>
                          <a:pt x="71685" y="24874"/>
                          <a:pt x="71685" y="24874"/>
                        </a:cubicBezTo>
                        <a:cubicBezTo>
                          <a:pt x="74606" y="26241"/>
                          <a:pt x="74606" y="26241"/>
                          <a:pt x="74606" y="26241"/>
                        </a:cubicBezTo>
                        <a:cubicBezTo>
                          <a:pt x="74606" y="26241"/>
                          <a:pt x="76179" y="27881"/>
                          <a:pt x="76404" y="28428"/>
                        </a:cubicBezTo>
                        <a:cubicBezTo>
                          <a:pt x="76629" y="28701"/>
                          <a:pt x="80000" y="30068"/>
                          <a:pt x="80000" y="30068"/>
                        </a:cubicBezTo>
                        <a:cubicBezTo>
                          <a:pt x="82247" y="32528"/>
                          <a:pt x="82247" y="32528"/>
                          <a:pt x="82247" y="32528"/>
                        </a:cubicBezTo>
                        <a:cubicBezTo>
                          <a:pt x="85617" y="32528"/>
                          <a:pt x="85617" y="32528"/>
                          <a:pt x="85617" y="32528"/>
                        </a:cubicBezTo>
                        <a:cubicBezTo>
                          <a:pt x="87865" y="33075"/>
                          <a:pt x="87865" y="33075"/>
                          <a:pt x="87865" y="33075"/>
                        </a:cubicBezTo>
                        <a:cubicBezTo>
                          <a:pt x="88988" y="31435"/>
                          <a:pt x="88988" y="31435"/>
                          <a:pt x="88988" y="31435"/>
                        </a:cubicBezTo>
                        <a:cubicBezTo>
                          <a:pt x="88988" y="31435"/>
                          <a:pt x="94606" y="34715"/>
                          <a:pt x="94831" y="34715"/>
                        </a:cubicBezTo>
                        <a:cubicBezTo>
                          <a:pt x="95056" y="34715"/>
                          <a:pt x="95056" y="35535"/>
                          <a:pt x="95280" y="36355"/>
                        </a:cubicBezTo>
                        <a:cubicBezTo>
                          <a:pt x="95280" y="36628"/>
                          <a:pt x="95280" y="36628"/>
                          <a:pt x="95280" y="36628"/>
                        </a:cubicBezTo>
                        <a:cubicBezTo>
                          <a:pt x="95056" y="36628"/>
                          <a:pt x="95280" y="36628"/>
                          <a:pt x="95280" y="36628"/>
                        </a:cubicBezTo>
                        <a:cubicBezTo>
                          <a:pt x="95280" y="36628"/>
                          <a:pt x="95280" y="36628"/>
                          <a:pt x="95280" y="36628"/>
                        </a:cubicBezTo>
                        <a:cubicBezTo>
                          <a:pt x="95280" y="37175"/>
                          <a:pt x="95280" y="37175"/>
                          <a:pt x="95280" y="37175"/>
                        </a:cubicBezTo>
                        <a:cubicBezTo>
                          <a:pt x="95280" y="37448"/>
                          <a:pt x="95280" y="37448"/>
                          <a:pt x="95280" y="37448"/>
                        </a:cubicBezTo>
                        <a:cubicBezTo>
                          <a:pt x="95056" y="37448"/>
                          <a:pt x="95056" y="37448"/>
                          <a:pt x="95056" y="37448"/>
                        </a:cubicBezTo>
                        <a:cubicBezTo>
                          <a:pt x="95056" y="37448"/>
                          <a:pt x="95056" y="37448"/>
                          <a:pt x="95056" y="37448"/>
                        </a:cubicBezTo>
                        <a:cubicBezTo>
                          <a:pt x="95280" y="37722"/>
                          <a:pt x="95280" y="37722"/>
                          <a:pt x="95280" y="37722"/>
                        </a:cubicBezTo>
                        <a:cubicBezTo>
                          <a:pt x="95280" y="37722"/>
                          <a:pt x="95280" y="37722"/>
                          <a:pt x="95280" y="37722"/>
                        </a:cubicBezTo>
                        <a:cubicBezTo>
                          <a:pt x="95280" y="37722"/>
                          <a:pt x="95280" y="37722"/>
                          <a:pt x="95280" y="37995"/>
                        </a:cubicBezTo>
                        <a:cubicBezTo>
                          <a:pt x="95280" y="37995"/>
                          <a:pt x="95280" y="37995"/>
                          <a:pt x="95280" y="37995"/>
                        </a:cubicBezTo>
                        <a:cubicBezTo>
                          <a:pt x="95280" y="37995"/>
                          <a:pt x="95280" y="37995"/>
                          <a:pt x="95280" y="38268"/>
                        </a:cubicBezTo>
                        <a:cubicBezTo>
                          <a:pt x="95280" y="38268"/>
                          <a:pt x="95280" y="38268"/>
                          <a:pt x="95280" y="38268"/>
                        </a:cubicBezTo>
                        <a:cubicBezTo>
                          <a:pt x="95505" y="38268"/>
                          <a:pt x="95505" y="38268"/>
                          <a:pt x="95505" y="38268"/>
                        </a:cubicBezTo>
                        <a:cubicBezTo>
                          <a:pt x="95505" y="38268"/>
                          <a:pt x="95505" y="38268"/>
                          <a:pt x="95505" y="38268"/>
                        </a:cubicBezTo>
                        <a:cubicBezTo>
                          <a:pt x="95505" y="38268"/>
                          <a:pt x="95730" y="38542"/>
                          <a:pt x="95730" y="38542"/>
                        </a:cubicBezTo>
                        <a:cubicBezTo>
                          <a:pt x="95730" y="38542"/>
                          <a:pt x="95730" y="38542"/>
                          <a:pt x="95955" y="38542"/>
                        </a:cubicBezTo>
                        <a:cubicBezTo>
                          <a:pt x="95955" y="38542"/>
                          <a:pt x="95955" y="38542"/>
                          <a:pt x="96179" y="38542"/>
                        </a:cubicBezTo>
                        <a:cubicBezTo>
                          <a:pt x="96179" y="38542"/>
                          <a:pt x="96179" y="38542"/>
                          <a:pt x="96179" y="38542"/>
                        </a:cubicBezTo>
                        <a:cubicBezTo>
                          <a:pt x="96179" y="38542"/>
                          <a:pt x="96404" y="38542"/>
                          <a:pt x="96404" y="38268"/>
                        </a:cubicBezTo>
                        <a:cubicBezTo>
                          <a:pt x="99325" y="39088"/>
                          <a:pt x="99325" y="39088"/>
                          <a:pt x="99325" y="39088"/>
                        </a:cubicBezTo>
                        <a:cubicBezTo>
                          <a:pt x="100000" y="39362"/>
                          <a:pt x="100000" y="39908"/>
                          <a:pt x="100674" y="40455"/>
                        </a:cubicBezTo>
                        <a:cubicBezTo>
                          <a:pt x="102471" y="39635"/>
                          <a:pt x="102471" y="39635"/>
                          <a:pt x="102471" y="39635"/>
                        </a:cubicBezTo>
                        <a:cubicBezTo>
                          <a:pt x="104719" y="41548"/>
                          <a:pt x="104719" y="41548"/>
                          <a:pt x="104719" y="41548"/>
                        </a:cubicBezTo>
                        <a:cubicBezTo>
                          <a:pt x="106741" y="40728"/>
                          <a:pt x="106741" y="40728"/>
                          <a:pt x="106741" y="40728"/>
                        </a:cubicBezTo>
                        <a:cubicBezTo>
                          <a:pt x="108764" y="40728"/>
                          <a:pt x="108764" y="40728"/>
                          <a:pt x="108764" y="40728"/>
                        </a:cubicBezTo>
                        <a:cubicBezTo>
                          <a:pt x="108764" y="40182"/>
                          <a:pt x="113483" y="40728"/>
                          <a:pt x="111460" y="43462"/>
                        </a:cubicBezTo>
                        <a:close/>
                        <a:moveTo>
                          <a:pt x="113707" y="76810"/>
                        </a:moveTo>
                        <a:cubicBezTo>
                          <a:pt x="113707" y="76810"/>
                          <a:pt x="113707" y="76810"/>
                          <a:pt x="113707" y="76810"/>
                        </a:cubicBezTo>
                        <a:cubicBezTo>
                          <a:pt x="113707" y="78451"/>
                          <a:pt x="115955" y="77904"/>
                          <a:pt x="117078" y="78997"/>
                        </a:cubicBezTo>
                        <a:cubicBezTo>
                          <a:pt x="117528" y="79544"/>
                          <a:pt x="117078" y="80911"/>
                          <a:pt x="117752" y="81184"/>
                        </a:cubicBezTo>
                        <a:cubicBezTo>
                          <a:pt x="119325" y="82824"/>
                          <a:pt x="120000" y="79817"/>
                          <a:pt x="118651" y="76810"/>
                        </a:cubicBezTo>
                        <a:cubicBezTo>
                          <a:pt x="118202" y="76264"/>
                          <a:pt x="117528" y="76264"/>
                          <a:pt x="116853" y="76264"/>
                        </a:cubicBezTo>
                        <a:cubicBezTo>
                          <a:pt x="115730" y="76264"/>
                          <a:pt x="113483" y="75444"/>
                          <a:pt x="113707" y="76810"/>
                        </a:cubicBezTo>
                        <a:close/>
                        <a:moveTo>
                          <a:pt x="100674" y="82004"/>
                        </a:moveTo>
                        <a:cubicBezTo>
                          <a:pt x="100674" y="82004"/>
                          <a:pt x="100674" y="82004"/>
                          <a:pt x="100674" y="82004"/>
                        </a:cubicBezTo>
                        <a:cubicBezTo>
                          <a:pt x="101573" y="82277"/>
                          <a:pt x="102471" y="81184"/>
                          <a:pt x="103370" y="81731"/>
                        </a:cubicBezTo>
                        <a:cubicBezTo>
                          <a:pt x="103820" y="82277"/>
                          <a:pt x="103595" y="83371"/>
                          <a:pt x="103820" y="84191"/>
                        </a:cubicBezTo>
                        <a:cubicBezTo>
                          <a:pt x="102471" y="85831"/>
                          <a:pt x="106067" y="85558"/>
                          <a:pt x="106292" y="85558"/>
                        </a:cubicBezTo>
                        <a:cubicBezTo>
                          <a:pt x="106292" y="86104"/>
                          <a:pt x="106741" y="87471"/>
                          <a:pt x="107415" y="86924"/>
                        </a:cubicBezTo>
                        <a:cubicBezTo>
                          <a:pt x="111011" y="81731"/>
                          <a:pt x="111011" y="81731"/>
                          <a:pt x="111011" y="81731"/>
                        </a:cubicBezTo>
                        <a:cubicBezTo>
                          <a:pt x="111011" y="81184"/>
                          <a:pt x="110786" y="80637"/>
                          <a:pt x="110337" y="80637"/>
                        </a:cubicBezTo>
                        <a:cubicBezTo>
                          <a:pt x="109438" y="80091"/>
                          <a:pt x="108314" y="81184"/>
                          <a:pt x="107640" y="80637"/>
                        </a:cubicBezTo>
                        <a:cubicBezTo>
                          <a:pt x="106966" y="80091"/>
                          <a:pt x="108314" y="77904"/>
                          <a:pt x="107415" y="77084"/>
                        </a:cubicBezTo>
                        <a:cubicBezTo>
                          <a:pt x="105617" y="75444"/>
                          <a:pt x="104943" y="77357"/>
                          <a:pt x="103595" y="78724"/>
                        </a:cubicBezTo>
                        <a:cubicBezTo>
                          <a:pt x="102696" y="79544"/>
                          <a:pt x="101348" y="79817"/>
                          <a:pt x="100449" y="80911"/>
                        </a:cubicBezTo>
                        <a:cubicBezTo>
                          <a:pt x="100224" y="81184"/>
                          <a:pt x="100449" y="82004"/>
                          <a:pt x="100674" y="82004"/>
                        </a:cubicBezTo>
                        <a:close/>
                        <a:moveTo>
                          <a:pt x="87865" y="89931"/>
                        </a:moveTo>
                        <a:cubicBezTo>
                          <a:pt x="87865" y="89931"/>
                          <a:pt x="87865" y="89931"/>
                          <a:pt x="87865" y="89931"/>
                        </a:cubicBezTo>
                        <a:cubicBezTo>
                          <a:pt x="86966" y="90751"/>
                          <a:pt x="88764" y="92118"/>
                          <a:pt x="89213" y="92118"/>
                        </a:cubicBezTo>
                        <a:cubicBezTo>
                          <a:pt x="89662" y="92118"/>
                          <a:pt x="92359" y="89931"/>
                          <a:pt x="92359" y="89111"/>
                        </a:cubicBezTo>
                        <a:cubicBezTo>
                          <a:pt x="92134" y="88018"/>
                          <a:pt x="91011" y="87744"/>
                          <a:pt x="90337" y="87744"/>
                        </a:cubicBezTo>
                        <a:cubicBezTo>
                          <a:pt x="89438" y="88018"/>
                          <a:pt x="88539" y="89111"/>
                          <a:pt x="87865" y="89931"/>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8" name="Shape 2055"/>
                  <p:cNvSpPr/>
                  <p:nvPr/>
                </p:nvSpPr>
                <p:spPr>
                  <a:xfrm>
                    <a:off x="5979171" y="3676182"/>
                    <a:ext cx="930118" cy="839550"/>
                  </a:xfrm>
                  <a:custGeom>
                    <a:avLst/>
                    <a:gdLst/>
                    <a:ahLst/>
                    <a:cxnLst/>
                    <a:rect l="0" t="0" r="0" b="0"/>
                    <a:pathLst>
                      <a:path w="120000" h="120000" extrusionOk="0">
                        <a:moveTo>
                          <a:pt x="65294" y="10105"/>
                        </a:moveTo>
                        <a:cubicBezTo>
                          <a:pt x="66764" y="9473"/>
                          <a:pt x="66764" y="9473"/>
                          <a:pt x="66764" y="9473"/>
                        </a:cubicBezTo>
                        <a:cubicBezTo>
                          <a:pt x="66764" y="9473"/>
                          <a:pt x="68529" y="8842"/>
                          <a:pt x="68823" y="8842"/>
                        </a:cubicBezTo>
                        <a:cubicBezTo>
                          <a:pt x="69117" y="8842"/>
                          <a:pt x="70588" y="8526"/>
                          <a:pt x="70882" y="8210"/>
                        </a:cubicBezTo>
                        <a:cubicBezTo>
                          <a:pt x="71176" y="8210"/>
                          <a:pt x="72058" y="7578"/>
                          <a:pt x="72352" y="7263"/>
                        </a:cubicBezTo>
                        <a:cubicBezTo>
                          <a:pt x="72647" y="7263"/>
                          <a:pt x="73235" y="7263"/>
                          <a:pt x="73823" y="6631"/>
                        </a:cubicBezTo>
                        <a:cubicBezTo>
                          <a:pt x="74117" y="6315"/>
                          <a:pt x="74411" y="5368"/>
                          <a:pt x="74411" y="5052"/>
                        </a:cubicBezTo>
                        <a:cubicBezTo>
                          <a:pt x="74411" y="4736"/>
                          <a:pt x="74117" y="4736"/>
                          <a:pt x="73823" y="3789"/>
                        </a:cubicBezTo>
                        <a:cubicBezTo>
                          <a:pt x="73235" y="2842"/>
                          <a:pt x="72647" y="2210"/>
                          <a:pt x="72647" y="1894"/>
                        </a:cubicBezTo>
                        <a:cubicBezTo>
                          <a:pt x="72352" y="1263"/>
                          <a:pt x="72352" y="631"/>
                          <a:pt x="72647" y="631"/>
                        </a:cubicBezTo>
                        <a:cubicBezTo>
                          <a:pt x="72941" y="315"/>
                          <a:pt x="73823" y="0"/>
                          <a:pt x="74411" y="0"/>
                        </a:cubicBezTo>
                        <a:cubicBezTo>
                          <a:pt x="75000" y="315"/>
                          <a:pt x="76470" y="631"/>
                          <a:pt x="76764" y="631"/>
                        </a:cubicBezTo>
                        <a:cubicBezTo>
                          <a:pt x="77058" y="631"/>
                          <a:pt x="78529" y="1578"/>
                          <a:pt x="78529" y="1578"/>
                        </a:cubicBezTo>
                        <a:cubicBezTo>
                          <a:pt x="78529" y="1578"/>
                          <a:pt x="79117" y="3157"/>
                          <a:pt x="79117" y="3473"/>
                        </a:cubicBezTo>
                        <a:cubicBezTo>
                          <a:pt x="79117" y="3789"/>
                          <a:pt x="80588" y="5684"/>
                          <a:pt x="80000" y="5684"/>
                        </a:cubicBezTo>
                        <a:cubicBezTo>
                          <a:pt x="79705" y="5684"/>
                          <a:pt x="78529" y="6000"/>
                          <a:pt x="78529" y="6000"/>
                        </a:cubicBezTo>
                        <a:cubicBezTo>
                          <a:pt x="77941" y="6947"/>
                          <a:pt x="77941" y="6947"/>
                          <a:pt x="77941" y="6947"/>
                        </a:cubicBezTo>
                        <a:cubicBezTo>
                          <a:pt x="77941" y="6947"/>
                          <a:pt x="77352" y="8210"/>
                          <a:pt x="77352" y="8526"/>
                        </a:cubicBezTo>
                        <a:cubicBezTo>
                          <a:pt x="77352" y="8842"/>
                          <a:pt x="77058" y="10421"/>
                          <a:pt x="77058" y="10421"/>
                        </a:cubicBezTo>
                        <a:cubicBezTo>
                          <a:pt x="78529" y="13894"/>
                          <a:pt x="78529" y="13894"/>
                          <a:pt x="78529" y="13894"/>
                        </a:cubicBezTo>
                        <a:cubicBezTo>
                          <a:pt x="77058" y="16105"/>
                          <a:pt x="77058" y="16105"/>
                          <a:pt x="77058" y="16105"/>
                        </a:cubicBezTo>
                        <a:cubicBezTo>
                          <a:pt x="75882" y="17368"/>
                          <a:pt x="75882" y="17368"/>
                          <a:pt x="75882" y="17368"/>
                        </a:cubicBezTo>
                        <a:cubicBezTo>
                          <a:pt x="75882" y="17368"/>
                          <a:pt x="74117" y="17368"/>
                          <a:pt x="74117" y="17052"/>
                        </a:cubicBezTo>
                        <a:cubicBezTo>
                          <a:pt x="74117" y="16736"/>
                          <a:pt x="72941" y="16105"/>
                          <a:pt x="72941" y="16105"/>
                        </a:cubicBezTo>
                        <a:cubicBezTo>
                          <a:pt x="72941" y="16105"/>
                          <a:pt x="71176" y="16421"/>
                          <a:pt x="70882" y="16736"/>
                        </a:cubicBezTo>
                        <a:cubicBezTo>
                          <a:pt x="70588" y="16736"/>
                          <a:pt x="66470" y="17052"/>
                          <a:pt x="66470" y="17052"/>
                        </a:cubicBezTo>
                        <a:cubicBezTo>
                          <a:pt x="66470" y="17052"/>
                          <a:pt x="65588" y="16736"/>
                          <a:pt x="65294" y="16736"/>
                        </a:cubicBezTo>
                        <a:cubicBezTo>
                          <a:pt x="65000" y="16736"/>
                          <a:pt x="63529" y="16736"/>
                          <a:pt x="63529" y="16736"/>
                        </a:cubicBezTo>
                        <a:cubicBezTo>
                          <a:pt x="63235" y="15473"/>
                          <a:pt x="63235" y="15473"/>
                          <a:pt x="63235" y="15473"/>
                        </a:cubicBezTo>
                        <a:cubicBezTo>
                          <a:pt x="62058" y="15789"/>
                          <a:pt x="62058" y="15789"/>
                          <a:pt x="62058" y="15789"/>
                        </a:cubicBezTo>
                        <a:cubicBezTo>
                          <a:pt x="61764" y="17052"/>
                          <a:pt x="61764" y="17052"/>
                          <a:pt x="61764" y="17052"/>
                        </a:cubicBezTo>
                        <a:cubicBezTo>
                          <a:pt x="60294" y="18000"/>
                          <a:pt x="60294" y="18000"/>
                          <a:pt x="60294" y="18000"/>
                        </a:cubicBezTo>
                        <a:cubicBezTo>
                          <a:pt x="58823" y="18947"/>
                          <a:pt x="58823" y="18947"/>
                          <a:pt x="58823" y="18947"/>
                        </a:cubicBezTo>
                        <a:cubicBezTo>
                          <a:pt x="55882" y="18947"/>
                          <a:pt x="55882" y="18947"/>
                          <a:pt x="55882" y="18947"/>
                        </a:cubicBezTo>
                        <a:cubicBezTo>
                          <a:pt x="54117" y="18947"/>
                          <a:pt x="54117" y="18947"/>
                          <a:pt x="54117" y="18947"/>
                        </a:cubicBezTo>
                        <a:cubicBezTo>
                          <a:pt x="54117" y="19578"/>
                          <a:pt x="54117" y="19578"/>
                          <a:pt x="54117" y="19578"/>
                        </a:cubicBezTo>
                        <a:cubicBezTo>
                          <a:pt x="53235" y="21473"/>
                          <a:pt x="53235" y="21473"/>
                          <a:pt x="53235" y="21473"/>
                        </a:cubicBezTo>
                        <a:cubicBezTo>
                          <a:pt x="52058" y="22421"/>
                          <a:pt x="52058" y="22421"/>
                          <a:pt x="52058" y="22421"/>
                        </a:cubicBezTo>
                        <a:cubicBezTo>
                          <a:pt x="52058" y="22421"/>
                          <a:pt x="50294" y="23052"/>
                          <a:pt x="50000" y="23368"/>
                        </a:cubicBezTo>
                        <a:cubicBezTo>
                          <a:pt x="50000" y="23368"/>
                          <a:pt x="48823" y="23052"/>
                          <a:pt x="48823" y="23052"/>
                        </a:cubicBezTo>
                        <a:cubicBezTo>
                          <a:pt x="47352" y="24000"/>
                          <a:pt x="47352" y="24000"/>
                          <a:pt x="47352" y="24000"/>
                        </a:cubicBezTo>
                        <a:cubicBezTo>
                          <a:pt x="47058" y="24947"/>
                          <a:pt x="47058" y="24947"/>
                          <a:pt x="47058" y="24947"/>
                        </a:cubicBezTo>
                        <a:cubicBezTo>
                          <a:pt x="47647" y="25578"/>
                          <a:pt x="47647" y="25578"/>
                          <a:pt x="47647" y="25578"/>
                        </a:cubicBezTo>
                        <a:cubicBezTo>
                          <a:pt x="48823" y="26210"/>
                          <a:pt x="48823" y="26210"/>
                          <a:pt x="48823" y="26210"/>
                        </a:cubicBezTo>
                        <a:cubicBezTo>
                          <a:pt x="48823" y="26210"/>
                          <a:pt x="49705" y="26526"/>
                          <a:pt x="49705" y="26842"/>
                        </a:cubicBezTo>
                        <a:cubicBezTo>
                          <a:pt x="49705" y="26842"/>
                          <a:pt x="49411" y="27473"/>
                          <a:pt x="49411" y="27473"/>
                        </a:cubicBezTo>
                        <a:cubicBezTo>
                          <a:pt x="49411" y="29052"/>
                          <a:pt x="49411" y="29052"/>
                          <a:pt x="49411" y="29052"/>
                        </a:cubicBezTo>
                        <a:cubicBezTo>
                          <a:pt x="49411" y="29052"/>
                          <a:pt x="50294" y="29368"/>
                          <a:pt x="50588" y="29368"/>
                        </a:cubicBezTo>
                        <a:cubicBezTo>
                          <a:pt x="50588" y="29368"/>
                          <a:pt x="51470" y="28736"/>
                          <a:pt x="51470" y="28736"/>
                        </a:cubicBezTo>
                        <a:cubicBezTo>
                          <a:pt x="51470" y="28421"/>
                          <a:pt x="51764" y="28105"/>
                          <a:pt x="51764" y="28105"/>
                        </a:cubicBezTo>
                        <a:cubicBezTo>
                          <a:pt x="52352" y="28736"/>
                          <a:pt x="52352" y="28736"/>
                          <a:pt x="52352" y="28736"/>
                        </a:cubicBezTo>
                        <a:cubicBezTo>
                          <a:pt x="52352" y="28736"/>
                          <a:pt x="52647" y="29368"/>
                          <a:pt x="52941" y="29368"/>
                        </a:cubicBezTo>
                        <a:cubicBezTo>
                          <a:pt x="52941" y="29368"/>
                          <a:pt x="53823" y="29368"/>
                          <a:pt x="53823" y="29368"/>
                        </a:cubicBezTo>
                        <a:cubicBezTo>
                          <a:pt x="55000" y="30000"/>
                          <a:pt x="55000" y="30000"/>
                          <a:pt x="55000" y="30000"/>
                        </a:cubicBezTo>
                        <a:cubicBezTo>
                          <a:pt x="56470" y="31263"/>
                          <a:pt x="56470" y="31263"/>
                          <a:pt x="56470" y="31263"/>
                        </a:cubicBezTo>
                        <a:cubicBezTo>
                          <a:pt x="56470" y="31263"/>
                          <a:pt x="57647" y="31894"/>
                          <a:pt x="57352" y="32210"/>
                        </a:cubicBezTo>
                        <a:cubicBezTo>
                          <a:pt x="56764" y="32526"/>
                          <a:pt x="56176" y="32842"/>
                          <a:pt x="55882" y="32842"/>
                        </a:cubicBezTo>
                        <a:cubicBezTo>
                          <a:pt x="55882" y="32842"/>
                          <a:pt x="55294" y="32526"/>
                          <a:pt x="55294" y="32210"/>
                        </a:cubicBezTo>
                        <a:cubicBezTo>
                          <a:pt x="55294" y="31578"/>
                          <a:pt x="55000" y="31263"/>
                          <a:pt x="54705" y="31263"/>
                        </a:cubicBezTo>
                        <a:cubicBezTo>
                          <a:pt x="54411" y="31263"/>
                          <a:pt x="53823" y="30631"/>
                          <a:pt x="53823" y="30631"/>
                        </a:cubicBezTo>
                        <a:cubicBezTo>
                          <a:pt x="53529" y="30631"/>
                          <a:pt x="52941" y="30631"/>
                          <a:pt x="52647" y="30947"/>
                        </a:cubicBezTo>
                        <a:cubicBezTo>
                          <a:pt x="52352" y="30947"/>
                          <a:pt x="51764" y="30947"/>
                          <a:pt x="51764" y="30631"/>
                        </a:cubicBezTo>
                        <a:cubicBezTo>
                          <a:pt x="51470" y="30631"/>
                          <a:pt x="51176" y="29684"/>
                          <a:pt x="51176" y="29684"/>
                        </a:cubicBezTo>
                        <a:cubicBezTo>
                          <a:pt x="49705" y="29368"/>
                          <a:pt x="49705" y="29368"/>
                          <a:pt x="49705" y="29368"/>
                        </a:cubicBezTo>
                        <a:cubicBezTo>
                          <a:pt x="49705" y="29368"/>
                          <a:pt x="49411" y="29684"/>
                          <a:pt x="49411" y="30000"/>
                        </a:cubicBezTo>
                        <a:cubicBezTo>
                          <a:pt x="49411" y="30000"/>
                          <a:pt x="48823" y="30631"/>
                          <a:pt x="48823" y="30631"/>
                        </a:cubicBezTo>
                        <a:cubicBezTo>
                          <a:pt x="48529" y="30947"/>
                          <a:pt x="48529" y="30947"/>
                          <a:pt x="48529" y="30947"/>
                        </a:cubicBezTo>
                        <a:cubicBezTo>
                          <a:pt x="48529" y="31578"/>
                          <a:pt x="48529" y="31578"/>
                          <a:pt x="48529" y="31578"/>
                        </a:cubicBezTo>
                        <a:cubicBezTo>
                          <a:pt x="49117" y="32210"/>
                          <a:pt x="49117" y="32210"/>
                          <a:pt x="49117" y="32210"/>
                        </a:cubicBezTo>
                        <a:cubicBezTo>
                          <a:pt x="50294" y="33157"/>
                          <a:pt x="50294" y="33157"/>
                          <a:pt x="50294" y="33157"/>
                        </a:cubicBezTo>
                        <a:cubicBezTo>
                          <a:pt x="50294" y="33157"/>
                          <a:pt x="51764" y="33473"/>
                          <a:pt x="51764" y="33473"/>
                        </a:cubicBezTo>
                        <a:cubicBezTo>
                          <a:pt x="52058" y="33473"/>
                          <a:pt x="52647" y="34421"/>
                          <a:pt x="52647" y="34421"/>
                        </a:cubicBezTo>
                        <a:cubicBezTo>
                          <a:pt x="52647" y="35368"/>
                          <a:pt x="52647" y="35368"/>
                          <a:pt x="52647" y="35368"/>
                        </a:cubicBezTo>
                        <a:cubicBezTo>
                          <a:pt x="52352" y="36315"/>
                          <a:pt x="52352" y="36315"/>
                          <a:pt x="52352" y="36315"/>
                        </a:cubicBezTo>
                        <a:cubicBezTo>
                          <a:pt x="52352" y="36315"/>
                          <a:pt x="52352" y="36947"/>
                          <a:pt x="51764" y="36631"/>
                        </a:cubicBezTo>
                        <a:cubicBezTo>
                          <a:pt x="51176" y="36315"/>
                          <a:pt x="50882" y="36000"/>
                          <a:pt x="50882" y="36000"/>
                        </a:cubicBezTo>
                        <a:cubicBezTo>
                          <a:pt x="50000" y="35684"/>
                          <a:pt x="50000" y="35684"/>
                          <a:pt x="50000" y="35684"/>
                        </a:cubicBezTo>
                        <a:cubicBezTo>
                          <a:pt x="49705" y="34421"/>
                          <a:pt x="49705" y="34421"/>
                          <a:pt x="49705" y="34421"/>
                        </a:cubicBezTo>
                        <a:cubicBezTo>
                          <a:pt x="49705" y="34421"/>
                          <a:pt x="49117" y="33789"/>
                          <a:pt x="49117" y="33789"/>
                        </a:cubicBezTo>
                        <a:cubicBezTo>
                          <a:pt x="48823" y="33789"/>
                          <a:pt x="47352" y="32842"/>
                          <a:pt x="47352" y="32842"/>
                        </a:cubicBezTo>
                        <a:cubicBezTo>
                          <a:pt x="45588" y="32842"/>
                          <a:pt x="45588" y="32842"/>
                          <a:pt x="45588" y="32842"/>
                        </a:cubicBezTo>
                        <a:cubicBezTo>
                          <a:pt x="44411" y="32842"/>
                          <a:pt x="44411" y="32842"/>
                          <a:pt x="44411" y="32842"/>
                        </a:cubicBezTo>
                        <a:cubicBezTo>
                          <a:pt x="44117" y="33789"/>
                          <a:pt x="44117" y="33789"/>
                          <a:pt x="44117" y="33789"/>
                        </a:cubicBezTo>
                        <a:cubicBezTo>
                          <a:pt x="44117" y="33789"/>
                          <a:pt x="44117" y="34421"/>
                          <a:pt x="44411" y="34421"/>
                        </a:cubicBezTo>
                        <a:cubicBezTo>
                          <a:pt x="44411" y="34736"/>
                          <a:pt x="45294" y="35368"/>
                          <a:pt x="45294" y="35368"/>
                        </a:cubicBezTo>
                        <a:cubicBezTo>
                          <a:pt x="45294" y="35368"/>
                          <a:pt x="45882" y="35368"/>
                          <a:pt x="45882" y="35684"/>
                        </a:cubicBezTo>
                        <a:cubicBezTo>
                          <a:pt x="46176" y="36000"/>
                          <a:pt x="46764" y="36631"/>
                          <a:pt x="46764" y="36631"/>
                        </a:cubicBezTo>
                        <a:cubicBezTo>
                          <a:pt x="46764" y="36631"/>
                          <a:pt x="47058" y="36631"/>
                          <a:pt x="47352" y="36631"/>
                        </a:cubicBezTo>
                        <a:cubicBezTo>
                          <a:pt x="47941" y="36631"/>
                          <a:pt x="48529" y="36947"/>
                          <a:pt x="48529" y="36947"/>
                        </a:cubicBezTo>
                        <a:cubicBezTo>
                          <a:pt x="49411" y="37263"/>
                          <a:pt x="49411" y="37263"/>
                          <a:pt x="49411" y="37263"/>
                        </a:cubicBezTo>
                        <a:cubicBezTo>
                          <a:pt x="49705" y="37578"/>
                          <a:pt x="49705" y="37578"/>
                          <a:pt x="49705" y="37578"/>
                        </a:cubicBezTo>
                        <a:cubicBezTo>
                          <a:pt x="49705" y="37578"/>
                          <a:pt x="48823" y="37894"/>
                          <a:pt x="48529" y="37894"/>
                        </a:cubicBezTo>
                        <a:cubicBezTo>
                          <a:pt x="48235" y="38210"/>
                          <a:pt x="47352" y="38210"/>
                          <a:pt x="47352" y="38210"/>
                        </a:cubicBezTo>
                        <a:cubicBezTo>
                          <a:pt x="47352" y="38210"/>
                          <a:pt x="46764" y="37578"/>
                          <a:pt x="46470" y="37578"/>
                        </a:cubicBezTo>
                        <a:cubicBezTo>
                          <a:pt x="46470" y="37578"/>
                          <a:pt x="45588" y="37894"/>
                          <a:pt x="45588" y="37894"/>
                        </a:cubicBezTo>
                        <a:cubicBezTo>
                          <a:pt x="45588" y="37894"/>
                          <a:pt x="45000" y="38526"/>
                          <a:pt x="44705" y="37894"/>
                        </a:cubicBezTo>
                        <a:cubicBezTo>
                          <a:pt x="44411" y="37263"/>
                          <a:pt x="44117" y="36631"/>
                          <a:pt x="44117" y="36631"/>
                        </a:cubicBezTo>
                        <a:cubicBezTo>
                          <a:pt x="44117" y="36000"/>
                          <a:pt x="44117" y="36000"/>
                          <a:pt x="44117" y="36000"/>
                        </a:cubicBezTo>
                        <a:cubicBezTo>
                          <a:pt x="44117" y="35052"/>
                          <a:pt x="44117" y="35052"/>
                          <a:pt x="44117" y="35052"/>
                        </a:cubicBezTo>
                        <a:cubicBezTo>
                          <a:pt x="43823" y="34105"/>
                          <a:pt x="43823" y="34105"/>
                          <a:pt x="43823" y="34105"/>
                        </a:cubicBezTo>
                        <a:cubicBezTo>
                          <a:pt x="42647" y="33473"/>
                          <a:pt x="42647" y="33473"/>
                          <a:pt x="42647" y="33473"/>
                        </a:cubicBezTo>
                        <a:cubicBezTo>
                          <a:pt x="41176" y="33473"/>
                          <a:pt x="41176" y="33473"/>
                          <a:pt x="41176" y="33473"/>
                        </a:cubicBezTo>
                        <a:cubicBezTo>
                          <a:pt x="39705" y="32526"/>
                          <a:pt x="39705" y="32526"/>
                          <a:pt x="39705" y="32526"/>
                        </a:cubicBezTo>
                        <a:cubicBezTo>
                          <a:pt x="37941" y="31894"/>
                          <a:pt x="37941" y="31894"/>
                          <a:pt x="37941" y="31894"/>
                        </a:cubicBezTo>
                        <a:cubicBezTo>
                          <a:pt x="37352" y="30631"/>
                          <a:pt x="37352" y="30631"/>
                          <a:pt x="37352" y="30631"/>
                        </a:cubicBezTo>
                        <a:cubicBezTo>
                          <a:pt x="38529" y="29684"/>
                          <a:pt x="38529" y="29684"/>
                          <a:pt x="38529" y="29684"/>
                        </a:cubicBezTo>
                        <a:cubicBezTo>
                          <a:pt x="38235" y="28736"/>
                          <a:pt x="38235" y="28736"/>
                          <a:pt x="38235" y="28736"/>
                        </a:cubicBezTo>
                        <a:cubicBezTo>
                          <a:pt x="37647" y="28105"/>
                          <a:pt x="37647" y="28105"/>
                          <a:pt x="37647" y="28105"/>
                        </a:cubicBezTo>
                        <a:cubicBezTo>
                          <a:pt x="36176" y="29052"/>
                          <a:pt x="36176" y="29052"/>
                          <a:pt x="36176" y="29052"/>
                        </a:cubicBezTo>
                        <a:cubicBezTo>
                          <a:pt x="36176" y="30000"/>
                          <a:pt x="36176" y="30000"/>
                          <a:pt x="36176" y="30000"/>
                        </a:cubicBezTo>
                        <a:cubicBezTo>
                          <a:pt x="34705" y="30631"/>
                          <a:pt x="34705" y="30631"/>
                          <a:pt x="34705" y="30631"/>
                        </a:cubicBezTo>
                        <a:cubicBezTo>
                          <a:pt x="34117" y="31894"/>
                          <a:pt x="34117" y="31894"/>
                          <a:pt x="34117" y="31894"/>
                        </a:cubicBezTo>
                        <a:cubicBezTo>
                          <a:pt x="35000" y="32842"/>
                          <a:pt x="35000" y="32842"/>
                          <a:pt x="35000" y="32842"/>
                        </a:cubicBezTo>
                        <a:cubicBezTo>
                          <a:pt x="35000" y="34421"/>
                          <a:pt x="35000" y="34421"/>
                          <a:pt x="35000" y="34421"/>
                        </a:cubicBezTo>
                        <a:cubicBezTo>
                          <a:pt x="35000" y="34421"/>
                          <a:pt x="34705" y="36000"/>
                          <a:pt x="35000" y="36315"/>
                        </a:cubicBezTo>
                        <a:cubicBezTo>
                          <a:pt x="35000" y="36315"/>
                          <a:pt x="34705" y="37263"/>
                          <a:pt x="34705" y="37894"/>
                        </a:cubicBezTo>
                        <a:cubicBezTo>
                          <a:pt x="35000" y="38210"/>
                          <a:pt x="35000" y="38526"/>
                          <a:pt x="35588" y="38842"/>
                        </a:cubicBezTo>
                        <a:cubicBezTo>
                          <a:pt x="35882" y="39157"/>
                          <a:pt x="35882" y="39157"/>
                          <a:pt x="36470" y="39473"/>
                        </a:cubicBezTo>
                        <a:cubicBezTo>
                          <a:pt x="37058" y="39789"/>
                          <a:pt x="37352" y="40105"/>
                          <a:pt x="37352" y="40105"/>
                        </a:cubicBezTo>
                        <a:cubicBezTo>
                          <a:pt x="37941" y="41368"/>
                          <a:pt x="37941" y="41368"/>
                          <a:pt x="37941" y="41368"/>
                        </a:cubicBezTo>
                        <a:cubicBezTo>
                          <a:pt x="37941" y="41368"/>
                          <a:pt x="38235" y="41684"/>
                          <a:pt x="38529" y="41684"/>
                        </a:cubicBezTo>
                        <a:cubicBezTo>
                          <a:pt x="38823" y="42000"/>
                          <a:pt x="39705" y="42315"/>
                          <a:pt x="39705" y="42631"/>
                        </a:cubicBezTo>
                        <a:cubicBezTo>
                          <a:pt x="39705" y="43263"/>
                          <a:pt x="40000" y="43894"/>
                          <a:pt x="40000" y="43894"/>
                        </a:cubicBezTo>
                        <a:cubicBezTo>
                          <a:pt x="40000" y="43894"/>
                          <a:pt x="40294" y="44526"/>
                          <a:pt x="40294" y="44526"/>
                        </a:cubicBezTo>
                        <a:cubicBezTo>
                          <a:pt x="40588" y="44842"/>
                          <a:pt x="40882" y="44526"/>
                          <a:pt x="40882" y="44842"/>
                        </a:cubicBezTo>
                        <a:cubicBezTo>
                          <a:pt x="41176" y="45157"/>
                          <a:pt x="40882" y="45473"/>
                          <a:pt x="41470" y="45789"/>
                        </a:cubicBezTo>
                        <a:cubicBezTo>
                          <a:pt x="41764" y="46421"/>
                          <a:pt x="42352" y="46736"/>
                          <a:pt x="42352" y="46736"/>
                        </a:cubicBezTo>
                        <a:cubicBezTo>
                          <a:pt x="42647" y="46736"/>
                          <a:pt x="43235" y="47052"/>
                          <a:pt x="43235" y="47052"/>
                        </a:cubicBezTo>
                        <a:cubicBezTo>
                          <a:pt x="45000" y="48315"/>
                          <a:pt x="45000" y="48315"/>
                          <a:pt x="45000" y="48315"/>
                        </a:cubicBezTo>
                        <a:cubicBezTo>
                          <a:pt x="46176" y="49894"/>
                          <a:pt x="46176" y="49894"/>
                          <a:pt x="46176" y="49894"/>
                        </a:cubicBezTo>
                        <a:cubicBezTo>
                          <a:pt x="47058" y="50842"/>
                          <a:pt x="47058" y="50842"/>
                          <a:pt x="47058" y="50842"/>
                        </a:cubicBezTo>
                        <a:cubicBezTo>
                          <a:pt x="46764" y="52105"/>
                          <a:pt x="46764" y="52105"/>
                          <a:pt x="46764" y="52105"/>
                        </a:cubicBezTo>
                        <a:cubicBezTo>
                          <a:pt x="46470" y="52736"/>
                          <a:pt x="46470" y="52736"/>
                          <a:pt x="46470" y="52736"/>
                        </a:cubicBezTo>
                        <a:cubicBezTo>
                          <a:pt x="46470" y="52736"/>
                          <a:pt x="45882" y="53052"/>
                          <a:pt x="45588" y="53052"/>
                        </a:cubicBezTo>
                        <a:cubicBezTo>
                          <a:pt x="45588" y="53052"/>
                          <a:pt x="45000" y="53368"/>
                          <a:pt x="45000" y="53368"/>
                        </a:cubicBezTo>
                        <a:cubicBezTo>
                          <a:pt x="45000" y="53368"/>
                          <a:pt x="44705" y="53052"/>
                          <a:pt x="44705" y="53052"/>
                        </a:cubicBezTo>
                        <a:cubicBezTo>
                          <a:pt x="45000" y="52736"/>
                          <a:pt x="45882" y="52421"/>
                          <a:pt x="45882" y="52421"/>
                        </a:cubicBezTo>
                        <a:cubicBezTo>
                          <a:pt x="45882" y="52421"/>
                          <a:pt x="45882" y="51473"/>
                          <a:pt x="45588" y="51473"/>
                        </a:cubicBezTo>
                        <a:cubicBezTo>
                          <a:pt x="45294" y="51157"/>
                          <a:pt x="44411" y="50526"/>
                          <a:pt x="44411" y="50526"/>
                        </a:cubicBezTo>
                        <a:cubicBezTo>
                          <a:pt x="43823" y="49894"/>
                          <a:pt x="43823" y="49894"/>
                          <a:pt x="43823" y="49894"/>
                        </a:cubicBezTo>
                        <a:cubicBezTo>
                          <a:pt x="42941" y="49894"/>
                          <a:pt x="42941" y="49894"/>
                          <a:pt x="42941" y="49894"/>
                        </a:cubicBezTo>
                        <a:cubicBezTo>
                          <a:pt x="42941" y="49894"/>
                          <a:pt x="42352" y="49894"/>
                          <a:pt x="42352" y="50210"/>
                        </a:cubicBezTo>
                        <a:cubicBezTo>
                          <a:pt x="42058" y="50526"/>
                          <a:pt x="41176" y="51157"/>
                          <a:pt x="41176" y="51157"/>
                        </a:cubicBezTo>
                        <a:cubicBezTo>
                          <a:pt x="40588" y="52421"/>
                          <a:pt x="40588" y="52421"/>
                          <a:pt x="40588" y="52421"/>
                        </a:cubicBezTo>
                        <a:cubicBezTo>
                          <a:pt x="42058" y="52736"/>
                          <a:pt x="42058" y="52736"/>
                          <a:pt x="42058" y="52736"/>
                        </a:cubicBezTo>
                        <a:cubicBezTo>
                          <a:pt x="42058" y="52736"/>
                          <a:pt x="42647" y="53368"/>
                          <a:pt x="42647" y="53368"/>
                        </a:cubicBezTo>
                        <a:cubicBezTo>
                          <a:pt x="42647" y="53684"/>
                          <a:pt x="43235" y="54315"/>
                          <a:pt x="43235" y="54315"/>
                        </a:cubicBezTo>
                        <a:cubicBezTo>
                          <a:pt x="43823" y="54631"/>
                          <a:pt x="43823" y="54631"/>
                          <a:pt x="43823" y="54631"/>
                        </a:cubicBezTo>
                        <a:cubicBezTo>
                          <a:pt x="43823" y="55263"/>
                          <a:pt x="43823" y="55263"/>
                          <a:pt x="43823" y="55263"/>
                        </a:cubicBezTo>
                        <a:cubicBezTo>
                          <a:pt x="43529" y="56210"/>
                          <a:pt x="43529" y="56210"/>
                          <a:pt x="43529" y="56210"/>
                        </a:cubicBezTo>
                        <a:cubicBezTo>
                          <a:pt x="42647" y="57473"/>
                          <a:pt x="42647" y="57473"/>
                          <a:pt x="42647" y="57473"/>
                        </a:cubicBezTo>
                        <a:cubicBezTo>
                          <a:pt x="42647" y="57473"/>
                          <a:pt x="42058" y="57789"/>
                          <a:pt x="42058" y="57789"/>
                        </a:cubicBezTo>
                        <a:cubicBezTo>
                          <a:pt x="41764" y="57789"/>
                          <a:pt x="41176" y="58421"/>
                          <a:pt x="41176" y="58421"/>
                        </a:cubicBezTo>
                        <a:cubicBezTo>
                          <a:pt x="41176" y="58421"/>
                          <a:pt x="40882" y="58421"/>
                          <a:pt x="40882" y="58421"/>
                        </a:cubicBezTo>
                        <a:cubicBezTo>
                          <a:pt x="40588" y="58421"/>
                          <a:pt x="40000" y="58105"/>
                          <a:pt x="39705" y="58105"/>
                        </a:cubicBezTo>
                        <a:cubicBezTo>
                          <a:pt x="39705" y="58105"/>
                          <a:pt x="39117" y="58421"/>
                          <a:pt x="39117" y="58421"/>
                        </a:cubicBezTo>
                        <a:cubicBezTo>
                          <a:pt x="39117" y="58421"/>
                          <a:pt x="38235" y="59052"/>
                          <a:pt x="39411" y="59368"/>
                        </a:cubicBezTo>
                        <a:cubicBezTo>
                          <a:pt x="40588" y="59368"/>
                          <a:pt x="40882" y="59368"/>
                          <a:pt x="41176" y="59368"/>
                        </a:cubicBezTo>
                        <a:cubicBezTo>
                          <a:pt x="41176" y="59368"/>
                          <a:pt x="42352" y="59368"/>
                          <a:pt x="42352" y="59368"/>
                        </a:cubicBezTo>
                        <a:cubicBezTo>
                          <a:pt x="42352" y="59368"/>
                          <a:pt x="42647" y="59368"/>
                          <a:pt x="42941" y="59684"/>
                        </a:cubicBezTo>
                        <a:cubicBezTo>
                          <a:pt x="43529" y="59684"/>
                          <a:pt x="43823" y="59684"/>
                          <a:pt x="44117" y="60000"/>
                        </a:cubicBezTo>
                        <a:cubicBezTo>
                          <a:pt x="44411" y="60000"/>
                          <a:pt x="44705" y="60315"/>
                          <a:pt x="44705" y="60315"/>
                        </a:cubicBezTo>
                        <a:cubicBezTo>
                          <a:pt x="44705" y="60631"/>
                          <a:pt x="44705" y="60631"/>
                          <a:pt x="45000" y="60631"/>
                        </a:cubicBezTo>
                        <a:cubicBezTo>
                          <a:pt x="45294" y="60631"/>
                          <a:pt x="45588" y="60947"/>
                          <a:pt x="45588" y="60947"/>
                        </a:cubicBezTo>
                        <a:cubicBezTo>
                          <a:pt x="45882" y="60947"/>
                          <a:pt x="45882" y="60947"/>
                          <a:pt x="45882" y="60947"/>
                        </a:cubicBezTo>
                        <a:cubicBezTo>
                          <a:pt x="45882" y="60947"/>
                          <a:pt x="46176" y="60947"/>
                          <a:pt x="46470" y="60947"/>
                        </a:cubicBezTo>
                        <a:cubicBezTo>
                          <a:pt x="46764" y="60947"/>
                          <a:pt x="46764" y="60631"/>
                          <a:pt x="47058" y="60631"/>
                        </a:cubicBezTo>
                        <a:cubicBezTo>
                          <a:pt x="47352" y="60631"/>
                          <a:pt x="48235" y="60631"/>
                          <a:pt x="48235" y="60631"/>
                        </a:cubicBezTo>
                        <a:cubicBezTo>
                          <a:pt x="48823" y="61894"/>
                          <a:pt x="48823" y="61894"/>
                          <a:pt x="48823" y="61894"/>
                        </a:cubicBezTo>
                        <a:cubicBezTo>
                          <a:pt x="48823" y="61894"/>
                          <a:pt x="48823" y="62210"/>
                          <a:pt x="49117" y="62210"/>
                        </a:cubicBezTo>
                        <a:cubicBezTo>
                          <a:pt x="49117" y="62526"/>
                          <a:pt x="49705" y="62842"/>
                          <a:pt x="50000" y="62842"/>
                        </a:cubicBezTo>
                        <a:cubicBezTo>
                          <a:pt x="50294" y="62842"/>
                          <a:pt x="52647" y="62210"/>
                          <a:pt x="52647" y="62210"/>
                        </a:cubicBezTo>
                        <a:cubicBezTo>
                          <a:pt x="51470" y="61263"/>
                          <a:pt x="51470" y="61263"/>
                          <a:pt x="51470" y="61263"/>
                        </a:cubicBezTo>
                        <a:cubicBezTo>
                          <a:pt x="51470" y="61263"/>
                          <a:pt x="50882" y="60631"/>
                          <a:pt x="50588" y="60315"/>
                        </a:cubicBezTo>
                        <a:cubicBezTo>
                          <a:pt x="50588" y="60000"/>
                          <a:pt x="49117" y="59052"/>
                          <a:pt x="49117" y="59052"/>
                        </a:cubicBezTo>
                        <a:cubicBezTo>
                          <a:pt x="47647" y="58736"/>
                          <a:pt x="47647" y="58736"/>
                          <a:pt x="47647" y="58736"/>
                        </a:cubicBezTo>
                        <a:cubicBezTo>
                          <a:pt x="45882" y="57789"/>
                          <a:pt x="45882" y="57789"/>
                          <a:pt x="45882" y="57789"/>
                        </a:cubicBezTo>
                        <a:cubicBezTo>
                          <a:pt x="44117" y="57157"/>
                          <a:pt x="44117" y="57157"/>
                          <a:pt x="44117" y="57157"/>
                        </a:cubicBezTo>
                        <a:cubicBezTo>
                          <a:pt x="44117" y="57157"/>
                          <a:pt x="44705" y="55894"/>
                          <a:pt x="45000" y="55578"/>
                        </a:cubicBezTo>
                        <a:cubicBezTo>
                          <a:pt x="45000" y="55263"/>
                          <a:pt x="45000" y="54315"/>
                          <a:pt x="45294" y="54315"/>
                        </a:cubicBezTo>
                        <a:cubicBezTo>
                          <a:pt x="45588" y="54631"/>
                          <a:pt x="46176" y="54631"/>
                          <a:pt x="46470" y="54631"/>
                        </a:cubicBezTo>
                        <a:cubicBezTo>
                          <a:pt x="46764" y="54631"/>
                          <a:pt x="47352" y="54315"/>
                          <a:pt x="47647" y="54315"/>
                        </a:cubicBezTo>
                        <a:cubicBezTo>
                          <a:pt x="47941" y="54315"/>
                          <a:pt x="48529" y="54631"/>
                          <a:pt x="48529" y="54631"/>
                        </a:cubicBezTo>
                        <a:cubicBezTo>
                          <a:pt x="48529" y="54631"/>
                          <a:pt x="48823" y="55263"/>
                          <a:pt x="48823" y="55578"/>
                        </a:cubicBezTo>
                        <a:cubicBezTo>
                          <a:pt x="49117" y="55578"/>
                          <a:pt x="49117" y="56210"/>
                          <a:pt x="49411" y="56526"/>
                        </a:cubicBezTo>
                        <a:cubicBezTo>
                          <a:pt x="49705" y="56526"/>
                          <a:pt x="51176" y="57157"/>
                          <a:pt x="51176" y="57157"/>
                        </a:cubicBezTo>
                        <a:cubicBezTo>
                          <a:pt x="51176" y="57157"/>
                          <a:pt x="52941" y="57789"/>
                          <a:pt x="52941" y="57789"/>
                        </a:cubicBezTo>
                        <a:cubicBezTo>
                          <a:pt x="53235" y="57789"/>
                          <a:pt x="53823" y="57789"/>
                          <a:pt x="53823" y="57789"/>
                        </a:cubicBezTo>
                        <a:cubicBezTo>
                          <a:pt x="54705" y="58736"/>
                          <a:pt x="54705" y="58736"/>
                          <a:pt x="54705" y="58736"/>
                        </a:cubicBezTo>
                        <a:cubicBezTo>
                          <a:pt x="56470" y="58421"/>
                          <a:pt x="56470" y="58421"/>
                          <a:pt x="56470" y="58421"/>
                        </a:cubicBezTo>
                        <a:cubicBezTo>
                          <a:pt x="58235" y="58105"/>
                          <a:pt x="58235" y="58105"/>
                          <a:pt x="58235" y="58105"/>
                        </a:cubicBezTo>
                        <a:cubicBezTo>
                          <a:pt x="58529" y="58736"/>
                          <a:pt x="58529" y="58736"/>
                          <a:pt x="58529" y="58736"/>
                        </a:cubicBezTo>
                        <a:cubicBezTo>
                          <a:pt x="58529" y="58736"/>
                          <a:pt x="59411" y="59368"/>
                          <a:pt x="59411" y="59368"/>
                        </a:cubicBezTo>
                        <a:cubicBezTo>
                          <a:pt x="59411" y="59684"/>
                          <a:pt x="60000" y="60947"/>
                          <a:pt x="60000" y="60947"/>
                        </a:cubicBezTo>
                        <a:cubicBezTo>
                          <a:pt x="60000" y="60947"/>
                          <a:pt x="60000" y="61894"/>
                          <a:pt x="60000" y="61894"/>
                        </a:cubicBezTo>
                        <a:cubicBezTo>
                          <a:pt x="60000" y="62210"/>
                          <a:pt x="60588" y="63473"/>
                          <a:pt x="60588" y="63473"/>
                        </a:cubicBezTo>
                        <a:cubicBezTo>
                          <a:pt x="60882" y="63789"/>
                          <a:pt x="62058" y="65052"/>
                          <a:pt x="62058" y="65368"/>
                        </a:cubicBezTo>
                        <a:cubicBezTo>
                          <a:pt x="62058" y="65368"/>
                          <a:pt x="62647" y="66315"/>
                          <a:pt x="62941" y="66315"/>
                        </a:cubicBezTo>
                        <a:cubicBezTo>
                          <a:pt x="62941" y="66315"/>
                          <a:pt x="63235" y="66000"/>
                          <a:pt x="63235" y="66000"/>
                        </a:cubicBezTo>
                        <a:cubicBezTo>
                          <a:pt x="63529" y="66000"/>
                          <a:pt x="64411" y="65368"/>
                          <a:pt x="64411" y="65368"/>
                        </a:cubicBezTo>
                        <a:cubicBezTo>
                          <a:pt x="64411" y="65368"/>
                          <a:pt x="65294" y="65368"/>
                          <a:pt x="65294" y="65684"/>
                        </a:cubicBezTo>
                        <a:cubicBezTo>
                          <a:pt x="65294" y="66000"/>
                          <a:pt x="66470" y="66947"/>
                          <a:pt x="66470" y="66947"/>
                        </a:cubicBezTo>
                        <a:cubicBezTo>
                          <a:pt x="66470" y="66947"/>
                          <a:pt x="66764" y="68210"/>
                          <a:pt x="66764" y="68210"/>
                        </a:cubicBezTo>
                        <a:cubicBezTo>
                          <a:pt x="66470" y="68526"/>
                          <a:pt x="65588" y="68842"/>
                          <a:pt x="65588" y="69157"/>
                        </a:cubicBezTo>
                        <a:cubicBezTo>
                          <a:pt x="65294" y="69157"/>
                          <a:pt x="64411" y="69157"/>
                          <a:pt x="64411" y="69157"/>
                        </a:cubicBezTo>
                        <a:cubicBezTo>
                          <a:pt x="64117" y="69473"/>
                          <a:pt x="62941" y="69789"/>
                          <a:pt x="62941" y="69789"/>
                        </a:cubicBezTo>
                        <a:cubicBezTo>
                          <a:pt x="62941" y="68526"/>
                          <a:pt x="62941" y="68526"/>
                          <a:pt x="62941" y="68526"/>
                        </a:cubicBezTo>
                        <a:cubicBezTo>
                          <a:pt x="62941" y="68526"/>
                          <a:pt x="62941" y="68210"/>
                          <a:pt x="62647" y="68210"/>
                        </a:cubicBezTo>
                        <a:cubicBezTo>
                          <a:pt x="62647" y="68210"/>
                          <a:pt x="60882" y="67578"/>
                          <a:pt x="60882" y="67578"/>
                        </a:cubicBezTo>
                        <a:cubicBezTo>
                          <a:pt x="60588" y="66000"/>
                          <a:pt x="60588" y="66000"/>
                          <a:pt x="60588" y="66000"/>
                        </a:cubicBezTo>
                        <a:cubicBezTo>
                          <a:pt x="59705" y="65052"/>
                          <a:pt x="59705" y="65052"/>
                          <a:pt x="59705" y="65052"/>
                        </a:cubicBezTo>
                        <a:cubicBezTo>
                          <a:pt x="58823" y="64421"/>
                          <a:pt x="58823" y="64421"/>
                          <a:pt x="58823" y="64421"/>
                        </a:cubicBezTo>
                        <a:cubicBezTo>
                          <a:pt x="58235" y="63473"/>
                          <a:pt x="58235" y="63473"/>
                          <a:pt x="58235" y="63473"/>
                        </a:cubicBezTo>
                        <a:cubicBezTo>
                          <a:pt x="57058" y="63473"/>
                          <a:pt x="57058" y="63473"/>
                          <a:pt x="57058" y="63473"/>
                        </a:cubicBezTo>
                        <a:cubicBezTo>
                          <a:pt x="57058" y="63473"/>
                          <a:pt x="56470" y="63789"/>
                          <a:pt x="56470" y="63789"/>
                        </a:cubicBezTo>
                        <a:cubicBezTo>
                          <a:pt x="56176" y="64105"/>
                          <a:pt x="55000" y="63789"/>
                          <a:pt x="55000" y="63789"/>
                        </a:cubicBezTo>
                        <a:cubicBezTo>
                          <a:pt x="54117" y="64105"/>
                          <a:pt x="54117" y="64105"/>
                          <a:pt x="54117" y="64105"/>
                        </a:cubicBezTo>
                        <a:cubicBezTo>
                          <a:pt x="54117" y="64736"/>
                          <a:pt x="54117" y="64736"/>
                          <a:pt x="54117" y="64736"/>
                        </a:cubicBezTo>
                        <a:cubicBezTo>
                          <a:pt x="55588" y="64736"/>
                          <a:pt x="55588" y="64736"/>
                          <a:pt x="55588" y="64736"/>
                        </a:cubicBezTo>
                        <a:cubicBezTo>
                          <a:pt x="56764" y="65052"/>
                          <a:pt x="56764" y="65052"/>
                          <a:pt x="56764" y="65052"/>
                        </a:cubicBezTo>
                        <a:cubicBezTo>
                          <a:pt x="58529" y="65368"/>
                          <a:pt x="58529" y="65368"/>
                          <a:pt x="58529" y="65368"/>
                        </a:cubicBezTo>
                        <a:cubicBezTo>
                          <a:pt x="58529" y="66631"/>
                          <a:pt x="58529" y="66631"/>
                          <a:pt x="58529" y="66631"/>
                        </a:cubicBezTo>
                        <a:cubicBezTo>
                          <a:pt x="58529" y="66631"/>
                          <a:pt x="58823" y="67263"/>
                          <a:pt x="58823" y="67578"/>
                        </a:cubicBezTo>
                        <a:cubicBezTo>
                          <a:pt x="58823" y="67894"/>
                          <a:pt x="59411" y="69157"/>
                          <a:pt x="59411" y="69157"/>
                        </a:cubicBezTo>
                        <a:cubicBezTo>
                          <a:pt x="60000" y="71052"/>
                          <a:pt x="60000" y="71052"/>
                          <a:pt x="60000" y="71052"/>
                        </a:cubicBezTo>
                        <a:cubicBezTo>
                          <a:pt x="60588" y="72315"/>
                          <a:pt x="60588" y="72315"/>
                          <a:pt x="60588" y="72315"/>
                        </a:cubicBezTo>
                        <a:cubicBezTo>
                          <a:pt x="61176" y="72631"/>
                          <a:pt x="61176" y="72631"/>
                          <a:pt x="61176" y="72631"/>
                        </a:cubicBezTo>
                        <a:cubicBezTo>
                          <a:pt x="61176" y="73894"/>
                          <a:pt x="61176" y="73894"/>
                          <a:pt x="61176" y="73894"/>
                        </a:cubicBezTo>
                        <a:cubicBezTo>
                          <a:pt x="61764" y="74210"/>
                          <a:pt x="61764" y="74210"/>
                          <a:pt x="61764" y="74210"/>
                        </a:cubicBezTo>
                        <a:cubicBezTo>
                          <a:pt x="61764" y="74210"/>
                          <a:pt x="61470" y="74526"/>
                          <a:pt x="61470" y="74842"/>
                        </a:cubicBezTo>
                        <a:cubicBezTo>
                          <a:pt x="61470" y="74842"/>
                          <a:pt x="60882" y="75789"/>
                          <a:pt x="60882" y="75789"/>
                        </a:cubicBezTo>
                        <a:cubicBezTo>
                          <a:pt x="60882" y="75789"/>
                          <a:pt x="60294" y="75789"/>
                          <a:pt x="60000" y="75789"/>
                        </a:cubicBezTo>
                        <a:cubicBezTo>
                          <a:pt x="60000" y="75473"/>
                          <a:pt x="59705" y="74842"/>
                          <a:pt x="59411" y="74842"/>
                        </a:cubicBezTo>
                        <a:cubicBezTo>
                          <a:pt x="58823" y="74526"/>
                          <a:pt x="58823" y="73894"/>
                          <a:pt x="58529" y="73894"/>
                        </a:cubicBezTo>
                        <a:cubicBezTo>
                          <a:pt x="58235" y="73894"/>
                          <a:pt x="57352" y="73894"/>
                          <a:pt x="57352" y="73894"/>
                        </a:cubicBezTo>
                        <a:cubicBezTo>
                          <a:pt x="57352" y="73894"/>
                          <a:pt x="56764" y="72947"/>
                          <a:pt x="56470" y="72631"/>
                        </a:cubicBezTo>
                        <a:cubicBezTo>
                          <a:pt x="56470" y="72631"/>
                          <a:pt x="56176" y="72315"/>
                          <a:pt x="55882" y="72000"/>
                        </a:cubicBezTo>
                        <a:cubicBezTo>
                          <a:pt x="55588" y="71684"/>
                          <a:pt x="55000" y="70736"/>
                          <a:pt x="55000" y="71052"/>
                        </a:cubicBezTo>
                        <a:cubicBezTo>
                          <a:pt x="55000" y="71684"/>
                          <a:pt x="55294" y="72315"/>
                          <a:pt x="55000" y="72315"/>
                        </a:cubicBezTo>
                        <a:cubicBezTo>
                          <a:pt x="54411" y="72315"/>
                          <a:pt x="54117" y="72315"/>
                          <a:pt x="54117" y="72315"/>
                        </a:cubicBezTo>
                        <a:cubicBezTo>
                          <a:pt x="54117" y="72315"/>
                          <a:pt x="53529" y="72947"/>
                          <a:pt x="53235" y="73263"/>
                        </a:cubicBezTo>
                        <a:cubicBezTo>
                          <a:pt x="53235" y="73263"/>
                          <a:pt x="53529" y="73263"/>
                          <a:pt x="52941" y="73578"/>
                        </a:cubicBezTo>
                        <a:cubicBezTo>
                          <a:pt x="52647" y="73578"/>
                          <a:pt x="52058" y="73578"/>
                          <a:pt x="52058" y="73578"/>
                        </a:cubicBezTo>
                        <a:cubicBezTo>
                          <a:pt x="52058" y="73263"/>
                          <a:pt x="52058" y="73263"/>
                          <a:pt x="52058" y="72947"/>
                        </a:cubicBezTo>
                        <a:cubicBezTo>
                          <a:pt x="52352" y="72631"/>
                          <a:pt x="54117" y="71684"/>
                          <a:pt x="54117" y="71684"/>
                        </a:cubicBezTo>
                        <a:cubicBezTo>
                          <a:pt x="54117" y="71368"/>
                          <a:pt x="53529" y="70421"/>
                          <a:pt x="53529" y="70421"/>
                        </a:cubicBezTo>
                        <a:cubicBezTo>
                          <a:pt x="53235" y="70736"/>
                          <a:pt x="53235" y="70736"/>
                          <a:pt x="53235" y="70736"/>
                        </a:cubicBezTo>
                        <a:cubicBezTo>
                          <a:pt x="52352" y="71368"/>
                          <a:pt x="52352" y="71368"/>
                          <a:pt x="52352" y="71368"/>
                        </a:cubicBezTo>
                        <a:cubicBezTo>
                          <a:pt x="51176" y="72315"/>
                          <a:pt x="51176" y="72315"/>
                          <a:pt x="51176" y="72315"/>
                        </a:cubicBezTo>
                        <a:cubicBezTo>
                          <a:pt x="50294" y="72631"/>
                          <a:pt x="50294" y="72631"/>
                          <a:pt x="50294" y="72631"/>
                        </a:cubicBezTo>
                        <a:cubicBezTo>
                          <a:pt x="49411" y="73263"/>
                          <a:pt x="49411" y="73263"/>
                          <a:pt x="49411" y="73263"/>
                        </a:cubicBezTo>
                        <a:cubicBezTo>
                          <a:pt x="48235" y="73578"/>
                          <a:pt x="48235" y="73578"/>
                          <a:pt x="48235" y="73578"/>
                        </a:cubicBezTo>
                        <a:cubicBezTo>
                          <a:pt x="47058" y="73578"/>
                          <a:pt x="47058" y="73578"/>
                          <a:pt x="47058" y="73578"/>
                        </a:cubicBezTo>
                        <a:cubicBezTo>
                          <a:pt x="46470" y="73263"/>
                          <a:pt x="46470" y="73263"/>
                          <a:pt x="46470" y="73263"/>
                        </a:cubicBezTo>
                        <a:cubicBezTo>
                          <a:pt x="45882" y="72315"/>
                          <a:pt x="45882" y="72315"/>
                          <a:pt x="45882" y="72315"/>
                        </a:cubicBezTo>
                        <a:cubicBezTo>
                          <a:pt x="45588" y="72315"/>
                          <a:pt x="45588" y="72315"/>
                          <a:pt x="45588" y="72315"/>
                        </a:cubicBezTo>
                        <a:cubicBezTo>
                          <a:pt x="45588" y="72315"/>
                          <a:pt x="45294" y="71684"/>
                          <a:pt x="45588" y="71368"/>
                        </a:cubicBezTo>
                        <a:cubicBezTo>
                          <a:pt x="45588" y="71368"/>
                          <a:pt x="45882" y="71052"/>
                          <a:pt x="46470" y="71052"/>
                        </a:cubicBezTo>
                        <a:cubicBezTo>
                          <a:pt x="47058" y="71052"/>
                          <a:pt x="47352" y="71052"/>
                          <a:pt x="47647" y="71052"/>
                        </a:cubicBezTo>
                        <a:cubicBezTo>
                          <a:pt x="47941" y="71052"/>
                          <a:pt x="48235" y="70736"/>
                          <a:pt x="48235" y="70736"/>
                        </a:cubicBezTo>
                        <a:cubicBezTo>
                          <a:pt x="48235" y="70736"/>
                          <a:pt x="48529" y="70736"/>
                          <a:pt x="48529" y="70421"/>
                        </a:cubicBezTo>
                        <a:cubicBezTo>
                          <a:pt x="48529" y="70105"/>
                          <a:pt x="47647" y="68842"/>
                          <a:pt x="47647" y="68842"/>
                        </a:cubicBezTo>
                        <a:cubicBezTo>
                          <a:pt x="47647" y="68842"/>
                          <a:pt x="46470" y="68842"/>
                          <a:pt x="46176" y="69157"/>
                        </a:cubicBezTo>
                        <a:cubicBezTo>
                          <a:pt x="45588" y="69157"/>
                          <a:pt x="45588" y="69789"/>
                          <a:pt x="45000" y="69473"/>
                        </a:cubicBezTo>
                        <a:cubicBezTo>
                          <a:pt x="44411" y="69157"/>
                          <a:pt x="42941" y="68526"/>
                          <a:pt x="42941" y="68526"/>
                        </a:cubicBezTo>
                        <a:cubicBezTo>
                          <a:pt x="41764" y="67263"/>
                          <a:pt x="41764" y="67263"/>
                          <a:pt x="41764" y="67263"/>
                        </a:cubicBezTo>
                        <a:cubicBezTo>
                          <a:pt x="41176" y="67894"/>
                          <a:pt x="41176" y="67894"/>
                          <a:pt x="41176" y="67894"/>
                        </a:cubicBezTo>
                        <a:cubicBezTo>
                          <a:pt x="40294" y="68526"/>
                          <a:pt x="40294" y="68526"/>
                          <a:pt x="40294" y="68526"/>
                        </a:cubicBezTo>
                        <a:cubicBezTo>
                          <a:pt x="40294" y="68526"/>
                          <a:pt x="40294" y="69157"/>
                          <a:pt x="39705" y="68526"/>
                        </a:cubicBezTo>
                        <a:cubicBezTo>
                          <a:pt x="39117" y="67578"/>
                          <a:pt x="39117" y="66947"/>
                          <a:pt x="39117" y="66947"/>
                        </a:cubicBezTo>
                        <a:cubicBezTo>
                          <a:pt x="38235" y="66947"/>
                          <a:pt x="38235" y="66947"/>
                          <a:pt x="38235" y="66947"/>
                        </a:cubicBezTo>
                        <a:cubicBezTo>
                          <a:pt x="37941" y="67894"/>
                          <a:pt x="37941" y="67894"/>
                          <a:pt x="37941" y="67894"/>
                        </a:cubicBezTo>
                        <a:cubicBezTo>
                          <a:pt x="37941" y="67894"/>
                          <a:pt x="37352" y="68842"/>
                          <a:pt x="37352" y="68842"/>
                        </a:cubicBezTo>
                        <a:cubicBezTo>
                          <a:pt x="37058" y="68842"/>
                          <a:pt x="36176" y="68842"/>
                          <a:pt x="35882" y="69157"/>
                        </a:cubicBezTo>
                        <a:cubicBezTo>
                          <a:pt x="35882" y="69157"/>
                          <a:pt x="34411" y="69157"/>
                          <a:pt x="34411" y="69157"/>
                        </a:cubicBezTo>
                        <a:cubicBezTo>
                          <a:pt x="32352" y="68526"/>
                          <a:pt x="32352" y="68526"/>
                          <a:pt x="32352" y="68526"/>
                        </a:cubicBezTo>
                        <a:cubicBezTo>
                          <a:pt x="32352" y="68526"/>
                          <a:pt x="31764" y="68842"/>
                          <a:pt x="31764" y="68842"/>
                        </a:cubicBezTo>
                        <a:cubicBezTo>
                          <a:pt x="31470" y="69157"/>
                          <a:pt x="28529" y="69789"/>
                          <a:pt x="28529" y="69789"/>
                        </a:cubicBezTo>
                        <a:cubicBezTo>
                          <a:pt x="27058" y="70736"/>
                          <a:pt x="27058" y="70736"/>
                          <a:pt x="27058" y="70736"/>
                        </a:cubicBezTo>
                        <a:cubicBezTo>
                          <a:pt x="26176" y="70736"/>
                          <a:pt x="26176" y="70736"/>
                          <a:pt x="26176" y="70736"/>
                        </a:cubicBezTo>
                        <a:cubicBezTo>
                          <a:pt x="25294" y="69473"/>
                          <a:pt x="25294" y="69473"/>
                          <a:pt x="25294" y="69473"/>
                        </a:cubicBezTo>
                        <a:cubicBezTo>
                          <a:pt x="24705" y="68526"/>
                          <a:pt x="24705" y="68526"/>
                          <a:pt x="24705" y="68526"/>
                        </a:cubicBezTo>
                        <a:cubicBezTo>
                          <a:pt x="24705" y="69789"/>
                          <a:pt x="24705" y="69789"/>
                          <a:pt x="24705" y="69789"/>
                        </a:cubicBezTo>
                        <a:cubicBezTo>
                          <a:pt x="24411" y="70421"/>
                          <a:pt x="24411" y="70421"/>
                          <a:pt x="24411" y="70421"/>
                        </a:cubicBezTo>
                        <a:cubicBezTo>
                          <a:pt x="24411" y="70421"/>
                          <a:pt x="23235" y="71684"/>
                          <a:pt x="22941" y="72000"/>
                        </a:cubicBezTo>
                        <a:cubicBezTo>
                          <a:pt x="22941" y="72000"/>
                          <a:pt x="21470" y="70421"/>
                          <a:pt x="21470" y="70421"/>
                        </a:cubicBezTo>
                        <a:cubicBezTo>
                          <a:pt x="21176" y="68210"/>
                          <a:pt x="21176" y="68210"/>
                          <a:pt x="21176" y="68210"/>
                        </a:cubicBezTo>
                        <a:cubicBezTo>
                          <a:pt x="19705" y="66631"/>
                          <a:pt x="19705" y="66631"/>
                          <a:pt x="19705" y="66631"/>
                        </a:cubicBezTo>
                        <a:cubicBezTo>
                          <a:pt x="18823" y="66947"/>
                          <a:pt x="18823" y="66947"/>
                          <a:pt x="18823" y="66947"/>
                        </a:cubicBezTo>
                        <a:cubicBezTo>
                          <a:pt x="18529" y="65368"/>
                          <a:pt x="18529" y="65368"/>
                          <a:pt x="18529" y="65368"/>
                        </a:cubicBezTo>
                        <a:cubicBezTo>
                          <a:pt x="17941" y="64421"/>
                          <a:pt x="17941" y="64421"/>
                          <a:pt x="17941" y="64421"/>
                        </a:cubicBezTo>
                        <a:cubicBezTo>
                          <a:pt x="16764" y="64421"/>
                          <a:pt x="16764" y="64421"/>
                          <a:pt x="16764" y="64421"/>
                        </a:cubicBezTo>
                        <a:cubicBezTo>
                          <a:pt x="16470" y="65052"/>
                          <a:pt x="16470" y="65052"/>
                          <a:pt x="16470" y="65052"/>
                        </a:cubicBezTo>
                        <a:cubicBezTo>
                          <a:pt x="16176" y="66000"/>
                          <a:pt x="16176" y="66000"/>
                          <a:pt x="16176" y="66000"/>
                        </a:cubicBezTo>
                        <a:cubicBezTo>
                          <a:pt x="16176" y="66000"/>
                          <a:pt x="16470" y="66947"/>
                          <a:pt x="16470" y="66947"/>
                        </a:cubicBezTo>
                        <a:cubicBezTo>
                          <a:pt x="16470" y="67263"/>
                          <a:pt x="16176" y="67578"/>
                          <a:pt x="15882" y="67578"/>
                        </a:cubicBezTo>
                        <a:cubicBezTo>
                          <a:pt x="15882" y="67578"/>
                          <a:pt x="14411" y="68210"/>
                          <a:pt x="14411" y="68210"/>
                        </a:cubicBezTo>
                        <a:cubicBezTo>
                          <a:pt x="14411" y="68210"/>
                          <a:pt x="14117" y="67263"/>
                          <a:pt x="14117" y="66947"/>
                        </a:cubicBezTo>
                        <a:cubicBezTo>
                          <a:pt x="14117" y="66315"/>
                          <a:pt x="14117" y="65368"/>
                          <a:pt x="14117" y="65368"/>
                        </a:cubicBezTo>
                        <a:cubicBezTo>
                          <a:pt x="14117" y="65368"/>
                          <a:pt x="15294" y="64736"/>
                          <a:pt x="15294" y="64736"/>
                        </a:cubicBezTo>
                        <a:cubicBezTo>
                          <a:pt x="15294" y="64421"/>
                          <a:pt x="16176" y="62842"/>
                          <a:pt x="16176" y="62842"/>
                        </a:cubicBezTo>
                        <a:cubicBezTo>
                          <a:pt x="16176" y="61894"/>
                          <a:pt x="16176" y="61894"/>
                          <a:pt x="16176" y="61894"/>
                        </a:cubicBezTo>
                        <a:cubicBezTo>
                          <a:pt x="16176" y="61894"/>
                          <a:pt x="17352" y="61578"/>
                          <a:pt x="17647" y="61578"/>
                        </a:cubicBezTo>
                        <a:cubicBezTo>
                          <a:pt x="17941" y="61578"/>
                          <a:pt x="18529" y="61578"/>
                          <a:pt x="18823" y="61894"/>
                        </a:cubicBezTo>
                        <a:cubicBezTo>
                          <a:pt x="19411" y="62210"/>
                          <a:pt x="19117" y="62210"/>
                          <a:pt x="19705" y="62210"/>
                        </a:cubicBezTo>
                        <a:cubicBezTo>
                          <a:pt x="20294" y="61894"/>
                          <a:pt x="20882" y="61578"/>
                          <a:pt x="20882" y="61263"/>
                        </a:cubicBezTo>
                        <a:cubicBezTo>
                          <a:pt x="20882" y="60947"/>
                          <a:pt x="21176" y="59684"/>
                          <a:pt x="20294" y="59684"/>
                        </a:cubicBezTo>
                        <a:cubicBezTo>
                          <a:pt x="19705" y="59684"/>
                          <a:pt x="18823" y="60315"/>
                          <a:pt x="18529" y="60315"/>
                        </a:cubicBezTo>
                        <a:cubicBezTo>
                          <a:pt x="18235" y="60631"/>
                          <a:pt x="17941" y="60315"/>
                          <a:pt x="17352" y="60000"/>
                        </a:cubicBezTo>
                        <a:cubicBezTo>
                          <a:pt x="17058" y="60000"/>
                          <a:pt x="16470" y="59684"/>
                          <a:pt x="16470" y="59684"/>
                        </a:cubicBezTo>
                        <a:cubicBezTo>
                          <a:pt x="15588" y="60631"/>
                          <a:pt x="15588" y="60631"/>
                          <a:pt x="15588" y="60631"/>
                        </a:cubicBezTo>
                        <a:cubicBezTo>
                          <a:pt x="15588" y="60631"/>
                          <a:pt x="16176" y="61894"/>
                          <a:pt x="15000" y="60947"/>
                        </a:cubicBezTo>
                        <a:cubicBezTo>
                          <a:pt x="13823" y="60315"/>
                          <a:pt x="13823" y="60000"/>
                          <a:pt x="13823" y="60000"/>
                        </a:cubicBezTo>
                        <a:cubicBezTo>
                          <a:pt x="12647" y="58736"/>
                          <a:pt x="12647" y="58736"/>
                          <a:pt x="12647" y="58736"/>
                        </a:cubicBezTo>
                        <a:cubicBezTo>
                          <a:pt x="12058" y="56526"/>
                          <a:pt x="12058" y="56526"/>
                          <a:pt x="12058" y="56526"/>
                        </a:cubicBezTo>
                        <a:cubicBezTo>
                          <a:pt x="11176" y="55263"/>
                          <a:pt x="11176" y="55263"/>
                          <a:pt x="11176" y="55263"/>
                        </a:cubicBezTo>
                        <a:cubicBezTo>
                          <a:pt x="11176" y="55263"/>
                          <a:pt x="10882" y="55894"/>
                          <a:pt x="10588" y="56526"/>
                        </a:cubicBezTo>
                        <a:cubicBezTo>
                          <a:pt x="10294" y="56842"/>
                          <a:pt x="9705" y="56842"/>
                          <a:pt x="9411" y="56526"/>
                        </a:cubicBezTo>
                        <a:cubicBezTo>
                          <a:pt x="9411" y="55894"/>
                          <a:pt x="8529" y="54631"/>
                          <a:pt x="8529" y="54631"/>
                        </a:cubicBezTo>
                        <a:cubicBezTo>
                          <a:pt x="8823" y="53368"/>
                          <a:pt x="8823" y="53368"/>
                          <a:pt x="8823" y="53368"/>
                        </a:cubicBezTo>
                        <a:cubicBezTo>
                          <a:pt x="7647" y="53052"/>
                          <a:pt x="7647" y="53052"/>
                          <a:pt x="7647" y="53052"/>
                        </a:cubicBezTo>
                        <a:cubicBezTo>
                          <a:pt x="7647" y="53052"/>
                          <a:pt x="7058" y="52736"/>
                          <a:pt x="7058" y="52421"/>
                        </a:cubicBezTo>
                        <a:cubicBezTo>
                          <a:pt x="7352" y="51789"/>
                          <a:pt x="7941" y="50842"/>
                          <a:pt x="7941" y="50842"/>
                        </a:cubicBezTo>
                        <a:cubicBezTo>
                          <a:pt x="8529" y="49578"/>
                          <a:pt x="8529" y="49578"/>
                          <a:pt x="8529" y="49578"/>
                        </a:cubicBezTo>
                        <a:cubicBezTo>
                          <a:pt x="8529" y="49578"/>
                          <a:pt x="8529" y="48631"/>
                          <a:pt x="8235" y="48315"/>
                        </a:cubicBezTo>
                        <a:cubicBezTo>
                          <a:pt x="8235" y="48000"/>
                          <a:pt x="7941" y="43894"/>
                          <a:pt x="7941" y="43894"/>
                        </a:cubicBezTo>
                        <a:cubicBezTo>
                          <a:pt x="10294" y="42315"/>
                          <a:pt x="10294" y="42315"/>
                          <a:pt x="10294" y="42315"/>
                        </a:cubicBezTo>
                        <a:cubicBezTo>
                          <a:pt x="11764" y="39789"/>
                          <a:pt x="11764" y="39789"/>
                          <a:pt x="11764" y="39789"/>
                        </a:cubicBezTo>
                        <a:cubicBezTo>
                          <a:pt x="12352" y="36947"/>
                          <a:pt x="12352" y="36947"/>
                          <a:pt x="12352" y="36947"/>
                        </a:cubicBezTo>
                        <a:cubicBezTo>
                          <a:pt x="13235" y="34421"/>
                          <a:pt x="13235" y="34421"/>
                          <a:pt x="13235" y="34421"/>
                        </a:cubicBezTo>
                        <a:cubicBezTo>
                          <a:pt x="13235" y="34421"/>
                          <a:pt x="14411" y="33157"/>
                          <a:pt x="14411" y="33473"/>
                        </a:cubicBezTo>
                        <a:cubicBezTo>
                          <a:pt x="14705" y="33789"/>
                          <a:pt x="14411" y="30947"/>
                          <a:pt x="14411" y="30947"/>
                        </a:cubicBezTo>
                        <a:cubicBezTo>
                          <a:pt x="13529" y="30000"/>
                          <a:pt x="13529" y="30000"/>
                          <a:pt x="13529" y="30000"/>
                        </a:cubicBezTo>
                        <a:cubicBezTo>
                          <a:pt x="13529" y="28421"/>
                          <a:pt x="13529" y="28421"/>
                          <a:pt x="13529" y="28421"/>
                        </a:cubicBezTo>
                        <a:cubicBezTo>
                          <a:pt x="13529" y="28421"/>
                          <a:pt x="15000" y="28105"/>
                          <a:pt x="15294" y="28105"/>
                        </a:cubicBezTo>
                        <a:cubicBezTo>
                          <a:pt x="15588" y="28105"/>
                          <a:pt x="16176" y="27789"/>
                          <a:pt x="17058" y="27473"/>
                        </a:cubicBezTo>
                        <a:cubicBezTo>
                          <a:pt x="17647" y="27473"/>
                          <a:pt x="18235" y="26842"/>
                          <a:pt x="18823" y="26842"/>
                        </a:cubicBezTo>
                        <a:cubicBezTo>
                          <a:pt x="19117" y="26842"/>
                          <a:pt x="20588" y="26842"/>
                          <a:pt x="20588" y="26842"/>
                        </a:cubicBezTo>
                        <a:cubicBezTo>
                          <a:pt x="20588" y="26842"/>
                          <a:pt x="22058" y="25894"/>
                          <a:pt x="22352" y="25578"/>
                        </a:cubicBezTo>
                        <a:cubicBezTo>
                          <a:pt x="22647" y="25263"/>
                          <a:pt x="23529" y="24000"/>
                          <a:pt x="23529" y="24000"/>
                        </a:cubicBezTo>
                        <a:cubicBezTo>
                          <a:pt x="23529" y="24000"/>
                          <a:pt x="23823" y="22421"/>
                          <a:pt x="24411" y="22105"/>
                        </a:cubicBezTo>
                        <a:cubicBezTo>
                          <a:pt x="24705" y="22105"/>
                          <a:pt x="25588" y="21473"/>
                          <a:pt x="26176" y="21473"/>
                        </a:cubicBezTo>
                        <a:cubicBezTo>
                          <a:pt x="26764" y="21157"/>
                          <a:pt x="28235" y="20842"/>
                          <a:pt x="28529" y="20842"/>
                        </a:cubicBezTo>
                        <a:cubicBezTo>
                          <a:pt x="28823" y="20842"/>
                          <a:pt x="32352" y="20210"/>
                          <a:pt x="32352" y="20210"/>
                        </a:cubicBezTo>
                        <a:cubicBezTo>
                          <a:pt x="33823" y="18947"/>
                          <a:pt x="33823" y="18947"/>
                          <a:pt x="33823" y="18947"/>
                        </a:cubicBezTo>
                        <a:cubicBezTo>
                          <a:pt x="33529" y="16105"/>
                          <a:pt x="33529" y="16105"/>
                          <a:pt x="33529" y="16105"/>
                        </a:cubicBezTo>
                        <a:cubicBezTo>
                          <a:pt x="37941" y="15473"/>
                          <a:pt x="37941" y="15473"/>
                          <a:pt x="37941" y="15473"/>
                        </a:cubicBezTo>
                        <a:cubicBezTo>
                          <a:pt x="39705" y="14210"/>
                          <a:pt x="39705" y="14210"/>
                          <a:pt x="39705" y="14210"/>
                        </a:cubicBezTo>
                        <a:cubicBezTo>
                          <a:pt x="39705" y="14210"/>
                          <a:pt x="40588" y="13263"/>
                          <a:pt x="40882" y="13263"/>
                        </a:cubicBezTo>
                        <a:cubicBezTo>
                          <a:pt x="41176" y="13578"/>
                          <a:pt x="41764" y="13263"/>
                          <a:pt x="41764" y="13263"/>
                        </a:cubicBezTo>
                        <a:cubicBezTo>
                          <a:pt x="43823" y="12631"/>
                          <a:pt x="43823" y="12631"/>
                          <a:pt x="43823" y="12631"/>
                        </a:cubicBezTo>
                        <a:cubicBezTo>
                          <a:pt x="43823" y="12631"/>
                          <a:pt x="46470" y="11684"/>
                          <a:pt x="46764" y="11368"/>
                        </a:cubicBezTo>
                        <a:cubicBezTo>
                          <a:pt x="46764" y="11368"/>
                          <a:pt x="48235" y="10736"/>
                          <a:pt x="48235" y="10736"/>
                        </a:cubicBezTo>
                        <a:cubicBezTo>
                          <a:pt x="48823" y="9473"/>
                          <a:pt x="48823" y="9473"/>
                          <a:pt x="48823" y="9473"/>
                        </a:cubicBezTo>
                        <a:cubicBezTo>
                          <a:pt x="48823" y="9473"/>
                          <a:pt x="49411" y="8842"/>
                          <a:pt x="50294" y="8842"/>
                        </a:cubicBezTo>
                        <a:cubicBezTo>
                          <a:pt x="50882" y="8842"/>
                          <a:pt x="51470" y="8842"/>
                          <a:pt x="51764" y="8842"/>
                        </a:cubicBezTo>
                        <a:cubicBezTo>
                          <a:pt x="51764" y="8526"/>
                          <a:pt x="52058" y="7894"/>
                          <a:pt x="52352" y="7894"/>
                        </a:cubicBezTo>
                        <a:cubicBezTo>
                          <a:pt x="52647" y="7894"/>
                          <a:pt x="54411" y="7578"/>
                          <a:pt x="54411" y="7578"/>
                        </a:cubicBezTo>
                        <a:cubicBezTo>
                          <a:pt x="55294" y="9157"/>
                          <a:pt x="55294" y="9157"/>
                          <a:pt x="55294" y="9157"/>
                        </a:cubicBezTo>
                        <a:cubicBezTo>
                          <a:pt x="55294" y="9157"/>
                          <a:pt x="57058" y="10421"/>
                          <a:pt x="57352" y="10421"/>
                        </a:cubicBezTo>
                        <a:cubicBezTo>
                          <a:pt x="57647" y="10421"/>
                          <a:pt x="59117" y="9157"/>
                          <a:pt x="59117" y="9157"/>
                        </a:cubicBezTo>
                        <a:cubicBezTo>
                          <a:pt x="62058" y="10105"/>
                          <a:pt x="62058" y="10105"/>
                          <a:pt x="62058" y="10105"/>
                        </a:cubicBezTo>
                        <a:cubicBezTo>
                          <a:pt x="64411" y="10736"/>
                          <a:pt x="64411" y="10736"/>
                          <a:pt x="64411" y="10736"/>
                        </a:cubicBezTo>
                        <a:cubicBezTo>
                          <a:pt x="65294" y="10105"/>
                          <a:pt x="65294" y="10105"/>
                          <a:pt x="65294" y="10105"/>
                        </a:cubicBezTo>
                        <a:close/>
                        <a:moveTo>
                          <a:pt x="55294" y="47052"/>
                        </a:moveTo>
                        <a:cubicBezTo>
                          <a:pt x="55294" y="47052"/>
                          <a:pt x="55294" y="47052"/>
                          <a:pt x="55294" y="47052"/>
                        </a:cubicBezTo>
                        <a:cubicBezTo>
                          <a:pt x="55588" y="47368"/>
                          <a:pt x="55588" y="47368"/>
                          <a:pt x="55588" y="47368"/>
                        </a:cubicBezTo>
                        <a:cubicBezTo>
                          <a:pt x="55588" y="47368"/>
                          <a:pt x="56176" y="47368"/>
                          <a:pt x="56470" y="47052"/>
                        </a:cubicBezTo>
                        <a:cubicBezTo>
                          <a:pt x="56764" y="47052"/>
                          <a:pt x="56176" y="46736"/>
                          <a:pt x="56176" y="46736"/>
                        </a:cubicBezTo>
                        <a:cubicBezTo>
                          <a:pt x="55588" y="46736"/>
                          <a:pt x="55588" y="46736"/>
                          <a:pt x="55588" y="46736"/>
                        </a:cubicBezTo>
                        <a:cubicBezTo>
                          <a:pt x="55588" y="46736"/>
                          <a:pt x="55294" y="47052"/>
                          <a:pt x="55294" y="47052"/>
                        </a:cubicBezTo>
                        <a:close/>
                        <a:moveTo>
                          <a:pt x="54117" y="49578"/>
                        </a:moveTo>
                        <a:cubicBezTo>
                          <a:pt x="54117" y="49578"/>
                          <a:pt x="54117" y="49578"/>
                          <a:pt x="54117" y="49578"/>
                        </a:cubicBezTo>
                        <a:cubicBezTo>
                          <a:pt x="54411" y="49894"/>
                          <a:pt x="54411" y="49894"/>
                          <a:pt x="54411" y="49894"/>
                        </a:cubicBezTo>
                        <a:cubicBezTo>
                          <a:pt x="54411" y="49894"/>
                          <a:pt x="54705" y="48947"/>
                          <a:pt x="55000" y="48631"/>
                        </a:cubicBezTo>
                        <a:cubicBezTo>
                          <a:pt x="55294" y="48000"/>
                          <a:pt x="54705" y="48315"/>
                          <a:pt x="54705" y="48315"/>
                        </a:cubicBezTo>
                        <a:cubicBezTo>
                          <a:pt x="54411" y="48631"/>
                          <a:pt x="54411" y="48631"/>
                          <a:pt x="54411" y="48631"/>
                        </a:cubicBezTo>
                        <a:cubicBezTo>
                          <a:pt x="54411" y="48631"/>
                          <a:pt x="54117" y="49578"/>
                          <a:pt x="54117" y="49578"/>
                        </a:cubicBezTo>
                        <a:close/>
                        <a:moveTo>
                          <a:pt x="93529" y="72947"/>
                        </a:moveTo>
                        <a:cubicBezTo>
                          <a:pt x="93529" y="72947"/>
                          <a:pt x="93529" y="72947"/>
                          <a:pt x="93529" y="72947"/>
                        </a:cubicBezTo>
                        <a:cubicBezTo>
                          <a:pt x="93529" y="72947"/>
                          <a:pt x="94411" y="73578"/>
                          <a:pt x="94411" y="73578"/>
                        </a:cubicBezTo>
                        <a:cubicBezTo>
                          <a:pt x="93823" y="74842"/>
                          <a:pt x="93823" y="74842"/>
                          <a:pt x="93823" y="74842"/>
                        </a:cubicBezTo>
                        <a:cubicBezTo>
                          <a:pt x="92941" y="74210"/>
                          <a:pt x="92941" y="74210"/>
                          <a:pt x="92941" y="74210"/>
                        </a:cubicBezTo>
                        <a:cubicBezTo>
                          <a:pt x="93529" y="72947"/>
                          <a:pt x="93529" y="72947"/>
                          <a:pt x="93529" y="72947"/>
                        </a:cubicBezTo>
                        <a:close/>
                        <a:moveTo>
                          <a:pt x="100588" y="78947"/>
                        </a:moveTo>
                        <a:cubicBezTo>
                          <a:pt x="100588" y="78947"/>
                          <a:pt x="100588" y="78947"/>
                          <a:pt x="100588" y="78947"/>
                        </a:cubicBezTo>
                        <a:cubicBezTo>
                          <a:pt x="100588" y="78947"/>
                          <a:pt x="102058" y="79263"/>
                          <a:pt x="102058" y="78947"/>
                        </a:cubicBezTo>
                        <a:cubicBezTo>
                          <a:pt x="102058" y="78631"/>
                          <a:pt x="102352" y="78000"/>
                          <a:pt x="102352" y="78000"/>
                        </a:cubicBezTo>
                        <a:cubicBezTo>
                          <a:pt x="102058" y="77684"/>
                          <a:pt x="101176" y="77368"/>
                          <a:pt x="101176" y="77368"/>
                        </a:cubicBezTo>
                        <a:cubicBezTo>
                          <a:pt x="100882" y="77368"/>
                          <a:pt x="100588" y="77368"/>
                          <a:pt x="100294" y="77052"/>
                        </a:cubicBezTo>
                        <a:cubicBezTo>
                          <a:pt x="98529" y="74842"/>
                          <a:pt x="99705" y="77684"/>
                          <a:pt x="100588" y="78000"/>
                        </a:cubicBezTo>
                        <a:cubicBezTo>
                          <a:pt x="100588" y="78315"/>
                          <a:pt x="100588" y="78315"/>
                          <a:pt x="100588" y="78315"/>
                        </a:cubicBezTo>
                        <a:cubicBezTo>
                          <a:pt x="100588" y="78947"/>
                          <a:pt x="100588" y="78947"/>
                          <a:pt x="100588" y="78947"/>
                        </a:cubicBezTo>
                        <a:close/>
                        <a:moveTo>
                          <a:pt x="102647" y="81157"/>
                        </a:moveTo>
                        <a:cubicBezTo>
                          <a:pt x="102647" y="81157"/>
                          <a:pt x="102647" y="81157"/>
                          <a:pt x="102647" y="81157"/>
                        </a:cubicBezTo>
                        <a:cubicBezTo>
                          <a:pt x="103823" y="79578"/>
                          <a:pt x="103823" y="79578"/>
                          <a:pt x="103823" y="79578"/>
                        </a:cubicBezTo>
                        <a:cubicBezTo>
                          <a:pt x="103823" y="79578"/>
                          <a:pt x="104411" y="78947"/>
                          <a:pt x="104705" y="78947"/>
                        </a:cubicBezTo>
                        <a:cubicBezTo>
                          <a:pt x="105000" y="78947"/>
                          <a:pt x="106176" y="78631"/>
                          <a:pt x="106176" y="78631"/>
                        </a:cubicBezTo>
                        <a:cubicBezTo>
                          <a:pt x="106176" y="78631"/>
                          <a:pt x="107058" y="78947"/>
                          <a:pt x="106470" y="79263"/>
                        </a:cubicBezTo>
                        <a:cubicBezTo>
                          <a:pt x="106176" y="79578"/>
                          <a:pt x="105294" y="80210"/>
                          <a:pt x="105000" y="80210"/>
                        </a:cubicBezTo>
                        <a:cubicBezTo>
                          <a:pt x="104705" y="80526"/>
                          <a:pt x="104117" y="81473"/>
                          <a:pt x="104117" y="81473"/>
                        </a:cubicBezTo>
                        <a:cubicBezTo>
                          <a:pt x="102941" y="81789"/>
                          <a:pt x="102941" y="81789"/>
                          <a:pt x="102941" y="81789"/>
                        </a:cubicBezTo>
                        <a:cubicBezTo>
                          <a:pt x="101764" y="82421"/>
                          <a:pt x="101764" y="82421"/>
                          <a:pt x="101764" y="82421"/>
                        </a:cubicBezTo>
                        <a:cubicBezTo>
                          <a:pt x="102058" y="83684"/>
                          <a:pt x="102058" y="83684"/>
                          <a:pt x="102058" y="83684"/>
                        </a:cubicBezTo>
                        <a:cubicBezTo>
                          <a:pt x="102058" y="83684"/>
                          <a:pt x="101764" y="84000"/>
                          <a:pt x="101470" y="84000"/>
                        </a:cubicBezTo>
                        <a:cubicBezTo>
                          <a:pt x="101470" y="83684"/>
                          <a:pt x="100588" y="83052"/>
                          <a:pt x="100588" y="83052"/>
                        </a:cubicBezTo>
                        <a:cubicBezTo>
                          <a:pt x="100882" y="81473"/>
                          <a:pt x="100882" y="81473"/>
                          <a:pt x="100882" y="81473"/>
                        </a:cubicBezTo>
                        <a:cubicBezTo>
                          <a:pt x="102058" y="81473"/>
                          <a:pt x="102058" y="81473"/>
                          <a:pt x="102058" y="81473"/>
                        </a:cubicBezTo>
                        <a:cubicBezTo>
                          <a:pt x="102647" y="81157"/>
                          <a:pt x="102647" y="81157"/>
                          <a:pt x="102647" y="81157"/>
                        </a:cubicBezTo>
                        <a:close/>
                        <a:moveTo>
                          <a:pt x="114117" y="90315"/>
                        </a:moveTo>
                        <a:cubicBezTo>
                          <a:pt x="114117" y="90315"/>
                          <a:pt x="114117" y="90315"/>
                          <a:pt x="114117" y="90315"/>
                        </a:cubicBezTo>
                        <a:cubicBezTo>
                          <a:pt x="114117" y="90315"/>
                          <a:pt x="115294" y="91578"/>
                          <a:pt x="115294" y="91578"/>
                        </a:cubicBezTo>
                        <a:cubicBezTo>
                          <a:pt x="115000" y="93157"/>
                          <a:pt x="115000" y="93157"/>
                          <a:pt x="115000" y="93157"/>
                        </a:cubicBezTo>
                        <a:cubicBezTo>
                          <a:pt x="115000" y="93157"/>
                          <a:pt x="115000" y="93789"/>
                          <a:pt x="115588" y="93789"/>
                        </a:cubicBezTo>
                        <a:cubicBezTo>
                          <a:pt x="116176" y="94105"/>
                          <a:pt x="117058" y="94105"/>
                          <a:pt x="117058" y="93473"/>
                        </a:cubicBezTo>
                        <a:cubicBezTo>
                          <a:pt x="117058" y="92842"/>
                          <a:pt x="117352" y="92210"/>
                          <a:pt x="117647" y="91894"/>
                        </a:cubicBezTo>
                        <a:cubicBezTo>
                          <a:pt x="117941" y="91263"/>
                          <a:pt x="118529" y="90315"/>
                          <a:pt x="118529" y="90315"/>
                        </a:cubicBezTo>
                        <a:cubicBezTo>
                          <a:pt x="118529" y="90315"/>
                          <a:pt x="118823" y="90315"/>
                          <a:pt x="119117" y="90000"/>
                        </a:cubicBezTo>
                        <a:cubicBezTo>
                          <a:pt x="119411" y="90000"/>
                          <a:pt x="118823" y="89052"/>
                          <a:pt x="118823" y="89052"/>
                        </a:cubicBezTo>
                        <a:cubicBezTo>
                          <a:pt x="118823" y="89052"/>
                          <a:pt x="118529" y="89052"/>
                          <a:pt x="119117" y="87789"/>
                        </a:cubicBezTo>
                        <a:cubicBezTo>
                          <a:pt x="119705" y="86842"/>
                          <a:pt x="119705" y="86842"/>
                          <a:pt x="119705" y="86842"/>
                        </a:cubicBezTo>
                        <a:cubicBezTo>
                          <a:pt x="119705" y="86526"/>
                          <a:pt x="120000" y="85578"/>
                          <a:pt x="120000" y="85263"/>
                        </a:cubicBezTo>
                        <a:cubicBezTo>
                          <a:pt x="119705" y="84631"/>
                          <a:pt x="119411" y="83052"/>
                          <a:pt x="119411" y="83052"/>
                        </a:cubicBezTo>
                        <a:cubicBezTo>
                          <a:pt x="118823" y="83684"/>
                          <a:pt x="118823" y="83684"/>
                          <a:pt x="118823" y="83684"/>
                        </a:cubicBezTo>
                        <a:cubicBezTo>
                          <a:pt x="118823" y="83684"/>
                          <a:pt x="118235" y="84315"/>
                          <a:pt x="117647" y="84315"/>
                        </a:cubicBezTo>
                        <a:cubicBezTo>
                          <a:pt x="117058" y="84631"/>
                          <a:pt x="116470" y="84947"/>
                          <a:pt x="116470" y="85263"/>
                        </a:cubicBezTo>
                        <a:cubicBezTo>
                          <a:pt x="116470" y="85263"/>
                          <a:pt x="116470" y="86210"/>
                          <a:pt x="116176" y="86526"/>
                        </a:cubicBezTo>
                        <a:cubicBezTo>
                          <a:pt x="115882" y="86842"/>
                          <a:pt x="115000" y="87789"/>
                          <a:pt x="115000" y="87789"/>
                        </a:cubicBezTo>
                        <a:cubicBezTo>
                          <a:pt x="114411" y="89368"/>
                          <a:pt x="114411" y="89368"/>
                          <a:pt x="114411" y="89368"/>
                        </a:cubicBezTo>
                        <a:cubicBezTo>
                          <a:pt x="114411" y="89368"/>
                          <a:pt x="114117" y="90315"/>
                          <a:pt x="114117" y="90315"/>
                        </a:cubicBezTo>
                        <a:close/>
                        <a:moveTo>
                          <a:pt x="109705" y="104526"/>
                        </a:moveTo>
                        <a:cubicBezTo>
                          <a:pt x="109705" y="104526"/>
                          <a:pt x="109705" y="104526"/>
                          <a:pt x="109705" y="104526"/>
                        </a:cubicBezTo>
                        <a:cubicBezTo>
                          <a:pt x="109117" y="104210"/>
                          <a:pt x="108529" y="103578"/>
                          <a:pt x="108529" y="102947"/>
                        </a:cubicBezTo>
                        <a:cubicBezTo>
                          <a:pt x="108529" y="102631"/>
                          <a:pt x="108823" y="102000"/>
                          <a:pt x="108823" y="102000"/>
                        </a:cubicBezTo>
                        <a:cubicBezTo>
                          <a:pt x="108823" y="102000"/>
                          <a:pt x="108235" y="101684"/>
                          <a:pt x="108235" y="101368"/>
                        </a:cubicBezTo>
                        <a:cubicBezTo>
                          <a:pt x="108235" y="101368"/>
                          <a:pt x="108823" y="100105"/>
                          <a:pt x="108823" y="99473"/>
                        </a:cubicBezTo>
                        <a:cubicBezTo>
                          <a:pt x="108529" y="99157"/>
                          <a:pt x="108823" y="97263"/>
                          <a:pt x="108823" y="97263"/>
                        </a:cubicBezTo>
                        <a:cubicBezTo>
                          <a:pt x="108823" y="97263"/>
                          <a:pt x="109705" y="96947"/>
                          <a:pt x="109705" y="97263"/>
                        </a:cubicBezTo>
                        <a:cubicBezTo>
                          <a:pt x="109705" y="97578"/>
                          <a:pt x="109411" y="98526"/>
                          <a:pt x="109411" y="98842"/>
                        </a:cubicBezTo>
                        <a:cubicBezTo>
                          <a:pt x="109411" y="99157"/>
                          <a:pt x="109117" y="100421"/>
                          <a:pt x="109117" y="100736"/>
                        </a:cubicBezTo>
                        <a:cubicBezTo>
                          <a:pt x="109117" y="100736"/>
                          <a:pt x="109411" y="100421"/>
                          <a:pt x="110000" y="101052"/>
                        </a:cubicBezTo>
                        <a:cubicBezTo>
                          <a:pt x="110588" y="101684"/>
                          <a:pt x="110588" y="102631"/>
                          <a:pt x="110588" y="102631"/>
                        </a:cubicBezTo>
                        <a:cubicBezTo>
                          <a:pt x="110000" y="103263"/>
                          <a:pt x="110000" y="103263"/>
                          <a:pt x="110000" y="103263"/>
                        </a:cubicBezTo>
                        <a:cubicBezTo>
                          <a:pt x="109705" y="104526"/>
                          <a:pt x="109705" y="104526"/>
                          <a:pt x="109705" y="104526"/>
                        </a:cubicBezTo>
                        <a:close/>
                        <a:moveTo>
                          <a:pt x="106176" y="105157"/>
                        </a:moveTo>
                        <a:cubicBezTo>
                          <a:pt x="106176" y="105157"/>
                          <a:pt x="106176" y="105157"/>
                          <a:pt x="106176" y="105157"/>
                        </a:cubicBezTo>
                        <a:cubicBezTo>
                          <a:pt x="106176" y="105157"/>
                          <a:pt x="105882" y="106421"/>
                          <a:pt x="105882" y="106736"/>
                        </a:cubicBezTo>
                        <a:cubicBezTo>
                          <a:pt x="105882" y="106736"/>
                          <a:pt x="106176" y="106736"/>
                          <a:pt x="106470" y="106736"/>
                        </a:cubicBezTo>
                        <a:cubicBezTo>
                          <a:pt x="106764" y="106421"/>
                          <a:pt x="107058" y="106421"/>
                          <a:pt x="107352" y="106105"/>
                        </a:cubicBezTo>
                        <a:cubicBezTo>
                          <a:pt x="107647" y="105789"/>
                          <a:pt x="108529" y="105157"/>
                          <a:pt x="108823" y="105157"/>
                        </a:cubicBezTo>
                        <a:cubicBezTo>
                          <a:pt x="109117" y="104842"/>
                          <a:pt x="107647" y="104210"/>
                          <a:pt x="107647" y="104210"/>
                        </a:cubicBezTo>
                        <a:cubicBezTo>
                          <a:pt x="106176" y="105157"/>
                          <a:pt x="106176" y="105157"/>
                          <a:pt x="106176" y="105157"/>
                        </a:cubicBezTo>
                        <a:close/>
                        <a:moveTo>
                          <a:pt x="66176" y="41684"/>
                        </a:moveTo>
                        <a:cubicBezTo>
                          <a:pt x="66176" y="41684"/>
                          <a:pt x="66176" y="41684"/>
                          <a:pt x="66176" y="41684"/>
                        </a:cubicBezTo>
                        <a:cubicBezTo>
                          <a:pt x="66764" y="42000"/>
                          <a:pt x="66764" y="42000"/>
                          <a:pt x="66764" y="42000"/>
                        </a:cubicBezTo>
                        <a:cubicBezTo>
                          <a:pt x="66764" y="42000"/>
                          <a:pt x="67058" y="41684"/>
                          <a:pt x="67352" y="41368"/>
                        </a:cubicBezTo>
                        <a:cubicBezTo>
                          <a:pt x="67647" y="41052"/>
                          <a:pt x="67058" y="40736"/>
                          <a:pt x="67058" y="40736"/>
                        </a:cubicBezTo>
                        <a:cubicBezTo>
                          <a:pt x="66764" y="41052"/>
                          <a:pt x="66764" y="41052"/>
                          <a:pt x="66764" y="41052"/>
                        </a:cubicBezTo>
                        <a:cubicBezTo>
                          <a:pt x="66764" y="41052"/>
                          <a:pt x="66176" y="41684"/>
                          <a:pt x="66176" y="41684"/>
                        </a:cubicBezTo>
                        <a:close/>
                        <a:moveTo>
                          <a:pt x="48235" y="51789"/>
                        </a:moveTo>
                        <a:cubicBezTo>
                          <a:pt x="48235" y="51789"/>
                          <a:pt x="48235" y="51789"/>
                          <a:pt x="48235" y="51789"/>
                        </a:cubicBezTo>
                        <a:cubicBezTo>
                          <a:pt x="48529" y="52105"/>
                          <a:pt x="48529" y="52105"/>
                          <a:pt x="48529" y="52105"/>
                        </a:cubicBezTo>
                        <a:cubicBezTo>
                          <a:pt x="48529" y="52105"/>
                          <a:pt x="48823" y="51473"/>
                          <a:pt x="49411" y="51157"/>
                        </a:cubicBezTo>
                        <a:cubicBezTo>
                          <a:pt x="49705" y="50842"/>
                          <a:pt x="49117" y="50842"/>
                          <a:pt x="49117" y="50842"/>
                        </a:cubicBezTo>
                        <a:cubicBezTo>
                          <a:pt x="48529" y="51157"/>
                          <a:pt x="48529" y="51157"/>
                          <a:pt x="48529" y="51157"/>
                        </a:cubicBezTo>
                        <a:cubicBezTo>
                          <a:pt x="48529" y="51157"/>
                          <a:pt x="48235" y="51473"/>
                          <a:pt x="48235" y="51789"/>
                        </a:cubicBezTo>
                        <a:close/>
                        <a:moveTo>
                          <a:pt x="51176" y="51157"/>
                        </a:moveTo>
                        <a:cubicBezTo>
                          <a:pt x="51176" y="51157"/>
                          <a:pt x="51176" y="51157"/>
                          <a:pt x="51176" y="51157"/>
                        </a:cubicBezTo>
                        <a:cubicBezTo>
                          <a:pt x="51176" y="51789"/>
                          <a:pt x="51176" y="51789"/>
                          <a:pt x="51176" y="51789"/>
                        </a:cubicBezTo>
                        <a:cubicBezTo>
                          <a:pt x="51176" y="51789"/>
                          <a:pt x="52058" y="52105"/>
                          <a:pt x="52647" y="52421"/>
                        </a:cubicBezTo>
                        <a:cubicBezTo>
                          <a:pt x="53529" y="52736"/>
                          <a:pt x="52941" y="51789"/>
                          <a:pt x="52941" y="51789"/>
                        </a:cubicBezTo>
                        <a:cubicBezTo>
                          <a:pt x="52352" y="51157"/>
                          <a:pt x="52352" y="51157"/>
                          <a:pt x="52352" y="51157"/>
                        </a:cubicBezTo>
                        <a:cubicBezTo>
                          <a:pt x="52352" y="51157"/>
                          <a:pt x="51470" y="50842"/>
                          <a:pt x="51176" y="51157"/>
                        </a:cubicBezTo>
                        <a:close/>
                        <a:moveTo>
                          <a:pt x="62058" y="51789"/>
                        </a:moveTo>
                        <a:cubicBezTo>
                          <a:pt x="62058" y="51789"/>
                          <a:pt x="62058" y="51789"/>
                          <a:pt x="62058" y="51789"/>
                        </a:cubicBezTo>
                        <a:cubicBezTo>
                          <a:pt x="61764" y="52421"/>
                          <a:pt x="61764" y="52421"/>
                          <a:pt x="61764" y="52421"/>
                        </a:cubicBezTo>
                        <a:cubicBezTo>
                          <a:pt x="61764" y="52421"/>
                          <a:pt x="62352" y="53052"/>
                          <a:pt x="62647" y="53684"/>
                        </a:cubicBezTo>
                        <a:cubicBezTo>
                          <a:pt x="62941" y="53684"/>
                          <a:pt x="64117" y="54947"/>
                          <a:pt x="64705" y="54947"/>
                        </a:cubicBezTo>
                        <a:cubicBezTo>
                          <a:pt x="67058" y="55894"/>
                          <a:pt x="63235" y="52736"/>
                          <a:pt x="62941" y="52421"/>
                        </a:cubicBezTo>
                        <a:cubicBezTo>
                          <a:pt x="62941" y="52421"/>
                          <a:pt x="62058" y="51473"/>
                          <a:pt x="62058" y="51789"/>
                        </a:cubicBezTo>
                        <a:close/>
                        <a:moveTo>
                          <a:pt x="75882" y="56210"/>
                        </a:moveTo>
                        <a:cubicBezTo>
                          <a:pt x="75882" y="56210"/>
                          <a:pt x="75882" y="56210"/>
                          <a:pt x="75882" y="56210"/>
                        </a:cubicBezTo>
                        <a:cubicBezTo>
                          <a:pt x="76470" y="56842"/>
                          <a:pt x="76470" y="56842"/>
                          <a:pt x="76470" y="56842"/>
                        </a:cubicBezTo>
                        <a:cubicBezTo>
                          <a:pt x="76470" y="56842"/>
                          <a:pt x="77352" y="56526"/>
                          <a:pt x="77941" y="56210"/>
                        </a:cubicBezTo>
                        <a:cubicBezTo>
                          <a:pt x="78529" y="56210"/>
                          <a:pt x="77941" y="55578"/>
                          <a:pt x="77941" y="55578"/>
                        </a:cubicBezTo>
                        <a:cubicBezTo>
                          <a:pt x="77058" y="55578"/>
                          <a:pt x="77058" y="55578"/>
                          <a:pt x="77058" y="55578"/>
                        </a:cubicBezTo>
                        <a:cubicBezTo>
                          <a:pt x="77058" y="55578"/>
                          <a:pt x="75882" y="55894"/>
                          <a:pt x="75882" y="56210"/>
                        </a:cubicBezTo>
                        <a:close/>
                        <a:moveTo>
                          <a:pt x="70000" y="23052"/>
                        </a:moveTo>
                        <a:cubicBezTo>
                          <a:pt x="70000" y="23052"/>
                          <a:pt x="70000" y="23052"/>
                          <a:pt x="70000" y="23052"/>
                        </a:cubicBezTo>
                        <a:cubicBezTo>
                          <a:pt x="70000" y="23052"/>
                          <a:pt x="68823" y="23684"/>
                          <a:pt x="68823" y="23684"/>
                        </a:cubicBezTo>
                        <a:cubicBezTo>
                          <a:pt x="68529" y="23684"/>
                          <a:pt x="68823" y="24315"/>
                          <a:pt x="69117" y="24315"/>
                        </a:cubicBezTo>
                        <a:cubicBezTo>
                          <a:pt x="69411" y="24631"/>
                          <a:pt x="70294" y="24947"/>
                          <a:pt x="70294" y="24947"/>
                        </a:cubicBezTo>
                        <a:cubicBezTo>
                          <a:pt x="70588" y="24947"/>
                          <a:pt x="71470" y="24315"/>
                          <a:pt x="72058" y="23684"/>
                        </a:cubicBezTo>
                        <a:cubicBezTo>
                          <a:pt x="72647" y="23368"/>
                          <a:pt x="71470" y="23052"/>
                          <a:pt x="71470" y="23052"/>
                        </a:cubicBezTo>
                        <a:cubicBezTo>
                          <a:pt x="70000" y="23052"/>
                          <a:pt x="70000" y="23052"/>
                          <a:pt x="70000" y="23052"/>
                        </a:cubicBezTo>
                        <a:close/>
                        <a:moveTo>
                          <a:pt x="59411" y="20842"/>
                        </a:moveTo>
                        <a:cubicBezTo>
                          <a:pt x="59411" y="20842"/>
                          <a:pt x="59411" y="20842"/>
                          <a:pt x="59411" y="20842"/>
                        </a:cubicBezTo>
                        <a:cubicBezTo>
                          <a:pt x="59411" y="20842"/>
                          <a:pt x="58235" y="20842"/>
                          <a:pt x="57941" y="20842"/>
                        </a:cubicBezTo>
                        <a:cubicBezTo>
                          <a:pt x="57941" y="20842"/>
                          <a:pt x="57647" y="21157"/>
                          <a:pt x="57352" y="21473"/>
                        </a:cubicBezTo>
                        <a:cubicBezTo>
                          <a:pt x="57058" y="21789"/>
                          <a:pt x="57058" y="22421"/>
                          <a:pt x="56764" y="23052"/>
                        </a:cubicBezTo>
                        <a:cubicBezTo>
                          <a:pt x="56764" y="23684"/>
                          <a:pt x="57058" y="23684"/>
                          <a:pt x="57058" y="23684"/>
                        </a:cubicBezTo>
                        <a:cubicBezTo>
                          <a:pt x="57352" y="24000"/>
                          <a:pt x="57352" y="24000"/>
                          <a:pt x="57941" y="24631"/>
                        </a:cubicBezTo>
                        <a:cubicBezTo>
                          <a:pt x="58529" y="24947"/>
                          <a:pt x="59117" y="24315"/>
                          <a:pt x="59705" y="24000"/>
                        </a:cubicBezTo>
                        <a:cubicBezTo>
                          <a:pt x="60588" y="23684"/>
                          <a:pt x="60000" y="23368"/>
                          <a:pt x="60294" y="22736"/>
                        </a:cubicBezTo>
                        <a:cubicBezTo>
                          <a:pt x="60294" y="22421"/>
                          <a:pt x="60000" y="21473"/>
                          <a:pt x="60000" y="21473"/>
                        </a:cubicBezTo>
                        <a:cubicBezTo>
                          <a:pt x="60000" y="21157"/>
                          <a:pt x="59411" y="20842"/>
                          <a:pt x="59411" y="20842"/>
                        </a:cubicBezTo>
                        <a:close/>
                        <a:moveTo>
                          <a:pt x="69411" y="32526"/>
                        </a:moveTo>
                        <a:cubicBezTo>
                          <a:pt x="69411" y="32526"/>
                          <a:pt x="69411" y="32526"/>
                          <a:pt x="69411" y="32526"/>
                        </a:cubicBezTo>
                        <a:cubicBezTo>
                          <a:pt x="69411" y="32526"/>
                          <a:pt x="69117" y="33157"/>
                          <a:pt x="69117" y="33157"/>
                        </a:cubicBezTo>
                        <a:cubicBezTo>
                          <a:pt x="69117" y="33157"/>
                          <a:pt x="69117" y="33789"/>
                          <a:pt x="69117" y="33789"/>
                        </a:cubicBezTo>
                        <a:cubicBezTo>
                          <a:pt x="69117" y="33789"/>
                          <a:pt x="68823" y="34105"/>
                          <a:pt x="68529" y="34421"/>
                        </a:cubicBezTo>
                        <a:cubicBezTo>
                          <a:pt x="67941" y="35052"/>
                          <a:pt x="68529" y="35052"/>
                          <a:pt x="68823" y="35368"/>
                        </a:cubicBezTo>
                        <a:cubicBezTo>
                          <a:pt x="69117" y="36000"/>
                          <a:pt x="68823" y="35684"/>
                          <a:pt x="69117" y="35684"/>
                        </a:cubicBezTo>
                        <a:cubicBezTo>
                          <a:pt x="69117" y="36000"/>
                          <a:pt x="69411" y="35684"/>
                          <a:pt x="70000" y="35368"/>
                        </a:cubicBezTo>
                        <a:cubicBezTo>
                          <a:pt x="70588" y="35052"/>
                          <a:pt x="70294" y="35052"/>
                          <a:pt x="70294" y="35052"/>
                        </a:cubicBezTo>
                        <a:cubicBezTo>
                          <a:pt x="70294" y="35052"/>
                          <a:pt x="69705" y="34105"/>
                          <a:pt x="69705" y="34105"/>
                        </a:cubicBezTo>
                        <a:cubicBezTo>
                          <a:pt x="69705" y="34105"/>
                          <a:pt x="69705" y="33789"/>
                          <a:pt x="69705" y="33789"/>
                        </a:cubicBezTo>
                        <a:cubicBezTo>
                          <a:pt x="69705" y="33473"/>
                          <a:pt x="70000" y="33473"/>
                          <a:pt x="70294" y="33157"/>
                        </a:cubicBezTo>
                        <a:cubicBezTo>
                          <a:pt x="70588" y="32526"/>
                          <a:pt x="70588" y="32210"/>
                          <a:pt x="70588" y="32210"/>
                        </a:cubicBezTo>
                        <a:cubicBezTo>
                          <a:pt x="70588" y="31894"/>
                          <a:pt x="70000" y="31894"/>
                          <a:pt x="70000" y="31894"/>
                        </a:cubicBezTo>
                        <a:cubicBezTo>
                          <a:pt x="70000" y="31894"/>
                          <a:pt x="69411" y="32210"/>
                          <a:pt x="69411" y="32526"/>
                        </a:cubicBezTo>
                        <a:close/>
                        <a:moveTo>
                          <a:pt x="68529" y="33157"/>
                        </a:moveTo>
                        <a:cubicBezTo>
                          <a:pt x="68529" y="33157"/>
                          <a:pt x="68529" y="33157"/>
                          <a:pt x="68529" y="33157"/>
                        </a:cubicBezTo>
                        <a:cubicBezTo>
                          <a:pt x="68235" y="32526"/>
                          <a:pt x="68235" y="32526"/>
                          <a:pt x="68235" y="32526"/>
                        </a:cubicBezTo>
                        <a:cubicBezTo>
                          <a:pt x="68235" y="32526"/>
                          <a:pt x="67941" y="32210"/>
                          <a:pt x="67058" y="32210"/>
                        </a:cubicBezTo>
                        <a:cubicBezTo>
                          <a:pt x="66470" y="32210"/>
                          <a:pt x="66470" y="32526"/>
                          <a:pt x="65882" y="32526"/>
                        </a:cubicBezTo>
                        <a:cubicBezTo>
                          <a:pt x="65294" y="32526"/>
                          <a:pt x="65294" y="33157"/>
                          <a:pt x="65294" y="33473"/>
                        </a:cubicBezTo>
                        <a:cubicBezTo>
                          <a:pt x="65000" y="34105"/>
                          <a:pt x="65294" y="33789"/>
                          <a:pt x="65588" y="34105"/>
                        </a:cubicBezTo>
                        <a:cubicBezTo>
                          <a:pt x="65882" y="34421"/>
                          <a:pt x="65588" y="34421"/>
                          <a:pt x="65882" y="35368"/>
                        </a:cubicBezTo>
                        <a:cubicBezTo>
                          <a:pt x="65882" y="36000"/>
                          <a:pt x="66176" y="35684"/>
                          <a:pt x="66176" y="35684"/>
                        </a:cubicBezTo>
                        <a:cubicBezTo>
                          <a:pt x="66470" y="36000"/>
                          <a:pt x="66764" y="35684"/>
                          <a:pt x="67352" y="35368"/>
                        </a:cubicBezTo>
                        <a:cubicBezTo>
                          <a:pt x="67941" y="34736"/>
                          <a:pt x="67352" y="34736"/>
                          <a:pt x="67352" y="34736"/>
                        </a:cubicBezTo>
                        <a:cubicBezTo>
                          <a:pt x="67352" y="34736"/>
                          <a:pt x="67941" y="34421"/>
                          <a:pt x="68529" y="33789"/>
                        </a:cubicBezTo>
                        <a:cubicBezTo>
                          <a:pt x="68823" y="33157"/>
                          <a:pt x="68529" y="33157"/>
                          <a:pt x="68529" y="33157"/>
                        </a:cubicBezTo>
                        <a:close/>
                        <a:moveTo>
                          <a:pt x="83529" y="43894"/>
                        </a:moveTo>
                        <a:cubicBezTo>
                          <a:pt x="83529" y="43894"/>
                          <a:pt x="83529" y="43894"/>
                          <a:pt x="83529" y="43894"/>
                        </a:cubicBezTo>
                        <a:cubicBezTo>
                          <a:pt x="83235" y="43894"/>
                          <a:pt x="82941" y="44526"/>
                          <a:pt x="82941" y="44526"/>
                        </a:cubicBezTo>
                        <a:cubicBezTo>
                          <a:pt x="82941" y="44526"/>
                          <a:pt x="82647" y="44842"/>
                          <a:pt x="82647" y="45157"/>
                        </a:cubicBezTo>
                        <a:cubicBezTo>
                          <a:pt x="82352" y="45157"/>
                          <a:pt x="82058" y="45789"/>
                          <a:pt x="82058" y="45789"/>
                        </a:cubicBezTo>
                        <a:cubicBezTo>
                          <a:pt x="82058" y="45789"/>
                          <a:pt x="82352" y="46105"/>
                          <a:pt x="82647" y="46105"/>
                        </a:cubicBezTo>
                        <a:cubicBezTo>
                          <a:pt x="82941" y="46421"/>
                          <a:pt x="82941" y="46421"/>
                          <a:pt x="83235" y="46421"/>
                        </a:cubicBezTo>
                        <a:cubicBezTo>
                          <a:pt x="83529" y="46421"/>
                          <a:pt x="83529" y="46421"/>
                          <a:pt x="84411" y="46421"/>
                        </a:cubicBezTo>
                        <a:cubicBezTo>
                          <a:pt x="85588" y="46421"/>
                          <a:pt x="86470" y="46421"/>
                          <a:pt x="86764" y="46421"/>
                        </a:cubicBezTo>
                        <a:cubicBezTo>
                          <a:pt x="86764" y="46421"/>
                          <a:pt x="87352" y="46105"/>
                          <a:pt x="87352" y="46105"/>
                        </a:cubicBezTo>
                        <a:cubicBezTo>
                          <a:pt x="87352" y="45789"/>
                          <a:pt x="87352" y="45789"/>
                          <a:pt x="87058" y="45473"/>
                        </a:cubicBezTo>
                        <a:cubicBezTo>
                          <a:pt x="86764" y="44842"/>
                          <a:pt x="86176" y="44526"/>
                          <a:pt x="86176" y="44526"/>
                        </a:cubicBezTo>
                        <a:cubicBezTo>
                          <a:pt x="85882" y="44526"/>
                          <a:pt x="86176" y="43894"/>
                          <a:pt x="86470" y="44210"/>
                        </a:cubicBezTo>
                        <a:cubicBezTo>
                          <a:pt x="86470" y="44210"/>
                          <a:pt x="87352" y="45157"/>
                          <a:pt x="87352" y="45157"/>
                        </a:cubicBezTo>
                        <a:cubicBezTo>
                          <a:pt x="87647" y="45157"/>
                          <a:pt x="88235" y="45157"/>
                          <a:pt x="88235" y="44526"/>
                        </a:cubicBezTo>
                        <a:cubicBezTo>
                          <a:pt x="87941" y="44210"/>
                          <a:pt x="88529" y="43578"/>
                          <a:pt x="87647" y="43263"/>
                        </a:cubicBezTo>
                        <a:cubicBezTo>
                          <a:pt x="87058" y="42947"/>
                          <a:pt x="86764" y="42631"/>
                          <a:pt x="86470" y="42631"/>
                        </a:cubicBezTo>
                        <a:cubicBezTo>
                          <a:pt x="85882" y="42631"/>
                          <a:pt x="86764" y="42947"/>
                          <a:pt x="85588" y="42000"/>
                        </a:cubicBezTo>
                        <a:cubicBezTo>
                          <a:pt x="84411" y="41052"/>
                          <a:pt x="84411" y="41368"/>
                          <a:pt x="84411" y="41368"/>
                        </a:cubicBezTo>
                        <a:cubicBezTo>
                          <a:pt x="84411" y="41368"/>
                          <a:pt x="85000" y="40421"/>
                          <a:pt x="84705" y="40105"/>
                        </a:cubicBezTo>
                        <a:cubicBezTo>
                          <a:pt x="84705" y="40105"/>
                          <a:pt x="83529" y="39789"/>
                          <a:pt x="83529" y="39789"/>
                        </a:cubicBezTo>
                        <a:cubicBezTo>
                          <a:pt x="83529" y="39789"/>
                          <a:pt x="82058" y="40105"/>
                          <a:pt x="82058" y="40105"/>
                        </a:cubicBezTo>
                        <a:cubicBezTo>
                          <a:pt x="81764" y="40421"/>
                          <a:pt x="81470" y="40736"/>
                          <a:pt x="81470" y="40736"/>
                        </a:cubicBezTo>
                        <a:cubicBezTo>
                          <a:pt x="81470" y="41368"/>
                          <a:pt x="81470" y="41368"/>
                          <a:pt x="81470" y="41368"/>
                        </a:cubicBezTo>
                        <a:cubicBezTo>
                          <a:pt x="80882" y="41684"/>
                          <a:pt x="80882" y="41684"/>
                          <a:pt x="80882" y="41684"/>
                        </a:cubicBezTo>
                        <a:cubicBezTo>
                          <a:pt x="80882" y="41684"/>
                          <a:pt x="80588" y="42315"/>
                          <a:pt x="80588" y="42315"/>
                        </a:cubicBezTo>
                        <a:cubicBezTo>
                          <a:pt x="80294" y="42315"/>
                          <a:pt x="79705" y="42631"/>
                          <a:pt x="79705" y="42631"/>
                        </a:cubicBezTo>
                        <a:cubicBezTo>
                          <a:pt x="79411" y="42631"/>
                          <a:pt x="78823" y="42631"/>
                          <a:pt x="78823" y="42947"/>
                        </a:cubicBezTo>
                        <a:cubicBezTo>
                          <a:pt x="78529" y="43263"/>
                          <a:pt x="77647" y="43578"/>
                          <a:pt x="77647" y="43578"/>
                        </a:cubicBezTo>
                        <a:cubicBezTo>
                          <a:pt x="77647" y="43578"/>
                          <a:pt x="77352" y="43894"/>
                          <a:pt x="77941" y="44526"/>
                        </a:cubicBezTo>
                        <a:cubicBezTo>
                          <a:pt x="78529" y="44842"/>
                          <a:pt x="79117" y="44842"/>
                          <a:pt x="79117" y="45157"/>
                        </a:cubicBezTo>
                        <a:cubicBezTo>
                          <a:pt x="79411" y="45157"/>
                          <a:pt x="79411" y="45157"/>
                          <a:pt x="79705" y="45157"/>
                        </a:cubicBezTo>
                        <a:cubicBezTo>
                          <a:pt x="80000" y="45473"/>
                          <a:pt x="80000" y="45473"/>
                          <a:pt x="80588" y="45473"/>
                        </a:cubicBezTo>
                        <a:cubicBezTo>
                          <a:pt x="80882" y="45157"/>
                          <a:pt x="81470" y="45157"/>
                          <a:pt x="81470" y="44842"/>
                        </a:cubicBezTo>
                        <a:cubicBezTo>
                          <a:pt x="81764" y="44526"/>
                          <a:pt x="81764" y="44210"/>
                          <a:pt x="82058" y="43894"/>
                        </a:cubicBezTo>
                        <a:cubicBezTo>
                          <a:pt x="82058" y="43578"/>
                          <a:pt x="82058" y="43263"/>
                          <a:pt x="82647" y="43263"/>
                        </a:cubicBezTo>
                        <a:cubicBezTo>
                          <a:pt x="82941" y="43263"/>
                          <a:pt x="83529" y="42947"/>
                          <a:pt x="83529" y="42947"/>
                        </a:cubicBezTo>
                        <a:cubicBezTo>
                          <a:pt x="83529" y="42947"/>
                          <a:pt x="83529" y="43894"/>
                          <a:pt x="83529" y="43894"/>
                        </a:cubicBezTo>
                        <a:close/>
                        <a:moveTo>
                          <a:pt x="85000" y="57473"/>
                        </a:moveTo>
                        <a:cubicBezTo>
                          <a:pt x="85000" y="57473"/>
                          <a:pt x="85000" y="57473"/>
                          <a:pt x="85000" y="57473"/>
                        </a:cubicBezTo>
                        <a:cubicBezTo>
                          <a:pt x="84705" y="57157"/>
                          <a:pt x="84705" y="57157"/>
                          <a:pt x="84705" y="57157"/>
                        </a:cubicBezTo>
                        <a:cubicBezTo>
                          <a:pt x="84705" y="56842"/>
                          <a:pt x="84705" y="56842"/>
                          <a:pt x="84705" y="56842"/>
                        </a:cubicBezTo>
                        <a:cubicBezTo>
                          <a:pt x="83823" y="55894"/>
                          <a:pt x="83823" y="55894"/>
                          <a:pt x="83823" y="55894"/>
                        </a:cubicBezTo>
                        <a:cubicBezTo>
                          <a:pt x="83823" y="55894"/>
                          <a:pt x="85000" y="55578"/>
                          <a:pt x="85588" y="55263"/>
                        </a:cubicBezTo>
                        <a:cubicBezTo>
                          <a:pt x="86470" y="54947"/>
                          <a:pt x="85588" y="54631"/>
                          <a:pt x="85588" y="54315"/>
                        </a:cubicBezTo>
                        <a:cubicBezTo>
                          <a:pt x="85588" y="54315"/>
                          <a:pt x="85294" y="54315"/>
                          <a:pt x="84705" y="54315"/>
                        </a:cubicBezTo>
                        <a:cubicBezTo>
                          <a:pt x="84411" y="54315"/>
                          <a:pt x="84117" y="54315"/>
                          <a:pt x="83529" y="54631"/>
                        </a:cubicBezTo>
                        <a:cubicBezTo>
                          <a:pt x="83235" y="54631"/>
                          <a:pt x="82941" y="54000"/>
                          <a:pt x="82941" y="54000"/>
                        </a:cubicBezTo>
                        <a:cubicBezTo>
                          <a:pt x="82647" y="54000"/>
                          <a:pt x="81470" y="54000"/>
                          <a:pt x="81176" y="54000"/>
                        </a:cubicBezTo>
                        <a:cubicBezTo>
                          <a:pt x="81176" y="54000"/>
                          <a:pt x="80882" y="54631"/>
                          <a:pt x="80588" y="54947"/>
                        </a:cubicBezTo>
                        <a:cubicBezTo>
                          <a:pt x="80294" y="55263"/>
                          <a:pt x="80000" y="55578"/>
                          <a:pt x="79705" y="55578"/>
                        </a:cubicBezTo>
                        <a:cubicBezTo>
                          <a:pt x="79411" y="55894"/>
                          <a:pt x="80588" y="56526"/>
                          <a:pt x="80882" y="56526"/>
                        </a:cubicBezTo>
                        <a:cubicBezTo>
                          <a:pt x="80882" y="56842"/>
                          <a:pt x="81764" y="56842"/>
                          <a:pt x="81764" y="57157"/>
                        </a:cubicBezTo>
                        <a:cubicBezTo>
                          <a:pt x="82058" y="57157"/>
                          <a:pt x="82941" y="57789"/>
                          <a:pt x="83235" y="57789"/>
                        </a:cubicBezTo>
                        <a:cubicBezTo>
                          <a:pt x="83529" y="58105"/>
                          <a:pt x="82941" y="58421"/>
                          <a:pt x="82647" y="59052"/>
                        </a:cubicBezTo>
                        <a:cubicBezTo>
                          <a:pt x="82352" y="59684"/>
                          <a:pt x="82058" y="59684"/>
                          <a:pt x="81764" y="60000"/>
                        </a:cubicBezTo>
                        <a:cubicBezTo>
                          <a:pt x="81470" y="60315"/>
                          <a:pt x="82058" y="60631"/>
                          <a:pt x="82352" y="60947"/>
                        </a:cubicBezTo>
                        <a:cubicBezTo>
                          <a:pt x="82647" y="61263"/>
                          <a:pt x="83235" y="61578"/>
                          <a:pt x="83235" y="61578"/>
                        </a:cubicBezTo>
                        <a:cubicBezTo>
                          <a:pt x="83529" y="61578"/>
                          <a:pt x="84411" y="60947"/>
                          <a:pt x="84411" y="60947"/>
                        </a:cubicBezTo>
                        <a:cubicBezTo>
                          <a:pt x="84411" y="60947"/>
                          <a:pt x="84705" y="60000"/>
                          <a:pt x="84705" y="60000"/>
                        </a:cubicBezTo>
                        <a:cubicBezTo>
                          <a:pt x="84705" y="59684"/>
                          <a:pt x="85000" y="59052"/>
                          <a:pt x="85000" y="59052"/>
                        </a:cubicBezTo>
                        <a:cubicBezTo>
                          <a:pt x="85294" y="58736"/>
                          <a:pt x="85294" y="58736"/>
                          <a:pt x="85294" y="58736"/>
                        </a:cubicBezTo>
                        <a:cubicBezTo>
                          <a:pt x="85000" y="57473"/>
                          <a:pt x="85000" y="57473"/>
                          <a:pt x="85000" y="57473"/>
                        </a:cubicBezTo>
                        <a:close/>
                        <a:moveTo>
                          <a:pt x="92941" y="66000"/>
                        </a:moveTo>
                        <a:cubicBezTo>
                          <a:pt x="92941" y="66000"/>
                          <a:pt x="92941" y="66000"/>
                          <a:pt x="92941" y="66000"/>
                        </a:cubicBezTo>
                        <a:cubicBezTo>
                          <a:pt x="93235" y="65684"/>
                          <a:pt x="93823" y="65052"/>
                          <a:pt x="93823" y="64736"/>
                        </a:cubicBezTo>
                        <a:cubicBezTo>
                          <a:pt x="93823" y="64736"/>
                          <a:pt x="94411" y="64736"/>
                          <a:pt x="94705" y="64736"/>
                        </a:cubicBezTo>
                        <a:cubicBezTo>
                          <a:pt x="94705" y="64736"/>
                          <a:pt x="95882" y="65052"/>
                          <a:pt x="95882" y="65052"/>
                        </a:cubicBezTo>
                        <a:cubicBezTo>
                          <a:pt x="95882" y="65052"/>
                          <a:pt x="96764" y="65052"/>
                          <a:pt x="96764" y="65052"/>
                        </a:cubicBezTo>
                        <a:cubicBezTo>
                          <a:pt x="96764" y="65052"/>
                          <a:pt x="97647" y="64421"/>
                          <a:pt x="97647" y="64421"/>
                        </a:cubicBezTo>
                        <a:cubicBezTo>
                          <a:pt x="97941" y="64421"/>
                          <a:pt x="98823" y="65368"/>
                          <a:pt x="98823" y="65368"/>
                        </a:cubicBezTo>
                        <a:cubicBezTo>
                          <a:pt x="98823" y="65368"/>
                          <a:pt x="98235" y="66315"/>
                          <a:pt x="97941" y="66315"/>
                        </a:cubicBezTo>
                        <a:cubicBezTo>
                          <a:pt x="97647" y="66631"/>
                          <a:pt x="97352" y="66631"/>
                          <a:pt x="97058" y="66947"/>
                        </a:cubicBezTo>
                        <a:cubicBezTo>
                          <a:pt x="96764" y="67578"/>
                          <a:pt x="96764" y="67578"/>
                          <a:pt x="96764" y="67894"/>
                        </a:cubicBezTo>
                        <a:cubicBezTo>
                          <a:pt x="96470" y="67894"/>
                          <a:pt x="96176" y="68526"/>
                          <a:pt x="95588" y="67894"/>
                        </a:cubicBezTo>
                        <a:cubicBezTo>
                          <a:pt x="95000" y="67578"/>
                          <a:pt x="94411" y="66947"/>
                          <a:pt x="94411" y="66947"/>
                        </a:cubicBezTo>
                        <a:cubicBezTo>
                          <a:pt x="94411" y="66947"/>
                          <a:pt x="93823" y="67263"/>
                          <a:pt x="93529" y="67263"/>
                        </a:cubicBezTo>
                        <a:cubicBezTo>
                          <a:pt x="93235" y="67578"/>
                          <a:pt x="92647" y="67263"/>
                          <a:pt x="92647" y="67263"/>
                        </a:cubicBezTo>
                        <a:cubicBezTo>
                          <a:pt x="92941" y="66947"/>
                          <a:pt x="92647" y="66315"/>
                          <a:pt x="92941" y="66000"/>
                        </a:cubicBezTo>
                        <a:close/>
                        <a:moveTo>
                          <a:pt x="86764" y="72315"/>
                        </a:moveTo>
                        <a:cubicBezTo>
                          <a:pt x="86764" y="72315"/>
                          <a:pt x="86764" y="72315"/>
                          <a:pt x="86764" y="72315"/>
                        </a:cubicBezTo>
                        <a:cubicBezTo>
                          <a:pt x="86764" y="72315"/>
                          <a:pt x="85588" y="71684"/>
                          <a:pt x="85882" y="71368"/>
                        </a:cubicBezTo>
                        <a:cubicBezTo>
                          <a:pt x="86176" y="70736"/>
                          <a:pt x="87352" y="69473"/>
                          <a:pt x="87647" y="69157"/>
                        </a:cubicBezTo>
                        <a:cubicBezTo>
                          <a:pt x="87647" y="69157"/>
                          <a:pt x="88529" y="69473"/>
                          <a:pt x="88529" y="69473"/>
                        </a:cubicBezTo>
                        <a:cubicBezTo>
                          <a:pt x="88823" y="69473"/>
                          <a:pt x="89117" y="68526"/>
                          <a:pt x="89411" y="68526"/>
                        </a:cubicBezTo>
                        <a:cubicBezTo>
                          <a:pt x="89411" y="68526"/>
                          <a:pt x="90588" y="68526"/>
                          <a:pt x="90588" y="68526"/>
                        </a:cubicBezTo>
                        <a:cubicBezTo>
                          <a:pt x="90588" y="68526"/>
                          <a:pt x="90000" y="69789"/>
                          <a:pt x="89411" y="70105"/>
                        </a:cubicBezTo>
                        <a:cubicBezTo>
                          <a:pt x="88823" y="70421"/>
                          <a:pt x="88529" y="70421"/>
                          <a:pt x="88529" y="70736"/>
                        </a:cubicBezTo>
                        <a:cubicBezTo>
                          <a:pt x="88235" y="71052"/>
                          <a:pt x="87941" y="71368"/>
                          <a:pt x="87941" y="71684"/>
                        </a:cubicBezTo>
                        <a:cubicBezTo>
                          <a:pt x="87647" y="71684"/>
                          <a:pt x="86764" y="72315"/>
                          <a:pt x="86764" y="72315"/>
                        </a:cubicBezTo>
                        <a:close/>
                        <a:moveTo>
                          <a:pt x="82941" y="84631"/>
                        </a:moveTo>
                        <a:cubicBezTo>
                          <a:pt x="82941" y="84631"/>
                          <a:pt x="82941" y="84631"/>
                          <a:pt x="82941" y="84631"/>
                        </a:cubicBezTo>
                        <a:cubicBezTo>
                          <a:pt x="83235" y="84947"/>
                          <a:pt x="82647" y="86210"/>
                          <a:pt x="81764" y="85578"/>
                        </a:cubicBezTo>
                        <a:cubicBezTo>
                          <a:pt x="81764" y="85578"/>
                          <a:pt x="81470" y="84947"/>
                          <a:pt x="82058" y="84631"/>
                        </a:cubicBezTo>
                        <a:cubicBezTo>
                          <a:pt x="82352" y="84631"/>
                          <a:pt x="82941" y="84631"/>
                          <a:pt x="82941" y="84631"/>
                        </a:cubicBezTo>
                        <a:close/>
                        <a:moveTo>
                          <a:pt x="82058" y="92210"/>
                        </a:moveTo>
                        <a:cubicBezTo>
                          <a:pt x="82058" y="92210"/>
                          <a:pt x="82058" y="92210"/>
                          <a:pt x="82058" y="92210"/>
                        </a:cubicBezTo>
                        <a:cubicBezTo>
                          <a:pt x="82058" y="92210"/>
                          <a:pt x="82647" y="91578"/>
                          <a:pt x="82647" y="91578"/>
                        </a:cubicBezTo>
                        <a:cubicBezTo>
                          <a:pt x="82941" y="91578"/>
                          <a:pt x="83235" y="91894"/>
                          <a:pt x="83235" y="91894"/>
                        </a:cubicBezTo>
                        <a:cubicBezTo>
                          <a:pt x="83235" y="91894"/>
                          <a:pt x="84117" y="92526"/>
                          <a:pt x="84117" y="92526"/>
                        </a:cubicBezTo>
                        <a:cubicBezTo>
                          <a:pt x="84117" y="92842"/>
                          <a:pt x="84411" y="93473"/>
                          <a:pt x="84117" y="93473"/>
                        </a:cubicBezTo>
                        <a:cubicBezTo>
                          <a:pt x="83823" y="93789"/>
                          <a:pt x="83529" y="94105"/>
                          <a:pt x="83235" y="93789"/>
                        </a:cubicBezTo>
                        <a:cubicBezTo>
                          <a:pt x="82941" y="93789"/>
                          <a:pt x="82647" y="93789"/>
                          <a:pt x="82647" y="93473"/>
                        </a:cubicBezTo>
                        <a:cubicBezTo>
                          <a:pt x="82647" y="93157"/>
                          <a:pt x="82647" y="93157"/>
                          <a:pt x="82647" y="92842"/>
                        </a:cubicBezTo>
                        <a:cubicBezTo>
                          <a:pt x="82647" y="92842"/>
                          <a:pt x="82058" y="92842"/>
                          <a:pt x="82058" y="92842"/>
                        </a:cubicBezTo>
                        <a:cubicBezTo>
                          <a:pt x="82058" y="92210"/>
                          <a:pt x="82058" y="92210"/>
                          <a:pt x="82058" y="92210"/>
                        </a:cubicBezTo>
                        <a:close/>
                        <a:moveTo>
                          <a:pt x="70000" y="88105"/>
                        </a:moveTo>
                        <a:cubicBezTo>
                          <a:pt x="70000" y="88105"/>
                          <a:pt x="70000" y="88105"/>
                          <a:pt x="70000" y="88105"/>
                        </a:cubicBezTo>
                        <a:cubicBezTo>
                          <a:pt x="70294" y="88105"/>
                          <a:pt x="70882" y="87789"/>
                          <a:pt x="70882" y="88105"/>
                        </a:cubicBezTo>
                        <a:cubicBezTo>
                          <a:pt x="71176" y="88421"/>
                          <a:pt x="71470" y="88421"/>
                          <a:pt x="71470" y="88736"/>
                        </a:cubicBezTo>
                        <a:cubicBezTo>
                          <a:pt x="71470" y="88736"/>
                          <a:pt x="71764" y="89052"/>
                          <a:pt x="71176" y="89368"/>
                        </a:cubicBezTo>
                        <a:cubicBezTo>
                          <a:pt x="70588" y="89368"/>
                          <a:pt x="70294" y="89368"/>
                          <a:pt x="70294" y="89368"/>
                        </a:cubicBezTo>
                        <a:cubicBezTo>
                          <a:pt x="70588" y="90315"/>
                          <a:pt x="70588" y="90315"/>
                          <a:pt x="70588" y="90315"/>
                        </a:cubicBezTo>
                        <a:cubicBezTo>
                          <a:pt x="70588" y="90315"/>
                          <a:pt x="71176" y="90315"/>
                          <a:pt x="70294" y="90947"/>
                        </a:cubicBezTo>
                        <a:cubicBezTo>
                          <a:pt x="69705" y="91578"/>
                          <a:pt x="69117" y="91578"/>
                          <a:pt x="69117" y="91578"/>
                        </a:cubicBezTo>
                        <a:cubicBezTo>
                          <a:pt x="69117" y="91263"/>
                          <a:pt x="69117" y="91263"/>
                          <a:pt x="69117" y="91263"/>
                        </a:cubicBezTo>
                        <a:cubicBezTo>
                          <a:pt x="68235" y="91578"/>
                          <a:pt x="68235" y="91578"/>
                          <a:pt x="68235" y="91578"/>
                        </a:cubicBezTo>
                        <a:cubicBezTo>
                          <a:pt x="68235" y="91578"/>
                          <a:pt x="67941" y="91894"/>
                          <a:pt x="67941" y="91578"/>
                        </a:cubicBezTo>
                        <a:cubicBezTo>
                          <a:pt x="67647" y="90947"/>
                          <a:pt x="67352" y="90315"/>
                          <a:pt x="67941" y="90315"/>
                        </a:cubicBezTo>
                        <a:cubicBezTo>
                          <a:pt x="68529" y="90000"/>
                          <a:pt x="68529" y="89684"/>
                          <a:pt x="68823" y="90000"/>
                        </a:cubicBezTo>
                        <a:cubicBezTo>
                          <a:pt x="69117" y="90315"/>
                          <a:pt x="69117" y="90631"/>
                          <a:pt x="69117" y="90631"/>
                        </a:cubicBezTo>
                        <a:cubicBezTo>
                          <a:pt x="69411" y="89684"/>
                          <a:pt x="69411" y="89684"/>
                          <a:pt x="69411" y="89684"/>
                        </a:cubicBezTo>
                        <a:cubicBezTo>
                          <a:pt x="69411" y="89684"/>
                          <a:pt x="69117" y="89684"/>
                          <a:pt x="69117" y="89368"/>
                        </a:cubicBezTo>
                        <a:cubicBezTo>
                          <a:pt x="69411" y="89052"/>
                          <a:pt x="69411" y="89052"/>
                          <a:pt x="69705" y="88736"/>
                        </a:cubicBezTo>
                        <a:cubicBezTo>
                          <a:pt x="70000" y="88736"/>
                          <a:pt x="70294" y="89052"/>
                          <a:pt x="70294" y="89052"/>
                        </a:cubicBezTo>
                        <a:cubicBezTo>
                          <a:pt x="70000" y="88105"/>
                          <a:pt x="70000" y="88105"/>
                          <a:pt x="70000" y="88105"/>
                        </a:cubicBezTo>
                        <a:close/>
                        <a:moveTo>
                          <a:pt x="75882" y="90315"/>
                        </a:moveTo>
                        <a:cubicBezTo>
                          <a:pt x="75882" y="90315"/>
                          <a:pt x="75882" y="90315"/>
                          <a:pt x="75882" y="90315"/>
                        </a:cubicBezTo>
                        <a:cubicBezTo>
                          <a:pt x="75882" y="90315"/>
                          <a:pt x="76176" y="90315"/>
                          <a:pt x="76176" y="90631"/>
                        </a:cubicBezTo>
                        <a:cubicBezTo>
                          <a:pt x="76470" y="90947"/>
                          <a:pt x="76470" y="90947"/>
                          <a:pt x="76176" y="90947"/>
                        </a:cubicBezTo>
                        <a:cubicBezTo>
                          <a:pt x="76176" y="90947"/>
                          <a:pt x="75294" y="90947"/>
                          <a:pt x="75294" y="90947"/>
                        </a:cubicBezTo>
                        <a:cubicBezTo>
                          <a:pt x="75294" y="90947"/>
                          <a:pt x="75000" y="91263"/>
                          <a:pt x="75000" y="90631"/>
                        </a:cubicBezTo>
                        <a:cubicBezTo>
                          <a:pt x="75000" y="90315"/>
                          <a:pt x="75000" y="90000"/>
                          <a:pt x="75000" y="90000"/>
                        </a:cubicBezTo>
                        <a:cubicBezTo>
                          <a:pt x="75882" y="90315"/>
                          <a:pt x="75882" y="90315"/>
                          <a:pt x="75882" y="90315"/>
                        </a:cubicBezTo>
                        <a:close/>
                        <a:moveTo>
                          <a:pt x="77941" y="89052"/>
                        </a:moveTo>
                        <a:cubicBezTo>
                          <a:pt x="77941" y="89052"/>
                          <a:pt x="77941" y="89052"/>
                          <a:pt x="77941" y="89052"/>
                        </a:cubicBezTo>
                        <a:cubicBezTo>
                          <a:pt x="79117" y="88105"/>
                          <a:pt x="79117" y="88105"/>
                          <a:pt x="79117" y="88105"/>
                        </a:cubicBezTo>
                        <a:cubicBezTo>
                          <a:pt x="79117" y="88105"/>
                          <a:pt x="79411" y="89052"/>
                          <a:pt x="78823" y="89368"/>
                        </a:cubicBezTo>
                        <a:cubicBezTo>
                          <a:pt x="78529" y="89684"/>
                          <a:pt x="78235" y="89684"/>
                          <a:pt x="78235" y="89684"/>
                        </a:cubicBezTo>
                        <a:cubicBezTo>
                          <a:pt x="77647" y="89368"/>
                          <a:pt x="77647" y="89368"/>
                          <a:pt x="77647" y="89368"/>
                        </a:cubicBezTo>
                        <a:cubicBezTo>
                          <a:pt x="77941" y="89052"/>
                          <a:pt x="77941" y="89052"/>
                          <a:pt x="77941" y="89052"/>
                        </a:cubicBezTo>
                        <a:close/>
                        <a:moveTo>
                          <a:pt x="80294" y="86842"/>
                        </a:moveTo>
                        <a:cubicBezTo>
                          <a:pt x="80294" y="86842"/>
                          <a:pt x="80294" y="86842"/>
                          <a:pt x="80294" y="86842"/>
                        </a:cubicBezTo>
                        <a:cubicBezTo>
                          <a:pt x="80294" y="86842"/>
                          <a:pt x="80000" y="87789"/>
                          <a:pt x="80294" y="88421"/>
                        </a:cubicBezTo>
                        <a:cubicBezTo>
                          <a:pt x="80294" y="88736"/>
                          <a:pt x="80294" y="88736"/>
                          <a:pt x="80588" y="88736"/>
                        </a:cubicBezTo>
                        <a:cubicBezTo>
                          <a:pt x="80882" y="89052"/>
                          <a:pt x="81176" y="89052"/>
                          <a:pt x="81470" y="88736"/>
                        </a:cubicBezTo>
                        <a:cubicBezTo>
                          <a:pt x="81764" y="88736"/>
                          <a:pt x="81764" y="87789"/>
                          <a:pt x="81764" y="87789"/>
                        </a:cubicBezTo>
                        <a:cubicBezTo>
                          <a:pt x="81764" y="87789"/>
                          <a:pt x="81764" y="87473"/>
                          <a:pt x="81470" y="86842"/>
                        </a:cubicBezTo>
                        <a:cubicBezTo>
                          <a:pt x="81176" y="85894"/>
                          <a:pt x="80588" y="86842"/>
                          <a:pt x="80294" y="86842"/>
                        </a:cubicBezTo>
                        <a:close/>
                        <a:moveTo>
                          <a:pt x="80588" y="81789"/>
                        </a:moveTo>
                        <a:cubicBezTo>
                          <a:pt x="80588" y="81789"/>
                          <a:pt x="80588" y="81789"/>
                          <a:pt x="80588" y="81789"/>
                        </a:cubicBezTo>
                        <a:cubicBezTo>
                          <a:pt x="80588" y="81473"/>
                          <a:pt x="80588" y="80526"/>
                          <a:pt x="80882" y="80210"/>
                        </a:cubicBezTo>
                        <a:cubicBezTo>
                          <a:pt x="81176" y="80210"/>
                          <a:pt x="81176" y="79894"/>
                          <a:pt x="81470" y="79578"/>
                        </a:cubicBezTo>
                        <a:cubicBezTo>
                          <a:pt x="81470" y="79263"/>
                          <a:pt x="82647" y="79263"/>
                          <a:pt x="82647" y="79263"/>
                        </a:cubicBezTo>
                        <a:cubicBezTo>
                          <a:pt x="82941" y="79894"/>
                          <a:pt x="82941" y="79894"/>
                          <a:pt x="82941" y="79894"/>
                        </a:cubicBezTo>
                        <a:cubicBezTo>
                          <a:pt x="82941" y="79894"/>
                          <a:pt x="82941" y="80526"/>
                          <a:pt x="82941" y="80842"/>
                        </a:cubicBezTo>
                        <a:cubicBezTo>
                          <a:pt x="82941" y="81157"/>
                          <a:pt x="82941" y="81157"/>
                          <a:pt x="83235" y="81789"/>
                        </a:cubicBezTo>
                        <a:cubicBezTo>
                          <a:pt x="83235" y="82105"/>
                          <a:pt x="82941" y="82736"/>
                          <a:pt x="82941" y="83052"/>
                        </a:cubicBezTo>
                        <a:cubicBezTo>
                          <a:pt x="82647" y="83368"/>
                          <a:pt x="82647" y="83684"/>
                          <a:pt x="82352" y="83684"/>
                        </a:cubicBezTo>
                        <a:cubicBezTo>
                          <a:pt x="82058" y="84000"/>
                          <a:pt x="82058" y="84315"/>
                          <a:pt x="81764" y="84000"/>
                        </a:cubicBezTo>
                        <a:cubicBezTo>
                          <a:pt x="81470" y="83684"/>
                          <a:pt x="80588" y="83368"/>
                          <a:pt x="80588" y="83052"/>
                        </a:cubicBezTo>
                        <a:cubicBezTo>
                          <a:pt x="80588" y="83052"/>
                          <a:pt x="80588" y="82421"/>
                          <a:pt x="80588" y="82421"/>
                        </a:cubicBezTo>
                        <a:cubicBezTo>
                          <a:pt x="80588" y="81789"/>
                          <a:pt x="80588" y="81789"/>
                          <a:pt x="80588" y="81789"/>
                        </a:cubicBezTo>
                        <a:close/>
                        <a:moveTo>
                          <a:pt x="77058" y="83368"/>
                        </a:moveTo>
                        <a:cubicBezTo>
                          <a:pt x="77058" y="83368"/>
                          <a:pt x="77058" y="83368"/>
                          <a:pt x="77058" y="83368"/>
                        </a:cubicBezTo>
                        <a:cubicBezTo>
                          <a:pt x="77058" y="83052"/>
                          <a:pt x="77352" y="81789"/>
                          <a:pt x="77352" y="81789"/>
                        </a:cubicBezTo>
                        <a:cubicBezTo>
                          <a:pt x="77352" y="81789"/>
                          <a:pt x="77352" y="81157"/>
                          <a:pt x="77941" y="80842"/>
                        </a:cubicBezTo>
                        <a:cubicBezTo>
                          <a:pt x="78235" y="80842"/>
                          <a:pt x="78235" y="80526"/>
                          <a:pt x="78529" y="80842"/>
                        </a:cubicBezTo>
                        <a:cubicBezTo>
                          <a:pt x="78823" y="81157"/>
                          <a:pt x="79117" y="81473"/>
                          <a:pt x="79117" y="81473"/>
                        </a:cubicBezTo>
                        <a:cubicBezTo>
                          <a:pt x="79117" y="81473"/>
                          <a:pt x="78823" y="81473"/>
                          <a:pt x="78823" y="81789"/>
                        </a:cubicBezTo>
                        <a:cubicBezTo>
                          <a:pt x="78823" y="81789"/>
                          <a:pt x="79117" y="82421"/>
                          <a:pt x="79117" y="82421"/>
                        </a:cubicBezTo>
                        <a:cubicBezTo>
                          <a:pt x="78823" y="82736"/>
                          <a:pt x="78529" y="83052"/>
                          <a:pt x="78235" y="83368"/>
                        </a:cubicBezTo>
                        <a:cubicBezTo>
                          <a:pt x="78235" y="83684"/>
                          <a:pt x="77647" y="84000"/>
                          <a:pt x="77647" y="84000"/>
                        </a:cubicBezTo>
                        <a:cubicBezTo>
                          <a:pt x="76764" y="84631"/>
                          <a:pt x="76764" y="84631"/>
                          <a:pt x="76764" y="84631"/>
                        </a:cubicBezTo>
                        <a:cubicBezTo>
                          <a:pt x="76764" y="84947"/>
                          <a:pt x="76764" y="84947"/>
                          <a:pt x="76764" y="84947"/>
                        </a:cubicBezTo>
                        <a:cubicBezTo>
                          <a:pt x="76470" y="84947"/>
                          <a:pt x="76470" y="84947"/>
                          <a:pt x="76470" y="84947"/>
                        </a:cubicBezTo>
                        <a:cubicBezTo>
                          <a:pt x="75882" y="84000"/>
                          <a:pt x="75882" y="84000"/>
                          <a:pt x="75882" y="84000"/>
                        </a:cubicBezTo>
                        <a:cubicBezTo>
                          <a:pt x="76764" y="83368"/>
                          <a:pt x="76764" y="83368"/>
                          <a:pt x="76764" y="83368"/>
                        </a:cubicBezTo>
                        <a:cubicBezTo>
                          <a:pt x="77058" y="83368"/>
                          <a:pt x="77058" y="83368"/>
                          <a:pt x="77058" y="83368"/>
                        </a:cubicBezTo>
                        <a:close/>
                        <a:moveTo>
                          <a:pt x="71176" y="84631"/>
                        </a:moveTo>
                        <a:cubicBezTo>
                          <a:pt x="71176" y="84631"/>
                          <a:pt x="71176" y="84631"/>
                          <a:pt x="71176" y="84631"/>
                        </a:cubicBezTo>
                        <a:cubicBezTo>
                          <a:pt x="72058" y="84315"/>
                          <a:pt x="72058" y="84315"/>
                          <a:pt x="72058" y="84315"/>
                        </a:cubicBezTo>
                        <a:cubicBezTo>
                          <a:pt x="72941" y="84947"/>
                          <a:pt x="72941" y="84947"/>
                          <a:pt x="72941" y="84947"/>
                        </a:cubicBezTo>
                        <a:cubicBezTo>
                          <a:pt x="72941" y="85894"/>
                          <a:pt x="72941" y="85894"/>
                          <a:pt x="72941" y="85894"/>
                        </a:cubicBezTo>
                        <a:cubicBezTo>
                          <a:pt x="72941" y="85894"/>
                          <a:pt x="72352" y="87157"/>
                          <a:pt x="72058" y="86842"/>
                        </a:cubicBezTo>
                        <a:cubicBezTo>
                          <a:pt x="71764" y="86210"/>
                          <a:pt x="71764" y="85578"/>
                          <a:pt x="71764" y="85578"/>
                        </a:cubicBezTo>
                        <a:cubicBezTo>
                          <a:pt x="71176" y="84631"/>
                          <a:pt x="71176" y="84631"/>
                          <a:pt x="71176" y="84631"/>
                        </a:cubicBezTo>
                        <a:close/>
                        <a:moveTo>
                          <a:pt x="67352" y="82105"/>
                        </a:moveTo>
                        <a:cubicBezTo>
                          <a:pt x="67352" y="82105"/>
                          <a:pt x="67352" y="82105"/>
                          <a:pt x="67352" y="82105"/>
                        </a:cubicBezTo>
                        <a:cubicBezTo>
                          <a:pt x="67352" y="82105"/>
                          <a:pt x="68823" y="81789"/>
                          <a:pt x="68823" y="82105"/>
                        </a:cubicBezTo>
                        <a:cubicBezTo>
                          <a:pt x="68823" y="82105"/>
                          <a:pt x="68823" y="82736"/>
                          <a:pt x="69117" y="82736"/>
                        </a:cubicBezTo>
                        <a:cubicBezTo>
                          <a:pt x="69117" y="83052"/>
                          <a:pt x="68235" y="84000"/>
                          <a:pt x="67941" y="84000"/>
                        </a:cubicBezTo>
                        <a:cubicBezTo>
                          <a:pt x="67941" y="84000"/>
                          <a:pt x="67647" y="83684"/>
                          <a:pt x="67647" y="83684"/>
                        </a:cubicBezTo>
                        <a:cubicBezTo>
                          <a:pt x="67352" y="82105"/>
                          <a:pt x="67352" y="82105"/>
                          <a:pt x="67352" y="82105"/>
                        </a:cubicBezTo>
                        <a:close/>
                        <a:moveTo>
                          <a:pt x="66176" y="78000"/>
                        </a:moveTo>
                        <a:cubicBezTo>
                          <a:pt x="66176" y="78000"/>
                          <a:pt x="66176" y="78000"/>
                          <a:pt x="66176" y="78000"/>
                        </a:cubicBezTo>
                        <a:cubicBezTo>
                          <a:pt x="66176" y="78000"/>
                          <a:pt x="66470" y="77684"/>
                          <a:pt x="66764" y="77684"/>
                        </a:cubicBezTo>
                        <a:cubicBezTo>
                          <a:pt x="67058" y="78000"/>
                          <a:pt x="67058" y="78947"/>
                          <a:pt x="67058" y="78947"/>
                        </a:cubicBezTo>
                        <a:cubicBezTo>
                          <a:pt x="66764" y="79894"/>
                          <a:pt x="66764" y="79894"/>
                          <a:pt x="66764" y="79894"/>
                        </a:cubicBezTo>
                        <a:cubicBezTo>
                          <a:pt x="66764" y="79894"/>
                          <a:pt x="66176" y="80842"/>
                          <a:pt x="66176" y="80842"/>
                        </a:cubicBezTo>
                        <a:cubicBezTo>
                          <a:pt x="66176" y="80526"/>
                          <a:pt x="65882" y="78947"/>
                          <a:pt x="65882" y="78947"/>
                        </a:cubicBezTo>
                        <a:cubicBezTo>
                          <a:pt x="66176" y="78000"/>
                          <a:pt x="66176" y="78000"/>
                          <a:pt x="66176" y="78000"/>
                        </a:cubicBezTo>
                        <a:close/>
                        <a:moveTo>
                          <a:pt x="64411" y="75473"/>
                        </a:moveTo>
                        <a:cubicBezTo>
                          <a:pt x="64411" y="75473"/>
                          <a:pt x="64411" y="75473"/>
                          <a:pt x="64411" y="75473"/>
                        </a:cubicBezTo>
                        <a:cubicBezTo>
                          <a:pt x="64411" y="75473"/>
                          <a:pt x="64117" y="76421"/>
                          <a:pt x="64117" y="76736"/>
                        </a:cubicBezTo>
                        <a:cubicBezTo>
                          <a:pt x="64117" y="76736"/>
                          <a:pt x="64411" y="77368"/>
                          <a:pt x="64411" y="77368"/>
                        </a:cubicBezTo>
                        <a:cubicBezTo>
                          <a:pt x="64411" y="77684"/>
                          <a:pt x="64411" y="77368"/>
                          <a:pt x="64705" y="77052"/>
                        </a:cubicBezTo>
                        <a:cubicBezTo>
                          <a:pt x="65000" y="76736"/>
                          <a:pt x="65000" y="76421"/>
                          <a:pt x="65000" y="76421"/>
                        </a:cubicBezTo>
                        <a:cubicBezTo>
                          <a:pt x="65000" y="76421"/>
                          <a:pt x="65588" y="76105"/>
                          <a:pt x="65588" y="75789"/>
                        </a:cubicBezTo>
                        <a:cubicBezTo>
                          <a:pt x="65882" y="75789"/>
                          <a:pt x="65882" y="74842"/>
                          <a:pt x="65882" y="74842"/>
                        </a:cubicBezTo>
                        <a:cubicBezTo>
                          <a:pt x="65882" y="74842"/>
                          <a:pt x="65000" y="74210"/>
                          <a:pt x="65000" y="74526"/>
                        </a:cubicBezTo>
                        <a:cubicBezTo>
                          <a:pt x="64705" y="74526"/>
                          <a:pt x="64411" y="75473"/>
                          <a:pt x="64411" y="75473"/>
                        </a:cubicBezTo>
                        <a:close/>
                        <a:moveTo>
                          <a:pt x="68529" y="74842"/>
                        </a:moveTo>
                        <a:cubicBezTo>
                          <a:pt x="68529" y="74842"/>
                          <a:pt x="68529" y="74842"/>
                          <a:pt x="68529" y="74842"/>
                        </a:cubicBezTo>
                        <a:cubicBezTo>
                          <a:pt x="68823" y="74842"/>
                          <a:pt x="68823" y="74842"/>
                          <a:pt x="68823" y="74842"/>
                        </a:cubicBezTo>
                        <a:cubicBezTo>
                          <a:pt x="68823" y="75157"/>
                          <a:pt x="68823" y="75157"/>
                          <a:pt x="68823" y="75157"/>
                        </a:cubicBezTo>
                        <a:cubicBezTo>
                          <a:pt x="68823" y="75157"/>
                          <a:pt x="69705" y="74842"/>
                          <a:pt x="70000" y="74842"/>
                        </a:cubicBezTo>
                        <a:cubicBezTo>
                          <a:pt x="70294" y="74526"/>
                          <a:pt x="70000" y="74210"/>
                          <a:pt x="70000" y="73894"/>
                        </a:cubicBezTo>
                        <a:cubicBezTo>
                          <a:pt x="69705" y="73578"/>
                          <a:pt x="68529" y="74842"/>
                          <a:pt x="68529" y="74842"/>
                        </a:cubicBezTo>
                        <a:close/>
                        <a:moveTo>
                          <a:pt x="72647" y="76105"/>
                        </a:moveTo>
                        <a:cubicBezTo>
                          <a:pt x="72647" y="76105"/>
                          <a:pt x="72647" y="76105"/>
                          <a:pt x="72647" y="76105"/>
                        </a:cubicBezTo>
                        <a:cubicBezTo>
                          <a:pt x="72058" y="75789"/>
                          <a:pt x="72058" y="75789"/>
                          <a:pt x="72058" y="75789"/>
                        </a:cubicBezTo>
                        <a:cubicBezTo>
                          <a:pt x="72058" y="76421"/>
                          <a:pt x="72058" y="76421"/>
                          <a:pt x="72058" y="76421"/>
                        </a:cubicBezTo>
                        <a:cubicBezTo>
                          <a:pt x="72058" y="76421"/>
                          <a:pt x="72352" y="77052"/>
                          <a:pt x="72647" y="77368"/>
                        </a:cubicBezTo>
                        <a:cubicBezTo>
                          <a:pt x="72647" y="77368"/>
                          <a:pt x="72058" y="78000"/>
                          <a:pt x="72058" y="78000"/>
                        </a:cubicBezTo>
                        <a:cubicBezTo>
                          <a:pt x="72647" y="78947"/>
                          <a:pt x="72647" y="78947"/>
                          <a:pt x="72647" y="78947"/>
                        </a:cubicBezTo>
                        <a:cubicBezTo>
                          <a:pt x="73529" y="77368"/>
                          <a:pt x="73529" y="77368"/>
                          <a:pt x="73529" y="77368"/>
                        </a:cubicBezTo>
                        <a:cubicBezTo>
                          <a:pt x="73529" y="77368"/>
                          <a:pt x="73235" y="76736"/>
                          <a:pt x="73235" y="76736"/>
                        </a:cubicBezTo>
                        <a:cubicBezTo>
                          <a:pt x="73235" y="76421"/>
                          <a:pt x="72647" y="76105"/>
                          <a:pt x="72647" y="76105"/>
                        </a:cubicBezTo>
                        <a:close/>
                        <a:moveTo>
                          <a:pt x="76764" y="76105"/>
                        </a:moveTo>
                        <a:cubicBezTo>
                          <a:pt x="76764" y="76105"/>
                          <a:pt x="76764" y="76105"/>
                          <a:pt x="76764" y="76105"/>
                        </a:cubicBezTo>
                        <a:cubicBezTo>
                          <a:pt x="77058" y="76736"/>
                          <a:pt x="77058" y="76736"/>
                          <a:pt x="77058" y="76736"/>
                        </a:cubicBezTo>
                        <a:cubicBezTo>
                          <a:pt x="77058" y="76736"/>
                          <a:pt x="76764" y="77368"/>
                          <a:pt x="76470" y="77368"/>
                        </a:cubicBezTo>
                        <a:cubicBezTo>
                          <a:pt x="76470" y="77368"/>
                          <a:pt x="76176" y="77052"/>
                          <a:pt x="76176" y="77052"/>
                        </a:cubicBezTo>
                        <a:cubicBezTo>
                          <a:pt x="76764" y="76105"/>
                          <a:pt x="76764" y="76105"/>
                          <a:pt x="76764" y="76105"/>
                        </a:cubicBezTo>
                        <a:close/>
                        <a:moveTo>
                          <a:pt x="77647" y="75157"/>
                        </a:moveTo>
                        <a:cubicBezTo>
                          <a:pt x="77647" y="75157"/>
                          <a:pt x="77647" y="75157"/>
                          <a:pt x="77647" y="75157"/>
                        </a:cubicBezTo>
                        <a:cubicBezTo>
                          <a:pt x="77941" y="75789"/>
                          <a:pt x="77941" y="75789"/>
                          <a:pt x="77941" y="75789"/>
                        </a:cubicBezTo>
                        <a:cubicBezTo>
                          <a:pt x="77941" y="75789"/>
                          <a:pt x="78823" y="75473"/>
                          <a:pt x="79411" y="75157"/>
                        </a:cubicBezTo>
                        <a:cubicBezTo>
                          <a:pt x="80294" y="74842"/>
                          <a:pt x="79411" y="74526"/>
                          <a:pt x="79411" y="74526"/>
                        </a:cubicBezTo>
                        <a:cubicBezTo>
                          <a:pt x="78529" y="74526"/>
                          <a:pt x="78529" y="74526"/>
                          <a:pt x="78529" y="74526"/>
                        </a:cubicBezTo>
                        <a:cubicBezTo>
                          <a:pt x="78529" y="74526"/>
                          <a:pt x="77647" y="74842"/>
                          <a:pt x="77647" y="75157"/>
                        </a:cubicBezTo>
                        <a:close/>
                        <a:moveTo>
                          <a:pt x="72647" y="72631"/>
                        </a:moveTo>
                        <a:cubicBezTo>
                          <a:pt x="72647" y="72631"/>
                          <a:pt x="72647" y="72631"/>
                          <a:pt x="72647" y="72631"/>
                        </a:cubicBezTo>
                        <a:cubicBezTo>
                          <a:pt x="73529" y="73578"/>
                          <a:pt x="73529" y="73578"/>
                          <a:pt x="73529" y="73578"/>
                        </a:cubicBezTo>
                        <a:cubicBezTo>
                          <a:pt x="73529" y="73578"/>
                          <a:pt x="74705" y="74210"/>
                          <a:pt x="75000" y="74210"/>
                        </a:cubicBezTo>
                        <a:cubicBezTo>
                          <a:pt x="75000" y="74526"/>
                          <a:pt x="75588" y="74210"/>
                          <a:pt x="76176" y="74210"/>
                        </a:cubicBezTo>
                        <a:cubicBezTo>
                          <a:pt x="76470" y="73894"/>
                          <a:pt x="76470" y="73894"/>
                          <a:pt x="76470" y="73578"/>
                        </a:cubicBezTo>
                        <a:cubicBezTo>
                          <a:pt x="76470" y="73578"/>
                          <a:pt x="76176" y="73263"/>
                          <a:pt x="76176" y="73263"/>
                        </a:cubicBezTo>
                        <a:cubicBezTo>
                          <a:pt x="76176" y="73263"/>
                          <a:pt x="75882" y="72631"/>
                          <a:pt x="75000" y="72631"/>
                        </a:cubicBezTo>
                        <a:cubicBezTo>
                          <a:pt x="74411" y="72947"/>
                          <a:pt x="74411" y="72631"/>
                          <a:pt x="74411" y="72631"/>
                        </a:cubicBezTo>
                        <a:cubicBezTo>
                          <a:pt x="74411" y="72631"/>
                          <a:pt x="74117" y="72631"/>
                          <a:pt x="73235" y="72315"/>
                        </a:cubicBezTo>
                        <a:cubicBezTo>
                          <a:pt x="72647" y="72315"/>
                          <a:pt x="72941" y="72631"/>
                          <a:pt x="72647" y="72631"/>
                        </a:cubicBezTo>
                        <a:close/>
                        <a:moveTo>
                          <a:pt x="72058" y="72315"/>
                        </a:moveTo>
                        <a:cubicBezTo>
                          <a:pt x="72058" y="72315"/>
                          <a:pt x="72058" y="72315"/>
                          <a:pt x="72058" y="72315"/>
                        </a:cubicBezTo>
                        <a:cubicBezTo>
                          <a:pt x="72352" y="72000"/>
                          <a:pt x="72352" y="72000"/>
                          <a:pt x="72352" y="72000"/>
                        </a:cubicBezTo>
                        <a:cubicBezTo>
                          <a:pt x="72352" y="72000"/>
                          <a:pt x="72352" y="71368"/>
                          <a:pt x="72352" y="70421"/>
                        </a:cubicBezTo>
                        <a:cubicBezTo>
                          <a:pt x="72352" y="69789"/>
                          <a:pt x="72058" y="70105"/>
                          <a:pt x="72058" y="70105"/>
                        </a:cubicBezTo>
                        <a:cubicBezTo>
                          <a:pt x="72058" y="69789"/>
                          <a:pt x="72058" y="69473"/>
                          <a:pt x="71764" y="68842"/>
                        </a:cubicBezTo>
                        <a:cubicBezTo>
                          <a:pt x="71470" y="68526"/>
                          <a:pt x="71470" y="68842"/>
                          <a:pt x="71176" y="68842"/>
                        </a:cubicBezTo>
                        <a:cubicBezTo>
                          <a:pt x="71176" y="68842"/>
                          <a:pt x="70882" y="69157"/>
                          <a:pt x="70294" y="69157"/>
                        </a:cubicBezTo>
                        <a:cubicBezTo>
                          <a:pt x="69705" y="69157"/>
                          <a:pt x="70000" y="68526"/>
                          <a:pt x="69705" y="68210"/>
                        </a:cubicBezTo>
                        <a:cubicBezTo>
                          <a:pt x="69411" y="67894"/>
                          <a:pt x="68823" y="67894"/>
                          <a:pt x="68823" y="67894"/>
                        </a:cubicBezTo>
                        <a:cubicBezTo>
                          <a:pt x="68529" y="67894"/>
                          <a:pt x="67941" y="68842"/>
                          <a:pt x="67941" y="69157"/>
                        </a:cubicBezTo>
                        <a:cubicBezTo>
                          <a:pt x="67941" y="69473"/>
                          <a:pt x="68235" y="69473"/>
                          <a:pt x="69117" y="70421"/>
                        </a:cubicBezTo>
                        <a:cubicBezTo>
                          <a:pt x="70000" y="71052"/>
                          <a:pt x="70294" y="71052"/>
                          <a:pt x="70588" y="71052"/>
                        </a:cubicBezTo>
                        <a:cubicBezTo>
                          <a:pt x="70882" y="71368"/>
                          <a:pt x="71764" y="72000"/>
                          <a:pt x="72058" y="72315"/>
                        </a:cubicBezTo>
                        <a:close/>
                        <a:moveTo>
                          <a:pt x="63529" y="113684"/>
                        </a:moveTo>
                        <a:cubicBezTo>
                          <a:pt x="63529" y="113684"/>
                          <a:pt x="63529" y="113684"/>
                          <a:pt x="63529" y="113684"/>
                        </a:cubicBezTo>
                        <a:cubicBezTo>
                          <a:pt x="63823" y="112736"/>
                          <a:pt x="63823" y="112736"/>
                          <a:pt x="63823" y="112736"/>
                        </a:cubicBezTo>
                        <a:cubicBezTo>
                          <a:pt x="63235" y="111789"/>
                          <a:pt x="63235" y="111789"/>
                          <a:pt x="63235" y="111789"/>
                        </a:cubicBezTo>
                        <a:cubicBezTo>
                          <a:pt x="63235" y="110526"/>
                          <a:pt x="63235" y="110526"/>
                          <a:pt x="63235" y="110526"/>
                        </a:cubicBezTo>
                        <a:cubicBezTo>
                          <a:pt x="63529" y="110210"/>
                          <a:pt x="63529" y="110210"/>
                          <a:pt x="63529" y="110210"/>
                        </a:cubicBezTo>
                        <a:cubicBezTo>
                          <a:pt x="63529" y="110210"/>
                          <a:pt x="64117" y="110842"/>
                          <a:pt x="64117" y="111157"/>
                        </a:cubicBezTo>
                        <a:cubicBezTo>
                          <a:pt x="64117" y="111473"/>
                          <a:pt x="64117" y="112105"/>
                          <a:pt x="64117" y="112105"/>
                        </a:cubicBezTo>
                        <a:cubicBezTo>
                          <a:pt x="64117" y="112105"/>
                          <a:pt x="65000" y="112736"/>
                          <a:pt x="65000" y="112736"/>
                        </a:cubicBezTo>
                        <a:cubicBezTo>
                          <a:pt x="65294" y="112736"/>
                          <a:pt x="67058" y="112421"/>
                          <a:pt x="67058" y="112421"/>
                        </a:cubicBezTo>
                        <a:cubicBezTo>
                          <a:pt x="67058" y="112421"/>
                          <a:pt x="67647" y="111473"/>
                          <a:pt x="67647" y="111473"/>
                        </a:cubicBezTo>
                        <a:cubicBezTo>
                          <a:pt x="67941" y="111157"/>
                          <a:pt x="68823" y="110526"/>
                          <a:pt x="68823" y="110526"/>
                        </a:cubicBezTo>
                        <a:cubicBezTo>
                          <a:pt x="68823" y="110526"/>
                          <a:pt x="68823" y="110210"/>
                          <a:pt x="69411" y="110842"/>
                        </a:cubicBezTo>
                        <a:cubicBezTo>
                          <a:pt x="70000" y="111157"/>
                          <a:pt x="69411" y="112105"/>
                          <a:pt x="69411" y="112105"/>
                        </a:cubicBezTo>
                        <a:cubicBezTo>
                          <a:pt x="69117" y="112105"/>
                          <a:pt x="69117" y="112421"/>
                          <a:pt x="69117" y="112421"/>
                        </a:cubicBezTo>
                        <a:cubicBezTo>
                          <a:pt x="69705" y="113052"/>
                          <a:pt x="69705" y="113052"/>
                          <a:pt x="69705" y="113052"/>
                        </a:cubicBezTo>
                        <a:cubicBezTo>
                          <a:pt x="69705" y="113052"/>
                          <a:pt x="69705" y="112421"/>
                          <a:pt x="70000" y="112421"/>
                        </a:cubicBezTo>
                        <a:cubicBezTo>
                          <a:pt x="70294" y="112421"/>
                          <a:pt x="70294" y="112105"/>
                          <a:pt x="70588" y="112105"/>
                        </a:cubicBezTo>
                        <a:cubicBezTo>
                          <a:pt x="70588" y="112421"/>
                          <a:pt x="71176" y="113052"/>
                          <a:pt x="71176" y="113052"/>
                        </a:cubicBezTo>
                        <a:cubicBezTo>
                          <a:pt x="71176" y="113052"/>
                          <a:pt x="71176" y="114000"/>
                          <a:pt x="71470" y="114000"/>
                        </a:cubicBezTo>
                        <a:cubicBezTo>
                          <a:pt x="71764" y="113684"/>
                          <a:pt x="72352" y="114000"/>
                          <a:pt x="72647" y="113684"/>
                        </a:cubicBezTo>
                        <a:cubicBezTo>
                          <a:pt x="72941" y="113684"/>
                          <a:pt x="75882" y="112736"/>
                          <a:pt x="75882" y="112736"/>
                        </a:cubicBezTo>
                        <a:cubicBezTo>
                          <a:pt x="76764" y="112105"/>
                          <a:pt x="76764" y="112105"/>
                          <a:pt x="76764" y="112105"/>
                        </a:cubicBezTo>
                        <a:cubicBezTo>
                          <a:pt x="76764" y="112105"/>
                          <a:pt x="77352" y="111789"/>
                          <a:pt x="77941" y="111789"/>
                        </a:cubicBezTo>
                        <a:cubicBezTo>
                          <a:pt x="78235" y="111789"/>
                          <a:pt x="80000" y="111157"/>
                          <a:pt x="80000" y="111157"/>
                        </a:cubicBezTo>
                        <a:cubicBezTo>
                          <a:pt x="80000" y="111157"/>
                          <a:pt x="80882" y="110526"/>
                          <a:pt x="81470" y="110842"/>
                        </a:cubicBezTo>
                        <a:cubicBezTo>
                          <a:pt x="81764" y="111473"/>
                          <a:pt x="82941" y="112421"/>
                          <a:pt x="82941" y="112421"/>
                        </a:cubicBezTo>
                        <a:cubicBezTo>
                          <a:pt x="84705" y="112105"/>
                          <a:pt x="84705" y="112105"/>
                          <a:pt x="84705" y="112105"/>
                        </a:cubicBezTo>
                        <a:cubicBezTo>
                          <a:pt x="84705" y="112105"/>
                          <a:pt x="85294" y="111789"/>
                          <a:pt x="85294" y="111789"/>
                        </a:cubicBezTo>
                        <a:cubicBezTo>
                          <a:pt x="85588" y="112105"/>
                          <a:pt x="87352" y="111789"/>
                          <a:pt x="87352" y="111789"/>
                        </a:cubicBezTo>
                        <a:cubicBezTo>
                          <a:pt x="87352" y="111789"/>
                          <a:pt x="88235" y="110842"/>
                          <a:pt x="88529" y="110842"/>
                        </a:cubicBezTo>
                        <a:cubicBezTo>
                          <a:pt x="88529" y="110842"/>
                          <a:pt x="90588" y="110210"/>
                          <a:pt x="90588" y="110210"/>
                        </a:cubicBezTo>
                        <a:cubicBezTo>
                          <a:pt x="90588" y="110210"/>
                          <a:pt x="90882" y="110210"/>
                          <a:pt x="90882" y="110842"/>
                        </a:cubicBezTo>
                        <a:cubicBezTo>
                          <a:pt x="90882" y="111473"/>
                          <a:pt x="90882" y="112421"/>
                          <a:pt x="90882" y="112736"/>
                        </a:cubicBezTo>
                        <a:cubicBezTo>
                          <a:pt x="91176" y="113052"/>
                          <a:pt x="90882" y="113684"/>
                          <a:pt x="91470" y="113684"/>
                        </a:cubicBezTo>
                        <a:cubicBezTo>
                          <a:pt x="92058" y="113368"/>
                          <a:pt x="92647" y="113052"/>
                          <a:pt x="92647" y="113052"/>
                        </a:cubicBezTo>
                        <a:cubicBezTo>
                          <a:pt x="92647" y="113052"/>
                          <a:pt x="92058" y="113052"/>
                          <a:pt x="93235" y="112421"/>
                        </a:cubicBezTo>
                        <a:cubicBezTo>
                          <a:pt x="94117" y="111789"/>
                          <a:pt x="94411" y="111473"/>
                          <a:pt x="94705" y="111473"/>
                        </a:cubicBezTo>
                        <a:cubicBezTo>
                          <a:pt x="95000" y="111473"/>
                          <a:pt x="95000" y="111157"/>
                          <a:pt x="95294" y="111157"/>
                        </a:cubicBezTo>
                        <a:cubicBezTo>
                          <a:pt x="95882" y="111157"/>
                          <a:pt x="95882" y="111157"/>
                          <a:pt x="96176" y="111157"/>
                        </a:cubicBezTo>
                        <a:cubicBezTo>
                          <a:pt x="96470" y="110842"/>
                          <a:pt x="97058" y="109894"/>
                          <a:pt x="97058" y="109894"/>
                        </a:cubicBezTo>
                        <a:cubicBezTo>
                          <a:pt x="97058" y="109894"/>
                          <a:pt x="97352" y="109263"/>
                          <a:pt x="97647" y="109263"/>
                        </a:cubicBezTo>
                        <a:cubicBezTo>
                          <a:pt x="97647" y="109263"/>
                          <a:pt x="98235" y="108947"/>
                          <a:pt x="98235" y="108947"/>
                        </a:cubicBezTo>
                        <a:cubicBezTo>
                          <a:pt x="97941" y="109894"/>
                          <a:pt x="97941" y="109894"/>
                          <a:pt x="97941" y="109894"/>
                        </a:cubicBezTo>
                        <a:cubicBezTo>
                          <a:pt x="97941" y="109894"/>
                          <a:pt x="98529" y="111157"/>
                          <a:pt x="98529" y="111473"/>
                        </a:cubicBezTo>
                        <a:cubicBezTo>
                          <a:pt x="98529" y="111473"/>
                          <a:pt x="98529" y="111789"/>
                          <a:pt x="98235" y="112105"/>
                        </a:cubicBezTo>
                        <a:cubicBezTo>
                          <a:pt x="98235" y="112736"/>
                          <a:pt x="98235" y="113052"/>
                          <a:pt x="98235" y="113052"/>
                        </a:cubicBezTo>
                        <a:cubicBezTo>
                          <a:pt x="97941" y="113368"/>
                          <a:pt x="97941" y="113684"/>
                          <a:pt x="97941" y="114000"/>
                        </a:cubicBezTo>
                        <a:cubicBezTo>
                          <a:pt x="97647" y="114000"/>
                          <a:pt x="96764" y="114631"/>
                          <a:pt x="96764" y="114631"/>
                        </a:cubicBezTo>
                        <a:cubicBezTo>
                          <a:pt x="95294" y="114315"/>
                          <a:pt x="95294" y="114315"/>
                          <a:pt x="95294" y="114315"/>
                        </a:cubicBezTo>
                        <a:cubicBezTo>
                          <a:pt x="95294" y="114315"/>
                          <a:pt x="94705" y="114631"/>
                          <a:pt x="94411" y="114947"/>
                        </a:cubicBezTo>
                        <a:cubicBezTo>
                          <a:pt x="93823" y="114947"/>
                          <a:pt x="92941" y="115894"/>
                          <a:pt x="92647" y="115894"/>
                        </a:cubicBezTo>
                        <a:cubicBezTo>
                          <a:pt x="92352" y="115894"/>
                          <a:pt x="91470" y="115894"/>
                          <a:pt x="90588" y="115894"/>
                        </a:cubicBezTo>
                        <a:cubicBezTo>
                          <a:pt x="89705" y="116210"/>
                          <a:pt x="87352" y="116842"/>
                          <a:pt x="87352" y="116842"/>
                        </a:cubicBezTo>
                        <a:cubicBezTo>
                          <a:pt x="87352" y="116842"/>
                          <a:pt x="87058" y="117157"/>
                          <a:pt x="86764" y="117473"/>
                        </a:cubicBezTo>
                        <a:cubicBezTo>
                          <a:pt x="86176" y="117473"/>
                          <a:pt x="85000" y="118105"/>
                          <a:pt x="84705" y="118105"/>
                        </a:cubicBezTo>
                        <a:cubicBezTo>
                          <a:pt x="84411" y="118421"/>
                          <a:pt x="83529" y="119052"/>
                          <a:pt x="83235" y="119052"/>
                        </a:cubicBezTo>
                        <a:cubicBezTo>
                          <a:pt x="82941" y="119052"/>
                          <a:pt x="82647" y="119368"/>
                          <a:pt x="81470" y="119368"/>
                        </a:cubicBezTo>
                        <a:cubicBezTo>
                          <a:pt x="80000" y="119684"/>
                          <a:pt x="79705" y="120000"/>
                          <a:pt x="79705" y="120000"/>
                        </a:cubicBezTo>
                        <a:cubicBezTo>
                          <a:pt x="78823" y="120000"/>
                          <a:pt x="78823" y="120000"/>
                          <a:pt x="78823" y="120000"/>
                        </a:cubicBezTo>
                        <a:cubicBezTo>
                          <a:pt x="78823" y="117789"/>
                          <a:pt x="78823" y="117789"/>
                          <a:pt x="78823" y="117789"/>
                        </a:cubicBezTo>
                        <a:cubicBezTo>
                          <a:pt x="78823" y="117789"/>
                          <a:pt x="78823" y="116842"/>
                          <a:pt x="77941" y="117157"/>
                        </a:cubicBezTo>
                        <a:cubicBezTo>
                          <a:pt x="77058" y="117473"/>
                          <a:pt x="78235" y="117157"/>
                          <a:pt x="76470" y="117473"/>
                        </a:cubicBezTo>
                        <a:cubicBezTo>
                          <a:pt x="75000" y="117789"/>
                          <a:pt x="74117" y="116842"/>
                          <a:pt x="74117" y="116842"/>
                        </a:cubicBezTo>
                        <a:cubicBezTo>
                          <a:pt x="74117" y="116842"/>
                          <a:pt x="72647" y="116842"/>
                          <a:pt x="72058" y="117157"/>
                        </a:cubicBezTo>
                        <a:cubicBezTo>
                          <a:pt x="71470" y="117157"/>
                          <a:pt x="70588" y="117157"/>
                          <a:pt x="70294" y="117157"/>
                        </a:cubicBezTo>
                        <a:cubicBezTo>
                          <a:pt x="70000" y="117473"/>
                          <a:pt x="70000" y="117157"/>
                          <a:pt x="69117" y="117473"/>
                        </a:cubicBezTo>
                        <a:cubicBezTo>
                          <a:pt x="68235" y="117473"/>
                          <a:pt x="67352" y="117789"/>
                          <a:pt x="67352" y="117789"/>
                        </a:cubicBezTo>
                        <a:cubicBezTo>
                          <a:pt x="66470" y="117157"/>
                          <a:pt x="66470" y="117157"/>
                          <a:pt x="66470" y="117157"/>
                        </a:cubicBezTo>
                        <a:cubicBezTo>
                          <a:pt x="66470" y="117157"/>
                          <a:pt x="65588" y="117157"/>
                          <a:pt x="65294" y="117473"/>
                        </a:cubicBezTo>
                        <a:cubicBezTo>
                          <a:pt x="64705" y="117789"/>
                          <a:pt x="65000" y="118105"/>
                          <a:pt x="64411" y="118105"/>
                        </a:cubicBezTo>
                        <a:cubicBezTo>
                          <a:pt x="63823" y="118105"/>
                          <a:pt x="64117" y="118421"/>
                          <a:pt x="63529" y="118105"/>
                        </a:cubicBezTo>
                        <a:cubicBezTo>
                          <a:pt x="62647" y="117789"/>
                          <a:pt x="62058" y="117473"/>
                          <a:pt x="62058" y="117473"/>
                        </a:cubicBezTo>
                        <a:cubicBezTo>
                          <a:pt x="61764" y="115578"/>
                          <a:pt x="61764" y="115578"/>
                          <a:pt x="61764" y="115578"/>
                        </a:cubicBezTo>
                        <a:cubicBezTo>
                          <a:pt x="61764" y="115578"/>
                          <a:pt x="61764" y="115578"/>
                          <a:pt x="61764" y="114631"/>
                        </a:cubicBezTo>
                        <a:cubicBezTo>
                          <a:pt x="61470" y="114000"/>
                          <a:pt x="61176" y="112736"/>
                          <a:pt x="61176" y="112736"/>
                        </a:cubicBezTo>
                        <a:cubicBezTo>
                          <a:pt x="61764" y="111789"/>
                          <a:pt x="61764" y="111789"/>
                          <a:pt x="61764" y="111789"/>
                        </a:cubicBezTo>
                        <a:cubicBezTo>
                          <a:pt x="61764" y="111789"/>
                          <a:pt x="62058" y="112421"/>
                          <a:pt x="62058" y="112736"/>
                        </a:cubicBezTo>
                        <a:cubicBezTo>
                          <a:pt x="62058" y="112736"/>
                          <a:pt x="62058" y="113684"/>
                          <a:pt x="62352" y="113684"/>
                        </a:cubicBezTo>
                        <a:cubicBezTo>
                          <a:pt x="62941" y="113684"/>
                          <a:pt x="63529" y="113684"/>
                          <a:pt x="63529" y="113684"/>
                        </a:cubicBezTo>
                        <a:close/>
                        <a:moveTo>
                          <a:pt x="50588" y="100736"/>
                        </a:moveTo>
                        <a:cubicBezTo>
                          <a:pt x="50588" y="100736"/>
                          <a:pt x="50588" y="100736"/>
                          <a:pt x="50588" y="100736"/>
                        </a:cubicBezTo>
                        <a:cubicBezTo>
                          <a:pt x="51470" y="100421"/>
                          <a:pt x="51470" y="100421"/>
                          <a:pt x="51470" y="100421"/>
                        </a:cubicBezTo>
                        <a:cubicBezTo>
                          <a:pt x="51764" y="101368"/>
                          <a:pt x="51764" y="101368"/>
                          <a:pt x="51764" y="101368"/>
                        </a:cubicBezTo>
                        <a:cubicBezTo>
                          <a:pt x="52647" y="101684"/>
                          <a:pt x="52647" y="101684"/>
                          <a:pt x="52647" y="101684"/>
                        </a:cubicBezTo>
                        <a:cubicBezTo>
                          <a:pt x="52647" y="101684"/>
                          <a:pt x="53823" y="102315"/>
                          <a:pt x="53823" y="102631"/>
                        </a:cubicBezTo>
                        <a:cubicBezTo>
                          <a:pt x="53823" y="102631"/>
                          <a:pt x="53235" y="103578"/>
                          <a:pt x="53235" y="103578"/>
                        </a:cubicBezTo>
                        <a:cubicBezTo>
                          <a:pt x="53235" y="103578"/>
                          <a:pt x="53235" y="104210"/>
                          <a:pt x="53235" y="104526"/>
                        </a:cubicBezTo>
                        <a:cubicBezTo>
                          <a:pt x="53235" y="104526"/>
                          <a:pt x="52647" y="104526"/>
                          <a:pt x="52352" y="104526"/>
                        </a:cubicBezTo>
                        <a:cubicBezTo>
                          <a:pt x="52058" y="104210"/>
                          <a:pt x="51176" y="103894"/>
                          <a:pt x="51176" y="103894"/>
                        </a:cubicBezTo>
                        <a:cubicBezTo>
                          <a:pt x="51176" y="102631"/>
                          <a:pt x="51176" y="102631"/>
                          <a:pt x="51176" y="102631"/>
                        </a:cubicBezTo>
                        <a:cubicBezTo>
                          <a:pt x="50294" y="101684"/>
                          <a:pt x="50294" y="101684"/>
                          <a:pt x="50294" y="101684"/>
                        </a:cubicBezTo>
                        <a:cubicBezTo>
                          <a:pt x="50588" y="100736"/>
                          <a:pt x="50588" y="100736"/>
                          <a:pt x="50588" y="100736"/>
                        </a:cubicBezTo>
                        <a:close/>
                        <a:moveTo>
                          <a:pt x="27058" y="73263"/>
                        </a:moveTo>
                        <a:cubicBezTo>
                          <a:pt x="27058" y="73263"/>
                          <a:pt x="27058" y="73263"/>
                          <a:pt x="27058" y="73263"/>
                        </a:cubicBezTo>
                        <a:cubicBezTo>
                          <a:pt x="27058" y="73263"/>
                          <a:pt x="26470" y="73263"/>
                          <a:pt x="26470" y="73263"/>
                        </a:cubicBezTo>
                        <a:cubicBezTo>
                          <a:pt x="26176" y="73263"/>
                          <a:pt x="25882" y="73263"/>
                          <a:pt x="25588" y="73263"/>
                        </a:cubicBezTo>
                        <a:cubicBezTo>
                          <a:pt x="25294" y="73263"/>
                          <a:pt x="25588" y="73894"/>
                          <a:pt x="25588" y="74210"/>
                        </a:cubicBezTo>
                        <a:cubicBezTo>
                          <a:pt x="25588" y="74210"/>
                          <a:pt x="25588" y="74842"/>
                          <a:pt x="25588" y="75157"/>
                        </a:cubicBezTo>
                        <a:cubicBezTo>
                          <a:pt x="25294" y="75473"/>
                          <a:pt x="25000" y="75789"/>
                          <a:pt x="25000" y="76105"/>
                        </a:cubicBezTo>
                        <a:cubicBezTo>
                          <a:pt x="25000" y="76105"/>
                          <a:pt x="25000" y="76736"/>
                          <a:pt x="25000" y="77052"/>
                        </a:cubicBezTo>
                        <a:cubicBezTo>
                          <a:pt x="24705" y="77052"/>
                          <a:pt x="24117" y="77684"/>
                          <a:pt x="23823" y="77684"/>
                        </a:cubicBezTo>
                        <a:cubicBezTo>
                          <a:pt x="23529" y="78000"/>
                          <a:pt x="22941" y="78315"/>
                          <a:pt x="22941" y="78315"/>
                        </a:cubicBezTo>
                        <a:cubicBezTo>
                          <a:pt x="23529" y="79894"/>
                          <a:pt x="23529" y="79894"/>
                          <a:pt x="23529" y="79894"/>
                        </a:cubicBezTo>
                        <a:cubicBezTo>
                          <a:pt x="23529" y="79894"/>
                          <a:pt x="24117" y="79578"/>
                          <a:pt x="24411" y="79894"/>
                        </a:cubicBezTo>
                        <a:cubicBezTo>
                          <a:pt x="24705" y="80210"/>
                          <a:pt x="25588" y="80842"/>
                          <a:pt x="25882" y="80842"/>
                        </a:cubicBezTo>
                        <a:cubicBezTo>
                          <a:pt x="25882" y="80842"/>
                          <a:pt x="26470" y="82736"/>
                          <a:pt x="26470" y="82736"/>
                        </a:cubicBezTo>
                        <a:cubicBezTo>
                          <a:pt x="26764" y="83052"/>
                          <a:pt x="27058" y="82736"/>
                          <a:pt x="27058" y="82736"/>
                        </a:cubicBezTo>
                        <a:cubicBezTo>
                          <a:pt x="27058" y="82736"/>
                          <a:pt x="27647" y="83052"/>
                          <a:pt x="27941" y="83368"/>
                        </a:cubicBezTo>
                        <a:cubicBezTo>
                          <a:pt x="28235" y="83368"/>
                          <a:pt x="28823" y="83684"/>
                          <a:pt x="29117" y="84000"/>
                        </a:cubicBezTo>
                        <a:cubicBezTo>
                          <a:pt x="29411" y="84000"/>
                          <a:pt x="30000" y="84947"/>
                          <a:pt x="30294" y="84947"/>
                        </a:cubicBezTo>
                        <a:cubicBezTo>
                          <a:pt x="30588" y="85263"/>
                          <a:pt x="31176" y="85894"/>
                          <a:pt x="31176" y="85894"/>
                        </a:cubicBezTo>
                        <a:cubicBezTo>
                          <a:pt x="31176" y="85894"/>
                          <a:pt x="31764" y="86842"/>
                          <a:pt x="32058" y="87473"/>
                        </a:cubicBezTo>
                        <a:cubicBezTo>
                          <a:pt x="32058" y="87789"/>
                          <a:pt x="32058" y="87789"/>
                          <a:pt x="31764" y="88105"/>
                        </a:cubicBezTo>
                        <a:cubicBezTo>
                          <a:pt x="31470" y="88421"/>
                          <a:pt x="31470" y="88736"/>
                          <a:pt x="31176" y="89368"/>
                        </a:cubicBezTo>
                        <a:cubicBezTo>
                          <a:pt x="30882" y="90000"/>
                          <a:pt x="31470" y="90631"/>
                          <a:pt x="31470" y="90631"/>
                        </a:cubicBezTo>
                        <a:cubicBezTo>
                          <a:pt x="31470" y="92210"/>
                          <a:pt x="31470" y="92210"/>
                          <a:pt x="31470" y="92210"/>
                        </a:cubicBezTo>
                        <a:cubicBezTo>
                          <a:pt x="31764" y="92842"/>
                          <a:pt x="31764" y="92842"/>
                          <a:pt x="31764" y="92842"/>
                        </a:cubicBezTo>
                        <a:cubicBezTo>
                          <a:pt x="31764" y="92842"/>
                          <a:pt x="32058" y="93157"/>
                          <a:pt x="32352" y="93157"/>
                        </a:cubicBezTo>
                        <a:cubicBezTo>
                          <a:pt x="32647" y="93473"/>
                          <a:pt x="32647" y="93473"/>
                          <a:pt x="32647" y="93473"/>
                        </a:cubicBezTo>
                        <a:cubicBezTo>
                          <a:pt x="32647" y="93473"/>
                          <a:pt x="33235" y="94105"/>
                          <a:pt x="33529" y="94421"/>
                        </a:cubicBezTo>
                        <a:cubicBezTo>
                          <a:pt x="33529" y="94736"/>
                          <a:pt x="33235" y="95052"/>
                          <a:pt x="33235" y="95368"/>
                        </a:cubicBezTo>
                        <a:cubicBezTo>
                          <a:pt x="33235" y="95684"/>
                          <a:pt x="33529" y="96947"/>
                          <a:pt x="33529" y="96947"/>
                        </a:cubicBezTo>
                        <a:cubicBezTo>
                          <a:pt x="33529" y="96947"/>
                          <a:pt x="34117" y="96631"/>
                          <a:pt x="34705" y="96315"/>
                        </a:cubicBezTo>
                        <a:cubicBezTo>
                          <a:pt x="35000" y="96315"/>
                          <a:pt x="35294" y="96631"/>
                          <a:pt x="35588" y="96631"/>
                        </a:cubicBezTo>
                        <a:cubicBezTo>
                          <a:pt x="35882" y="96947"/>
                          <a:pt x="35882" y="97263"/>
                          <a:pt x="35882" y="97263"/>
                        </a:cubicBezTo>
                        <a:cubicBezTo>
                          <a:pt x="35882" y="97263"/>
                          <a:pt x="36764" y="96631"/>
                          <a:pt x="36764" y="96315"/>
                        </a:cubicBezTo>
                        <a:cubicBezTo>
                          <a:pt x="36764" y="96315"/>
                          <a:pt x="36764" y="95684"/>
                          <a:pt x="36764" y="95684"/>
                        </a:cubicBezTo>
                        <a:cubicBezTo>
                          <a:pt x="36764" y="95684"/>
                          <a:pt x="36764" y="94421"/>
                          <a:pt x="36764" y="94105"/>
                        </a:cubicBezTo>
                        <a:cubicBezTo>
                          <a:pt x="36764" y="93789"/>
                          <a:pt x="36470" y="92842"/>
                          <a:pt x="36470" y="92526"/>
                        </a:cubicBezTo>
                        <a:cubicBezTo>
                          <a:pt x="36470" y="92526"/>
                          <a:pt x="36764" y="91894"/>
                          <a:pt x="36764" y="91894"/>
                        </a:cubicBezTo>
                        <a:cubicBezTo>
                          <a:pt x="36764" y="91894"/>
                          <a:pt x="37647" y="91578"/>
                          <a:pt x="37941" y="91578"/>
                        </a:cubicBezTo>
                        <a:cubicBezTo>
                          <a:pt x="38235" y="91578"/>
                          <a:pt x="38529" y="91894"/>
                          <a:pt x="38823" y="92210"/>
                        </a:cubicBezTo>
                        <a:cubicBezTo>
                          <a:pt x="38823" y="92526"/>
                          <a:pt x="38823" y="93789"/>
                          <a:pt x="38823" y="93789"/>
                        </a:cubicBezTo>
                        <a:cubicBezTo>
                          <a:pt x="40588" y="94105"/>
                          <a:pt x="40588" y="94105"/>
                          <a:pt x="40588" y="94105"/>
                        </a:cubicBezTo>
                        <a:cubicBezTo>
                          <a:pt x="40588" y="94105"/>
                          <a:pt x="41176" y="94421"/>
                          <a:pt x="41176" y="94421"/>
                        </a:cubicBezTo>
                        <a:cubicBezTo>
                          <a:pt x="41176" y="94736"/>
                          <a:pt x="41470" y="95368"/>
                          <a:pt x="41764" y="95684"/>
                        </a:cubicBezTo>
                        <a:cubicBezTo>
                          <a:pt x="42058" y="96000"/>
                          <a:pt x="42352" y="96315"/>
                          <a:pt x="42352" y="96315"/>
                        </a:cubicBezTo>
                        <a:cubicBezTo>
                          <a:pt x="42352" y="96315"/>
                          <a:pt x="42941" y="97894"/>
                          <a:pt x="43235" y="98210"/>
                        </a:cubicBezTo>
                        <a:cubicBezTo>
                          <a:pt x="43235" y="98526"/>
                          <a:pt x="43235" y="99157"/>
                          <a:pt x="43235" y="99789"/>
                        </a:cubicBezTo>
                        <a:cubicBezTo>
                          <a:pt x="43235" y="100421"/>
                          <a:pt x="43235" y="100421"/>
                          <a:pt x="43235" y="100421"/>
                        </a:cubicBezTo>
                        <a:cubicBezTo>
                          <a:pt x="43235" y="100421"/>
                          <a:pt x="44117" y="100736"/>
                          <a:pt x="44411" y="101052"/>
                        </a:cubicBezTo>
                        <a:cubicBezTo>
                          <a:pt x="45000" y="101368"/>
                          <a:pt x="44705" y="101052"/>
                          <a:pt x="45000" y="100736"/>
                        </a:cubicBezTo>
                        <a:cubicBezTo>
                          <a:pt x="45294" y="100421"/>
                          <a:pt x="45000" y="100105"/>
                          <a:pt x="45000" y="99789"/>
                        </a:cubicBezTo>
                        <a:cubicBezTo>
                          <a:pt x="45000" y="99473"/>
                          <a:pt x="45000" y="98842"/>
                          <a:pt x="44705" y="98210"/>
                        </a:cubicBezTo>
                        <a:cubicBezTo>
                          <a:pt x="44705" y="97894"/>
                          <a:pt x="44705" y="97578"/>
                          <a:pt x="44705" y="97578"/>
                        </a:cubicBezTo>
                        <a:cubicBezTo>
                          <a:pt x="44705" y="97578"/>
                          <a:pt x="45000" y="96947"/>
                          <a:pt x="45000" y="96631"/>
                        </a:cubicBezTo>
                        <a:cubicBezTo>
                          <a:pt x="45000" y="96631"/>
                          <a:pt x="45000" y="96000"/>
                          <a:pt x="45000" y="95684"/>
                        </a:cubicBezTo>
                        <a:cubicBezTo>
                          <a:pt x="45000" y="95368"/>
                          <a:pt x="45588" y="95052"/>
                          <a:pt x="45588" y="95052"/>
                        </a:cubicBezTo>
                        <a:cubicBezTo>
                          <a:pt x="45588" y="95052"/>
                          <a:pt x="45588" y="94736"/>
                          <a:pt x="45882" y="94105"/>
                        </a:cubicBezTo>
                        <a:cubicBezTo>
                          <a:pt x="46176" y="93789"/>
                          <a:pt x="45882" y="94105"/>
                          <a:pt x="46176" y="94105"/>
                        </a:cubicBezTo>
                        <a:cubicBezTo>
                          <a:pt x="46470" y="93789"/>
                          <a:pt x="46764" y="93789"/>
                          <a:pt x="47352" y="93789"/>
                        </a:cubicBezTo>
                        <a:cubicBezTo>
                          <a:pt x="47647" y="93789"/>
                          <a:pt x="47941" y="94105"/>
                          <a:pt x="47941" y="94105"/>
                        </a:cubicBezTo>
                        <a:cubicBezTo>
                          <a:pt x="48529" y="95052"/>
                          <a:pt x="48529" y="95052"/>
                          <a:pt x="48529" y="95052"/>
                        </a:cubicBezTo>
                        <a:cubicBezTo>
                          <a:pt x="48529" y="95052"/>
                          <a:pt x="48529" y="95052"/>
                          <a:pt x="48529" y="95368"/>
                        </a:cubicBezTo>
                        <a:cubicBezTo>
                          <a:pt x="48529" y="95684"/>
                          <a:pt x="49117" y="96315"/>
                          <a:pt x="49117" y="96315"/>
                        </a:cubicBezTo>
                        <a:cubicBezTo>
                          <a:pt x="50294" y="97263"/>
                          <a:pt x="50294" y="97263"/>
                          <a:pt x="50294" y="97263"/>
                        </a:cubicBezTo>
                        <a:cubicBezTo>
                          <a:pt x="50294" y="97263"/>
                          <a:pt x="50294" y="97578"/>
                          <a:pt x="50294" y="97578"/>
                        </a:cubicBezTo>
                        <a:cubicBezTo>
                          <a:pt x="50294" y="97894"/>
                          <a:pt x="50588" y="98526"/>
                          <a:pt x="50882" y="98842"/>
                        </a:cubicBezTo>
                        <a:cubicBezTo>
                          <a:pt x="51176" y="99473"/>
                          <a:pt x="50882" y="98526"/>
                          <a:pt x="51176" y="98526"/>
                        </a:cubicBezTo>
                        <a:cubicBezTo>
                          <a:pt x="51176" y="98210"/>
                          <a:pt x="51470" y="97894"/>
                          <a:pt x="51470" y="97894"/>
                        </a:cubicBezTo>
                        <a:cubicBezTo>
                          <a:pt x="52058" y="98842"/>
                          <a:pt x="52058" y="98842"/>
                          <a:pt x="52058" y="98842"/>
                        </a:cubicBezTo>
                        <a:cubicBezTo>
                          <a:pt x="52058" y="98842"/>
                          <a:pt x="53235" y="99157"/>
                          <a:pt x="53529" y="99157"/>
                        </a:cubicBezTo>
                        <a:cubicBezTo>
                          <a:pt x="53823" y="98842"/>
                          <a:pt x="54117" y="98526"/>
                          <a:pt x="54117" y="98526"/>
                        </a:cubicBezTo>
                        <a:cubicBezTo>
                          <a:pt x="53529" y="97894"/>
                          <a:pt x="53529" y="97894"/>
                          <a:pt x="53529" y="97894"/>
                        </a:cubicBezTo>
                        <a:cubicBezTo>
                          <a:pt x="52941" y="96947"/>
                          <a:pt x="52941" y="96947"/>
                          <a:pt x="52941" y="96947"/>
                        </a:cubicBezTo>
                        <a:cubicBezTo>
                          <a:pt x="52941" y="96947"/>
                          <a:pt x="52058" y="96000"/>
                          <a:pt x="51764" y="96000"/>
                        </a:cubicBezTo>
                        <a:cubicBezTo>
                          <a:pt x="51470" y="95684"/>
                          <a:pt x="51176" y="95368"/>
                          <a:pt x="51176" y="95052"/>
                        </a:cubicBezTo>
                        <a:cubicBezTo>
                          <a:pt x="50882" y="94736"/>
                          <a:pt x="50882" y="94105"/>
                          <a:pt x="50882" y="94105"/>
                        </a:cubicBezTo>
                        <a:cubicBezTo>
                          <a:pt x="51176" y="93789"/>
                          <a:pt x="51176" y="93157"/>
                          <a:pt x="51470" y="92526"/>
                        </a:cubicBezTo>
                        <a:cubicBezTo>
                          <a:pt x="51764" y="91894"/>
                          <a:pt x="51176" y="92526"/>
                          <a:pt x="51176" y="92526"/>
                        </a:cubicBezTo>
                        <a:cubicBezTo>
                          <a:pt x="51176" y="92526"/>
                          <a:pt x="50588" y="91578"/>
                          <a:pt x="50882" y="91263"/>
                        </a:cubicBezTo>
                        <a:cubicBezTo>
                          <a:pt x="50882" y="91263"/>
                          <a:pt x="49705" y="89368"/>
                          <a:pt x="49705" y="89368"/>
                        </a:cubicBezTo>
                        <a:cubicBezTo>
                          <a:pt x="49705" y="89368"/>
                          <a:pt x="49411" y="88736"/>
                          <a:pt x="49411" y="88736"/>
                        </a:cubicBezTo>
                        <a:cubicBezTo>
                          <a:pt x="49411" y="88736"/>
                          <a:pt x="48529" y="88105"/>
                          <a:pt x="48235" y="88105"/>
                        </a:cubicBezTo>
                        <a:cubicBezTo>
                          <a:pt x="47941" y="87789"/>
                          <a:pt x="47647" y="87473"/>
                          <a:pt x="47647" y="87473"/>
                        </a:cubicBezTo>
                        <a:cubicBezTo>
                          <a:pt x="47647" y="87157"/>
                          <a:pt x="47647" y="86526"/>
                          <a:pt x="47647" y="86210"/>
                        </a:cubicBezTo>
                        <a:cubicBezTo>
                          <a:pt x="47352" y="85894"/>
                          <a:pt x="47058" y="85263"/>
                          <a:pt x="46764" y="84947"/>
                        </a:cubicBezTo>
                        <a:cubicBezTo>
                          <a:pt x="46470" y="84631"/>
                          <a:pt x="46176" y="84000"/>
                          <a:pt x="45882" y="83368"/>
                        </a:cubicBezTo>
                        <a:cubicBezTo>
                          <a:pt x="45588" y="83052"/>
                          <a:pt x="45294" y="82421"/>
                          <a:pt x="45294" y="82421"/>
                        </a:cubicBezTo>
                        <a:cubicBezTo>
                          <a:pt x="45000" y="81157"/>
                          <a:pt x="45000" y="81157"/>
                          <a:pt x="45000" y="81157"/>
                        </a:cubicBezTo>
                        <a:cubicBezTo>
                          <a:pt x="45000" y="80526"/>
                          <a:pt x="45000" y="80526"/>
                          <a:pt x="45000" y="80526"/>
                        </a:cubicBezTo>
                        <a:cubicBezTo>
                          <a:pt x="45882" y="81157"/>
                          <a:pt x="45882" y="81157"/>
                          <a:pt x="45882" y="81157"/>
                        </a:cubicBezTo>
                        <a:cubicBezTo>
                          <a:pt x="45882" y="81157"/>
                          <a:pt x="46470" y="80842"/>
                          <a:pt x="46764" y="80842"/>
                        </a:cubicBezTo>
                        <a:cubicBezTo>
                          <a:pt x="47058" y="80842"/>
                          <a:pt x="47941" y="81157"/>
                          <a:pt x="47941" y="81157"/>
                        </a:cubicBezTo>
                        <a:cubicBezTo>
                          <a:pt x="47941" y="81157"/>
                          <a:pt x="48529" y="81473"/>
                          <a:pt x="48823" y="81473"/>
                        </a:cubicBezTo>
                        <a:cubicBezTo>
                          <a:pt x="48823" y="81473"/>
                          <a:pt x="49117" y="81789"/>
                          <a:pt x="49411" y="81473"/>
                        </a:cubicBezTo>
                        <a:cubicBezTo>
                          <a:pt x="49705" y="81473"/>
                          <a:pt x="50000" y="82105"/>
                          <a:pt x="50000" y="82421"/>
                        </a:cubicBezTo>
                        <a:cubicBezTo>
                          <a:pt x="50000" y="82736"/>
                          <a:pt x="49705" y="83052"/>
                          <a:pt x="49705" y="83052"/>
                        </a:cubicBezTo>
                        <a:cubicBezTo>
                          <a:pt x="49705" y="83368"/>
                          <a:pt x="49705" y="83684"/>
                          <a:pt x="49705" y="83684"/>
                        </a:cubicBezTo>
                        <a:cubicBezTo>
                          <a:pt x="49705" y="83684"/>
                          <a:pt x="50294" y="84000"/>
                          <a:pt x="50588" y="84000"/>
                        </a:cubicBezTo>
                        <a:cubicBezTo>
                          <a:pt x="50588" y="84315"/>
                          <a:pt x="50294" y="84631"/>
                          <a:pt x="50294" y="84631"/>
                        </a:cubicBezTo>
                        <a:cubicBezTo>
                          <a:pt x="50294" y="84631"/>
                          <a:pt x="50294" y="85263"/>
                          <a:pt x="50294" y="85578"/>
                        </a:cubicBezTo>
                        <a:cubicBezTo>
                          <a:pt x="50588" y="85578"/>
                          <a:pt x="50882" y="84947"/>
                          <a:pt x="50882" y="84947"/>
                        </a:cubicBezTo>
                        <a:cubicBezTo>
                          <a:pt x="50882" y="84947"/>
                          <a:pt x="51176" y="84315"/>
                          <a:pt x="51176" y="84000"/>
                        </a:cubicBezTo>
                        <a:cubicBezTo>
                          <a:pt x="51176" y="83684"/>
                          <a:pt x="51764" y="83368"/>
                          <a:pt x="51764" y="83368"/>
                        </a:cubicBezTo>
                        <a:cubicBezTo>
                          <a:pt x="52352" y="82105"/>
                          <a:pt x="52352" y="82105"/>
                          <a:pt x="52352" y="82105"/>
                        </a:cubicBezTo>
                        <a:cubicBezTo>
                          <a:pt x="52941" y="81473"/>
                          <a:pt x="52941" y="81473"/>
                          <a:pt x="52941" y="81473"/>
                        </a:cubicBezTo>
                        <a:cubicBezTo>
                          <a:pt x="52941" y="81473"/>
                          <a:pt x="54117" y="81157"/>
                          <a:pt x="54411" y="80842"/>
                        </a:cubicBezTo>
                        <a:cubicBezTo>
                          <a:pt x="54705" y="80526"/>
                          <a:pt x="54705" y="80842"/>
                          <a:pt x="54705" y="80526"/>
                        </a:cubicBezTo>
                        <a:cubicBezTo>
                          <a:pt x="55000" y="80526"/>
                          <a:pt x="55000" y="79894"/>
                          <a:pt x="55000" y="79894"/>
                        </a:cubicBezTo>
                        <a:cubicBezTo>
                          <a:pt x="54411" y="79263"/>
                          <a:pt x="54411" y="79263"/>
                          <a:pt x="54411" y="79263"/>
                        </a:cubicBezTo>
                        <a:cubicBezTo>
                          <a:pt x="53235" y="79578"/>
                          <a:pt x="53235" y="79578"/>
                          <a:pt x="53235" y="79578"/>
                        </a:cubicBezTo>
                        <a:cubicBezTo>
                          <a:pt x="52941" y="78947"/>
                          <a:pt x="52941" y="78947"/>
                          <a:pt x="52941" y="78947"/>
                        </a:cubicBezTo>
                        <a:cubicBezTo>
                          <a:pt x="52941" y="78947"/>
                          <a:pt x="52941" y="78947"/>
                          <a:pt x="53235" y="78947"/>
                        </a:cubicBezTo>
                        <a:cubicBezTo>
                          <a:pt x="53235" y="78947"/>
                          <a:pt x="53235" y="77684"/>
                          <a:pt x="53235" y="77684"/>
                        </a:cubicBezTo>
                        <a:cubicBezTo>
                          <a:pt x="53235" y="77684"/>
                          <a:pt x="52647" y="78000"/>
                          <a:pt x="52352" y="78000"/>
                        </a:cubicBezTo>
                        <a:cubicBezTo>
                          <a:pt x="52058" y="78000"/>
                          <a:pt x="52352" y="78947"/>
                          <a:pt x="52352" y="78947"/>
                        </a:cubicBezTo>
                        <a:cubicBezTo>
                          <a:pt x="52352" y="78947"/>
                          <a:pt x="50882" y="78631"/>
                          <a:pt x="50588" y="78631"/>
                        </a:cubicBezTo>
                        <a:cubicBezTo>
                          <a:pt x="50294" y="78315"/>
                          <a:pt x="50294" y="78000"/>
                          <a:pt x="50294" y="78000"/>
                        </a:cubicBezTo>
                        <a:cubicBezTo>
                          <a:pt x="50000" y="77684"/>
                          <a:pt x="50588" y="76736"/>
                          <a:pt x="50588" y="76736"/>
                        </a:cubicBezTo>
                        <a:cubicBezTo>
                          <a:pt x="50882" y="75473"/>
                          <a:pt x="50882" y="75473"/>
                          <a:pt x="50882" y="75473"/>
                        </a:cubicBezTo>
                        <a:cubicBezTo>
                          <a:pt x="50882" y="75473"/>
                          <a:pt x="49411" y="75157"/>
                          <a:pt x="49411" y="74842"/>
                        </a:cubicBezTo>
                        <a:cubicBezTo>
                          <a:pt x="49411" y="74526"/>
                          <a:pt x="47941" y="75473"/>
                          <a:pt x="47352" y="74842"/>
                        </a:cubicBezTo>
                        <a:cubicBezTo>
                          <a:pt x="47058" y="74210"/>
                          <a:pt x="47058" y="74210"/>
                          <a:pt x="47058" y="74210"/>
                        </a:cubicBezTo>
                        <a:cubicBezTo>
                          <a:pt x="46470" y="73578"/>
                          <a:pt x="46470" y="73578"/>
                          <a:pt x="46470" y="73578"/>
                        </a:cubicBezTo>
                        <a:cubicBezTo>
                          <a:pt x="45882" y="73578"/>
                          <a:pt x="45882" y="73578"/>
                          <a:pt x="45882" y="73578"/>
                        </a:cubicBezTo>
                        <a:cubicBezTo>
                          <a:pt x="45882" y="73578"/>
                          <a:pt x="45000" y="73894"/>
                          <a:pt x="44705" y="73894"/>
                        </a:cubicBezTo>
                        <a:cubicBezTo>
                          <a:pt x="44411" y="73894"/>
                          <a:pt x="44411" y="73263"/>
                          <a:pt x="44411" y="73263"/>
                        </a:cubicBezTo>
                        <a:cubicBezTo>
                          <a:pt x="42941" y="72631"/>
                          <a:pt x="42941" y="72631"/>
                          <a:pt x="42941" y="72631"/>
                        </a:cubicBezTo>
                        <a:cubicBezTo>
                          <a:pt x="41470" y="72315"/>
                          <a:pt x="41470" y="72315"/>
                          <a:pt x="41470" y="72315"/>
                        </a:cubicBezTo>
                        <a:cubicBezTo>
                          <a:pt x="41470" y="72315"/>
                          <a:pt x="39705" y="72000"/>
                          <a:pt x="39117" y="71684"/>
                        </a:cubicBezTo>
                        <a:cubicBezTo>
                          <a:pt x="38823" y="71684"/>
                          <a:pt x="37352" y="71368"/>
                          <a:pt x="36764" y="71368"/>
                        </a:cubicBezTo>
                        <a:cubicBezTo>
                          <a:pt x="36176" y="71368"/>
                          <a:pt x="35588" y="71368"/>
                          <a:pt x="35000" y="71052"/>
                        </a:cubicBezTo>
                        <a:cubicBezTo>
                          <a:pt x="34705" y="70736"/>
                          <a:pt x="33823" y="70421"/>
                          <a:pt x="33823" y="70421"/>
                        </a:cubicBezTo>
                        <a:cubicBezTo>
                          <a:pt x="33823" y="70421"/>
                          <a:pt x="32058" y="69789"/>
                          <a:pt x="32058" y="69789"/>
                        </a:cubicBezTo>
                        <a:cubicBezTo>
                          <a:pt x="31764" y="69789"/>
                          <a:pt x="31470" y="69789"/>
                          <a:pt x="31470" y="69789"/>
                        </a:cubicBezTo>
                        <a:cubicBezTo>
                          <a:pt x="31176" y="69789"/>
                          <a:pt x="30588" y="70736"/>
                          <a:pt x="30000" y="71052"/>
                        </a:cubicBezTo>
                        <a:cubicBezTo>
                          <a:pt x="29705" y="71052"/>
                          <a:pt x="29705" y="72000"/>
                          <a:pt x="29411" y="72315"/>
                        </a:cubicBezTo>
                        <a:cubicBezTo>
                          <a:pt x="29411" y="72947"/>
                          <a:pt x="29117" y="73263"/>
                          <a:pt x="28823" y="73263"/>
                        </a:cubicBezTo>
                        <a:cubicBezTo>
                          <a:pt x="28823" y="73578"/>
                          <a:pt x="27058" y="72947"/>
                          <a:pt x="27058" y="73263"/>
                        </a:cubicBezTo>
                        <a:close/>
                        <a:moveTo>
                          <a:pt x="17647" y="79578"/>
                        </a:moveTo>
                        <a:cubicBezTo>
                          <a:pt x="17647" y="79578"/>
                          <a:pt x="17647" y="79578"/>
                          <a:pt x="17647" y="79578"/>
                        </a:cubicBezTo>
                        <a:cubicBezTo>
                          <a:pt x="17647" y="79578"/>
                          <a:pt x="18235" y="79263"/>
                          <a:pt x="18235" y="79578"/>
                        </a:cubicBezTo>
                        <a:cubicBezTo>
                          <a:pt x="18235" y="79578"/>
                          <a:pt x="18529" y="79894"/>
                          <a:pt x="18529" y="80210"/>
                        </a:cubicBezTo>
                        <a:cubicBezTo>
                          <a:pt x="18823" y="80210"/>
                          <a:pt x="19411" y="80842"/>
                          <a:pt x="19705" y="80842"/>
                        </a:cubicBezTo>
                        <a:cubicBezTo>
                          <a:pt x="20000" y="80842"/>
                          <a:pt x="20882" y="80842"/>
                          <a:pt x="20882" y="80842"/>
                        </a:cubicBezTo>
                        <a:cubicBezTo>
                          <a:pt x="21764" y="81789"/>
                          <a:pt x="21764" y="81789"/>
                          <a:pt x="21764" y="81789"/>
                        </a:cubicBezTo>
                        <a:cubicBezTo>
                          <a:pt x="21764" y="81789"/>
                          <a:pt x="22647" y="82105"/>
                          <a:pt x="22647" y="82421"/>
                        </a:cubicBezTo>
                        <a:cubicBezTo>
                          <a:pt x="22647" y="82421"/>
                          <a:pt x="21176" y="83368"/>
                          <a:pt x="21176" y="83368"/>
                        </a:cubicBezTo>
                        <a:cubicBezTo>
                          <a:pt x="20882" y="83684"/>
                          <a:pt x="20882" y="83684"/>
                          <a:pt x="20882" y="83684"/>
                        </a:cubicBezTo>
                        <a:cubicBezTo>
                          <a:pt x="20882" y="83684"/>
                          <a:pt x="20882" y="84315"/>
                          <a:pt x="20294" y="84000"/>
                        </a:cubicBezTo>
                        <a:cubicBezTo>
                          <a:pt x="20000" y="84000"/>
                          <a:pt x="19705" y="84000"/>
                          <a:pt x="19411" y="83684"/>
                        </a:cubicBezTo>
                        <a:cubicBezTo>
                          <a:pt x="19411" y="83368"/>
                          <a:pt x="19411" y="83368"/>
                          <a:pt x="19117" y="83052"/>
                        </a:cubicBezTo>
                        <a:cubicBezTo>
                          <a:pt x="18529" y="82736"/>
                          <a:pt x="17352" y="81789"/>
                          <a:pt x="17352" y="81789"/>
                        </a:cubicBezTo>
                        <a:cubicBezTo>
                          <a:pt x="17352" y="80842"/>
                          <a:pt x="17352" y="80842"/>
                          <a:pt x="17352" y="80842"/>
                        </a:cubicBezTo>
                        <a:cubicBezTo>
                          <a:pt x="17352" y="80210"/>
                          <a:pt x="17352" y="80210"/>
                          <a:pt x="17352" y="80210"/>
                        </a:cubicBezTo>
                        <a:cubicBezTo>
                          <a:pt x="17647" y="79578"/>
                          <a:pt x="17647" y="79578"/>
                          <a:pt x="17647" y="79578"/>
                        </a:cubicBezTo>
                        <a:close/>
                        <a:moveTo>
                          <a:pt x="14117" y="73894"/>
                        </a:moveTo>
                        <a:cubicBezTo>
                          <a:pt x="14117" y="73894"/>
                          <a:pt x="14117" y="73894"/>
                          <a:pt x="14117" y="73894"/>
                        </a:cubicBezTo>
                        <a:cubicBezTo>
                          <a:pt x="13235" y="72631"/>
                          <a:pt x="13235" y="72631"/>
                          <a:pt x="13235" y="72631"/>
                        </a:cubicBezTo>
                        <a:cubicBezTo>
                          <a:pt x="12647" y="73894"/>
                          <a:pt x="12647" y="73894"/>
                          <a:pt x="12647" y="73894"/>
                        </a:cubicBezTo>
                        <a:cubicBezTo>
                          <a:pt x="12352" y="75157"/>
                          <a:pt x="12352" y="75157"/>
                          <a:pt x="12352" y="75157"/>
                        </a:cubicBezTo>
                        <a:cubicBezTo>
                          <a:pt x="13235" y="75789"/>
                          <a:pt x="13235" y="75789"/>
                          <a:pt x="13235" y="75789"/>
                        </a:cubicBezTo>
                        <a:cubicBezTo>
                          <a:pt x="13529" y="75789"/>
                          <a:pt x="13529" y="75789"/>
                          <a:pt x="13529" y="75789"/>
                        </a:cubicBezTo>
                        <a:cubicBezTo>
                          <a:pt x="14117" y="74842"/>
                          <a:pt x="14117" y="74842"/>
                          <a:pt x="14117" y="74842"/>
                        </a:cubicBezTo>
                        <a:cubicBezTo>
                          <a:pt x="14705" y="75789"/>
                          <a:pt x="14705" y="75789"/>
                          <a:pt x="14705" y="75789"/>
                        </a:cubicBezTo>
                        <a:cubicBezTo>
                          <a:pt x="15294" y="77052"/>
                          <a:pt x="15294" y="77052"/>
                          <a:pt x="15294" y="77052"/>
                        </a:cubicBezTo>
                        <a:cubicBezTo>
                          <a:pt x="15294" y="77052"/>
                          <a:pt x="15882" y="76421"/>
                          <a:pt x="16176" y="76105"/>
                        </a:cubicBezTo>
                        <a:cubicBezTo>
                          <a:pt x="16470" y="76105"/>
                          <a:pt x="17647" y="77052"/>
                          <a:pt x="17647" y="77052"/>
                        </a:cubicBezTo>
                        <a:cubicBezTo>
                          <a:pt x="17647" y="77052"/>
                          <a:pt x="18823" y="76421"/>
                          <a:pt x="19117" y="76421"/>
                        </a:cubicBezTo>
                        <a:cubicBezTo>
                          <a:pt x="19411" y="76421"/>
                          <a:pt x="18529" y="75473"/>
                          <a:pt x="18529" y="75473"/>
                        </a:cubicBezTo>
                        <a:cubicBezTo>
                          <a:pt x="17647" y="74526"/>
                          <a:pt x="17647" y="74526"/>
                          <a:pt x="17647" y="74526"/>
                        </a:cubicBezTo>
                        <a:cubicBezTo>
                          <a:pt x="17058" y="73894"/>
                          <a:pt x="17058" y="73894"/>
                          <a:pt x="17058" y="73894"/>
                        </a:cubicBezTo>
                        <a:cubicBezTo>
                          <a:pt x="15882" y="73263"/>
                          <a:pt x="15882" y="73263"/>
                          <a:pt x="15882" y="73263"/>
                        </a:cubicBezTo>
                        <a:cubicBezTo>
                          <a:pt x="15882" y="72947"/>
                          <a:pt x="15882" y="72947"/>
                          <a:pt x="15882" y="72947"/>
                        </a:cubicBezTo>
                        <a:cubicBezTo>
                          <a:pt x="16176" y="72315"/>
                          <a:pt x="16176" y="72315"/>
                          <a:pt x="16176" y="72315"/>
                        </a:cubicBezTo>
                        <a:cubicBezTo>
                          <a:pt x="16176" y="72315"/>
                          <a:pt x="16176" y="72947"/>
                          <a:pt x="16764" y="72631"/>
                        </a:cubicBezTo>
                        <a:cubicBezTo>
                          <a:pt x="17352" y="72631"/>
                          <a:pt x="17352" y="72631"/>
                          <a:pt x="17352" y="72315"/>
                        </a:cubicBezTo>
                        <a:cubicBezTo>
                          <a:pt x="17647" y="72315"/>
                          <a:pt x="17352" y="72000"/>
                          <a:pt x="17352" y="72000"/>
                        </a:cubicBezTo>
                        <a:cubicBezTo>
                          <a:pt x="16470" y="71368"/>
                          <a:pt x="16470" y="71368"/>
                          <a:pt x="16470" y="71368"/>
                        </a:cubicBezTo>
                        <a:cubicBezTo>
                          <a:pt x="16764" y="70421"/>
                          <a:pt x="16764" y="70421"/>
                          <a:pt x="16764" y="70421"/>
                        </a:cubicBezTo>
                        <a:cubicBezTo>
                          <a:pt x="15882" y="69789"/>
                          <a:pt x="15882" y="69789"/>
                          <a:pt x="15882" y="69789"/>
                        </a:cubicBezTo>
                        <a:cubicBezTo>
                          <a:pt x="15588" y="70736"/>
                          <a:pt x="15588" y="70736"/>
                          <a:pt x="15588" y="70736"/>
                        </a:cubicBezTo>
                        <a:cubicBezTo>
                          <a:pt x="14705" y="70421"/>
                          <a:pt x="14705" y="70421"/>
                          <a:pt x="14705" y="70421"/>
                        </a:cubicBezTo>
                        <a:cubicBezTo>
                          <a:pt x="14705" y="70421"/>
                          <a:pt x="14411" y="71052"/>
                          <a:pt x="14411" y="71052"/>
                        </a:cubicBezTo>
                        <a:cubicBezTo>
                          <a:pt x="14411" y="71368"/>
                          <a:pt x="14705" y="72315"/>
                          <a:pt x="14705" y="72315"/>
                        </a:cubicBezTo>
                        <a:cubicBezTo>
                          <a:pt x="14117" y="73894"/>
                          <a:pt x="14117" y="73894"/>
                          <a:pt x="14117" y="73894"/>
                        </a:cubicBezTo>
                        <a:close/>
                        <a:moveTo>
                          <a:pt x="3235" y="50842"/>
                        </a:moveTo>
                        <a:cubicBezTo>
                          <a:pt x="3235" y="50842"/>
                          <a:pt x="3235" y="50842"/>
                          <a:pt x="3235" y="50842"/>
                        </a:cubicBezTo>
                        <a:cubicBezTo>
                          <a:pt x="2647" y="50842"/>
                          <a:pt x="2647" y="50842"/>
                          <a:pt x="2647" y="50842"/>
                        </a:cubicBezTo>
                        <a:cubicBezTo>
                          <a:pt x="2647" y="50842"/>
                          <a:pt x="2647" y="51157"/>
                          <a:pt x="2941" y="51473"/>
                        </a:cubicBezTo>
                        <a:cubicBezTo>
                          <a:pt x="3235" y="51789"/>
                          <a:pt x="3823" y="53684"/>
                          <a:pt x="3823" y="53684"/>
                        </a:cubicBezTo>
                        <a:cubicBezTo>
                          <a:pt x="4411" y="54000"/>
                          <a:pt x="4411" y="54000"/>
                          <a:pt x="4411" y="54000"/>
                        </a:cubicBezTo>
                        <a:cubicBezTo>
                          <a:pt x="5588" y="54631"/>
                          <a:pt x="5588" y="54631"/>
                          <a:pt x="5588" y="54631"/>
                        </a:cubicBezTo>
                        <a:cubicBezTo>
                          <a:pt x="6470" y="55578"/>
                          <a:pt x="6470" y="55578"/>
                          <a:pt x="6470" y="55578"/>
                        </a:cubicBezTo>
                        <a:cubicBezTo>
                          <a:pt x="6470" y="55578"/>
                          <a:pt x="7058" y="56526"/>
                          <a:pt x="6176" y="56210"/>
                        </a:cubicBezTo>
                        <a:cubicBezTo>
                          <a:pt x="5294" y="55894"/>
                          <a:pt x="4411" y="55263"/>
                          <a:pt x="4117" y="54947"/>
                        </a:cubicBezTo>
                        <a:cubicBezTo>
                          <a:pt x="3529" y="54947"/>
                          <a:pt x="2941" y="54631"/>
                          <a:pt x="2941" y="54631"/>
                        </a:cubicBezTo>
                        <a:cubicBezTo>
                          <a:pt x="2941" y="54631"/>
                          <a:pt x="2647" y="53052"/>
                          <a:pt x="2647" y="52736"/>
                        </a:cubicBezTo>
                        <a:cubicBezTo>
                          <a:pt x="2352" y="52736"/>
                          <a:pt x="1764" y="52421"/>
                          <a:pt x="1764" y="52421"/>
                        </a:cubicBezTo>
                        <a:cubicBezTo>
                          <a:pt x="0" y="51473"/>
                          <a:pt x="0" y="51473"/>
                          <a:pt x="0" y="51473"/>
                        </a:cubicBezTo>
                        <a:cubicBezTo>
                          <a:pt x="0" y="51473"/>
                          <a:pt x="0" y="50210"/>
                          <a:pt x="294" y="49894"/>
                        </a:cubicBezTo>
                        <a:cubicBezTo>
                          <a:pt x="294" y="49894"/>
                          <a:pt x="294" y="49263"/>
                          <a:pt x="882" y="49263"/>
                        </a:cubicBezTo>
                        <a:cubicBezTo>
                          <a:pt x="1176" y="48947"/>
                          <a:pt x="2058" y="48947"/>
                          <a:pt x="2058" y="48947"/>
                        </a:cubicBezTo>
                        <a:cubicBezTo>
                          <a:pt x="2058" y="48947"/>
                          <a:pt x="2058" y="48000"/>
                          <a:pt x="2352" y="48315"/>
                        </a:cubicBezTo>
                        <a:cubicBezTo>
                          <a:pt x="2647" y="48631"/>
                          <a:pt x="3235" y="49578"/>
                          <a:pt x="3235" y="49578"/>
                        </a:cubicBezTo>
                        <a:lnTo>
                          <a:pt x="3235" y="50842"/>
                        </a:ln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sp>
                <p:nvSpPr>
                  <p:cNvPr id="269" name="Shape 2057"/>
                  <p:cNvSpPr/>
                  <p:nvPr/>
                </p:nvSpPr>
                <p:spPr>
                  <a:xfrm>
                    <a:off x="5477832" y="363797"/>
                    <a:ext cx="722325" cy="1278502"/>
                  </a:xfrm>
                  <a:custGeom>
                    <a:avLst/>
                    <a:gdLst/>
                    <a:ahLst/>
                    <a:cxnLst/>
                    <a:rect l="0" t="0" r="0" b="0"/>
                    <a:pathLst>
                      <a:path w="120000" h="120000" extrusionOk="0">
                        <a:moveTo>
                          <a:pt x="7570" y="20761"/>
                        </a:moveTo>
                        <a:cubicBezTo>
                          <a:pt x="6435" y="19723"/>
                          <a:pt x="6435" y="19723"/>
                          <a:pt x="6435" y="19723"/>
                        </a:cubicBezTo>
                        <a:cubicBezTo>
                          <a:pt x="4921" y="19307"/>
                          <a:pt x="4921" y="19307"/>
                          <a:pt x="4921" y="19307"/>
                        </a:cubicBezTo>
                        <a:cubicBezTo>
                          <a:pt x="3028" y="18892"/>
                          <a:pt x="3028" y="18892"/>
                          <a:pt x="3028" y="18892"/>
                        </a:cubicBezTo>
                        <a:cubicBezTo>
                          <a:pt x="3028" y="18062"/>
                          <a:pt x="3028" y="18062"/>
                          <a:pt x="3028" y="18062"/>
                        </a:cubicBezTo>
                        <a:cubicBezTo>
                          <a:pt x="378" y="17231"/>
                          <a:pt x="378" y="17231"/>
                          <a:pt x="378" y="17231"/>
                        </a:cubicBezTo>
                        <a:cubicBezTo>
                          <a:pt x="378" y="17231"/>
                          <a:pt x="0" y="16816"/>
                          <a:pt x="378" y="16816"/>
                        </a:cubicBezTo>
                        <a:cubicBezTo>
                          <a:pt x="757" y="16608"/>
                          <a:pt x="2271" y="16608"/>
                          <a:pt x="2649" y="16608"/>
                        </a:cubicBezTo>
                        <a:cubicBezTo>
                          <a:pt x="2649" y="16401"/>
                          <a:pt x="2649" y="16401"/>
                          <a:pt x="2649" y="16401"/>
                        </a:cubicBezTo>
                        <a:cubicBezTo>
                          <a:pt x="3028" y="16401"/>
                          <a:pt x="3028" y="16401"/>
                          <a:pt x="3028" y="16401"/>
                        </a:cubicBezTo>
                        <a:cubicBezTo>
                          <a:pt x="3406" y="16401"/>
                          <a:pt x="3406" y="16193"/>
                          <a:pt x="3406" y="16193"/>
                        </a:cubicBezTo>
                        <a:cubicBezTo>
                          <a:pt x="3406" y="16193"/>
                          <a:pt x="2271" y="14948"/>
                          <a:pt x="3028" y="14325"/>
                        </a:cubicBezTo>
                        <a:cubicBezTo>
                          <a:pt x="3028" y="14117"/>
                          <a:pt x="3028" y="14117"/>
                          <a:pt x="3028" y="14117"/>
                        </a:cubicBezTo>
                        <a:cubicBezTo>
                          <a:pt x="3028" y="14117"/>
                          <a:pt x="3028" y="14117"/>
                          <a:pt x="3028" y="14117"/>
                        </a:cubicBezTo>
                        <a:cubicBezTo>
                          <a:pt x="3785" y="13702"/>
                          <a:pt x="5299" y="13702"/>
                          <a:pt x="6056" y="14117"/>
                        </a:cubicBezTo>
                        <a:cubicBezTo>
                          <a:pt x="7570" y="14325"/>
                          <a:pt x="7570" y="14325"/>
                          <a:pt x="7570" y="14325"/>
                        </a:cubicBezTo>
                        <a:cubicBezTo>
                          <a:pt x="10220" y="15986"/>
                          <a:pt x="10220" y="15986"/>
                          <a:pt x="10220" y="15986"/>
                        </a:cubicBezTo>
                        <a:cubicBezTo>
                          <a:pt x="12492" y="17439"/>
                          <a:pt x="12492" y="17439"/>
                          <a:pt x="12492" y="17439"/>
                        </a:cubicBezTo>
                        <a:cubicBezTo>
                          <a:pt x="12492" y="17439"/>
                          <a:pt x="15899" y="18892"/>
                          <a:pt x="16656" y="19100"/>
                        </a:cubicBezTo>
                        <a:cubicBezTo>
                          <a:pt x="17413" y="19307"/>
                          <a:pt x="21577" y="19723"/>
                          <a:pt x="21955" y="19930"/>
                        </a:cubicBezTo>
                        <a:cubicBezTo>
                          <a:pt x="23091" y="19100"/>
                          <a:pt x="23091" y="19100"/>
                          <a:pt x="23091" y="19100"/>
                        </a:cubicBezTo>
                        <a:cubicBezTo>
                          <a:pt x="24605" y="18477"/>
                          <a:pt x="24605" y="18477"/>
                          <a:pt x="24605" y="18477"/>
                        </a:cubicBezTo>
                        <a:cubicBezTo>
                          <a:pt x="24227" y="18062"/>
                          <a:pt x="24227" y="18062"/>
                          <a:pt x="24227" y="18062"/>
                        </a:cubicBezTo>
                        <a:cubicBezTo>
                          <a:pt x="26119" y="17439"/>
                          <a:pt x="26119" y="17439"/>
                          <a:pt x="26119" y="17439"/>
                        </a:cubicBezTo>
                        <a:cubicBezTo>
                          <a:pt x="27634" y="18062"/>
                          <a:pt x="27634" y="18062"/>
                          <a:pt x="27634" y="18062"/>
                        </a:cubicBezTo>
                        <a:cubicBezTo>
                          <a:pt x="31419" y="18477"/>
                          <a:pt x="31419" y="18477"/>
                          <a:pt x="31419" y="18477"/>
                        </a:cubicBezTo>
                        <a:cubicBezTo>
                          <a:pt x="32933" y="19100"/>
                          <a:pt x="32933" y="19100"/>
                          <a:pt x="32933" y="19100"/>
                        </a:cubicBezTo>
                        <a:cubicBezTo>
                          <a:pt x="32933" y="19100"/>
                          <a:pt x="33312" y="19100"/>
                          <a:pt x="33690" y="18892"/>
                        </a:cubicBezTo>
                        <a:cubicBezTo>
                          <a:pt x="33690" y="18892"/>
                          <a:pt x="33690" y="18892"/>
                          <a:pt x="33690" y="18892"/>
                        </a:cubicBezTo>
                        <a:cubicBezTo>
                          <a:pt x="34069" y="18892"/>
                          <a:pt x="34069" y="18892"/>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685"/>
                          <a:pt x="34447" y="18685"/>
                          <a:pt x="34447" y="18685"/>
                        </a:cubicBezTo>
                        <a:cubicBezTo>
                          <a:pt x="34447" y="18477"/>
                          <a:pt x="34447" y="18477"/>
                          <a:pt x="34447" y="18477"/>
                        </a:cubicBezTo>
                        <a:cubicBezTo>
                          <a:pt x="34447" y="18269"/>
                          <a:pt x="34447" y="17024"/>
                          <a:pt x="34447" y="17024"/>
                        </a:cubicBezTo>
                        <a:cubicBezTo>
                          <a:pt x="34447" y="17024"/>
                          <a:pt x="33312" y="16608"/>
                          <a:pt x="34447" y="16193"/>
                        </a:cubicBezTo>
                        <a:cubicBezTo>
                          <a:pt x="35583" y="15570"/>
                          <a:pt x="37097" y="14948"/>
                          <a:pt x="37097" y="14948"/>
                        </a:cubicBezTo>
                        <a:cubicBezTo>
                          <a:pt x="37097" y="14948"/>
                          <a:pt x="37854" y="14740"/>
                          <a:pt x="37854" y="14117"/>
                        </a:cubicBezTo>
                        <a:cubicBezTo>
                          <a:pt x="37854" y="13494"/>
                          <a:pt x="37097" y="11833"/>
                          <a:pt x="37097" y="11833"/>
                        </a:cubicBezTo>
                        <a:cubicBezTo>
                          <a:pt x="37097" y="11833"/>
                          <a:pt x="36340" y="10795"/>
                          <a:pt x="36340" y="10380"/>
                        </a:cubicBezTo>
                        <a:cubicBezTo>
                          <a:pt x="37097" y="7889"/>
                          <a:pt x="35205" y="6020"/>
                          <a:pt x="36340" y="5813"/>
                        </a:cubicBezTo>
                        <a:cubicBezTo>
                          <a:pt x="36340" y="5813"/>
                          <a:pt x="36340" y="5813"/>
                          <a:pt x="36340" y="5813"/>
                        </a:cubicBezTo>
                        <a:cubicBezTo>
                          <a:pt x="37097" y="5605"/>
                          <a:pt x="37097" y="5605"/>
                          <a:pt x="37097" y="5605"/>
                        </a:cubicBezTo>
                        <a:cubicBezTo>
                          <a:pt x="38233" y="5190"/>
                          <a:pt x="38233" y="5190"/>
                          <a:pt x="38233" y="5190"/>
                        </a:cubicBezTo>
                        <a:cubicBezTo>
                          <a:pt x="38233" y="5190"/>
                          <a:pt x="38233" y="4982"/>
                          <a:pt x="38233" y="4982"/>
                        </a:cubicBezTo>
                        <a:cubicBezTo>
                          <a:pt x="38233" y="3944"/>
                          <a:pt x="35962" y="2906"/>
                          <a:pt x="38611" y="2698"/>
                        </a:cubicBezTo>
                        <a:cubicBezTo>
                          <a:pt x="39747" y="2283"/>
                          <a:pt x="39747" y="2283"/>
                          <a:pt x="39747" y="2283"/>
                        </a:cubicBezTo>
                        <a:cubicBezTo>
                          <a:pt x="43154" y="2283"/>
                          <a:pt x="43154" y="2283"/>
                          <a:pt x="43154" y="2283"/>
                        </a:cubicBezTo>
                        <a:cubicBezTo>
                          <a:pt x="43911" y="1038"/>
                          <a:pt x="43911" y="1038"/>
                          <a:pt x="43911" y="1038"/>
                        </a:cubicBezTo>
                        <a:cubicBezTo>
                          <a:pt x="45425" y="207"/>
                          <a:pt x="45425" y="207"/>
                          <a:pt x="45425" y="207"/>
                        </a:cubicBezTo>
                        <a:cubicBezTo>
                          <a:pt x="46561" y="207"/>
                          <a:pt x="48075" y="0"/>
                          <a:pt x="48832" y="207"/>
                        </a:cubicBezTo>
                        <a:cubicBezTo>
                          <a:pt x="49589" y="830"/>
                          <a:pt x="49589" y="1245"/>
                          <a:pt x="51104" y="1453"/>
                        </a:cubicBezTo>
                        <a:cubicBezTo>
                          <a:pt x="55646" y="2283"/>
                          <a:pt x="55646" y="2283"/>
                          <a:pt x="55646" y="2283"/>
                        </a:cubicBezTo>
                        <a:cubicBezTo>
                          <a:pt x="58296" y="2491"/>
                          <a:pt x="58296" y="2491"/>
                          <a:pt x="58296" y="2491"/>
                        </a:cubicBezTo>
                        <a:cubicBezTo>
                          <a:pt x="59053" y="2906"/>
                          <a:pt x="59053" y="2906"/>
                          <a:pt x="59053" y="2906"/>
                        </a:cubicBezTo>
                        <a:cubicBezTo>
                          <a:pt x="59053" y="2906"/>
                          <a:pt x="59053" y="2906"/>
                          <a:pt x="59053" y="2906"/>
                        </a:cubicBezTo>
                        <a:cubicBezTo>
                          <a:pt x="59053" y="3321"/>
                          <a:pt x="59053" y="3737"/>
                          <a:pt x="59432" y="3944"/>
                        </a:cubicBezTo>
                        <a:cubicBezTo>
                          <a:pt x="59432" y="4359"/>
                          <a:pt x="59810" y="4982"/>
                          <a:pt x="59810" y="4982"/>
                        </a:cubicBezTo>
                        <a:cubicBezTo>
                          <a:pt x="59810" y="4982"/>
                          <a:pt x="59432" y="5605"/>
                          <a:pt x="59432" y="6020"/>
                        </a:cubicBezTo>
                        <a:cubicBezTo>
                          <a:pt x="59053" y="6228"/>
                          <a:pt x="59053" y="6851"/>
                          <a:pt x="59053" y="7058"/>
                        </a:cubicBezTo>
                        <a:cubicBezTo>
                          <a:pt x="59053" y="7266"/>
                          <a:pt x="59053" y="7474"/>
                          <a:pt x="59053" y="7681"/>
                        </a:cubicBezTo>
                        <a:cubicBezTo>
                          <a:pt x="59053" y="8096"/>
                          <a:pt x="59432" y="8719"/>
                          <a:pt x="59810" y="8927"/>
                        </a:cubicBezTo>
                        <a:cubicBezTo>
                          <a:pt x="59810" y="9134"/>
                          <a:pt x="61703" y="9757"/>
                          <a:pt x="61703" y="9757"/>
                        </a:cubicBezTo>
                        <a:cubicBezTo>
                          <a:pt x="61703" y="9757"/>
                          <a:pt x="61703" y="9965"/>
                          <a:pt x="59810" y="10795"/>
                        </a:cubicBezTo>
                        <a:cubicBezTo>
                          <a:pt x="58296" y="11833"/>
                          <a:pt x="58296" y="11833"/>
                          <a:pt x="58296" y="11833"/>
                        </a:cubicBezTo>
                        <a:cubicBezTo>
                          <a:pt x="60946" y="12249"/>
                          <a:pt x="60946" y="12249"/>
                          <a:pt x="60946" y="12249"/>
                        </a:cubicBezTo>
                        <a:cubicBezTo>
                          <a:pt x="60946" y="13287"/>
                          <a:pt x="60946" y="13287"/>
                          <a:pt x="60946" y="13287"/>
                        </a:cubicBezTo>
                        <a:cubicBezTo>
                          <a:pt x="60946" y="14117"/>
                          <a:pt x="60946" y="14117"/>
                          <a:pt x="60946" y="14117"/>
                        </a:cubicBezTo>
                        <a:cubicBezTo>
                          <a:pt x="60567" y="15363"/>
                          <a:pt x="60567" y="15363"/>
                          <a:pt x="60567" y="15363"/>
                        </a:cubicBezTo>
                        <a:cubicBezTo>
                          <a:pt x="59432" y="16193"/>
                          <a:pt x="59432" y="16193"/>
                          <a:pt x="59432" y="16193"/>
                        </a:cubicBezTo>
                        <a:cubicBezTo>
                          <a:pt x="60946" y="17439"/>
                          <a:pt x="60946" y="17439"/>
                          <a:pt x="60946" y="17439"/>
                        </a:cubicBezTo>
                        <a:cubicBezTo>
                          <a:pt x="62839" y="19100"/>
                          <a:pt x="62839" y="19100"/>
                          <a:pt x="62839" y="19100"/>
                        </a:cubicBezTo>
                        <a:cubicBezTo>
                          <a:pt x="65488" y="19930"/>
                          <a:pt x="65488" y="19930"/>
                          <a:pt x="65488" y="19930"/>
                        </a:cubicBezTo>
                        <a:cubicBezTo>
                          <a:pt x="65488" y="19930"/>
                          <a:pt x="65867" y="19723"/>
                          <a:pt x="68517" y="19930"/>
                        </a:cubicBezTo>
                        <a:cubicBezTo>
                          <a:pt x="71167" y="20346"/>
                          <a:pt x="71924" y="21591"/>
                          <a:pt x="71924" y="21591"/>
                        </a:cubicBezTo>
                        <a:cubicBezTo>
                          <a:pt x="73438" y="22629"/>
                          <a:pt x="73438" y="22629"/>
                          <a:pt x="73438" y="22629"/>
                        </a:cubicBezTo>
                        <a:cubicBezTo>
                          <a:pt x="75709" y="23460"/>
                          <a:pt x="75709" y="23460"/>
                          <a:pt x="75709" y="23460"/>
                        </a:cubicBezTo>
                        <a:cubicBezTo>
                          <a:pt x="76845" y="24083"/>
                          <a:pt x="76845" y="24083"/>
                          <a:pt x="76845" y="24083"/>
                        </a:cubicBezTo>
                        <a:cubicBezTo>
                          <a:pt x="76466" y="25951"/>
                          <a:pt x="76466" y="25951"/>
                          <a:pt x="76466" y="25951"/>
                        </a:cubicBezTo>
                        <a:cubicBezTo>
                          <a:pt x="76466" y="25951"/>
                          <a:pt x="75331" y="26989"/>
                          <a:pt x="75709" y="27820"/>
                        </a:cubicBezTo>
                        <a:cubicBezTo>
                          <a:pt x="75709" y="28858"/>
                          <a:pt x="74574" y="30311"/>
                          <a:pt x="74574" y="30726"/>
                        </a:cubicBezTo>
                        <a:cubicBezTo>
                          <a:pt x="74574" y="30934"/>
                          <a:pt x="73817" y="32595"/>
                          <a:pt x="73817" y="32595"/>
                        </a:cubicBezTo>
                        <a:cubicBezTo>
                          <a:pt x="74952" y="34048"/>
                          <a:pt x="74952" y="34048"/>
                          <a:pt x="74952" y="34048"/>
                        </a:cubicBezTo>
                        <a:cubicBezTo>
                          <a:pt x="76466" y="34878"/>
                          <a:pt x="76466" y="34878"/>
                          <a:pt x="76466" y="34878"/>
                        </a:cubicBezTo>
                        <a:cubicBezTo>
                          <a:pt x="78738" y="36332"/>
                          <a:pt x="78738" y="36332"/>
                          <a:pt x="78738" y="36332"/>
                        </a:cubicBezTo>
                        <a:cubicBezTo>
                          <a:pt x="81766" y="38200"/>
                          <a:pt x="81766" y="38200"/>
                          <a:pt x="81766" y="38200"/>
                        </a:cubicBezTo>
                        <a:cubicBezTo>
                          <a:pt x="82902" y="39653"/>
                          <a:pt x="82902" y="39653"/>
                          <a:pt x="82902" y="39653"/>
                        </a:cubicBezTo>
                        <a:cubicBezTo>
                          <a:pt x="82902" y="39653"/>
                          <a:pt x="85930" y="40692"/>
                          <a:pt x="85930" y="40899"/>
                        </a:cubicBezTo>
                        <a:cubicBezTo>
                          <a:pt x="85930" y="41107"/>
                          <a:pt x="87066" y="42145"/>
                          <a:pt x="87066" y="42145"/>
                        </a:cubicBezTo>
                        <a:cubicBezTo>
                          <a:pt x="88580" y="43598"/>
                          <a:pt x="88580" y="43598"/>
                          <a:pt x="88580" y="43598"/>
                        </a:cubicBezTo>
                        <a:cubicBezTo>
                          <a:pt x="88201" y="44636"/>
                          <a:pt x="88201" y="44636"/>
                          <a:pt x="88201" y="44636"/>
                        </a:cubicBezTo>
                        <a:cubicBezTo>
                          <a:pt x="87066" y="45674"/>
                          <a:pt x="87066" y="45674"/>
                          <a:pt x="87066" y="45674"/>
                        </a:cubicBezTo>
                        <a:cubicBezTo>
                          <a:pt x="87066" y="46297"/>
                          <a:pt x="87066" y="46297"/>
                          <a:pt x="87066" y="46297"/>
                        </a:cubicBezTo>
                        <a:cubicBezTo>
                          <a:pt x="88201" y="47128"/>
                          <a:pt x="88201" y="47128"/>
                          <a:pt x="88201" y="47128"/>
                        </a:cubicBezTo>
                        <a:cubicBezTo>
                          <a:pt x="87823" y="47958"/>
                          <a:pt x="87823" y="47958"/>
                          <a:pt x="87823" y="47958"/>
                        </a:cubicBezTo>
                        <a:cubicBezTo>
                          <a:pt x="88958" y="49204"/>
                          <a:pt x="88958" y="49204"/>
                          <a:pt x="88958" y="49204"/>
                        </a:cubicBezTo>
                        <a:cubicBezTo>
                          <a:pt x="88201" y="50034"/>
                          <a:pt x="88201" y="50034"/>
                          <a:pt x="88201" y="50034"/>
                        </a:cubicBezTo>
                        <a:cubicBezTo>
                          <a:pt x="90094" y="50449"/>
                          <a:pt x="90094" y="50449"/>
                          <a:pt x="90094" y="50449"/>
                        </a:cubicBezTo>
                        <a:cubicBezTo>
                          <a:pt x="90094" y="50449"/>
                          <a:pt x="90473" y="50657"/>
                          <a:pt x="90094" y="51072"/>
                        </a:cubicBezTo>
                        <a:cubicBezTo>
                          <a:pt x="89716" y="51280"/>
                          <a:pt x="89337" y="52733"/>
                          <a:pt x="89337" y="52733"/>
                        </a:cubicBezTo>
                        <a:cubicBezTo>
                          <a:pt x="91230" y="54394"/>
                          <a:pt x="91230" y="54394"/>
                          <a:pt x="91230" y="54394"/>
                        </a:cubicBezTo>
                        <a:cubicBezTo>
                          <a:pt x="93880" y="54602"/>
                          <a:pt x="93880" y="54602"/>
                          <a:pt x="93880" y="54602"/>
                        </a:cubicBezTo>
                        <a:cubicBezTo>
                          <a:pt x="93880" y="54602"/>
                          <a:pt x="95394" y="54602"/>
                          <a:pt x="95394" y="54809"/>
                        </a:cubicBezTo>
                        <a:cubicBezTo>
                          <a:pt x="95772" y="55017"/>
                          <a:pt x="96151" y="55640"/>
                          <a:pt x="96151" y="55640"/>
                        </a:cubicBezTo>
                        <a:cubicBezTo>
                          <a:pt x="95015" y="56885"/>
                          <a:pt x="95015" y="56885"/>
                          <a:pt x="95015" y="56885"/>
                        </a:cubicBezTo>
                        <a:cubicBezTo>
                          <a:pt x="95015" y="56885"/>
                          <a:pt x="95394" y="57508"/>
                          <a:pt x="96529" y="57923"/>
                        </a:cubicBezTo>
                        <a:cubicBezTo>
                          <a:pt x="97287" y="58131"/>
                          <a:pt x="98044" y="58131"/>
                          <a:pt x="98044" y="58546"/>
                        </a:cubicBezTo>
                        <a:cubicBezTo>
                          <a:pt x="98422" y="58961"/>
                          <a:pt x="98422" y="59584"/>
                          <a:pt x="98801" y="59377"/>
                        </a:cubicBezTo>
                        <a:cubicBezTo>
                          <a:pt x="99558" y="59377"/>
                          <a:pt x="101072" y="59584"/>
                          <a:pt x="101072" y="59584"/>
                        </a:cubicBezTo>
                        <a:cubicBezTo>
                          <a:pt x="102208" y="60622"/>
                          <a:pt x="102208" y="60622"/>
                          <a:pt x="102208" y="60622"/>
                        </a:cubicBezTo>
                        <a:cubicBezTo>
                          <a:pt x="102965" y="61453"/>
                          <a:pt x="102965" y="61453"/>
                          <a:pt x="102965" y="61453"/>
                        </a:cubicBezTo>
                        <a:cubicBezTo>
                          <a:pt x="102965" y="61453"/>
                          <a:pt x="102965" y="62076"/>
                          <a:pt x="102965" y="62283"/>
                        </a:cubicBezTo>
                        <a:cubicBezTo>
                          <a:pt x="102965" y="62698"/>
                          <a:pt x="102586" y="63944"/>
                          <a:pt x="102586" y="63944"/>
                        </a:cubicBezTo>
                        <a:cubicBezTo>
                          <a:pt x="100694" y="65605"/>
                          <a:pt x="100694" y="65605"/>
                          <a:pt x="100694" y="65605"/>
                        </a:cubicBezTo>
                        <a:cubicBezTo>
                          <a:pt x="100694" y="65605"/>
                          <a:pt x="102208" y="66643"/>
                          <a:pt x="103343" y="67058"/>
                        </a:cubicBezTo>
                        <a:cubicBezTo>
                          <a:pt x="104479" y="67474"/>
                          <a:pt x="105993" y="68096"/>
                          <a:pt x="106372" y="68096"/>
                        </a:cubicBezTo>
                        <a:cubicBezTo>
                          <a:pt x="106750" y="68096"/>
                          <a:pt x="108643" y="68304"/>
                          <a:pt x="109400" y="68512"/>
                        </a:cubicBezTo>
                        <a:cubicBezTo>
                          <a:pt x="109779" y="68512"/>
                          <a:pt x="111293" y="68927"/>
                          <a:pt x="111671" y="69134"/>
                        </a:cubicBezTo>
                        <a:cubicBezTo>
                          <a:pt x="112050" y="69342"/>
                          <a:pt x="114700" y="70173"/>
                          <a:pt x="114700" y="70173"/>
                        </a:cubicBezTo>
                        <a:cubicBezTo>
                          <a:pt x="116971" y="70795"/>
                          <a:pt x="116971" y="70795"/>
                          <a:pt x="116971" y="70795"/>
                        </a:cubicBezTo>
                        <a:cubicBezTo>
                          <a:pt x="119242" y="71833"/>
                          <a:pt x="119242" y="71833"/>
                          <a:pt x="119242" y="71833"/>
                        </a:cubicBezTo>
                        <a:cubicBezTo>
                          <a:pt x="120000" y="74325"/>
                          <a:pt x="120000" y="74325"/>
                          <a:pt x="120000" y="74325"/>
                        </a:cubicBezTo>
                        <a:cubicBezTo>
                          <a:pt x="120000" y="74325"/>
                          <a:pt x="119242" y="78062"/>
                          <a:pt x="118864" y="78477"/>
                        </a:cubicBezTo>
                        <a:cubicBezTo>
                          <a:pt x="118864" y="78892"/>
                          <a:pt x="117728" y="80761"/>
                          <a:pt x="117350" y="80968"/>
                        </a:cubicBezTo>
                        <a:cubicBezTo>
                          <a:pt x="116593" y="81176"/>
                          <a:pt x="115835" y="81384"/>
                          <a:pt x="115835" y="81799"/>
                        </a:cubicBezTo>
                        <a:cubicBezTo>
                          <a:pt x="115835" y="82214"/>
                          <a:pt x="114700" y="84498"/>
                          <a:pt x="114700" y="84498"/>
                        </a:cubicBezTo>
                        <a:cubicBezTo>
                          <a:pt x="114700" y="84498"/>
                          <a:pt x="113564" y="85951"/>
                          <a:pt x="113564" y="86366"/>
                        </a:cubicBezTo>
                        <a:cubicBezTo>
                          <a:pt x="113564" y="86782"/>
                          <a:pt x="112429" y="88027"/>
                          <a:pt x="112429" y="88442"/>
                        </a:cubicBezTo>
                        <a:cubicBezTo>
                          <a:pt x="112050" y="88650"/>
                          <a:pt x="111293" y="90311"/>
                          <a:pt x="111293" y="90311"/>
                        </a:cubicBezTo>
                        <a:cubicBezTo>
                          <a:pt x="106372" y="95709"/>
                          <a:pt x="106372" y="95709"/>
                          <a:pt x="106372" y="95709"/>
                        </a:cubicBezTo>
                        <a:cubicBezTo>
                          <a:pt x="105236" y="97785"/>
                          <a:pt x="105236" y="97785"/>
                          <a:pt x="105236" y="97785"/>
                        </a:cubicBezTo>
                        <a:cubicBezTo>
                          <a:pt x="105236" y="97785"/>
                          <a:pt x="104100" y="97993"/>
                          <a:pt x="103722" y="98408"/>
                        </a:cubicBezTo>
                        <a:cubicBezTo>
                          <a:pt x="103343" y="99031"/>
                          <a:pt x="102965" y="99446"/>
                          <a:pt x="102586" y="100069"/>
                        </a:cubicBezTo>
                        <a:cubicBezTo>
                          <a:pt x="102586" y="100484"/>
                          <a:pt x="100694" y="102352"/>
                          <a:pt x="100694" y="102352"/>
                        </a:cubicBezTo>
                        <a:cubicBezTo>
                          <a:pt x="99936" y="103391"/>
                          <a:pt x="99936" y="103391"/>
                          <a:pt x="99936" y="103391"/>
                        </a:cubicBezTo>
                        <a:cubicBezTo>
                          <a:pt x="98422" y="104429"/>
                          <a:pt x="98422" y="104429"/>
                          <a:pt x="98422" y="104429"/>
                        </a:cubicBezTo>
                        <a:cubicBezTo>
                          <a:pt x="98422" y="104429"/>
                          <a:pt x="97287" y="104844"/>
                          <a:pt x="97287" y="104844"/>
                        </a:cubicBezTo>
                        <a:cubicBezTo>
                          <a:pt x="97287" y="104844"/>
                          <a:pt x="96529" y="104844"/>
                          <a:pt x="96529" y="104844"/>
                        </a:cubicBezTo>
                        <a:cubicBezTo>
                          <a:pt x="94637" y="104844"/>
                          <a:pt x="94637" y="104844"/>
                          <a:pt x="94637" y="104844"/>
                        </a:cubicBezTo>
                        <a:cubicBezTo>
                          <a:pt x="93501" y="104429"/>
                          <a:pt x="93501" y="104429"/>
                          <a:pt x="93501" y="104429"/>
                        </a:cubicBezTo>
                        <a:cubicBezTo>
                          <a:pt x="93501" y="104429"/>
                          <a:pt x="92365" y="104844"/>
                          <a:pt x="92365" y="104844"/>
                        </a:cubicBezTo>
                        <a:cubicBezTo>
                          <a:pt x="92365" y="105051"/>
                          <a:pt x="91608" y="105259"/>
                          <a:pt x="91608" y="105467"/>
                        </a:cubicBezTo>
                        <a:cubicBezTo>
                          <a:pt x="91608" y="105467"/>
                          <a:pt x="91230" y="105882"/>
                          <a:pt x="90851" y="105882"/>
                        </a:cubicBezTo>
                        <a:cubicBezTo>
                          <a:pt x="90473" y="106089"/>
                          <a:pt x="90094" y="106297"/>
                          <a:pt x="89716" y="106297"/>
                        </a:cubicBezTo>
                        <a:cubicBezTo>
                          <a:pt x="89716" y="106505"/>
                          <a:pt x="88958" y="106505"/>
                          <a:pt x="88958" y="106505"/>
                        </a:cubicBezTo>
                        <a:cubicBezTo>
                          <a:pt x="88958" y="106505"/>
                          <a:pt x="88958" y="106712"/>
                          <a:pt x="88580" y="106920"/>
                        </a:cubicBezTo>
                        <a:cubicBezTo>
                          <a:pt x="88580" y="106920"/>
                          <a:pt x="87444" y="106920"/>
                          <a:pt x="87066" y="106712"/>
                        </a:cubicBezTo>
                        <a:cubicBezTo>
                          <a:pt x="86687" y="106505"/>
                          <a:pt x="85930" y="106297"/>
                          <a:pt x="86309" y="106297"/>
                        </a:cubicBezTo>
                        <a:cubicBezTo>
                          <a:pt x="86309" y="106505"/>
                          <a:pt x="85930" y="106920"/>
                          <a:pt x="85930" y="106920"/>
                        </a:cubicBezTo>
                        <a:cubicBezTo>
                          <a:pt x="85930" y="107128"/>
                          <a:pt x="85173" y="107750"/>
                          <a:pt x="84794" y="107750"/>
                        </a:cubicBezTo>
                        <a:cubicBezTo>
                          <a:pt x="84416" y="107750"/>
                          <a:pt x="83659" y="107543"/>
                          <a:pt x="83280" y="107335"/>
                        </a:cubicBezTo>
                        <a:cubicBezTo>
                          <a:pt x="82902" y="107335"/>
                          <a:pt x="82523" y="107335"/>
                          <a:pt x="82523" y="107335"/>
                        </a:cubicBezTo>
                        <a:cubicBezTo>
                          <a:pt x="82523" y="107543"/>
                          <a:pt x="82523" y="108166"/>
                          <a:pt x="82523" y="108373"/>
                        </a:cubicBezTo>
                        <a:cubicBezTo>
                          <a:pt x="82523" y="108373"/>
                          <a:pt x="82523" y="108581"/>
                          <a:pt x="82523" y="108788"/>
                        </a:cubicBezTo>
                        <a:cubicBezTo>
                          <a:pt x="82145" y="108788"/>
                          <a:pt x="81388" y="108996"/>
                          <a:pt x="81388" y="108996"/>
                        </a:cubicBezTo>
                        <a:cubicBezTo>
                          <a:pt x="81388" y="108996"/>
                          <a:pt x="81766" y="109411"/>
                          <a:pt x="81388" y="109411"/>
                        </a:cubicBezTo>
                        <a:cubicBezTo>
                          <a:pt x="81009" y="109619"/>
                          <a:pt x="80630" y="109826"/>
                          <a:pt x="80252" y="109826"/>
                        </a:cubicBezTo>
                        <a:cubicBezTo>
                          <a:pt x="80252" y="109619"/>
                          <a:pt x="79495" y="109411"/>
                          <a:pt x="79495" y="109411"/>
                        </a:cubicBezTo>
                        <a:cubicBezTo>
                          <a:pt x="79116" y="109619"/>
                          <a:pt x="78738" y="110034"/>
                          <a:pt x="78738" y="110034"/>
                        </a:cubicBezTo>
                        <a:cubicBezTo>
                          <a:pt x="78738" y="110242"/>
                          <a:pt x="78359" y="110449"/>
                          <a:pt x="78359" y="110449"/>
                        </a:cubicBezTo>
                        <a:cubicBezTo>
                          <a:pt x="78359" y="110449"/>
                          <a:pt x="75709" y="112110"/>
                          <a:pt x="75709" y="112110"/>
                        </a:cubicBezTo>
                        <a:cubicBezTo>
                          <a:pt x="75331" y="112110"/>
                          <a:pt x="74574" y="111487"/>
                          <a:pt x="74574" y="111487"/>
                        </a:cubicBezTo>
                        <a:cubicBezTo>
                          <a:pt x="74574" y="111695"/>
                          <a:pt x="74574" y="112110"/>
                          <a:pt x="74574" y="112110"/>
                        </a:cubicBezTo>
                        <a:cubicBezTo>
                          <a:pt x="74195" y="112318"/>
                          <a:pt x="73438" y="112525"/>
                          <a:pt x="73438" y="112525"/>
                        </a:cubicBezTo>
                        <a:cubicBezTo>
                          <a:pt x="73438" y="112733"/>
                          <a:pt x="73059" y="112525"/>
                          <a:pt x="72681" y="112525"/>
                        </a:cubicBezTo>
                        <a:cubicBezTo>
                          <a:pt x="72681" y="112733"/>
                          <a:pt x="72302" y="112733"/>
                          <a:pt x="72302" y="112941"/>
                        </a:cubicBezTo>
                        <a:cubicBezTo>
                          <a:pt x="72302" y="113148"/>
                          <a:pt x="71924" y="113356"/>
                          <a:pt x="71924" y="113356"/>
                        </a:cubicBezTo>
                        <a:cubicBezTo>
                          <a:pt x="71924" y="113356"/>
                          <a:pt x="71167" y="113564"/>
                          <a:pt x="71167" y="113771"/>
                        </a:cubicBezTo>
                        <a:cubicBezTo>
                          <a:pt x="70788" y="113979"/>
                          <a:pt x="70031" y="114186"/>
                          <a:pt x="70031" y="114186"/>
                        </a:cubicBezTo>
                        <a:cubicBezTo>
                          <a:pt x="70031" y="114186"/>
                          <a:pt x="69652" y="114394"/>
                          <a:pt x="69274" y="114186"/>
                        </a:cubicBezTo>
                        <a:cubicBezTo>
                          <a:pt x="68895" y="114186"/>
                          <a:pt x="68138" y="113564"/>
                          <a:pt x="68138" y="113564"/>
                        </a:cubicBezTo>
                        <a:cubicBezTo>
                          <a:pt x="68138" y="113564"/>
                          <a:pt x="67381" y="113564"/>
                          <a:pt x="67381" y="113771"/>
                        </a:cubicBezTo>
                        <a:cubicBezTo>
                          <a:pt x="67003" y="113979"/>
                          <a:pt x="67003" y="114186"/>
                          <a:pt x="66624" y="114186"/>
                        </a:cubicBezTo>
                        <a:cubicBezTo>
                          <a:pt x="66246" y="114394"/>
                          <a:pt x="65867" y="114394"/>
                          <a:pt x="65488" y="114394"/>
                        </a:cubicBezTo>
                        <a:cubicBezTo>
                          <a:pt x="65110" y="114602"/>
                          <a:pt x="64353" y="114602"/>
                          <a:pt x="64353" y="114809"/>
                        </a:cubicBezTo>
                        <a:cubicBezTo>
                          <a:pt x="63974" y="114809"/>
                          <a:pt x="63596" y="115224"/>
                          <a:pt x="63596" y="115432"/>
                        </a:cubicBezTo>
                        <a:cubicBezTo>
                          <a:pt x="63596" y="115640"/>
                          <a:pt x="64353" y="115640"/>
                          <a:pt x="63596" y="115640"/>
                        </a:cubicBezTo>
                        <a:cubicBezTo>
                          <a:pt x="62839" y="115847"/>
                          <a:pt x="61703" y="115847"/>
                          <a:pt x="61703" y="115847"/>
                        </a:cubicBezTo>
                        <a:cubicBezTo>
                          <a:pt x="61703" y="115847"/>
                          <a:pt x="60946" y="116055"/>
                          <a:pt x="60946" y="116262"/>
                        </a:cubicBezTo>
                        <a:cubicBezTo>
                          <a:pt x="60567" y="116470"/>
                          <a:pt x="60946" y="116470"/>
                          <a:pt x="60189" y="116678"/>
                        </a:cubicBezTo>
                        <a:cubicBezTo>
                          <a:pt x="59810" y="116678"/>
                          <a:pt x="59432" y="116885"/>
                          <a:pt x="59432" y="116885"/>
                        </a:cubicBezTo>
                        <a:cubicBezTo>
                          <a:pt x="58675" y="116470"/>
                          <a:pt x="58675" y="116470"/>
                          <a:pt x="58675" y="116470"/>
                        </a:cubicBezTo>
                        <a:cubicBezTo>
                          <a:pt x="59053" y="116055"/>
                          <a:pt x="59053" y="116055"/>
                          <a:pt x="59053" y="116055"/>
                        </a:cubicBezTo>
                        <a:cubicBezTo>
                          <a:pt x="59053" y="116055"/>
                          <a:pt x="58675" y="115640"/>
                          <a:pt x="58675" y="115847"/>
                        </a:cubicBezTo>
                        <a:cubicBezTo>
                          <a:pt x="58296" y="116262"/>
                          <a:pt x="58675" y="116470"/>
                          <a:pt x="58675" y="116470"/>
                        </a:cubicBezTo>
                        <a:cubicBezTo>
                          <a:pt x="58675" y="116470"/>
                          <a:pt x="58296" y="116470"/>
                          <a:pt x="58296" y="116678"/>
                        </a:cubicBezTo>
                        <a:cubicBezTo>
                          <a:pt x="57917" y="116885"/>
                          <a:pt x="58296" y="116885"/>
                          <a:pt x="57917" y="117093"/>
                        </a:cubicBezTo>
                        <a:cubicBezTo>
                          <a:pt x="57917" y="117301"/>
                          <a:pt x="57539" y="117508"/>
                          <a:pt x="57160" y="117508"/>
                        </a:cubicBezTo>
                        <a:cubicBezTo>
                          <a:pt x="57160" y="117716"/>
                          <a:pt x="56782" y="117716"/>
                          <a:pt x="56403" y="117716"/>
                        </a:cubicBezTo>
                        <a:cubicBezTo>
                          <a:pt x="56403" y="117716"/>
                          <a:pt x="55646" y="117716"/>
                          <a:pt x="55646" y="117716"/>
                        </a:cubicBezTo>
                        <a:cubicBezTo>
                          <a:pt x="55268" y="117716"/>
                          <a:pt x="54889" y="117508"/>
                          <a:pt x="55268" y="117508"/>
                        </a:cubicBezTo>
                        <a:cubicBezTo>
                          <a:pt x="55268" y="117508"/>
                          <a:pt x="56025" y="117301"/>
                          <a:pt x="56025" y="117301"/>
                        </a:cubicBezTo>
                        <a:cubicBezTo>
                          <a:pt x="56025" y="117301"/>
                          <a:pt x="56403" y="117093"/>
                          <a:pt x="56025" y="117093"/>
                        </a:cubicBezTo>
                        <a:cubicBezTo>
                          <a:pt x="55646" y="116885"/>
                          <a:pt x="55268" y="116678"/>
                          <a:pt x="55268" y="116678"/>
                        </a:cubicBezTo>
                        <a:cubicBezTo>
                          <a:pt x="55268" y="116678"/>
                          <a:pt x="55646" y="116885"/>
                          <a:pt x="54511" y="116885"/>
                        </a:cubicBezTo>
                        <a:cubicBezTo>
                          <a:pt x="53753" y="117093"/>
                          <a:pt x="53375" y="117093"/>
                          <a:pt x="53375" y="116885"/>
                        </a:cubicBezTo>
                        <a:cubicBezTo>
                          <a:pt x="53375" y="116885"/>
                          <a:pt x="52618" y="116885"/>
                          <a:pt x="52996" y="116678"/>
                        </a:cubicBezTo>
                        <a:cubicBezTo>
                          <a:pt x="53753" y="116470"/>
                          <a:pt x="53753" y="116262"/>
                          <a:pt x="54132" y="116262"/>
                        </a:cubicBezTo>
                        <a:cubicBezTo>
                          <a:pt x="54511" y="116262"/>
                          <a:pt x="54511" y="115847"/>
                          <a:pt x="54511" y="115640"/>
                        </a:cubicBezTo>
                        <a:cubicBezTo>
                          <a:pt x="54511" y="115640"/>
                          <a:pt x="55268" y="116055"/>
                          <a:pt x="54132" y="115640"/>
                        </a:cubicBezTo>
                        <a:cubicBezTo>
                          <a:pt x="53375" y="115017"/>
                          <a:pt x="53375" y="115017"/>
                          <a:pt x="53375" y="115017"/>
                        </a:cubicBezTo>
                        <a:cubicBezTo>
                          <a:pt x="53375" y="115017"/>
                          <a:pt x="52996" y="115224"/>
                          <a:pt x="52996" y="115432"/>
                        </a:cubicBezTo>
                        <a:cubicBezTo>
                          <a:pt x="53375" y="115640"/>
                          <a:pt x="54132" y="115847"/>
                          <a:pt x="52996" y="116055"/>
                        </a:cubicBezTo>
                        <a:cubicBezTo>
                          <a:pt x="51861" y="116055"/>
                          <a:pt x="51861" y="116055"/>
                          <a:pt x="51861" y="116055"/>
                        </a:cubicBezTo>
                        <a:cubicBezTo>
                          <a:pt x="51482" y="116262"/>
                          <a:pt x="50347" y="116262"/>
                          <a:pt x="50347" y="116262"/>
                        </a:cubicBezTo>
                        <a:cubicBezTo>
                          <a:pt x="50347" y="116262"/>
                          <a:pt x="49589" y="116262"/>
                          <a:pt x="49968" y="116470"/>
                        </a:cubicBezTo>
                        <a:cubicBezTo>
                          <a:pt x="49968" y="116678"/>
                          <a:pt x="50725" y="116885"/>
                          <a:pt x="50725" y="116885"/>
                        </a:cubicBezTo>
                        <a:cubicBezTo>
                          <a:pt x="50725" y="116885"/>
                          <a:pt x="50725" y="117093"/>
                          <a:pt x="49968" y="117093"/>
                        </a:cubicBezTo>
                        <a:cubicBezTo>
                          <a:pt x="49589" y="117301"/>
                          <a:pt x="48832" y="117301"/>
                          <a:pt x="48832" y="117301"/>
                        </a:cubicBezTo>
                        <a:cubicBezTo>
                          <a:pt x="48454" y="117508"/>
                          <a:pt x="48454" y="117508"/>
                          <a:pt x="48454" y="117508"/>
                        </a:cubicBezTo>
                        <a:cubicBezTo>
                          <a:pt x="48454" y="117508"/>
                          <a:pt x="48075" y="117508"/>
                          <a:pt x="48075" y="117301"/>
                        </a:cubicBezTo>
                        <a:cubicBezTo>
                          <a:pt x="48075" y="117301"/>
                          <a:pt x="48454" y="117093"/>
                          <a:pt x="48454" y="116885"/>
                        </a:cubicBezTo>
                        <a:cubicBezTo>
                          <a:pt x="48454" y="116678"/>
                          <a:pt x="48832" y="116885"/>
                          <a:pt x="48454" y="116678"/>
                        </a:cubicBezTo>
                        <a:cubicBezTo>
                          <a:pt x="48075" y="116262"/>
                          <a:pt x="47697" y="116262"/>
                          <a:pt x="47697" y="116055"/>
                        </a:cubicBezTo>
                        <a:cubicBezTo>
                          <a:pt x="48075" y="115847"/>
                          <a:pt x="48832" y="115640"/>
                          <a:pt x="48832" y="115640"/>
                        </a:cubicBezTo>
                        <a:cubicBezTo>
                          <a:pt x="48832" y="115432"/>
                          <a:pt x="48832" y="115224"/>
                          <a:pt x="48832" y="115224"/>
                        </a:cubicBezTo>
                        <a:cubicBezTo>
                          <a:pt x="48832" y="115224"/>
                          <a:pt x="48454" y="115224"/>
                          <a:pt x="48832" y="115017"/>
                        </a:cubicBezTo>
                        <a:cubicBezTo>
                          <a:pt x="49211" y="114602"/>
                          <a:pt x="49589" y="114394"/>
                          <a:pt x="49589" y="114394"/>
                        </a:cubicBezTo>
                        <a:cubicBezTo>
                          <a:pt x="49589" y="114186"/>
                          <a:pt x="49211" y="113979"/>
                          <a:pt x="48832" y="113979"/>
                        </a:cubicBezTo>
                        <a:cubicBezTo>
                          <a:pt x="48832" y="113979"/>
                          <a:pt x="48454" y="114394"/>
                          <a:pt x="48454" y="114602"/>
                        </a:cubicBezTo>
                        <a:cubicBezTo>
                          <a:pt x="48454" y="114602"/>
                          <a:pt x="48832" y="115017"/>
                          <a:pt x="47697" y="114809"/>
                        </a:cubicBezTo>
                        <a:cubicBezTo>
                          <a:pt x="46561" y="114809"/>
                          <a:pt x="45804" y="114809"/>
                          <a:pt x="45425" y="114602"/>
                        </a:cubicBezTo>
                        <a:cubicBezTo>
                          <a:pt x="45425" y="114394"/>
                          <a:pt x="44668" y="114186"/>
                          <a:pt x="45804" y="114186"/>
                        </a:cubicBezTo>
                        <a:cubicBezTo>
                          <a:pt x="46940" y="113979"/>
                          <a:pt x="46940" y="113979"/>
                          <a:pt x="46940" y="113979"/>
                        </a:cubicBezTo>
                        <a:cubicBezTo>
                          <a:pt x="47318" y="113771"/>
                          <a:pt x="47318" y="113564"/>
                          <a:pt x="47318" y="113356"/>
                        </a:cubicBezTo>
                        <a:cubicBezTo>
                          <a:pt x="46940" y="113356"/>
                          <a:pt x="46561" y="112941"/>
                          <a:pt x="46561" y="113148"/>
                        </a:cubicBezTo>
                        <a:cubicBezTo>
                          <a:pt x="46182" y="113564"/>
                          <a:pt x="46182" y="113771"/>
                          <a:pt x="46182" y="113771"/>
                        </a:cubicBezTo>
                        <a:cubicBezTo>
                          <a:pt x="46182" y="113771"/>
                          <a:pt x="44668" y="113771"/>
                          <a:pt x="44668" y="113771"/>
                        </a:cubicBezTo>
                        <a:cubicBezTo>
                          <a:pt x="44668" y="113771"/>
                          <a:pt x="44290" y="113564"/>
                          <a:pt x="44290" y="113356"/>
                        </a:cubicBezTo>
                        <a:cubicBezTo>
                          <a:pt x="44290" y="113356"/>
                          <a:pt x="44668" y="112525"/>
                          <a:pt x="44668" y="112525"/>
                        </a:cubicBezTo>
                        <a:cubicBezTo>
                          <a:pt x="44668" y="112525"/>
                          <a:pt x="45425" y="112318"/>
                          <a:pt x="45047" y="112318"/>
                        </a:cubicBezTo>
                        <a:cubicBezTo>
                          <a:pt x="45047" y="112318"/>
                          <a:pt x="44290" y="112110"/>
                          <a:pt x="44290" y="112318"/>
                        </a:cubicBezTo>
                        <a:cubicBezTo>
                          <a:pt x="43911" y="112318"/>
                          <a:pt x="44290" y="112525"/>
                          <a:pt x="44290" y="112733"/>
                        </a:cubicBezTo>
                        <a:cubicBezTo>
                          <a:pt x="44290" y="112941"/>
                          <a:pt x="44290" y="113148"/>
                          <a:pt x="43911" y="113148"/>
                        </a:cubicBezTo>
                        <a:cubicBezTo>
                          <a:pt x="43533" y="113356"/>
                          <a:pt x="42018" y="113356"/>
                          <a:pt x="42018" y="113356"/>
                        </a:cubicBezTo>
                        <a:cubicBezTo>
                          <a:pt x="42018" y="113148"/>
                          <a:pt x="41640" y="113148"/>
                          <a:pt x="42018" y="112941"/>
                        </a:cubicBezTo>
                        <a:cubicBezTo>
                          <a:pt x="42018" y="112733"/>
                          <a:pt x="42018" y="112525"/>
                          <a:pt x="42018" y="112525"/>
                        </a:cubicBezTo>
                        <a:cubicBezTo>
                          <a:pt x="42018" y="112525"/>
                          <a:pt x="41640" y="112110"/>
                          <a:pt x="41640" y="112318"/>
                        </a:cubicBezTo>
                        <a:cubicBezTo>
                          <a:pt x="41261" y="112318"/>
                          <a:pt x="40883" y="112318"/>
                          <a:pt x="40883" y="112318"/>
                        </a:cubicBezTo>
                        <a:cubicBezTo>
                          <a:pt x="40883" y="111903"/>
                          <a:pt x="40883" y="111903"/>
                          <a:pt x="40883" y="111903"/>
                        </a:cubicBezTo>
                        <a:cubicBezTo>
                          <a:pt x="40126" y="111903"/>
                          <a:pt x="40126" y="111903"/>
                          <a:pt x="40126" y="111903"/>
                        </a:cubicBezTo>
                        <a:cubicBezTo>
                          <a:pt x="39747" y="111903"/>
                          <a:pt x="39747" y="111903"/>
                          <a:pt x="39747" y="111903"/>
                        </a:cubicBezTo>
                        <a:cubicBezTo>
                          <a:pt x="39747" y="111903"/>
                          <a:pt x="39369" y="111695"/>
                          <a:pt x="39369" y="111695"/>
                        </a:cubicBezTo>
                        <a:cubicBezTo>
                          <a:pt x="38990" y="111695"/>
                          <a:pt x="38990" y="111695"/>
                          <a:pt x="38990" y="111903"/>
                        </a:cubicBezTo>
                        <a:cubicBezTo>
                          <a:pt x="38611" y="111903"/>
                          <a:pt x="37476" y="112110"/>
                          <a:pt x="37476" y="112110"/>
                        </a:cubicBezTo>
                        <a:cubicBezTo>
                          <a:pt x="37476" y="112110"/>
                          <a:pt x="37476" y="111695"/>
                          <a:pt x="37097" y="112110"/>
                        </a:cubicBezTo>
                        <a:cubicBezTo>
                          <a:pt x="37097" y="112318"/>
                          <a:pt x="35205" y="112318"/>
                          <a:pt x="35205" y="112318"/>
                        </a:cubicBezTo>
                        <a:cubicBezTo>
                          <a:pt x="35205" y="112318"/>
                          <a:pt x="34826" y="111903"/>
                          <a:pt x="34826" y="111695"/>
                        </a:cubicBezTo>
                        <a:cubicBezTo>
                          <a:pt x="34826" y="111695"/>
                          <a:pt x="35205" y="111072"/>
                          <a:pt x="35205" y="111072"/>
                        </a:cubicBezTo>
                        <a:cubicBezTo>
                          <a:pt x="35583" y="110865"/>
                          <a:pt x="35583" y="110865"/>
                          <a:pt x="35583" y="110865"/>
                        </a:cubicBezTo>
                        <a:cubicBezTo>
                          <a:pt x="35205" y="110657"/>
                          <a:pt x="35205" y="110657"/>
                          <a:pt x="35205" y="110657"/>
                        </a:cubicBezTo>
                        <a:cubicBezTo>
                          <a:pt x="35205" y="110657"/>
                          <a:pt x="34069" y="110657"/>
                          <a:pt x="34447" y="110657"/>
                        </a:cubicBezTo>
                        <a:cubicBezTo>
                          <a:pt x="34447" y="110449"/>
                          <a:pt x="35205" y="110034"/>
                          <a:pt x="35205" y="110034"/>
                        </a:cubicBezTo>
                        <a:cubicBezTo>
                          <a:pt x="35205" y="110034"/>
                          <a:pt x="35583" y="109826"/>
                          <a:pt x="35583" y="109826"/>
                        </a:cubicBezTo>
                        <a:cubicBezTo>
                          <a:pt x="35962" y="109619"/>
                          <a:pt x="36719" y="109619"/>
                          <a:pt x="36340" y="109411"/>
                        </a:cubicBezTo>
                        <a:cubicBezTo>
                          <a:pt x="35962" y="109411"/>
                          <a:pt x="35583" y="109204"/>
                          <a:pt x="35583" y="109204"/>
                        </a:cubicBezTo>
                        <a:cubicBezTo>
                          <a:pt x="35583" y="109204"/>
                          <a:pt x="35205" y="109204"/>
                          <a:pt x="35205" y="108996"/>
                        </a:cubicBezTo>
                        <a:cubicBezTo>
                          <a:pt x="35205" y="108996"/>
                          <a:pt x="35583" y="108581"/>
                          <a:pt x="35583" y="108373"/>
                        </a:cubicBezTo>
                        <a:cubicBezTo>
                          <a:pt x="35583" y="108166"/>
                          <a:pt x="35205" y="107958"/>
                          <a:pt x="35205" y="107958"/>
                        </a:cubicBezTo>
                        <a:cubicBezTo>
                          <a:pt x="34826" y="107958"/>
                          <a:pt x="35205" y="108166"/>
                          <a:pt x="34447" y="108166"/>
                        </a:cubicBezTo>
                        <a:cubicBezTo>
                          <a:pt x="34069" y="108373"/>
                          <a:pt x="32933" y="108788"/>
                          <a:pt x="32933" y="108788"/>
                        </a:cubicBezTo>
                        <a:cubicBezTo>
                          <a:pt x="32933" y="108581"/>
                          <a:pt x="32933" y="108373"/>
                          <a:pt x="32933" y="108166"/>
                        </a:cubicBezTo>
                        <a:cubicBezTo>
                          <a:pt x="33312" y="107958"/>
                          <a:pt x="34447" y="107958"/>
                          <a:pt x="34826" y="107750"/>
                        </a:cubicBezTo>
                        <a:cubicBezTo>
                          <a:pt x="34826" y="107543"/>
                          <a:pt x="34069" y="106920"/>
                          <a:pt x="34069" y="106920"/>
                        </a:cubicBezTo>
                        <a:cubicBezTo>
                          <a:pt x="34069" y="106920"/>
                          <a:pt x="34826" y="107128"/>
                          <a:pt x="34447" y="106712"/>
                        </a:cubicBezTo>
                        <a:cubicBezTo>
                          <a:pt x="33690" y="106505"/>
                          <a:pt x="33690" y="106505"/>
                          <a:pt x="33690" y="106505"/>
                        </a:cubicBezTo>
                        <a:cubicBezTo>
                          <a:pt x="33690" y="106297"/>
                          <a:pt x="33690" y="106089"/>
                          <a:pt x="34069" y="105882"/>
                        </a:cubicBezTo>
                        <a:cubicBezTo>
                          <a:pt x="34447" y="105467"/>
                          <a:pt x="34826" y="105467"/>
                          <a:pt x="34826" y="105259"/>
                        </a:cubicBezTo>
                        <a:cubicBezTo>
                          <a:pt x="34826" y="105259"/>
                          <a:pt x="33690" y="105051"/>
                          <a:pt x="33690" y="104844"/>
                        </a:cubicBezTo>
                        <a:cubicBezTo>
                          <a:pt x="33690" y="104636"/>
                          <a:pt x="32933" y="104636"/>
                          <a:pt x="33690" y="104221"/>
                        </a:cubicBezTo>
                        <a:cubicBezTo>
                          <a:pt x="34069" y="104013"/>
                          <a:pt x="34447" y="104013"/>
                          <a:pt x="34447" y="104013"/>
                        </a:cubicBezTo>
                        <a:cubicBezTo>
                          <a:pt x="34447" y="104013"/>
                          <a:pt x="34447" y="103391"/>
                          <a:pt x="34447" y="103183"/>
                        </a:cubicBezTo>
                        <a:cubicBezTo>
                          <a:pt x="34447" y="102975"/>
                          <a:pt x="34826" y="102975"/>
                          <a:pt x="34826" y="102768"/>
                        </a:cubicBezTo>
                        <a:cubicBezTo>
                          <a:pt x="34447" y="102560"/>
                          <a:pt x="34069" y="102560"/>
                          <a:pt x="33690" y="102145"/>
                        </a:cubicBezTo>
                        <a:cubicBezTo>
                          <a:pt x="33690" y="101937"/>
                          <a:pt x="33690" y="101937"/>
                          <a:pt x="33690" y="101730"/>
                        </a:cubicBezTo>
                        <a:cubicBezTo>
                          <a:pt x="34069" y="101730"/>
                          <a:pt x="34447" y="101522"/>
                          <a:pt x="34069" y="101522"/>
                        </a:cubicBezTo>
                        <a:cubicBezTo>
                          <a:pt x="34069" y="101314"/>
                          <a:pt x="34069" y="101107"/>
                          <a:pt x="34069" y="101107"/>
                        </a:cubicBezTo>
                        <a:cubicBezTo>
                          <a:pt x="34069" y="101107"/>
                          <a:pt x="34069" y="101107"/>
                          <a:pt x="33690" y="100692"/>
                        </a:cubicBezTo>
                        <a:cubicBezTo>
                          <a:pt x="33312" y="100484"/>
                          <a:pt x="33312" y="100069"/>
                          <a:pt x="33312" y="99861"/>
                        </a:cubicBezTo>
                        <a:cubicBezTo>
                          <a:pt x="33312" y="99653"/>
                          <a:pt x="33690" y="98823"/>
                          <a:pt x="33690" y="98823"/>
                        </a:cubicBezTo>
                        <a:cubicBezTo>
                          <a:pt x="33690" y="98823"/>
                          <a:pt x="33690" y="98200"/>
                          <a:pt x="32933" y="97993"/>
                        </a:cubicBezTo>
                        <a:cubicBezTo>
                          <a:pt x="32555" y="97577"/>
                          <a:pt x="31798" y="97370"/>
                          <a:pt x="31798" y="97370"/>
                        </a:cubicBezTo>
                        <a:cubicBezTo>
                          <a:pt x="31798" y="97370"/>
                          <a:pt x="31798" y="96955"/>
                          <a:pt x="31798" y="96747"/>
                        </a:cubicBezTo>
                        <a:cubicBezTo>
                          <a:pt x="31798" y="96747"/>
                          <a:pt x="31041" y="96539"/>
                          <a:pt x="31041" y="96332"/>
                        </a:cubicBezTo>
                        <a:cubicBezTo>
                          <a:pt x="31041" y="96124"/>
                          <a:pt x="30662" y="95709"/>
                          <a:pt x="30662" y="95709"/>
                        </a:cubicBezTo>
                        <a:cubicBezTo>
                          <a:pt x="30662" y="95709"/>
                          <a:pt x="30283" y="95709"/>
                          <a:pt x="30662" y="95294"/>
                        </a:cubicBezTo>
                        <a:cubicBezTo>
                          <a:pt x="30662" y="94671"/>
                          <a:pt x="30662" y="94463"/>
                          <a:pt x="30662" y="94256"/>
                        </a:cubicBezTo>
                        <a:cubicBezTo>
                          <a:pt x="30283" y="94048"/>
                          <a:pt x="29905" y="93633"/>
                          <a:pt x="29905" y="93425"/>
                        </a:cubicBezTo>
                        <a:cubicBezTo>
                          <a:pt x="29905" y="93217"/>
                          <a:pt x="29905" y="92802"/>
                          <a:pt x="29905" y="92802"/>
                        </a:cubicBezTo>
                        <a:cubicBezTo>
                          <a:pt x="29905" y="92802"/>
                          <a:pt x="29905" y="92595"/>
                          <a:pt x="29526" y="92387"/>
                        </a:cubicBezTo>
                        <a:cubicBezTo>
                          <a:pt x="29148" y="92179"/>
                          <a:pt x="28012" y="91141"/>
                          <a:pt x="28012" y="91141"/>
                        </a:cubicBezTo>
                        <a:cubicBezTo>
                          <a:pt x="28012" y="91141"/>
                          <a:pt x="27634" y="91141"/>
                          <a:pt x="27634" y="90726"/>
                        </a:cubicBezTo>
                        <a:cubicBezTo>
                          <a:pt x="27255" y="90311"/>
                          <a:pt x="27255" y="89896"/>
                          <a:pt x="27255" y="89896"/>
                        </a:cubicBezTo>
                        <a:cubicBezTo>
                          <a:pt x="27255" y="89896"/>
                          <a:pt x="27255" y="89273"/>
                          <a:pt x="27255" y="89273"/>
                        </a:cubicBezTo>
                        <a:cubicBezTo>
                          <a:pt x="26119" y="88650"/>
                          <a:pt x="26119" y="88650"/>
                          <a:pt x="26119" y="88650"/>
                        </a:cubicBezTo>
                        <a:cubicBezTo>
                          <a:pt x="26498" y="87820"/>
                          <a:pt x="26498" y="87820"/>
                          <a:pt x="26498" y="87820"/>
                        </a:cubicBezTo>
                        <a:cubicBezTo>
                          <a:pt x="26498" y="86989"/>
                          <a:pt x="26498" y="86989"/>
                          <a:pt x="26498" y="86989"/>
                        </a:cubicBezTo>
                        <a:cubicBezTo>
                          <a:pt x="26498" y="86989"/>
                          <a:pt x="26498" y="85951"/>
                          <a:pt x="26876" y="85951"/>
                        </a:cubicBezTo>
                        <a:cubicBezTo>
                          <a:pt x="27255" y="85951"/>
                          <a:pt x="28012" y="85328"/>
                          <a:pt x="28012" y="85328"/>
                        </a:cubicBezTo>
                        <a:cubicBezTo>
                          <a:pt x="28012" y="85328"/>
                          <a:pt x="28769" y="84705"/>
                          <a:pt x="28391" y="84498"/>
                        </a:cubicBezTo>
                        <a:cubicBezTo>
                          <a:pt x="28391" y="84290"/>
                          <a:pt x="28012" y="83460"/>
                          <a:pt x="28012" y="83460"/>
                        </a:cubicBezTo>
                        <a:cubicBezTo>
                          <a:pt x="28012" y="83460"/>
                          <a:pt x="28769" y="82837"/>
                          <a:pt x="28391" y="82837"/>
                        </a:cubicBezTo>
                        <a:cubicBezTo>
                          <a:pt x="28391" y="82629"/>
                          <a:pt x="27634" y="81799"/>
                          <a:pt x="27634" y="81799"/>
                        </a:cubicBezTo>
                        <a:cubicBezTo>
                          <a:pt x="26498" y="82422"/>
                          <a:pt x="26498" y="82422"/>
                          <a:pt x="26498" y="82422"/>
                        </a:cubicBezTo>
                        <a:cubicBezTo>
                          <a:pt x="25741" y="82214"/>
                          <a:pt x="25741" y="82214"/>
                          <a:pt x="25741" y="82214"/>
                        </a:cubicBezTo>
                        <a:cubicBezTo>
                          <a:pt x="26119" y="81384"/>
                          <a:pt x="26119" y="81384"/>
                          <a:pt x="26119" y="81384"/>
                        </a:cubicBezTo>
                        <a:cubicBezTo>
                          <a:pt x="26119" y="81384"/>
                          <a:pt x="25362" y="80968"/>
                          <a:pt x="25362" y="80761"/>
                        </a:cubicBezTo>
                        <a:cubicBezTo>
                          <a:pt x="25362" y="80553"/>
                          <a:pt x="26119" y="80138"/>
                          <a:pt x="26119" y="80138"/>
                        </a:cubicBezTo>
                        <a:cubicBezTo>
                          <a:pt x="26119" y="80138"/>
                          <a:pt x="26876" y="80968"/>
                          <a:pt x="26876" y="81176"/>
                        </a:cubicBezTo>
                        <a:cubicBezTo>
                          <a:pt x="26876" y="81384"/>
                          <a:pt x="27634" y="81591"/>
                          <a:pt x="27634" y="81591"/>
                        </a:cubicBezTo>
                        <a:cubicBezTo>
                          <a:pt x="28012" y="81384"/>
                          <a:pt x="28012" y="80968"/>
                          <a:pt x="28391" y="80968"/>
                        </a:cubicBezTo>
                        <a:cubicBezTo>
                          <a:pt x="28769" y="80968"/>
                          <a:pt x="29148" y="81176"/>
                          <a:pt x="29148" y="81384"/>
                        </a:cubicBezTo>
                        <a:cubicBezTo>
                          <a:pt x="29148" y="81384"/>
                          <a:pt x="30662" y="81176"/>
                          <a:pt x="30662" y="81176"/>
                        </a:cubicBezTo>
                        <a:cubicBezTo>
                          <a:pt x="30662" y="81176"/>
                          <a:pt x="30283" y="80968"/>
                          <a:pt x="31419" y="80968"/>
                        </a:cubicBezTo>
                        <a:cubicBezTo>
                          <a:pt x="32555" y="81176"/>
                          <a:pt x="32555" y="80968"/>
                          <a:pt x="32555" y="80553"/>
                        </a:cubicBezTo>
                        <a:cubicBezTo>
                          <a:pt x="32555" y="80346"/>
                          <a:pt x="31419" y="79515"/>
                          <a:pt x="32176" y="79515"/>
                        </a:cubicBezTo>
                        <a:cubicBezTo>
                          <a:pt x="33312" y="79515"/>
                          <a:pt x="33690" y="79723"/>
                          <a:pt x="33690" y="79723"/>
                        </a:cubicBezTo>
                        <a:cubicBezTo>
                          <a:pt x="33690" y="79723"/>
                          <a:pt x="33690" y="79930"/>
                          <a:pt x="33690" y="80138"/>
                        </a:cubicBezTo>
                        <a:cubicBezTo>
                          <a:pt x="33690" y="80553"/>
                          <a:pt x="34826" y="80968"/>
                          <a:pt x="34826" y="80553"/>
                        </a:cubicBezTo>
                        <a:cubicBezTo>
                          <a:pt x="35205" y="80138"/>
                          <a:pt x="35205" y="80346"/>
                          <a:pt x="35205" y="79930"/>
                        </a:cubicBezTo>
                        <a:cubicBezTo>
                          <a:pt x="35205" y="79515"/>
                          <a:pt x="34447" y="79515"/>
                          <a:pt x="34069" y="79100"/>
                        </a:cubicBezTo>
                        <a:cubicBezTo>
                          <a:pt x="34069" y="78892"/>
                          <a:pt x="33690" y="79307"/>
                          <a:pt x="33690" y="78685"/>
                        </a:cubicBezTo>
                        <a:cubicBezTo>
                          <a:pt x="34069" y="78062"/>
                          <a:pt x="34069" y="77854"/>
                          <a:pt x="34447" y="77854"/>
                        </a:cubicBezTo>
                        <a:cubicBezTo>
                          <a:pt x="35205" y="77647"/>
                          <a:pt x="34447" y="77854"/>
                          <a:pt x="35205" y="77647"/>
                        </a:cubicBezTo>
                        <a:cubicBezTo>
                          <a:pt x="35962" y="77647"/>
                          <a:pt x="36340" y="77231"/>
                          <a:pt x="35962" y="76608"/>
                        </a:cubicBezTo>
                        <a:cubicBezTo>
                          <a:pt x="35962" y="76193"/>
                          <a:pt x="35583" y="75986"/>
                          <a:pt x="35962" y="75778"/>
                        </a:cubicBezTo>
                        <a:cubicBezTo>
                          <a:pt x="36719" y="75570"/>
                          <a:pt x="36340" y="75363"/>
                          <a:pt x="37097" y="75570"/>
                        </a:cubicBezTo>
                        <a:cubicBezTo>
                          <a:pt x="37854" y="75778"/>
                          <a:pt x="37476" y="75778"/>
                          <a:pt x="38233" y="75778"/>
                        </a:cubicBezTo>
                        <a:cubicBezTo>
                          <a:pt x="38611" y="75570"/>
                          <a:pt x="38611" y="74532"/>
                          <a:pt x="38611" y="74532"/>
                        </a:cubicBezTo>
                        <a:cubicBezTo>
                          <a:pt x="38233" y="74740"/>
                          <a:pt x="37476" y="74325"/>
                          <a:pt x="37476" y="74325"/>
                        </a:cubicBezTo>
                        <a:cubicBezTo>
                          <a:pt x="37097" y="74325"/>
                          <a:pt x="37097" y="73910"/>
                          <a:pt x="37476" y="73702"/>
                        </a:cubicBezTo>
                        <a:cubicBezTo>
                          <a:pt x="37476" y="73702"/>
                          <a:pt x="37476" y="73287"/>
                          <a:pt x="37854" y="73287"/>
                        </a:cubicBezTo>
                        <a:cubicBezTo>
                          <a:pt x="38611" y="73287"/>
                          <a:pt x="38611" y="73494"/>
                          <a:pt x="39369" y="73287"/>
                        </a:cubicBezTo>
                        <a:cubicBezTo>
                          <a:pt x="39747" y="73079"/>
                          <a:pt x="39747" y="73079"/>
                          <a:pt x="40126" y="72871"/>
                        </a:cubicBezTo>
                        <a:cubicBezTo>
                          <a:pt x="40504" y="72664"/>
                          <a:pt x="40883" y="72664"/>
                          <a:pt x="41261" y="72249"/>
                        </a:cubicBezTo>
                        <a:cubicBezTo>
                          <a:pt x="41261" y="72041"/>
                          <a:pt x="41640" y="70795"/>
                          <a:pt x="41640" y="70795"/>
                        </a:cubicBezTo>
                        <a:cubicBezTo>
                          <a:pt x="41261" y="70588"/>
                          <a:pt x="42018" y="70795"/>
                          <a:pt x="42776" y="70588"/>
                        </a:cubicBezTo>
                        <a:cubicBezTo>
                          <a:pt x="43154" y="70380"/>
                          <a:pt x="43533" y="69134"/>
                          <a:pt x="43911" y="68927"/>
                        </a:cubicBezTo>
                        <a:cubicBezTo>
                          <a:pt x="44290" y="68512"/>
                          <a:pt x="45425" y="67681"/>
                          <a:pt x="45425" y="67474"/>
                        </a:cubicBezTo>
                        <a:cubicBezTo>
                          <a:pt x="45425" y="67266"/>
                          <a:pt x="46561" y="65813"/>
                          <a:pt x="46561" y="65813"/>
                        </a:cubicBezTo>
                        <a:cubicBezTo>
                          <a:pt x="48075" y="64359"/>
                          <a:pt x="48075" y="64359"/>
                          <a:pt x="48075" y="64359"/>
                        </a:cubicBezTo>
                        <a:cubicBezTo>
                          <a:pt x="48075" y="64359"/>
                          <a:pt x="48075" y="63944"/>
                          <a:pt x="47697" y="63529"/>
                        </a:cubicBezTo>
                        <a:cubicBezTo>
                          <a:pt x="47697" y="63321"/>
                          <a:pt x="47318" y="62491"/>
                          <a:pt x="47697" y="62283"/>
                        </a:cubicBezTo>
                        <a:cubicBezTo>
                          <a:pt x="48075" y="62283"/>
                          <a:pt x="48454" y="61660"/>
                          <a:pt x="48454" y="61660"/>
                        </a:cubicBezTo>
                        <a:cubicBezTo>
                          <a:pt x="48454" y="60830"/>
                          <a:pt x="48454" y="60830"/>
                          <a:pt x="48454" y="60830"/>
                        </a:cubicBezTo>
                        <a:cubicBezTo>
                          <a:pt x="48454" y="60830"/>
                          <a:pt x="50347" y="60207"/>
                          <a:pt x="50347" y="60207"/>
                        </a:cubicBezTo>
                        <a:cubicBezTo>
                          <a:pt x="52618" y="60000"/>
                          <a:pt x="51104" y="59377"/>
                          <a:pt x="53753" y="60000"/>
                        </a:cubicBezTo>
                        <a:cubicBezTo>
                          <a:pt x="53753" y="60000"/>
                          <a:pt x="55268" y="59792"/>
                          <a:pt x="54889" y="59584"/>
                        </a:cubicBezTo>
                        <a:cubicBezTo>
                          <a:pt x="54889" y="59584"/>
                          <a:pt x="53375" y="58754"/>
                          <a:pt x="53375" y="58754"/>
                        </a:cubicBezTo>
                        <a:cubicBezTo>
                          <a:pt x="54132" y="58131"/>
                          <a:pt x="54132" y="58131"/>
                          <a:pt x="54132" y="58131"/>
                        </a:cubicBezTo>
                        <a:cubicBezTo>
                          <a:pt x="54132" y="58131"/>
                          <a:pt x="55268" y="57716"/>
                          <a:pt x="54132" y="57508"/>
                        </a:cubicBezTo>
                        <a:cubicBezTo>
                          <a:pt x="53375" y="57301"/>
                          <a:pt x="52618" y="57093"/>
                          <a:pt x="52618" y="56885"/>
                        </a:cubicBezTo>
                        <a:cubicBezTo>
                          <a:pt x="52618" y="56885"/>
                          <a:pt x="52239" y="56055"/>
                          <a:pt x="52239" y="55847"/>
                        </a:cubicBezTo>
                        <a:cubicBezTo>
                          <a:pt x="52239" y="55640"/>
                          <a:pt x="51861" y="55017"/>
                          <a:pt x="51861" y="55017"/>
                        </a:cubicBezTo>
                        <a:cubicBezTo>
                          <a:pt x="51861" y="55017"/>
                          <a:pt x="51861" y="54186"/>
                          <a:pt x="51861" y="53979"/>
                        </a:cubicBezTo>
                        <a:cubicBezTo>
                          <a:pt x="51861" y="53771"/>
                          <a:pt x="51482" y="53148"/>
                          <a:pt x="51104" y="52941"/>
                        </a:cubicBezTo>
                        <a:cubicBezTo>
                          <a:pt x="50725" y="52733"/>
                          <a:pt x="49211" y="52110"/>
                          <a:pt x="49211" y="52110"/>
                        </a:cubicBezTo>
                        <a:cubicBezTo>
                          <a:pt x="46561" y="51487"/>
                          <a:pt x="46561" y="51487"/>
                          <a:pt x="46561" y="51487"/>
                        </a:cubicBezTo>
                        <a:cubicBezTo>
                          <a:pt x="45804" y="51903"/>
                          <a:pt x="45804" y="51903"/>
                          <a:pt x="45804" y="51903"/>
                        </a:cubicBezTo>
                        <a:cubicBezTo>
                          <a:pt x="43911" y="50865"/>
                          <a:pt x="43911" y="50865"/>
                          <a:pt x="43911" y="50865"/>
                        </a:cubicBezTo>
                        <a:cubicBezTo>
                          <a:pt x="42397" y="50657"/>
                          <a:pt x="42397" y="50657"/>
                          <a:pt x="42397" y="50657"/>
                        </a:cubicBezTo>
                        <a:cubicBezTo>
                          <a:pt x="40883" y="50657"/>
                          <a:pt x="40883" y="50657"/>
                          <a:pt x="40883" y="50657"/>
                        </a:cubicBezTo>
                        <a:cubicBezTo>
                          <a:pt x="38233" y="47543"/>
                          <a:pt x="38233" y="47543"/>
                          <a:pt x="38233" y="47543"/>
                        </a:cubicBezTo>
                        <a:cubicBezTo>
                          <a:pt x="35962" y="46920"/>
                          <a:pt x="35962" y="46920"/>
                          <a:pt x="35962" y="46920"/>
                        </a:cubicBezTo>
                        <a:cubicBezTo>
                          <a:pt x="34447" y="46089"/>
                          <a:pt x="34447" y="46089"/>
                          <a:pt x="34447" y="46089"/>
                        </a:cubicBezTo>
                        <a:cubicBezTo>
                          <a:pt x="34447" y="45051"/>
                          <a:pt x="34447" y="45051"/>
                          <a:pt x="34447" y="45051"/>
                        </a:cubicBezTo>
                        <a:cubicBezTo>
                          <a:pt x="33312" y="44221"/>
                          <a:pt x="33312" y="44221"/>
                          <a:pt x="33312" y="44221"/>
                        </a:cubicBezTo>
                        <a:cubicBezTo>
                          <a:pt x="33312" y="44221"/>
                          <a:pt x="33690" y="43598"/>
                          <a:pt x="33690" y="43391"/>
                        </a:cubicBezTo>
                        <a:cubicBezTo>
                          <a:pt x="34069" y="43183"/>
                          <a:pt x="34826" y="42145"/>
                          <a:pt x="34826" y="42145"/>
                        </a:cubicBezTo>
                        <a:cubicBezTo>
                          <a:pt x="34826" y="42145"/>
                          <a:pt x="34447" y="41314"/>
                          <a:pt x="34447" y="41107"/>
                        </a:cubicBezTo>
                        <a:cubicBezTo>
                          <a:pt x="34447" y="40899"/>
                          <a:pt x="34826" y="39861"/>
                          <a:pt x="34826" y="39861"/>
                        </a:cubicBezTo>
                        <a:cubicBezTo>
                          <a:pt x="34447" y="38823"/>
                          <a:pt x="34447" y="38823"/>
                          <a:pt x="34447" y="38823"/>
                        </a:cubicBezTo>
                        <a:cubicBezTo>
                          <a:pt x="29905" y="35916"/>
                          <a:pt x="29905" y="35916"/>
                          <a:pt x="29905" y="35916"/>
                        </a:cubicBezTo>
                        <a:cubicBezTo>
                          <a:pt x="30283" y="34671"/>
                          <a:pt x="30283" y="34671"/>
                          <a:pt x="30283" y="34671"/>
                        </a:cubicBezTo>
                        <a:cubicBezTo>
                          <a:pt x="29905" y="34048"/>
                          <a:pt x="29905" y="34048"/>
                          <a:pt x="29905" y="34048"/>
                        </a:cubicBezTo>
                        <a:cubicBezTo>
                          <a:pt x="29526" y="33425"/>
                          <a:pt x="29526" y="33425"/>
                          <a:pt x="29905" y="33010"/>
                        </a:cubicBezTo>
                        <a:cubicBezTo>
                          <a:pt x="29905" y="32802"/>
                          <a:pt x="29905" y="32802"/>
                          <a:pt x="29905" y="32802"/>
                        </a:cubicBezTo>
                        <a:cubicBezTo>
                          <a:pt x="28391" y="33010"/>
                          <a:pt x="28391" y="33010"/>
                          <a:pt x="28391" y="33010"/>
                        </a:cubicBezTo>
                        <a:cubicBezTo>
                          <a:pt x="27255" y="32179"/>
                          <a:pt x="27255" y="32179"/>
                          <a:pt x="27255" y="32179"/>
                        </a:cubicBezTo>
                        <a:cubicBezTo>
                          <a:pt x="27634" y="31141"/>
                          <a:pt x="27634" y="31141"/>
                          <a:pt x="27634" y="31141"/>
                        </a:cubicBezTo>
                        <a:cubicBezTo>
                          <a:pt x="26876" y="28650"/>
                          <a:pt x="26876" y="28650"/>
                          <a:pt x="26876" y="28650"/>
                        </a:cubicBezTo>
                        <a:cubicBezTo>
                          <a:pt x="27634" y="27404"/>
                          <a:pt x="27634" y="27404"/>
                          <a:pt x="27634" y="27404"/>
                        </a:cubicBezTo>
                        <a:cubicBezTo>
                          <a:pt x="25362" y="26782"/>
                          <a:pt x="25362" y="26782"/>
                          <a:pt x="25362" y="26782"/>
                        </a:cubicBezTo>
                        <a:cubicBezTo>
                          <a:pt x="23848" y="25536"/>
                          <a:pt x="23848" y="25536"/>
                          <a:pt x="23848" y="25536"/>
                        </a:cubicBezTo>
                        <a:cubicBezTo>
                          <a:pt x="23848" y="25536"/>
                          <a:pt x="23470" y="25951"/>
                          <a:pt x="23091" y="25743"/>
                        </a:cubicBezTo>
                        <a:cubicBezTo>
                          <a:pt x="22712" y="25536"/>
                          <a:pt x="20820" y="23875"/>
                          <a:pt x="20820" y="23875"/>
                        </a:cubicBezTo>
                        <a:cubicBezTo>
                          <a:pt x="17413" y="23252"/>
                          <a:pt x="17413" y="23252"/>
                          <a:pt x="17413" y="23252"/>
                        </a:cubicBezTo>
                        <a:cubicBezTo>
                          <a:pt x="15899" y="22837"/>
                          <a:pt x="15899" y="22837"/>
                          <a:pt x="15899" y="22837"/>
                        </a:cubicBezTo>
                        <a:cubicBezTo>
                          <a:pt x="14006" y="22629"/>
                          <a:pt x="14006" y="22629"/>
                          <a:pt x="14006" y="22629"/>
                        </a:cubicBezTo>
                        <a:cubicBezTo>
                          <a:pt x="14006" y="22629"/>
                          <a:pt x="13627" y="23044"/>
                          <a:pt x="13249" y="22629"/>
                        </a:cubicBezTo>
                        <a:cubicBezTo>
                          <a:pt x="12870" y="22214"/>
                          <a:pt x="12113" y="21799"/>
                          <a:pt x="12113" y="21799"/>
                        </a:cubicBezTo>
                        <a:cubicBezTo>
                          <a:pt x="10599" y="22006"/>
                          <a:pt x="10599" y="22006"/>
                          <a:pt x="10599" y="22006"/>
                        </a:cubicBezTo>
                        <a:cubicBezTo>
                          <a:pt x="9463" y="21176"/>
                          <a:pt x="9463" y="21176"/>
                          <a:pt x="9463" y="21176"/>
                        </a:cubicBezTo>
                        <a:cubicBezTo>
                          <a:pt x="9463" y="21176"/>
                          <a:pt x="9085" y="21176"/>
                          <a:pt x="8706" y="21176"/>
                        </a:cubicBezTo>
                        <a:cubicBezTo>
                          <a:pt x="8328" y="20968"/>
                          <a:pt x="7570" y="20761"/>
                          <a:pt x="7570" y="20761"/>
                        </a:cubicBezTo>
                        <a:close/>
                        <a:moveTo>
                          <a:pt x="53753" y="117923"/>
                        </a:moveTo>
                        <a:cubicBezTo>
                          <a:pt x="53753" y="117923"/>
                          <a:pt x="53753" y="117923"/>
                          <a:pt x="53753" y="117923"/>
                        </a:cubicBezTo>
                        <a:cubicBezTo>
                          <a:pt x="53753" y="117923"/>
                          <a:pt x="53753" y="118131"/>
                          <a:pt x="53753" y="118339"/>
                        </a:cubicBezTo>
                        <a:cubicBezTo>
                          <a:pt x="53753" y="118339"/>
                          <a:pt x="54132" y="118546"/>
                          <a:pt x="54511" y="118546"/>
                        </a:cubicBezTo>
                        <a:cubicBezTo>
                          <a:pt x="54511" y="118546"/>
                          <a:pt x="55268" y="118339"/>
                          <a:pt x="55646" y="118131"/>
                        </a:cubicBezTo>
                        <a:cubicBezTo>
                          <a:pt x="56403" y="117923"/>
                          <a:pt x="55646" y="118131"/>
                          <a:pt x="55646" y="118131"/>
                        </a:cubicBezTo>
                        <a:cubicBezTo>
                          <a:pt x="54889" y="117716"/>
                          <a:pt x="54889" y="117716"/>
                          <a:pt x="54889" y="117716"/>
                        </a:cubicBezTo>
                        <a:cubicBezTo>
                          <a:pt x="54889" y="117716"/>
                          <a:pt x="54132" y="117923"/>
                          <a:pt x="53753" y="117923"/>
                        </a:cubicBezTo>
                        <a:close/>
                        <a:moveTo>
                          <a:pt x="48832" y="117923"/>
                        </a:moveTo>
                        <a:cubicBezTo>
                          <a:pt x="48832" y="117923"/>
                          <a:pt x="48832" y="117923"/>
                          <a:pt x="48832" y="117923"/>
                        </a:cubicBezTo>
                        <a:cubicBezTo>
                          <a:pt x="48832" y="117923"/>
                          <a:pt x="48832" y="118339"/>
                          <a:pt x="48832" y="118339"/>
                        </a:cubicBezTo>
                        <a:cubicBezTo>
                          <a:pt x="48832" y="118546"/>
                          <a:pt x="49211" y="118546"/>
                          <a:pt x="49589" y="118339"/>
                        </a:cubicBezTo>
                        <a:cubicBezTo>
                          <a:pt x="49589" y="118339"/>
                          <a:pt x="49968" y="118339"/>
                          <a:pt x="50347" y="118131"/>
                        </a:cubicBezTo>
                        <a:cubicBezTo>
                          <a:pt x="50725" y="117923"/>
                          <a:pt x="50347" y="117716"/>
                          <a:pt x="49968" y="117716"/>
                        </a:cubicBezTo>
                        <a:cubicBezTo>
                          <a:pt x="49968" y="117508"/>
                          <a:pt x="49589" y="117716"/>
                          <a:pt x="49589" y="117716"/>
                        </a:cubicBezTo>
                        <a:cubicBezTo>
                          <a:pt x="49211" y="117716"/>
                          <a:pt x="48832" y="117923"/>
                          <a:pt x="48832" y="117923"/>
                        </a:cubicBezTo>
                        <a:close/>
                        <a:moveTo>
                          <a:pt x="39747" y="115432"/>
                        </a:moveTo>
                        <a:cubicBezTo>
                          <a:pt x="39747" y="115432"/>
                          <a:pt x="39747" y="115432"/>
                          <a:pt x="39747" y="115432"/>
                        </a:cubicBezTo>
                        <a:cubicBezTo>
                          <a:pt x="39369" y="115640"/>
                          <a:pt x="39369" y="115640"/>
                          <a:pt x="39369" y="115640"/>
                        </a:cubicBezTo>
                        <a:cubicBezTo>
                          <a:pt x="39369" y="115640"/>
                          <a:pt x="38990" y="115847"/>
                          <a:pt x="39369" y="116055"/>
                        </a:cubicBezTo>
                        <a:cubicBezTo>
                          <a:pt x="39369" y="116470"/>
                          <a:pt x="39747" y="116470"/>
                          <a:pt x="39747" y="116470"/>
                        </a:cubicBezTo>
                        <a:cubicBezTo>
                          <a:pt x="39747" y="116470"/>
                          <a:pt x="40126" y="116262"/>
                          <a:pt x="40883" y="116262"/>
                        </a:cubicBezTo>
                        <a:cubicBezTo>
                          <a:pt x="41261" y="116262"/>
                          <a:pt x="42018" y="115847"/>
                          <a:pt x="42018" y="115640"/>
                        </a:cubicBezTo>
                        <a:cubicBezTo>
                          <a:pt x="42397" y="115640"/>
                          <a:pt x="42397" y="115224"/>
                          <a:pt x="42776" y="115224"/>
                        </a:cubicBezTo>
                        <a:cubicBezTo>
                          <a:pt x="43154" y="115224"/>
                          <a:pt x="44290" y="115432"/>
                          <a:pt x="44668" y="115432"/>
                        </a:cubicBezTo>
                        <a:cubicBezTo>
                          <a:pt x="45047" y="115432"/>
                          <a:pt x="44290" y="114809"/>
                          <a:pt x="44290" y="114809"/>
                        </a:cubicBezTo>
                        <a:cubicBezTo>
                          <a:pt x="44290" y="114602"/>
                          <a:pt x="43154" y="114809"/>
                          <a:pt x="43154" y="114809"/>
                        </a:cubicBezTo>
                        <a:cubicBezTo>
                          <a:pt x="43154" y="114809"/>
                          <a:pt x="42397" y="114809"/>
                          <a:pt x="42018" y="114602"/>
                        </a:cubicBezTo>
                        <a:cubicBezTo>
                          <a:pt x="41640" y="114602"/>
                          <a:pt x="41640" y="114602"/>
                          <a:pt x="41640" y="114602"/>
                        </a:cubicBezTo>
                        <a:cubicBezTo>
                          <a:pt x="41261" y="114809"/>
                          <a:pt x="41261" y="115017"/>
                          <a:pt x="40883" y="115224"/>
                        </a:cubicBezTo>
                        <a:cubicBezTo>
                          <a:pt x="40504" y="115432"/>
                          <a:pt x="40504" y="115224"/>
                          <a:pt x="40504" y="115017"/>
                        </a:cubicBezTo>
                        <a:cubicBezTo>
                          <a:pt x="40504" y="115017"/>
                          <a:pt x="39747" y="114809"/>
                          <a:pt x="39369" y="115017"/>
                        </a:cubicBezTo>
                        <a:cubicBezTo>
                          <a:pt x="39369" y="115017"/>
                          <a:pt x="39747" y="115224"/>
                          <a:pt x="39747" y="115432"/>
                        </a:cubicBezTo>
                        <a:close/>
                        <a:moveTo>
                          <a:pt x="36719" y="115432"/>
                        </a:moveTo>
                        <a:cubicBezTo>
                          <a:pt x="36719" y="115432"/>
                          <a:pt x="36719" y="115432"/>
                          <a:pt x="36719" y="115432"/>
                        </a:cubicBezTo>
                        <a:cubicBezTo>
                          <a:pt x="36719" y="115432"/>
                          <a:pt x="37476" y="115640"/>
                          <a:pt x="38233" y="115640"/>
                        </a:cubicBezTo>
                        <a:cubicBezTo>
                          <a:pt x="38611" y="115640"/>
                          <a:pt x="38233" y="115432"/>
                          <a:pt x="38611" y="115224"/>
                        </a:cubicBezTo>
                        <a:cubicBezTo>
                          <a:pt x="38611" y="115017"/>
                          <a:pt x="38233" y="115224"/>
                          <a:pt x="37854" y="115017"/>
                        </a:cubicBezTo>
                        <a:cubicBezTo>
                          <a:pt x="37476" y="115017"/>
                          <a:pt x="37476" y="115017"/>
                          <a:pt x="37097" y="115017"/>
                        </a:cubicBezTo>
                        <a:cubicBezTo>
                          <a:pt x="36340" y="115017"/>
                          <a:pt x="36719" y="115432"/>
                          <a:pt x="36719" y="115432"/>
                        </a:cubicBezTo>
                        <a:close/>
                        <a:moveTo>
                          <a:pt x="33312" y="113148"/>
                        </a:moveTo>
                        <a:cubicBezTo>
                          <a:pt x="33312" y="113148"/>
                          <a:pt x="33312" y="113148"/>
                          <a:pt x="33312" y="113148"/>
                        </a:cubicBezTo>
                        <a:cubicBezTo>
                          <a:pt x="32933" y="114186"/>
                          <a:pt x="34826" y="113564"/>
                          <a:pt x="34826" y="112941"/>
                        </a:cubicBezTo>
                        <a:cubicBezTo>
                          <a:pt x="34447" y="112525"/>
                          <a:pt x="34826" y="112525"/>
                          <a:pt x="34069" y="112110"/>
                        </a:cubicBezTo>
                        <a:cubicBezTo>
                          <a:pt x="33690" y="111487"/>
                          <a:pt x="33690" y="112110"/>
                          <a:pt x="33312" y="112318"/>
                        </a:cubicBezTo>
                        <a:cubicBezTo>
                          <a:pt x="32933" y="112733"/>
                          <a:pt x="33690" y="112733"/>
                          <a:pt x="33690" y="112941"/>
                        </a:cubicBezTo>
                        <a:cubicBezTo>
                          <a:pt x="33690" y="113148"/>
                          <a:pt x="33312" y="112941"/>
                          <a:pt x="33312" y="113148"/>
                        </a:cubicBezTo>
                        <a:close/>
                        <a:moveTo>
                          <a:pt x="30283" y="115640"/>
                        </a:moveTo>
                        <a:cubicBezTo>
                          <a:pt x="30283" y="115640"/>
                          <a:pt x="30283" y="115640"/>
                          <a:pt x="30283" y="115640"/>
                        </a:cubicBezTo>
                        <a:cubicBezTo>
                          <a:pt x="30283" y="115640"/>
                          <a:pt x="29905" y="115847"/>
                          <a:pt x="30283" y="116262"/>
                        </a:cubicBezTo>
                        <a:cubicBezTo>
                          <a:pt x="30283" y="116470"/>
                          <a:pt x="30283" y="116262"/>
                          <a:pt x="31419" y="115847"/>
                        </a:cubicBezTo>
                        <a:cubicBezTo>
                          <a:pt x="32176" y="115432"/>
                          <a:pt x="31041" y="115640"/>
                          <a:pt x="31041" y="115640"/>
                        </a:cubicBezTo>
                        <a:cubicBezTo>
                          <a:pt x="31041" y="115432"/>
                          <a:pt x="30662" y="115640"/>
                          <a:pt x="30283" y="115640"/>
                        </a:cubicBezTo>
                        <a:close/>
                        <a:moveTo>
                          <a:pt x="30283" y="116885"/>
                        </a:moveTo>
                        <a:cubicBezTo>
                          <a:pt x="30283" y="116885"/>
                          <a:pt x="30283" y="116885"/>
                          <a:pt x="30283" y="116885"/>
                        </a:cubicBezTo>
                        <a:cubicBezTo>
                          <a:pt x="30283" y="116885"/>
                          <a:pt x="30283" y="117301"/>
                          <a:pt x="30662" y="117301"/>
                        </a:cubicBezTo>
                        <a:cubicBezTo>
                          <a:pt x="31041" y="117301"/>
                          <a:pt x="31041" y="117093"/>
                          <a:pt x="31419" y="116885"/>
                        </a:cubicBezTo>
                        <a:cubicBezTo>
                          <a:pt x="31419" y="116678"/>
                          <a:pt x="31041" y="116678"/>
                          <a:pt x="31041" y="116470"/>
                        </a:cubicBezTo>
                        <a:cubicBezTo>
                          <a:pt x="30662" y="116470"/>
                          <a:pt x="30283" y="116678"/>
                          <a:pt x="30283" y="116885"/>
                        </a:cubicBezTo>
                        <a:close/>
                        <a:moveTo>
                          <a:pt x="29148" y="117923"/>
                        </a:moveTo>
                        <a:cubicBezTo>
                          <a:pt x="29148" y="117923"/>
                          <a:pt x="29148" y="117923"/>
                          <a:pt x="29148" y="117923"/>
                        </a:cubicBezTo>
                        <a:cubicBezTo>
                          <a:pt x="28391" y="117923"/>
                          <a:pt x="28391" y="117923"/>
                          <a:pt x="28391" y="117923"/>
                        </a:cubicBezTo>
                        <a:cubicBezTo>
                          <a:pt x="28391" y="117923"/>
                          <a:pt x="28391" y="117923"/>
                          <a:pt x="27255" y="118339"/>
                        </a:cubicBezTo>
                        <a:cubicBezTo>
                          <a:pt x="26119" y="118546"/>
                          <a:pt x="26876" y="118754"/>
                          <a:pt x="26876" y="118961"/>
                        </a:cubicBezTo>
                        <a:cubicBezTo>
                          <a:pt x="26876" y="119377"/>
                          <a:pt x="28012" y="118961"/>
                          <a:pt x="28769" y="118754"/>
                        </a:cubicBezTo>
                        <a:cubicBezTo>
                          <a:pt x="29148" y="118754"/>
                          <a:pt x="28769" y="118546"/>
                          <a:pt x="29148" y="118546"/>
                        </a:cubicBezTo>
                        <a:cubicBezTo>
                          <a:pt x="29148" y="118546"/>
                          <a:pt x="29148" y="118546"/>
                          <a:pt x="29905" y="118339"/>
                        </a:cubicBezTo>
                        <a:cubicBezTo>
                          <a:pt x="30662" y="118131"/>
                          <a:pt x="30283" y="118131"/>
                          <a:pt x="30283" y="117923"/>
                        </a:cubicBezTo>
                        <a:cubicBezTo>
                          <a:pt x="30283" y="117923"/>
                          <a:pt x="29526" y="117716"/>
                          <a:pt x="29148" y="117923"/>
                        </a:cubicBezTo>
                        <a:close/>
                        <a:moveTo>
                          <a:pt x="19305" y="118961"/>
                        </a:moveTo>
                        <a:cubicBezTo>
                          <a:pt x="19305" y="118961"/>
                          <a:pt x="19305" y="118961"/>
                          <a:pt x="19305" y="118961"/>
                        </a:cubicBezTo>
                        <a:cubicBezTo>
                          <a:pt x="19684" y="118961"/>
                          <a:pt x="20063" y="118754"/>
                          <a:pt x="20441" y="118961"/>
                        </a:cubicBezTo>
                        <a:cubicBezTo>
                          <a:pt x="20820" y="119169"/>
                          <a:pt x="20441" y="119584"/>
                          <a:pt x="20441" y="119584"/>
                        </a:cubicBezTo>
                        <a:cubicBezTo>
                          <a:pt x="20063" y="119792"/>
                          <a:pt x="19684" y="120000"/>
                          <a:pt x="19305" y="120000"/>
                        </a:cubicBezTo>
                        <a:cubicBezTo>
                          <a:pt x="18927" y="120000"/>
                          <a:pt x="18548" y="120000"/>
                          <a:pt x="18170" y="119792"/>
                        </a:cubicBezTo>
                        <a:cubicBezTo>
                          <a:pt x="18170" y="119584"/>
                          <a:pt x="18170" y="118961"/>
                          <a:pt x="18170" y="118961"/>
                        </a:cubicBezTo>
                        <a:cubicBezTo>
                          <a:pt x="18548" y="118961"/>
                          <a:pt x="19305" y="118961"/>
                          <a:pt x="19305" y="118961"/>
                        </a:cubicBezTo>
                        <a:close/>
                        <a:moveTo>
                          <a:pt x="22334" y="115847"/>
                        </a:moveTo>
                        <a:cubicBezTo>
                          <a:pt x="22334" y="115847"/>
                          <a:pt x="22334" y="115847"/>
                          <a:pt x="22334" y="115847"/>
                        </a:cubicBezTo>
                        <a:cubicBezTo>
                          <a:pt x="22334" y="115847"/>
                          <a:pt x="22334" y="115847"/>
                          <a:pt x="22334" y="115847"/>
                        </a:cubicBezTo>
                        <a:cubicBezTo>
                          <a:pt x="22334" y="115847"/>
                          <a:pt x="22334" y="116262"/>
                          <a:pt x="21955" y="116262"/>
                        </a:cubicBezTo>
                        <a:cubicBezTo>
                          <a:pt x="21198" y="116470"/>
                          <a:pt x="21577" y="115847"/>
                          <a:pt x="21577" y="115640"/>
                        </a:cubicBezTo>
                        <a:cubicBezTo>
                          <a:pt x="21577" y="115432"/>
                          <a:pt x="20063" y="115847"/>
                          <a:pt x="20063" y="115847"/>
                        </a:cubicBezTo>
                        <a:cubicBezTo>
                          <a:pt x="20063" y="115847"/>
                          <a:pt x="20063" y="116470"/>
                          <a:pt x="19684" y="116678"/>
                        </a:cubicBezTo>
                        <a:cubicBezTo>
                          <a:pt x="19305" y="116678"/>
                          <a:pt x="19305" y="116678"/>
                          <a:pt x="18927" y="116885"/>
                        </a:cubicBezTo>
                        <a:cubicBezTo>
                          <a:pt x="18548" y="117093"/>
                          <a:pt x="18548" y="117508"/>
                          <a:pt x="18548" y="117508"/>
                        </a:cubicBezTo>
                        <a:cubicBezTo>
                          <a:pt x="18927" y="117716"/>
                          <a:pt x="19684" y="117716"/>
                          <a:pt x="19684" y="117716"/>
                        </a:cubicBezTo>
                        <a:cubicBezTo>
                          <a:pt x="20063" y="117716"/>
                          <a:pt x="20063" y="117716"/>
                          <a:pt x="21198" y="118131"/>
                        </a:cubicBezTo>
                        <a:cubicBezTo>
                          <a:pt x="22712" y="118339"/>
                          <a:pt x="21577" y="118131"/>
                          <a:pt x="22712" y="118131"/>
                        </a:cubicBezTo>
                        <a:cubicBezTo>
                          <a:pt x="23470" y="118131"/>
                          <a:pt x="23091" y="118339"/>
                          <a:pt x="23470" y="118339"/>
                        </a:cubicBezTo>
                        <a:cubicBezTo>
                          <a:pt x="23848" y="118339"/>
                          <a:pt x="24227" y="118754"/>
                          <a:pt x="24605" y="118961"/>
                        </a:cubicBezTo>
                        <a:cubicBezTo>
                          <a:pt x="25362" y="119169"/>
                          <a:pt x="25741" y="118754"/>
                          <a:pt x="26119" y="118754"/>
                        </a:cubicBezTo>
                        <a:cubicBezTo>
                          <a:pt x="26119" y="118546"/>
                          <a:pt x="26876" y="117923"/>
                          <a:pt x="26876" y="117923"/>
                        </a:cubicBezTo>
                        <a:cubicBezTo>
                          <a:pt x="26876" y="117923"/>
                          <a:pt x="24605" y="117508"/>
                          <a:pt x="24605" y="117508"/>
                        </a:cubicBezTo>
                        <a:cubicBezTo>
                          <a:pt x="24227" y="117508"/>
                          <a:pt x="23848" y="116885"/>
                          <a:pt x="24605" y="116885"/>
                        </a:cubicBezTo>
                        <a:cubicBezTo>
                          <a:pt x="24984" y="116885"/>
                          <a:pt x="24984" y="117093"/>
                          <a:pt x="25362" y="117301"/>
                        </a:cubicBezTo>
                        <a:cubicBezTo>
                          <a:pt x="25362" y="117508"/>
                          <a:pt x="25741" y="117508"/>
                          <a:pt x="26119" y="117508"/>
                        </a:cubicBezTo>
                        <a:cubicBezTo>
                          <a:pt x="26498" y="117508"/>
                          <a:pt x="26876" y="117301"/>
                          <a:pt x="26876" y="117093"/>
                        </a:cubicBezTo>
                        <a:cubicBezTo>
                          <a:pt x="26876" y="116885"/>
                          <a:pt x="26498" y="117093"/>
                          <a:pt x="25741" y="116470"/>
                        </a:cubicBezTo>
                        <a:cubicBezTo>
                          <a:pt x="24605" y="115847"/>
                          <a:pt x="25741" y="116055"/>
                          <a:pt x="26119" y="116055"/>
                        </a:cubicBezTo>
                        <a:cubicBezTo>
                          <a:pt x="26119" y="115847"/>
                          <a:pt x="26876" y="115432"/>
                          <a:pt x="26876" y="115432"/>
                        </a:cubicBezTo>
                        <a:cubicBezTo>
                          <a:pt x="27255" y="115224"/>
                          <a:pt x="26119" y="115224"/>
                          <a:pt x="25741" y="115017"/>
                        </a:cubicBezTo>
                        <a:cubicBezTo>
                          <a:pt x="25362" y="115017"/>
                          <a:pt x="25362" y="115017"/>
                          <a:pt x="25362" y="115017"/>
                        </a:cubicBezTo>
                        <a:cubicBezTo>
                          <a:pt x="25362" y="115224"/>
                          <a:pt x="24227" y="115017"/>
                          <a:pt x="23848" y="114809"/>
                        </a:cubicBezTo>
                        <a:cubicBezTo>
                          <a:pt x="23848" y="114809"/>
                          <a:pt x="23848" y="114394"/>
                          <a:pt x="23470" y="114186"/>
                        </a:cubicBezTo>
                        <a:cubicBezTo>
                          <a:pt x="23470" y="114186"/>
                          <a:pt x="22712" y="114186"/>
                          <a:pt x="21955" y="114186"/>
                        </a:cubicBezTo>
                        <a:cubicBezTo>
                          <a:pt x="21198" y="114186"/>
                          <a:pt x="21577" y="114809"/>
                          <a:pt x="21577" y="114809"/>
                        </a:cubicBezTo>
                        <a:cubicBezTo>
                          <a:pt x="21577" y="114809"/>
                          <a:pt x="21955" y="115224"/>
                          <a:pt x="22334" y="115432"/>
                        </a:cubicBezTo>
                        <a:cubicBezTo>
                          <a:pt x="22334" y="115432"/>
                          <a:pt x="22334" y="115847"/>
                          <a:pt x="22334" y="115847"/>
                        </a:cubicBezTo>
                        <a:close/>
                      </a:path>
                    </a:pathLst>
                  </a:custGeom>
                  <a:grpFill/>
                  <a:ln w="3175" cap="flat" cmpd="sng">
                    <a:solidFill>
                      <a:srgbClr val="FFFFFF"/>
                    </a:solidFill>
                    <a:prstDash val="solid"/>
                    <a:miter/>
                    <a:headEnd type="none" w="med" len="med"/>
                    <a:tailEnd type="none" w="med" len="med"/>
                  </a:ln>
                </p:spPr>
                <p:txBody>
                  <a:bodyPr lIns="45713" tIns="22850" rIns="45713" bIns="22850" anchor="t"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srgbClr val="7F7F7F"/>
                      </a:solidFill>
                      <a:effectLst/>
                      <a:uLnTx/>
                      <a:uFillTx/>
                      <a:ea typeface="Source Sans Pro"/>
                      <a:cs typeface="Calibri" panose="020F0502020204030204" pitchFamily="34" charset="0"/>
                      <a:sym typeface="Source Sans Pro"/>
                    </a:endParaRPr>
                  </a:p>
                </p:txBody>
              </p:sp>
            </p:grpSp>
            <p:sp>
              <p:nvSpPr>
                <p:cNvPr id="138" name="Freeform: Shape 62"/>
                <p:cNvSpPr/>
                <p:nvPr/>
              </p:nvSpPr>
              <p:spPr>
                <a:xfrm rot="7481213">
                  <a:off x="7051354" y="4420823"/>
                  <a:ext cx="193354" cy="1287556"/>
                </a:xfrm>
                <a:custGeom>
                  <a:avLst/>
                  <a:gdLst>
                    <a:gd name="connsiteX0" fmla="*/ 95250 w 629306"/>
                    <a:gd name="connsiteY0" fmla="*/ 0 h 2328863"/>
                    <a:gd name="connsiteX1" fmla="*/ 628650 w 629306"/>
                    <a:gd name="connsiteY1" fmla="*/ 966788 h 2328863"/>
                    <a:gd name="connsiteX2" fmla="*/ 0 w 629306"/>
                    <a:gd name="connsiteY2" fmla="*/ 2328863 h 2328863"/>
                  </a:gdLst>
                  <a:ahLst/>
                  <a:cxnLst>
                    <a:cxn ang="0">
                      <a:pos x="connsiteX0" y="connsiteY0"/>
                    </a:cxn>
                    <a:cxn ang="0">
                      <a:pos x="connsiteX1" y="connsiteY1"/>
                    </a:cxn>
                    <a:cxn ang="0">
                      <a:pos x="connsiteX2" y="connsiteY2"/>
                    </a:cxn>
                  </a:cxnLst>
                  <a:rect l="l" t="t" r="r" b="b"/>
                  <a:pathLst>
                    <a:path w="629306" h="2328863">
                      <a:moveTo>
                        <a:pt x="95250" y="0"/>
                      </a:moveTo>
                      <a:cubicBezTo>
                        <a:pt x="369887" y="289322"/>
                        <a:pt x="644525" y="578644"/>
                        <a:pt x="628650" y="966788"/>
                      </a:cubicBezTo>
                      <a:cubicBezTo>
                        <a:pt x="612775" y="1354932"/>
                        <a:pt x="306387" y="1841897"/>
                        <a:pt x="0" y="2328863"/>
                      </a:cubicBezTo>
                    </a:path>
                  </a:pathLst>
                </a:custGeom>
                <a:noFill/>
                <a:ln w="12700" cap="flat" cmpd="sng" algn="ctr">
                  <a:solidFill>
                    <a:srgbClr val="A5A5A5"/>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39" name="Freeform: Shape 267"/>
                <p:cNvSpPr/>
                <p:nvPr/>
              </p:nvSpPr>
              <p:spPr>
                <a:xfrm>
                  <a:off x="6696077" y="4056695"/>
                  <a:ext cx="994350" cy="581978"/>
                </a:xfrm>
                <a:custGeom>
                  <a:avLst/>
                  <a:gdLst>
                    <a:gd name="connsiteX0" fmla="*/ 0 w 3176588"/>
                    <a:gd name="connsiteY0" fmla="*/ 1781175 h 1781175"/>
                    <a:gd name="connsiteX1" fmla="*/ 2605088 w 3176588"/>
                    <a:gd name="connsiteY1" fmla="*/ 952500 h 1781175"/>
                    <a:gd name="connsiteX2" fmla="*/ 3176588 w 3176588"/>
                    <a:gd name="connsiteY2" fmla="*/ 0 h 1781175"/>
                  </a:gdLst>
                  <a:ahLst/>
                  <a:cxnLst>
                    <a:cxn ang="0">
                      <a:pos x="connsiteX0" y="connsiteY0"/>
                    </a:cxn>
                    <a:cxn ang="0">
                      <a:pos x="connsiteX1" y="connsiteY1"/>
                    </a:cxn>
                    <a:cxn ang="0">
                      <a:pos x="connsiteX2" y="connsiteY2"/>
                    </a:cxn>
                  </a:cxnLst>
                  <a:rect l="l" t="t" r="r" b="b"/>
                  <a:pathLst>
                    <a:path w="3176588" h="1781175">
                      <a:moveTo>
                        <a:pt x="0" y="1781175"/>
                      </a:moveTo>
                      <a:cubicBezTo>
                        <a:pt x="1037828" y="1515268"/>
                        <a:pt x="2075657" y="1249362"/>
                        <a:pt x="2605088" y="952500"/>
                      </a:cubicBezTo>
                      <a:cubicBezTo>
                        <a:pt x="3134519" y="655637"/>
                        <a:pt x="3155553" y="327818"/>
                        <a:pt x="3176588" y="0"/>
                      </a:cubicBezTo>
                    </a:path>
                  </a:pathLst>
                </a:custGeom>
                <a:noFill/>
                <a:ln w="12700" cap="flat" cmpd="sng" algn="ctr">
                  <a:solidFill>
                    <a:srgbClr val="A5A5A5"/>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grpSp>
              <p:nvGrpSpPr>
                <p:cNvPr id="140" name="Group 139"/>
                <p:cNvGrpSpPr/>
                <p:nvPr/>
              </p:nvGrpSpPr>
              <p:grpSpPr>
                <a:xfrm>
                  <a:off x="6419844" y="3938392"/>
                  <a:ext cx="560521" cy="560521"/>
                  <a:chOff x="4821018" y="1941899"/>
                  <a:chExt cx="784660" cy="784660"/>
                </a:xfrm>
              </p:grpSpPr>
              <p:sp>
                <p:nvSpPr>
                  <p:cNvPr id="150" name="Teardrop 149"/>
                  <p:cNvSpPr/>
                  <p:nvPr/>
                </p:nvSpPr>
                <p:spPr>
                  <a:xfrm rot="8100000">
                    <a:off x="4821018" y="1941899"/>
                    <a:ext cx="784660" cy="784660"/>
                  </a:xfrm>
                  <a:prstGeom prst="teardrop">
                    <a:avLst>
                      <a:gd name="adj" fmla="val 117662"/>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51" name="Oval 150"/>
                  <p:cNvSpPr/>
                  <p:nvPr/>
                </p:nvSpPr>
                <p:spPr>
                  <a:xfrm>
                    <a:off x="4920232" y="2038351"/>
                    <a:ext cx="585216" cy="585216"/>
                  </a:xfrm>
                  <a:prstGeom prst="ellipse">
                    <a:avLst/>
                  </a:prstGeom>
                  <a:solidFill>
                    <a:sysClr val="window" lastClr="FFFFFF">
                      <a:alpha val="6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52" name="Oval 151"/>
                  <p:cNvSpPr/>
                  <p:nvPr/>
                </p:nvSpPr>
                <p:spPr>
                  <a:xfrm>
                    <a:off x="4952006" y="2070497"/>
                    <a:ext cx="521208" cy="521208"/>
                  </a:xfrm>
                  <a:prstGeom prst="ellipse">
                    <a:avLst/>
                  </a:prstGeom>
                  <a:blipFill>
                    <a:blip r:embed="rId12"/>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black"/>
                      </a:solidFill>
                      <a:effectLst/>
                      <a:uLnTx/>
                      <a:uFillTx/>
                    </a:endParaRPr>
                  </a:p>
                </p:txBody>
              </p:sp>
            </p:grpSp>
            <p:grpSp>
              <p:nvGrpSpPr>
                <p:cNvPr id="141" name="Group 140"/>
                <p:cNvGrpSpPr/>
                <p:nvPr/>
              </p:nvGrpSpPr>
              <p:grpSpPr>
                <a:xfrm>
                  <a:off x="7411410" y="3315321"/>
                  <a:ext cx="560521" cy="560521"/>
                  <a:chOff x="1770091" y="3584305"/>
                  <a:chExt cx="784660" cy="784660"/>
                </a:xfrm>
              </p:grpSpPr>
              <p:sp>
                <p:nvSpPr>
                  <p:cNvPr id="148" name="Teardrop 147"/>
                  <p:cNvSpPr/>
                  <p:nvPr/>
                </p:nvSpPr>
                <p:spPr>
                  <a:xfrm rot="8100000">
                    <a:off x="1770091" y="3584305"/>
                    <a:ext cx="784660" cy="784660"/>
                  </a:xfrm>
                  <a:prstGeom prst="teardrop">
                    <a:avLst>
                      <a:gd name="adj" fmla="val 117662"/>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49" name="Oval 148"/>
                  <p:cNvSpPr/>
                  <p:nvPr/>
                </p:nvSpPr>
                <p:spPr>
                  <a:xfrm>
                    <a:off x="1865707" y="3683624"/>
                    <a:ext cx="585217" cy="585216"/>
                  </a:xfrm>
                  <a:prstGeom prst="ellipse">
                    <a:avLst/>
                  </a:prstGeom>
                  <a:solidFill>
                    <a:sysClr val="window" lastClr="FFFFFF">
                      <a:alpha val="6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grpSp>
            <p:grpSp>
              <p:nvGrpSpPr>
                <p:cNvPr id="142" name="Group 141"/>
                <p:cNvGrpSpPr/>
                <p:nvPr/>
              </p:nvGrpSpPr>
              <p:grpSpPr>
                <a:xfrm>
                  <a:off x="7470439" y="4664765"/>
                  <a:ext cx="560521" cy="560521"/>
                  <a:chOff x="4821018" y="1941899"/>
                  <a:chExt cx="784660" cy="784660"/>
                </a:xfrm>
              </p:grpSpPr>
              <p:sp>
                <p:nvSpPr>
                  <p:cNvPr id="145" name="Teardrop 144"/>
                  <p:cNvSpPr/>
                  <p:nvPr/>
                </p:nvSpPr>
                <p:spPr>
                  <a:xfrm rot="8100000">
                    <a:off x="4821018" y="1941899"/>
                    <a:ext cx="784660" cy="784660"/>
                  </a:xfrm>
                  <a:prstGeom prst="teardrop">
                    <a:avLst>
                      <a:gd name="adj" fmla="val 117662"/>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46" name="Oval 145"/>
                  <p:cNvSpPr/>
                  <p:nvPr/>
                </p:nvSpPr>
                <p:spPr>
                  <a:xfrm>
                    <a:off x="4920232" y="2038351"/>
                    <a:ext cx="585216" cy="585216"/>
                  </a:xfrm>
                  <a:prstGeom prst="ellipse">
                    <a:avLst/>
                  </a:prstGeom>
                  <a:solidFill>
                    <a:sysClr val="window" lastClr="FFFFFF">
                      <a:alpha val="6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47" name="Oval 146"/>
                  <p:cNvSpPr/>
                  <p:nvPr/>
                </p:nvSpPr>
                <p:spPr>
                  <a:xfrm>
                    <a:off x="4952006" y="2070497"/>
                    <a:ext cx="521208" cy="521208"/>
                  </a:xfrm>
                  <a:prstGeom prst="ellipse">
                    <a:avLst/>
                  </a:prstGeom>
                  <a:blipFill>
                    <a:blip r:embed="rId13">
                      <a:extLst>
                        <a:ext uri="{96DAC541-7B7A-43D3-8B79-37D633B846F1}">
                          <asvg:svgBlip xmlns:asvg="http://schemas.microsoft.com/office/drawing/2016/SVG/main" xmlns="" r:embed="rId14"/>
                        </a:ext>
                      </a:extLst>
                    </a:blip>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solidFill>
                        <a:prstClr val="black"/>
                      </a:solidFill>
                      <a:effectLst/>
                      <a:uLnTx/>
                      <a:uFillTx/>
                    </a:endParaRPr>
                  </a:p>
                </p:txBody>
              </p:sp>
            </p:grpSp>
            <p:sp>
              <p:nvSpPr>
                <p:cNvPr id="143" name="Freeform 454"/>
                <p:cNvSpPr/>
                <p:nvPr/>
              </p:nvSpPr>
              <p:spPr>
                <a:xfrm rot="905815">
                  <a:off x="7185508" y="4261475"/>
                  <a:ext cx="361014" cy="375459"/>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50" b="0" i="0" u="none" strike="noStrike" kern="0" cap="none" spc="0" normalizeH="0" baseline="0" dirty="0">
                    <a:ln>
                      <a:noFill/>
                    </a:ln>
                    <a:solidFill>
                      <a:prstClr val="white"/>
                    </a:solidFill>
                    <a:effectLst/>
                    <a:uLnTx/>
                    <a:uFillTx/>
                    <a:latin typeface="Calibri" panose="020F0502020204030204"/>
                    <a:ea typeface="+mn-ea"/>
                    <a:cs typeface="+mn-cs"/>
                  </a:endParaRPr>
                </a:p>
              </p:txBody>
            </p:sp>
            <p:sp>
              <p:nvSpPr>
                <p:cNvPr id="144" name="Freeform 454"/>
                <p:cNvSpPr/>
                <p:nvPr/>
              </p:nvSpPr>
              <p:spPr>
                <a:xfrm rot="15789198">
                  <a:off x="7039568" y="5020908"/>
                  <a:ext cx="361014" cy="375458"/>
                </a:xfrm>
                <a:custGeom>
                  <a:avLst/>
                  <a:gdLst/>
                  <a:ahLst/>
                  <a:cxnLst/>
                  <a:rect l="l" t="t" r="r" b="b"/>
                  <a:pathLst>
                    <a:path w="394835" h="394810">
                      <a:moveTo>
                        <a:pt x="369912" y="134"/>
                      </a:moveTo>
                      <a:cubicBezTo>
                        <a:pt x="376861" y="697"/>
                        <a:pt x="382776" y="3045"/>
                        <a:pt x="387659" y="7177"/>
                      </a:cubicBezTo>
                      <a:cubicBezTo>
                        <a:pt x="395923" y="16943"/>
                        <a:pt x="397050" y="30840"/>
                        <a:pt x="391040" y="48870"/>
                      </a:cubicBezTo>
                      <a:cubicBezTo>
                        <a:pt x="385030" y="66899"/>
                        <a:pt x="374889" y="83051"/>
                        <a:pt x="360615" y="97324"/>
                      </a:cubicBezTo>
                      <a:lnTo>
                        <a:pt x="315260" y="142679"/>
                      </a:lnTo>
                      <a:lnTo>
                        <a:pt x="360334" y="338750"/>
                      </a:lnTo>
                      <a:cubicBezTo>
                        <a:pt x="361273" y="342318"/>
                        <a:pt x="360146" y="345417"/>
                        <a:pt x="356953" y="348046"/>
                      </a:cubicBezTo>
                      <a:lnTo>
                        <a:pt x="320894" y="375090"/>
                      </a:lnTo>
                      <a:cubicBezTo>
                        <a:pt x="319580" y="376217"/>
                        <a:pt x="317795" y="376781"/>
                        <a:pt x="315542" y="376781"/>
                      </a:cubicBezTo>
                      <a:cubicBezTo>
                        <a:pt x="314791" y="376781"/>
                        <a:pt x="314133" y="376687"/>
                        <a:pt x="313570" y="376499"/>
                      </a:cubicBezTo>
                      <a:cubicBezTo>
                        <a:pt x="310752" y="375936"/>
                        <a:pt x="308780" y="374433"/>
                        <a:pt x="307654" y="371992"/>
                      </a:cubicBezTo>
                      <a:lnTo>
                        <a:pt x="229056" y="228883"/>
                      </a:lnTo>
                      <a:lnTo>
                        <a:pt x="156093" y="301846"/>
                      </a:lnTo>
                      <a:lnTo>
                        <a:pt x="171024" y="356498"/>
                      </a:lnTo>
                      <a:cubicBezTo>
                        <a:pt x="171963" y="359690"/>
                        <a:pt x="171211" y="362601"/>
                        <a:pt x="168770" y="365231"/>
                      </a:cubicBezTo>
                      <a:lnTo>
                        <a:pt x="141726" y="392275"/>
                      </a:lnTo>
                      <a:cubicBezTo>
                        <a:pt x="140036" y="393965"/>
                        <a:pt x="137876" y="394810"/>
                        <a:pt x="135247" y="394810"/>
                      </a:cubicBezTo>
                      <a:lnTo>
                        <a:pt x="134683" y="394810"/>
                      </a:lnTo>
                      <a:cubicBezTo>
                        <a:pt x="131866" y="394435"/>
                        <a:pt x="129613" y="393214"/>
                        <a:pt x="127922" y="391148"/>
                      </a:cubicBezTo>
                      <a:lnTo>
                        <a:pt x="74679" y="320157"/>
                      </a:lnTo>
                      <a:lnTo>
                        <a:pt x="3688" y="266914"/>
                      </a:lnTo>
                      <a:cubicBezTo>
                        <a:pt x="1622" y="265599"/>
                        <a:pt x="402" y="263439"/>
                        <a:pt x="26" y="260434"/>
                      </a:cubicBezTo>
                      <a:cubicBezTo>
                        <a:pt x="-162" y="257993"/>
                        <a:pt x="684" y="255645"/>
                        <a:pt x="2561" y="253392"/>
                      </a:cubicBezTo>
                      <a:lnTo>
                        <a:pt x="29606" y="226066"/>
                      </a:lnTo>
                      <a:cubicBezTo>
                        <a:pt x="31296" y="224375"/>
                        <a:pt x="33455" y="223530"/>
                        <a:pt x="36085" y="223530"/>
                      </a:cubicBezTo>
                      <a:cubicBezTo>
                        <a:pt x="37212" y="223530"/>
                        <a:pt x="37963" y="223624"/>
                        <a:pt x="38339" y="223812"/>
                      </a:cubicBezTo>
                      <a:lnTo>
                        <a:pt x="92990" y="238743"/>
                      </a:lnTo>
                      <a:lnTo>
                        <a:pt x="165953" y="165780"/>
                      </a:lnTo>
                      <a:lnTo>
                        <a:pt x="22844" y="87182"/>
                      </a:lnTo>
                      <a:cubicBezTo>
                        <a:pt x="20215" y="85680"/>
                        <a:pt x="18619" y="83426"/>
                        <a:pt x="18055" y="80421"/>
                      </a:cubicBezTo>
                      <a:cubicBezTo>
                        <a:pt x="17680" y="77417"/>
                        <a:pt x="18525" y="74881"/>
                        <a:pt x="20591" y="72815"/>
                      </a:cubicBezTo>
                      <a:lnTo>
                        <a:pt x="56650" y="36756"/>
                      </a:lnTo>
                      <a:cubicBezTo>
                        <a:pt x="59279" y="34315"/>
                        <a:pt x="62096" y="33563"/>
                        <a:pt x="65101" y="34503"/>
                      </a:cubicBezTo>
                      <a:lnTo>
                        <a:pt x="252439" y="79294"/>
                      </a:lnTo>
                      <a:lnTo>
                        <a:pt x="297512" y="34221"/>
                      </a:lnTo>
                      <a:cubicBezTo>
                        <a:pt x="311785" y="19947"/>
                        <a:pt x="327937" y="9806"/>
                        <a:pt x="345967" y="3796"/>
                      </a:cubicBezTo>
                      <a:cubicBezTo>
                        <a:pt x="354981" y="791"/>
                        <a:pt x="362963" y="-430"/>
                        <a:pt x="369912" y="134"/>
                      </a:cubicBezTo>
                      <a:close/>
                    </a:path>
                  </a:pathLst>
                </a:cu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50" b="0" i="0" u="none" strike="noStrike" kern="0" cap="none" spc="0" normalizeH="0" baseline="0" dirty="0">
                    <a:ln>
                      <a:noFill/>
                    </a:ln>
                    <a:solidFill>
                      <a:prstClr val="white"/>
                    </a:solidFill>
                    <a:effectLst/>
                    <a:uLnTx/>
                    <a:uFillTx/>
                    <a:latin typeface="Calibri" panose="020F0502020204030204"/>
                    <a:ea typeface="+mn-ea"/>
                    <a:cs typeface="+mn-cs"/>
                  </a:endParaRPr>
                </a:p>
              </p:txBody>
            </p:sp>
          </p:grpSp>
          <p:pic>
            <p:nvPicPr>
              <p:cNvPr id="135" name="Picture 134"/>
              <p:cNvPicPr>
                <a:picLocks noChangeAspect="1"/>
              </p:cNvPicPr>
              <p:nvPr/>
            </p:nvPicPr>
            <p:blipFill rotWithShape="1">
              <a:blip r:embed="rId15"/>
              <a:srcRect r="52291"/>
              <a:stretch/>
            </p:blipFill>
            <p:spPr>
              <a:xfrm>
                <a:off x="10970394" y="2009726"/>
                <a:ext cx="1221606" cy="2505673"/>
              </a:xfrm>
              <a:prstGeom prst="rect">
                <a:avLst/>
              </a:prstGeom>
              <a:grpFill/>
              <a:ln w="3175" cap="flat" cmpd="sng">
                <a:noFill/>
                <a:prstDash val="solid"/>
                <a:miter/>
                <a:headEnd type="none" w="med" len="med"/>
                <a:tailEnd type="none" w="med" len="med"/>
              </a:ln>
            </p:spPr>
          </p:pic>
          <p:sp>
            <p:nvSpPr>
              <p:cNvPr id="136" name="Rectangle 135"/>
              <p:cNvSpPr>
                <a:spLocks noChangeAspect="1"/>
              </p:cNvSpPr>
              <p:nvPr/>
            </p:nvSpPr>
            <p:spPr>
              <a:xfrm>
                <a:off x="11374517" y="2174457"/>
                <a:ext cx="818987" cy="547428"/>
              </a:xfrm>
              <a:prstGeom prst="rect">
                <a:avLst/>
              </a:prstGeom>
              <a:blipFill>
                <a:blip r:embed="rId16">
                  <a:extLst>
                    <a:ext uri="{96DAC541-7B7A-43D3-8B79-37D633B846F1}">
                      <asvg:svgBlip xmlns:asvg="http://schemas.microsoft.com/office/drawing/2016/SVG/main" xmlns="" r:embed="rId17"/>
                    </a:ext>
                  </a:extLst>
                </a:blip>
                <a:stretch>
                  <a:fillRect/>
                </a:stretch>
              </a:blipFill>
              <a:ln w="571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50" b="0" i="0" u="none" strike="noStrike" kern="0" cap="none" spc="0" normalizeH="0" baseline="0" dirty="0">
                  <a:ln>
                    <a:noFill/>
                  </a:ln>
                  <a:solidFill>
                    <a:prstClr val="white"/>
                  </a:solidFill>
                  <a:effectLst/>
                  <a:uLnTx/>
                  <a:uFillTx/>
                  <a:latin typeface="Calibri" panose="020F0502020204030204"/>
                  <a:ea typeface="+mn-ea"/>
                  <a:cs typeface="+mn-cs"/>
                </a:endParaRPr>
              </a:p>
            </p:txBody>
          </p:sp>
        </p:grpSp>
        <p:pic>
          <p:nvPicPr>
            <p:cNvPr id="133" name="Picture 2" descr="Risultati immagini per germania"/>
            <p:cNvPicPr preferRelativeResize="0">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13711" y="2698292"/>
              <a:ext cx="244800" cy="244800"/>
            </a:xfrm>
            <a:prstGeom prst="ellipse">
              <a:avLst/>
            </a:prstGeom>
            <a:noFill/>
            <a:extLst>
              <a:ext uri="{909E8E84-426E-40DD-AFC4-6F175D3DCCD1}">
                <a14:hiddenFill xmlns:a14="http://schemas.microsoft.com/office/drawing/2010/main">
                  <a:solidFill>
                    <a:srgbClr val="FFFFFF"/>
                  </a:solidFill>
                </a14:hiddenFill>
              </a:ext>
            </a:extLst>
          </p:spPr>
        </p:pic>
      </p:grpSp>
      <p:sp>
        <p:nvSpPr>
          <p:cNvPr id="183"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it-IT" sz="2800" b="1" dirty="0">
                <a:latin typeface="Calibri" panose="020F0502020204030204" pitchFamily="34" charset="0"/>
                <a:cs typeface="Calibri" panose="020F0502020204030204" pitchFamily="34" charset="0"/>
              </a:rPr>
              <a:t>Contesto di riferimento</a:t>
            </a:r>
          </a:p>
          <a:p>
            <a:r>
              <a:rPr lang="it-IT" sz="2399" i="1" dirty="0">
                <a:latin typeface="Calibri" panose="020F0502020204030204" pitchFamily="34" charset="0"/>
                <a:cs typeface="Calibri" panose="020F0502020204030204" pitchFamily="34" charset="0"/>
              </a:rPr>
              <a:t>Sistema Blockchain quale soluzione ottimale</a:t>
            </a:r>
            <a:endParaRPr lang="it-IT" sz="2399"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748644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5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5" name="Rectangle 234"/>
          <p:cNvSpPr/>
          <p:nvPr/>
        </p:nvSpPr>
        <p:spPr>
          <a:xfrm>
            <a:off x="631254" y="1121877"/>
            <a:ext cx="6429667" cy="275364"/>
          </a:xfrm>
          <a:prstGeom prst="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600" b="1" kern="0" dirty="0">
                <a:solidFill>
                  <a:prstClr val="black"/>
                </a:solidFill>
                <a:latin typeface="Calibri" panose="020F0502020204030204"/>
              </a:rPr>
              <a:t>Rete Blockchain</a:t>
            </a:r>
            <a:endParaRPr kumimoji="0" lang="it-IT" sz="1600" b="1" i="0" u="none" strike="noStrike" kern="0" cap="none" spc="0" normalizeH="0" baseline="0" dirty="0">
              <a:ln>
                <a:noFill/>
              </a:ln>
              <a:solidFill>
                <a:prstClr val="black"/>
              </a:solidFill>
              <a:effectLst/>
              <a:uLnTx/>
              <a:uFillTx/>
              <a:latin typeface="Calibri" panose="020F0502020204030204"/>
            </a:endParaRPr>
          </a:p>
        </p:txBody>
      </p:sp>
      <p:sp>
        <p:nvSpPr>
          <p:cNvPr id="236" name="Rectangle 235"/>
          <p:cNvSpPr/>
          <p:nvPr/>
        </p:nvSpPr>
        <p:spPr>
          <a:xfrm>
            <a:off x="7176120" y="1121877"/>
            <a:ext cx="4391256" cy="286264"/>
          </a:xfrm>
          <a:prstGeom prst="rect">
            <a:avLst/>
          </a:prstGeom>
          <a:solidFill>
            <a:srgbClr val="5B9BD5"/>
          </a:solid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solidFill>
                  <a:prstClr val="white"/>
                </a:solidFill>
                <a:effectLst/>
                <a:uLnTx/>
                <a:uFillTx/>
                <a:latin typeface="Calibri" panose="020F0502020204030204"/>
                <a:ea typeface="+mn-ea"/>
                <a:cs typeface="+mn-cs"/>
              </a:rPr>
              <a:t>Caratteristiche</a:t>
            </a:r>
          </a:p>
        </p:txBody>
      </p:sp>
      <p:sp>
        <p:nvSpPr>
          <p:cNvPr id="237" name="Rectangle 236"/>
          <p:cNvSpPr/>
          <p:nvPr/>
        </p:nvSpPr>
        <p:spPr>
          <a:xfrm>
            <a:off x="7176202" y="1492877"/>
            <a:ext cx="4380990" cy="912685"/>
          </a:xfrm>
          <a:prstGeom prst="rect">
            <a:avLst/>
          </a:prstGeom>
          <a:noFill/>
          <a:ln w="12700" cap="flat" cmpd="sng" algn="ctr">
            <a:solidFill>
              <a:srgbClr val="5B9BD5"/>
            </a:solidFill>
            <a:prstDash val="solid"/>
            <a:miter lim="800000"/>
          </a:ln>
          <a:effectLst/>
        </p:spPr>
        <p:txBody>
          <a:bodyPr rot="0" spcFirstLastPara="0" vertOverflow="overflow" horzOverflow="overflow" vert="horz" wrap="square" lIns="36000" tIns="36000" rIns="900000" bIns="36000" numCol="1" spcCol="0" rtlCol="0" fromWordArt="0" anchor="ctr" anchorCtr="0" forceAA="0" compatLnSpc="1">
            <a:prstTxWarp prst="textNoShape">
              <a:avLst/>
            </a:prstTxWarp>
            <a:noAutofit/>
          </a:bodyPr>
          <a:lstStyle/>
          <a:p>
            <a:pPr lvl="0">
              <a:defRPr/>
            </a:pPr>
            <a:r>
              <a:rPr lang="it-IT" sz="1400" kern="0" dirty="0"/>
              <a:t>Quando i Paesi inseriscono il codice fiscale del cittadino, il sistema Blockchain crea un </a:t>
            </a:r>
            <a:r>
              <a:rPr lang="it-IT" sz="1400" b="1" kern="0" dirty="0"/>
              <a:t>codice criptato </a:t>
            </a:r>
            <a:r>
              <a:rPr lang="it-IT" sz="1400" kern="0" dirty="0"/>
              <a:t>per ogni cittadino il quale abilita </a:t>
            </a:r>
            <a:r>
              <a:rPr lang="it-IT" sz="1400" b="1" kern="0" dirty="0"/>
              <a:t>uno standard di comunicazione unico </a:t>
            </a:r>
            <a:r>
              <a:rPr kumimoji="0" lang="it-IT" sz="1400" b="0" i="0" u="none" strike="noStrike" kern="0" cap="none" spc="0" normalizeH="0" baseline="0" dirty="0">
                <a:ln>
                  <a:noFill/>
                </a:ln>
                <a:effectLst/>
                <a:uLnTx/>
                <a:uFillTx/>
              </a:rPr>
              <a:t>(es. SHA 256) </a:t>
            </a:r>
          </a:p>
        </p:txBody>
      </p:sp>
      <p:sp>
        <p:nvSpPr>
          <p:cNvPr id="238" name="Rectangle 237"/>
          <p:cNvSpPr/>
          <p:nvPr/>
        </p:nvSpPr>
        <p:spPr>
          <a:xfrm>
            <a:off x="7175732" y="2476735"/>
            <a:ext cx="4381460" cy="912685"/>
          </a:xfrm>
          <a:prstGeom prst="rect">
            <a:avLst/>
          </a:prstGeom>
          <a:noFill/>
          <a:ln w="12700" cap="flat" cmpd="sng" algn="ctr">
            <a:solidFill>
              <a:srgbClr val="5B9BD5"/>
            </a:solidFill>
            <a:prstDash val="solid"/>
            <a:miter lim="800000"/>
          </a:ln>
          <a:effectLst/>
        </p:spPr>
        <p:txBody>
          <a:bodyPr rot="0" spcFirstLastPara="0" vertOverflow="overflow" horzOverflow="overflow" vert="horz" wrap="square" lIns="36000" tIns="36000" rIns="900000" bIns="36000" numCol="1" spcCol="0" rtlCol="0" fromWordArt="0" anchor="ctr" anchorCtr="0" forceAA="0" compatLnSpc="1">
            <a:prstTxWarp prst="textNoShape">
              <a:avLst/>
            </a:prstTxWarp>
            <a:noAutofit/>
          </a:bodyPr>
          <a:lstStyle/>
          <a:p>
            <a:pPr lvl="0">
              <a:defRPr/>
            </a:pPr>
            <a:r>
              <a:rPr kumimoji="0" lang="it-IT" sz="1400" b="0" i="0" u="none" strike="noStrike" kern="0" cap="none" spc="0" normalizeH="0" baseline="0" dirty="0">
                <a:ln>
                  <a:noFill/>
                </a:ln>
                <a:effectLst/>
                <a:uLnTx/>
                <a:uFillTx/>
              </a:rPr>
              <a:t>Non è necessario</a:t>
            </a:r>
            <a:r>
              <a:rPr lang="it-IT" sz="1400" kern="0" dirty="0"/>
              <a:t> inserire un </a:t>
            </a:r>
            <a:r>
              <a:rPr lang="it-IT" sz="1400" b="1" kern="0" dirty="0"/>
              <a:t>nuovo codice addizionale</a:t>
            </a:r>
            <a:r>
              <a:rPr lang="it-IT" sz="1400" kern="0" dirty="0"/>
              <a:t>. I dati di identificazione minimi per riconoscere il cittadino attraverso la Blockchain sono </a:t>
            </a:r>
            <a:r>
              <a:rPr lang="it-IT" sz="1400" b="1" kern="0" dirty="0"/>
              <a:t>nome, cognome, luogo e data di nascita*</a:t>
            </a:r>
            <a:endParaRPr kumimoji="0" lang="it-IT" sz="1400" b="1" i="0" u="none" strike="noStrike" kern="0" cap="none" spc="0" normalizeH="0" baseline="0" dirty="0">
              <a:ln>
                <a:noFill/>
              </a:ln>
              <a:effectLst/>
              <a:uLnTx/>
              <a:uFillTx/>
            </a:endParaRPr>
          </a:p>
        </p:txBody>
      </p:sp>
      <p:sp>
        <p:nvSpPr>
          <p:cNvPr id="239" name="Rectangle 238"/>
          <p:cNvSpPr/>
          <p:nvPr/>
        </p:nvSpPr>
        <p:spPr>
          <a:xfrm>
            <a:off x="7176120" y="3467860"/>
            <a:ext cx="4382832" cy="842168"/>
          </a:xfrm>
          <a:prstGeom prst="rect">
            <a:avLst/>
          </a:prstGeom>
          <a:noFill/>
          <a:ln w="12700" cap="flat" cmpd="sng" algn="ctr">
            <a:solidFill>
              <a:srgbClr val="5B9BD5"/>
            </a:solidFill>
            <a:prstDash val="solid"/>
            <a:miter lim="800000"/>
          </a:ln>
          <a:effectLst/>
        </p:spPr>
        <p:txBody>
          <a:bodyPr rot="0" spcFirstLastPara="0" vertOverflow="overflow" horzOverflow="overflow" vert="horz" wrap="square" lIns="36000" tIns="36000" rIns="1080000" bIns="36000" numCol="1" spcCol="0" rtlCol="0" fromWordArt="0" anchor="ctr" anchorCtr="0" forceAA="0" compatLnSpc="1">
            <a:prstTxWarp prst="textNoShape">
              <a:avLst/>
            </a:prstTxWarp>
            <a:noAutofit/>
          </a:bodyPr>
          <a:lstStyle/>
          <a:p>
            <a:pPr lvl="0">
              <a:defRPr/>
            </a:pPr>
            <a:r>
              <a:rPr lang="it-IT" sz="1400" kern="0" dirty="0"/>
              <a:t>Ogni cittadino continuerà </a:t>
            </a:r>
            <a:r>
              <a:rPr lang="it-IT" sz="1400" kern="0" dirty="0" err="1"/>
              <a:t>aD</a:t>
            </a:r>
            <a:r>
              <a:rPr lang="it-IT" sz="1400" kern="0" dirty="0"/>
              <a:t> utilizzare i propri dati di identificazione</a:t>
            </a:r>
            <a:endParaRPr kumimoji="0" lang="it-IT" sz="1400" b="0" i="0" u="none" strike="noStrike" kern="0" cap="none" spc="0" normalizeH="0" baseline="0" dirty="0">
              <a:ln>
                <a:noFill/>
              </a:ln>
              <a:effectLst/>
              <a:uLnTx/>
              <a:uFillTx/>
            </a:endParaRPr>
          </a:p>
        </p:txBody>
      </p:sp>
      <p:sp>
        <p:nvSpPr>
          <p:cNvPr id="240" name="Rectangle 239"/>
          <p:cNvSpPr/>
          <p:nvPr/>
        </p:nvSpPr>
        <p:spPr>
          <a:xfrm>
            <a:off x="7176120" y="4386312"/>
            <a:ext cx="4382833" cy="853447"/>
          </a:xfrm>
          <a:prstGeom prst="rect">
            <a:avLst/>
          </a:prstGeom>
          <a:noFill/>
          <a:ln w="12700" cap="flat" cmpd="sng" algn="ctr">
            <a:solidFill>
              <a:srgbClr val="5B9BD5"/>
            </a:solidFill>
            <a:prstDash val="solid"/>
            <a:miter lim="800000"/>
          </a:ln>
          <a:effectLst/>
        </p:spPr>
        <p:txBody>
          <a:bodyPr rot="0" spcFirstLastPara="0" vertOverflow="overflow" horzOverflow="overflow" vert="horz" wrap="square" lIns="36000" tIns="36000" rIns="1008000" bIns="36000" numCol="1" spcCol="0" rtlCol="0" fromWordArt="0" anchor="ctr" anchorCtr="0" forceAA="0" compatLnSpc="1">
            <a:prstTxWarp prst="textNoShape">
              <a:avLst/>
            </a:prstTxWarp>
            <a:noAutofit/>
          </a:bodyPr>
          <a:lstStyle/>
          <a:p>
            <a:pPr lvl="0">
              <a:defRPr/>
            </a:pPr>
            <a:r>
              <a:rPr lang="it-IT" sz="1400" kern="0" dirty="0"/>
              <a:t>Tutte le amministrazioni pubbliche condividono la stessa stringa alfanumerica che identifica chiaramente lo specifico cittadino</a:t>
            </a:r>
            <a:endParaRPr kumimoji="0" lang="it-IT" sz="1400" b="0" i="0" u="none" strike="noStrike" kern="0" cap="none" spc="0" normalizeH="0" baseline="0" dirty="0">
              <a:ln>
                <a:noFill/>
              </a:ln>
              <a:effectLst/>
              <a:uLnTx/>
              <a:uFillTx/>
            </a:endParaRPr>
          </a:p>
        </p:txBody>
      </p:sp>
      <p:grpSp>
        <p:nvGrpSpPr>
          <p:cNvPr id="283" name="Group 282"/>
          <p:cNvGrpSpPr>
            <a:grpSpLocks noChangeAspect="1"/>
          </p:cNvGrpSpPr>
          <p:nvPr/>
        </p:nvGrpSpPr>
        <p:grpSpPr>
          <a:xfrm>
            <a:off x="10903006" y="2701750"/>
            <a:ext cx="520065" cy="462654"/>
            <a:chOff x="8445655" y="1350959"/>
            <a:chExt cx="599419" cy="706661"/>
          </a:xfrm>
        </p:grpSpPr>
        <p:pic>
          <p:nvPicPr>
            <p:cNvPr id="284" name="Picture 283"/>
            <p:cNvPicPr>
              <a:picLocks noChangeAspect="1"/>
            </p:cNvPicPr>
            <p:nvPr/>
          </p:nvPicPr>
          <p:blipFill rotWithShape="1">
            <a:blip r:embed="rId6">
              <a:clrChange>
                <a:clrFrom>
                  <a:srgbClr val="FFFFFF"/>
                </a:clrFrom>
                <a:clrTo>
                  <a:srgbClr val="FFFFFF">
                    <a:alpha val="0"/>
                  </a:srgbClr>
                </a:clrTo>
              </a:clrChange>
            </a:blip>
            <a:srcRect l="19160" r="14687"/>
            <a:stretch/>
          </p:blipFill>
          <p:spPr>
            <a:xfrm>
              <a:off x="8541443" y="1350959"/>
              <a:ext cx="406313" cy="462776"/>
            </a:xfrm>
            <a:prstGeom prst="rect">
              <a:avLst/>
            </a:prstGeom>
          </p:spPr>
        </p:pic>
        <p:sp>
          <p:nvSpPr>
            <p:cNvPr id="285" name="Rectangle 284"/>
            <p:cNvSpPr/>
            <p:nvPr/>
          </p:nvSpPr>
          <p:spPr>
            <a:xfrm>
              <a:off x="8445655"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86" name="Rectangle 285"/>
            <p:cNvSpPr/>
            <p:nvPr/>
          </p:nvSpPr>
          <p:spPr>
            <a:xfrm>
              <a:off x="8503740"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87" name="Rectangle 286"/>
            <p:cNvSpPr/>
            <p:nvPr/>
          </p:nvSpPr>
          <p:spPr>
            <a:xfrm>
              <a:off x="8563524" y="183327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88" name="Rectangle 287"/>
            <p:cNvSpPr/>
            <p:nvPr/>
          </p:nvSpPr>
          <p:spPr>
            <a:xfrm>
              <a:off x="8621609"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89" name="Rectangle 288"/>
            <p:cNvSpPr/>
            <p:nvPr/>
          </p:nvSpPr>
          <p:spPr>
            <a:xfrm>
              <a:off x="8679694"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90" name="Rectangle 289"/>
            <p:cNvSpPr/>
            <p:nvPr/>
          </p:nvSpPr>
          <p:spPr>
            <a:xfrm>
              <a:off x="8737779"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91" name="Rectangle 290"/>
            <p:cNvSpPr/>
            <p:nvPr/>
          </p:nvSpPr>
          <p:spPr>
            <a:xfrm>
              <a:off x="8795864"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92" name="Rectangle 291"/>
            <p:cNvSpPr/>
            <p:nvPr/>
          </p:nvSpPr>
          <p:spPr>
            <a:xfrm>
              <a:off x="8858123"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93" name="Rectangle 292"/>
            <p:cNvSpPr/>
            <p:nvPr/>
          </p:nvSpPr>
          <p:spPr>
            <a:xfrm>
              <a:off x="8928739"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sp>
          <p:nvSpPr>
            <p:cNvPr id="294" name="Rectangle 293"/>
            <p:cNvSpPr/>
            <p:nvPr/>
          </p:nvSpPr>
          <p:spPr>
            <a:xfrm>
              <a:off x="8999355"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ea typeface="+mn-ea"/>
                <a:cs typeface="+mn-cs"/>
              </a:endParaRPr>
            </a:p>
          </p:txBody>
        </p:sp>
      </p:grpSp>
      <p:grpSp>
        <p:nvGrpSpPr>
          <p:cNvPr id="10" name="Group 9"/>
          <p:cNvGrpSpPr>
            <a:grpSpLocks noChangeAspect="1"/>
          </p:cNvGrpSpPr>
          <p:nvPr/>
        </p:nvGrpSpPr>
        <p:grpSpPr>
          <a:xfrm>
            <a:off x="10820378" y="3581553"/>
            <a:ext cx="604214" cy="639575"/>
            <a:chOff x="10539629" y="3522039"/>
            <a:chExt cx="884629" cy="936402"/>
          </a:xfrm>
        </p:grpSpPr>
        <p:pic>
          <p:nvPicPr>
            <p:cNvPr id="295" name="Picture 294"/>
            <p:cNvPicPr>
              <a:picLocks noChangeAspect="1"/>
            </p:cNvPicPr>
            <p:nvPr/>
          </p:nvPicPr>
          <p:blipFill>
            <a:blip r:embed="rId7">
              <a:clrChange>
                <a:clrFrom>
                  <a:srgbClr val="FFFFFF"/>
                </a:clrFrom>
                <a:clrTo>
                  <a:srgbClr val="FFFFFF">
                    <a:alpha val="0"/>
                  </a:srgbClr>
                </a:clrTo>
              </a:clrChange>
            </a:blip>
            <a:stretch>
              <a:fillRect/>
            </a:stretch>
          </p:blipFill>
          <p:spPr>
            <a:xfrm>
              <a:off x="10539629" y="3529120"/>
              <a:ext cx="455495" cy="454246"/>
            </a:xfrm>
            <a:prstGeom prst="rect">
              <a:avLst/>
            </a:prstGeom>
          </p:spPr>
        </p:pic>
        <p:grpSp>
          <p:nvGrpSpPr>
            <p:cNvPr id="296" name="Group 295"/>
            <p:cNvGrpSpPr>
              <a:grpSpLocks noChangeAspect="1"/>
            </p:cNvGrpSpPr>
            <p:nvPr/>
          </p:nvGrpSpPr>
          <p:grpSpPr>
            <a:xfrm>
              <a:off x="11065734" y="3772448"/>
              <a:ext cx="354995" cy="248032"/>
              <a:chOff x="644076" y="1654389"/>
              <a:chExt cx="507917" cy="354875"/>
            </a:xfrm>
          </p:grpSpPr>
          <p:pic>
            <p:nvPicPr>
              <p:cNvPr id="297" name="Picture 296"/>
              <p:cNvPicPr>
                <a:picLocks noChangeAspect="1"/>
              </p:cNvPicPr>
              <p:nvPr/>
            </p:nvPicPr>
            <p:blipFill>
              <a:blip r:embed="rId8">
                <a:clrChange>
                  <a:clrFrom>
                    <a:srgbClr val="FFFFFF"/>
                  </a:clrFrom>
                  <a:clrTo>
                    <a:srgbClr val="FFFFFF">
                      <a:alpha val="0"/>
                    </a:srgbClr>
                  </a:clrTo>
                </a:clrChang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298" name="Rectangle 297"/>
              <p:cNvSpPr/>
              <p:nvPr/>
            </p:nvSpPr>
            <p:spPr>
              <a:xfrm>
                <a:off x="644076" y="1752798"/>
                <a:ext cx="308500" cy="158056"/>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CF</a:t>
                </a:r>
                <a:endParaRPr kumimoji="0" lang="it-IT" sz="2800" b="0" i="0" u="none" strike="noStrike" kern="0" cap="none" spc="0" normalizeH="0" baseline="0" dirty="0">
                  <a:ln>
                    <a:noFill/>
                  </a:ln>
                  <a:effectLst/>
                  <a:uLnTx/>
                  <a:uFillTx/>
                  <a:ea typeface="+mn-ea"/>
                  <a:cs typeface="+mn-cs"/>
                </a:endParaRPr>
              </a:p>
            </p:txBody>
          </p:sp>
        </p:grpSp>
        <p:grpSp>
          <p:nvGrpSpPr>
            <p:cNvPr id="299" name="Group 298"/>
            <p:cNvGrpSpPr>
              <a:grpSpLocks noChangeAspect="1"/>
            </p:cNvGrpSpPr>
            <p:nvPr/>
          </p:nvGrpSpPr>
          <p:grpSpPr>
            <a:xfrm>
              <a:off x="11081133" y="3522039"/>
              <a:ext cx="343125" cy="248032"/>
              <a:chOff x="2448177" y="1674617"/>
              <a:chExt cx="490934" cy="354875"/>
            </a:xfrm>
          </p:grpSpPr>
          <p:pic>
            <p:nvPicPr>
              <p:cNvPr id="300" name="Picture 299"/>
              <p:cNvPicPr>
                <a:picLocks noChangeAspect="1"/>
              </p:cNvPicPr>
              <p:nvPr/>
            </p:nvPicPr>
            <p:blipFill>
              <a:blip r:embed="rId10">
                <a:clrChange>
                  <a:clrFrom>
                    <a:srgbClr val="FFFFFF"/>
                  </a:clrFrom>
                  <a:clrTo>
                    <a:srgbClr val="FFFFFF">
                      <a:alpha val="0"/>
                    </a:srgbClr>
                  </a:clrTo>
                </a:clrChange>
              </a:blip>
              <a:stretch>
                <a:fillRect/>
              </a:stretch>
            </p:blipFill>
            <p:spPr>
              <a:xfrm>
                <a:off x="2448177" y="1674617"/>
                <a:ext cx="490934" cy="354875"/>
              </a:xfrm>
              <a:prstGeom prst="rect">
                <a:avLst/>
              </a:prstGeom>
            </p:spPr>
          </p:pic>
          <p:pic>
            <p:nvPicPr>
              <p:cNvPr id="301" name="Picture 300"/>
              <p:cNvPicPr>
                <a:picLocks noChangeAspect="1"/>
              </p:cNvPicPr>
              <p:nvPr/>
            </p:nvPicPr>
            <p:blipFill>
              <a:blip r:embed="rId7">
                <a:clrChange>
                  <a:clrFrom>
                    <a:srgbClr val="FFFFFF"/>
                  </a:clrFrom>
                  <a:clrTo>
                    <a:srgbClr val="FFFFFF">
                      <a:alpha val="0"/>
                    </a:srgbClr>
                  </a:clrTo>
                </a:clrChange>
              </a:blip>
              <a:stretch>
                <a:fillRect/>
              </a:stretch>
            </p:blipFill>
            <p:spPr>
              <a:xfrm>
                <a:off x="2475485" y="1750755"/>
                <a:ext cx="203153" cy="202597"/>
              </a:xfrm>
              <a:prstGeom prst="rect">
                <a:avLst/>
              </a:prstGeom>
            </p:spPr>
          </p:pic>
        </p:grpSp>
        <p:pic>
          <p:nvPicPr>
            <p:cNvPr id="302" name="Picture 301"/>
            <p:cNvPicPr>
              <a:picLocks noChangeAspect="1"/>
            </p:cNvPicPr>
            <p:nvPr/>
          </p:nvPicPr>
          <p:blipFill>
            <a:blip r:embed="rId11">
              <a:clrChange>
                <a:clrFrom>
                  <a:srgbClr val="FFFFFF"/>
                </a:clrFrom>
                <a:clrTo>
                  <a:srgbClr val="FFFFFF">
                    <a:alpha val="0"/>
                  </a:srgbClr>
                </a:clrTo>
              </a:clrChange>
            </a:blip>
            <a:stretch>
              <a:fillRect/>
            </a:stretch>
          </p:blipFill>
          <p:spPr>
            <a:xfrm>
              <a:off x="10555285" y="4004195"/>
              <a:ext cx="433763" cy="454246"/>
            </a:xfrm>
            <a:prstGeom prst="rect">
              <a:avLst/>
            </a:prstGeom>
          </p:spPr>
        </p:pic>
        <p:grpSp>
          <p:nvGrpSpPr>
            <p:cNvPr id="306" name="Group 305"/>
            <p:cNvGrpSpPr/>
            <p:nvPr/>
          </p:nvGrpSpPr>
          <p:grpSpPr>
            <a:xfrm>
              <a:off x="11064672" y="4092242"/>
              <a:ext cx="356058" cy="248032"/>
              <a:chOff x="3346276" y="3157236"/>
              <a:chExt cx="356058" cy="285106"/>
            </a:xfrm>
          </p:grpSpPr>
          <p:pic>
            <p:nvPicPr>
              <p:cNvPr id="307" name="Picture 306"/>
              <p:cNvPicPr>
                <a:picLocks noChangeAspect="1"/>
              </p:cNvPicPr>
              <p:nvPr/>
            </p:nvPicPr>
            <p:blipFill>
              <a:blip r:embed="rId10">
                <a:clrChange>
                  <a:clrFrom>
                    <a:srgbClr val="FFFFFF"/>
                  </a:clrFrom>
                  <a:clrTo>
                    <a:srgbClr val="FFFFFF">
                      <a:alpha val="0"/>
                    </a:srgbClr>
                  </a:clrTo>
                </a:clrChange>
                <a:duotone>
                  <a:prstClr val="black"/>
                  <a:srgbClr val="ED7D31">
                    <a:tint val="45000"/>
                    <a:satMod val="400000"/>
                  </a:srgbClr>
                </a:duotone>
              </a:blip>
              <a:stretch>
                <a:fillRect/>
              </a:stretch>
            </p:blipFill>
            <p:spPr>
              <a:xfrm>
                <a:off x="3346276" y="3157236"/>
                <a:ext cx="356058" cy="285106"/>
              </a:xfrm>
              <a:prstGeom prst="rect">
                <a:avLst/>
              </a:prstGeom>
            </p:spPr>
          </p:pic>
          <p:pic>
            <p:nvPicPr>
              <p:cNvPr id="308" name="Picture 307"/>
              <p:cNvPicPr>
                <a:picLocks noChangeAspect="1"/>
              </p:cNvPicPr>
              <p:nvPr/>
            </p:nvPicPr>
            <p:blipFill>
              <a:blip r:embed="rId11">
                <a:clrChange>
                  <a:clrFrom>
                    <a:srgbClr val="FFFFFF"/>
                  </a:clrFrom>
                  <a:clrTo>
                    <a:srgbClr val="FFFFFF">
                      <a:alpha val="0"/>
                    </a:srgbClr>
                  </a:clrTo>
                </a:clrChange>
              </a:blip>
              <a:stretch>
                <a:fillRect/>
              </a:stretch>
            </p:blipFill>
            <p:spPr>
              <a:xfrm>
                <a:off x="3372107" y="3218405"/>
                <a:ext cx="155427" cy="162766"/>
              </a:xfrm>
              <a:prstGeom prst="rect">
                <a:avLst/>
              </a:prstGeom>
            </p:spPr>
          </p:pic>
        </p:grpSp>
      </p:grpSp>
      <p:grpSp>
        <p:nvGrpSpPr>
          <p:cNvPr id="7" name="Group 6"/>
          <p:cNvGrpSpPr/>
          <p:nvPr/>
        </p:nvGrpSpPr>
        <p:grpSpPr>
          <a:xfrm>
            <a:off x="10829396" y="1988432"/>
            <a:ext cx="626980" cy="409541"/>
            <a:chOff x="10373968" y="2039272"/>
            <a:chExt cx="626980" cy="409541"/>
          </a:xfrm>
        </p:grpSpPr>
        <p:sp>
          <p:nvSpPr>
            <p:cNvPr id="314" name="Rectangle 313"/>
            <p:cNvSpPr>
              <a:spLocks noChangeAspect="1"/>
            </p:cNvSpPr>
            <p:nvPr/>
          </p:nvSpPr>
          <p:spPr>
            <a:xfrm>
              <a:off x="10373968" y="2250421"/>
              <a:ext cx="626980" cy="198392"/>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700" b="1" i="0" u="none" strike="noStrike" kern="0" cap="none" spc="0" normalizeH="0" baseline="0" dirty="0">
                  <a:ln>
                    <a:noFill/>
                  </a:ln>
                  <a:effectLst/>
                  <a:uLnTx/>
                  <a:uFillTx/>
                  <a:ea typeface="+mn-ea"/>
                  <a:cs typeface="+mn-cs"/>
                </a:rPr>
                <a:t>zwee1234EF56</a:t>
              </a:r>
            </a:p>
          </p:txBody>
        </p:sp>
        <p:pic>
          <p:nvPicPr>
            <p:cNvPr id="316" name="Picture 315"/>
            <p:cNvPicPr>
              <a:picLocks noChangeAspect="1"/>
            </p:cNvPicPr>
            <p:nvPr/>
          </p:nvPicPr>
          <p:blipFill>
            <a:blip r:embed="rId7">
              <a:clrChange>
                <a:clrFrom>
                  <a:srgbClr val="FFFFFF"/>
                </a:clrFrom>
                <a:clrTo>
                  <a:srgbClr val="FFFFFF">
                    <a:alpha val="0"/>
                  </a:srgbClr>
                </a:clrTo>
              </a:clrChange>
            </a:blip>
            <a:stretch>
              <a:fillRect/>
            </a:stretch>
          </p:blipFill>
          <p:spPr>
            <a:xfrm>
              <a:off x="10546665" y="2039272"/>
              <a:ext cx="281586" cy="280813"/>
            </a:xfrm>
            <a:prstGeom prst="rect">
              <a:avLst/>
            </a:prstGeom>
          </p:spPr>
        </p:pic>
      </p:grpSp>
      <p:grpSp>
        <p:nvGrpSpPr>
          <p:cNvPr id="9" name="Group 8"/>
          <p:cNvGrpSpPr/>
          <p:nvPr/>
        </p:nvGrpSpPr>
        <p:grpSpPr>
          <a:xfrm>
            <a:off x="10847970" y="1540452"/>
            <a:ext cx="626980" cy="411201"/>
            <a:chOff x="10912905" y="1756466"/>
            <a:chExt cx="626980" cy="411201"/>
          </a:xfrm>
        </p:grpSpPr>
        <p:sp>
          <p:nvSpPr>
            <p:cNvPr id="318" name="Rectangle 317"/>
            <p:cNvSpPr>
              <a:spLocks noChangeAspect="1"/>
            </p:cNvSpPr>
            <p:nvPr/>
          </p:nvSpPr>
          <p:spPr>
            <a:xfrm>
              <a:off x="10912905" y="1969275"/>
              <a:ext cx="626980" cy="198392"/>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700" b="1" i="0" u="none" strike="noStrike" kern="0" cap="none" spc="0" normalizeH="0" baseline="0" dirty="0">
                  <a:ln>
                    <a:noFill/>
                  </a:ln>
                  <a:effectLst/>
                  <a:uLnTx/>
                  <a:uFillTx/>
                  <a:ea typeface="+mn-ea"/>
                  <a:cs typeface="+mn-cs"/>
                </a:rPr>
                <a:t>qwee1234EF56</a:t>
              </a:r>
            </a:p>
          </p:txBody>
        </p:sp>
        <p:pic>
          <p:nvPicPr>
            <p:cNvPr id="320" name="Picture 319"/>
            <p:cNvPicPr>
              <a:picLocks noChangeAspect="1"/>
            </p:cNvPicPr>
            <p:nvPr/>
          </p:nvPicPr>
          <p:blipFill>
            <a:blip r:embed="rId11">
              <a:clrChange>
                <a:clrFrom>
                  <a:srgbClr val="FFFFFF"/>
                </a:clrFrom>
                <a:clrTo>
                  <a:srgbClr val="FFFFFF">
                    <a:alpha val="0"/>
                  </a:srgbClr>
                </a:clrTo>
              </a:clrChange>
            </a:blip>
            <a:stretch>
              <a:fillRect/>
            </a:stretch>
          </p:blipFill>
          <p:spPr>
            <a:xfrm>
              <a:off x="11092320" y="1756466"/>
              <a:ext cx="268150" cy="280813"/>
            </a:xfrm>
            <a:prstGeom prst="rect">
              <a:avLst/>
            </a:prstGeom>
          </p:spPr>
        </p:pic>
      </p:grpSp>
      <p:grpSp>
        <p:nvGrpSpPr>
          <p:cNvPr id="3" name="Group 2"/>
          <p:cNvGrpSpPr>
            <a:grpSpLocks noChangeAspect="1"/>
          </p:cNvGrpSpPr>
          <p:nvPr/>
        </p:nvGrpSpPr>
        <p:grpSpPr>
          <a:xfrm>
            <a:off x="10375319" y="4416307"/>
            <a:ext cx="1124645" cy="807161"/>
            <a:chOff x="10307005" y="5472769"/>
            <a:chExt cx="1496903" cy="1074332"/>
          </a:xfrm>
        </p:grpSpPr>
        <p:pic>
          <p:nvPicPr>
            <p:cNvPr id="322" name="Picture 321"/>
            <p:cNvPicPr>
              <a:picLocks noChangeAspect="1"/>
            </p:cNvPicPr>
            <p:nvPr/>
          </p:nvPicPr>
          <p:blipFill>
            <a:blip r:embed="rId12"/>
            <a:stretch>
              <a:fillRect/>
            </a:stretch>
          </p:blipFill>
          <p:spPr>
            <a:xfrm>
              <a:off x="10307005" y="5472769"/>
              <a:ext cx="1496903" cy="1074332"/>
            </a:xfrm>
            <a:prstGeom prst="rect">
              <a:avLst/>
            </a:prstGeom>
          </p:spPr>
        </p:pic>
        <p:pic>
          <p:nvPicPr>
            <p:cNvPr id="323" name="Picture 322"/>
            <p:cNvPicPr>
              <a:picLocks noChangeAspect="1"/>
            </p:cNvPicPr>
            <p:nvPr/>
          </p:nvPicPr>
          <p:blipFill>
            <a:blip r:embed="rId13"/>
            <a:stretch>
              <a:fillRect/>
            </a:stretch>
          </p:blipFill>
          <p:spPr>
            <a:xfrm>
              <a:off x="10881309" y="5940194"/>
              <a:ext cx="352598" cy="254099"/>
            </a:xfrm>
            <a:prstGeom prst="rect">
              <a:avLst/>
            </a:prstGeom>
            <a:solidFill>
              <a:sysClr val="window" lastClr="FFFFFF"/>
            </a:solidFill>
          </p:spPr>
        </p:pic>
      </p:grpSp>
      <p:sp>
        <p:nvSpPr>
          <p:cNvPr id="241" name="Rectangle 240"/>
          <p:cNvSpPr/>
          <p:nvPr/>
        </p:nvSpPr>
        <p:spPr>
          <a:xfrm>
            <a:off x="5308314" y="3880980"/>
            <a:ext cx="1752607" cy="484124"/>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dirty="0">
                <a:ln>
                  <a:noFill/>
                </a:ln>
                <a:effectLst/>
                <a:uLnTx/>
                <a:uFillTx/>
                <a:ea typeface="+mn-ea"/>
                <a:cs typeface="+mn-cs"/>
              </a:rPr>
              <a:t>Stringa alfanumerica / codice univoco</a:t>
            </a:r>
          </a:p>
        </p:txBody>
      </p:sp>
      <p:grpSp>
        <p:nvGrpSpPr>
          <p:cNvPr id="309" name="Group 308"/>
          <p:cNvGrpSpPr/>
          <p:nvPr/>
        </p:nvGrpSpPr>
        <p:grpSpPr>
          <a:xfrm>
            <a:off x="5422030" y="2965830"/>
            <a:ext cx="1502091" cy="1074938"/>
            <a:chOff x="6080838" y="3369068"/>
            <a:chExt cx="1502091" cy="1074938"/>
          </a:xfrm>
        </p:grpSpPr>
        <p:sp>
          <p:nvSpPr>
            <p:cNvPr id="310" name="Rectangle 309"/>
            <p:cNvSpPr/>
            <p:nvPr/>
          </p:nvSpPr>
          <p:spPr>
            <a:xfrm>
              <a:off x="6080838" y="3968708"/>
              <a:ext cx="1502091" cy="475298"/>
            </a:xfrm>
            <a:prstGeom prst="rect">
              <a:avLst/>
            </a:prstGeom>
            <a:noFill/>
            <a:ln w="12700"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solidFill>
                    <a:srgbClr val="5B9BD5"/>
                  </a:solidFill>
                  <a:effectLst/>
                  <a:uLnTx/>
                  <a:uFillTx/>
                  <a:ea typeface="+mn-ea"/>
                  <a:cs typeface="+mn-cs"/>
                </a:rPr>
                <a:t>abcd1234EF56</a:t>
              </a:r>
            </a:p>
          </p:txBody>
        </p:sp>
        <p:pic>
          <p:nvPicPr>
            <p:cNvPr id="311" name="Picture 310"/>
            <p:cNvPicPr>
              <a:picLocks noChangeAspect="1"/>
            </p:cNvPicPr>
            <p:nvPr/>
          </p:nvPicPr>
          <p:blipFill>
            <a:blip r:embed="rId7">
              <a:clrChange>
                <a:clrFrom>
                  <a:srgbClr val="FFFFFF"/>
                </a:clrFrom>
                <a:clrTo>
                  <a:srgbClr val="FFFFFF">
                    <a:alpha val="0"/>
                  </a:srgbClr>
                </a:clrTo>
              </a:clrChange>
            </a:blip>
            <a:stretch>
              <a:fillRect/>
            </a:stretch>
          </p:blipFill>
          <p:spPr>
            <a:xfrm>
              <a:off x="6460509" y="3369068"/>
              <a:ext cx="740049" cy="738020"/>
            </a:xfrm>
            <a:prstGeom prst="rect">
              <a:avLst/>
            </a:prstGeom>
          </p:spPr>
        </p:pic>
      </p:grpSp>
      <p:sp>
        <p:nvSpPr>
          <p:cNvPr id="234" name="Rectangle 233"/>
          <p:cNvSpPr/>
          <p:nvPr/>
        </p:nvSpPr>
        <p:spPr>
          <a:xfrm>
            <a:off x="611340" y="5634359"/>
            <a:ext cx="5832000" cy="390173"/>
          </a:xfrm>
          <a:prstGeom prst="rect">
            <a:avLst/>
          </a:prstGeom>
          <a:noFill/>
          <a:ln w="12700" cap="flat" cmpd="sng" algn="ctr">
            <a:solidFill>
              <a:srgbClr val="5B9BD5"/>
            </a:solidFill>
            <a:prstDash val="dashDot"/>
            <a:miter lim="800000"/>
          </a:ln>
          <a:effectLst/>
        </p:spPr>
        <p:txBody>
          <a:bodyPr lIns="36000" tIns="36000" rIns="72000" bIns="3600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lang="it-IT" sz="1200" b="1" kern="0" dirty="0"/>
              <a:t>Nodo della rete </a:t>
            </a:r>
            <a:r>
              <a:rPr kumimoji="0" lang="it-IT" sz="1200" b="1" i="0" u="none" strike="noStrike" kern="0" cap="none" spc="0" normalizeH="0" baseline="0" dirty="0">
                <a:ln>
                  <a:noFill/>
                </a:ln>
                <a:effectLst/>
                <a:uLnTx/>
                <a:uFillTx/>
              </a:rPr>
              <a:t>= Server = Registro</a:t>
            </a:r>
            <a:r>
              <a:rPr kumimoji="0" lang="it-IT" sz="1200" b="1" i="0" u="none" strike="noStrike" kern="0" cap="none" spc="0" normalizeH="0" dirty="0">
                <a:ln>
                  <a:noFill/>
                </a:ln>
                <a:effectLst/>
                <a:uLnTx/>
                <a:uFillTx/>
              </a:rPr>
              <a:t> distribuito della transazione o dei codici criptati</a:t>
            </a:r>
            <a:endParaRPr kumimoji="0" lang="it-IT" sz="1200" b="1" i="0" u="none" strike="noStrike" kern="0" cap="none" spc="0" normalizeH="0" baseline="0" dirty="0">
              <a:ln>
                <a:noFill/>
              </a:ln>
              <a:effectLst/>
              <a:uLnTx/>
              <a:uFillTx/>
            </a:endParaRPr>
          </a:p>
        </p:txBody>
      </p:sp>
      <p:pic>
        <p:nvPicPr>
          <p:cNvPr id="242" name="Shape 338" descr="Compute-Engine_256px.png"/>
          <p:cNvPicPr preferRelativeResize="0">
            <a:picLocks noChangeAspect="1"/>
          </p:cNvPicPr>
          <p:nvPr/>
        </p:nvPicPr>
        <p:blipFill rotWithShape="1">
          <a:blip r:embed="rId14">
            <a:alphaModFix/>
          </a:blip>
          <a:srcRect t="5092" b="5092"/>
          <a:stretch/>
        </p:blipFill>
        <p:spPr>
          <a:xfrm>
            <a:off x="683348" y="5682893"/>
            <a:ext cx="356927" cy="293105"/>
          </a:xfrm>
          <a:prstGeom prst="rect">
            <a:avLst/>
          </a:prstGeom>
          <a:noFill/>
          <a:ln>
            <a:noFill/>
          </a:ln>
        </p:spPr>
      </p:pic>
      <p:sp>
        <p:nvSpPr>
          <p:cNvPr id="280" name="Down Arrow 279"/>
          <p:cNvSpPr/>
          <p:nvPr/>
        </p:nvSpPr>
        <p:spPr>
          <a:xfrm rot="16200000">
            <a:off x="5139493" y="3682740"/>
            <a:ext cx="166532" cy="269741"/>
          </a:xfrm>
          <a:prstGeom prst="downArrow">
            <a:avLst/>
          </a:prstGeom>
          <a:solidFill>
            <a:srgbClr val="5B9BD5"/>
          </a:solidFill>
          <a:ln w="3175" cap="flat" cmpd="sng" algn="ctr">
            <a:noFill/>
            <a:prstDash val="solid"/>
          </a:ln>
          <a:effectLst/>
        </p:spPr>
        <p:txBody>
          <a:bodyPr rtlCol="0" anchor="ctr"/>
          <a:lstStyle/>
          <a:p>
            <a:pPr marL="0" marR="0" lvl="0" indent="0" algn="ctr" defTabSz="913782" eaLnBrk="1" fontAlgn="auto" latinLnBrk="0" hangingPunct="1">
              <a:lnSpc>
                <a:spcPct val="100000"/>
              </a:lnSpc>
              <a:spcBef>
                <a:spcPts val="0"/>
              </a:spcBef>
              <a:spcAft>
                <a:spcPts val="0"/>
              </a:spcAft>
              <a:buClrTx/>
              <a:buSzTx/>
              <a:buFontTx/>
              <a:buNone/>
              <a:tabLst/>
              <a:defRPr/>
            </a:pPr>
            <a:endParaRPr kumimoji="0" lang="it-IT" sz="1799" b="0" i="0" u="none" strike="noStrike" kern="0" cap="none" spc="0" normalizeH="0" baseline="0" dirty="0">
              <a:ln>
                <a:noFill/>
              </a:ln>
              <a:effectLst/>
              <a:uLnTx/>
              <a:uFillTx/>
            </a:endParaRPr>
          </a:p>
        </p:txBody>
      </p:sp>
      <p:sp>
        <p:nvSpPr>
          <p:cNvPr id="281" name="Down Arrow 280"/>
          <p:cNvSpPr/>
          <p:nvPr/>
        </p:nvSpPr>
        <p:spPr>
          <a:xfrm rot="15525063">
            <a:off x="5227161" y="4330584"/>
            <a:ext cx="183070" cy="245372"/>
          </a:xfrm>
          <a:prstGeom prst="downArrow">
            <a:avLst/>
          </a:prstGeom>
          <a:solidFill>
            <a:srgbClr val="5B9BD5"/>
          </a:solidFill>
          <a:ln w="3175" cap="flat" cmpd="sng" algn="ctr">
            <a:noFill/>
            <a:prstDash val="solid"/>
          </a:ln>
          <a:effectLst/>
        </p:spPr>
        <p:txBody>
          <a:bodyPr rtlCol="0" anchor="ctr"/>
          <a:lstStyle/>
          <a:p>
            <a:pPr marL="0" marR="0" lvl="0" indent="0" algn="ctr" defTabSz="913782" eaLnBrk="1" fontAlgn="auto" latinLnBrk="0" hangingPunct="1">
              <a:lnSpc>
                <a:spcPct val="100000"/>
              </a:lnSpc>
              <a:spcBef>
                <a:spcPts val="0"/>
              </a:spcBef>
              <a:spcAft>
                <a:spcPts val="0"/>
              </a:spcAft>
              <a:buClrTx/>
              <a:buSzTx/>
              <a:buFontTx/>
              <a:buNone/>
              <a:tabLst/>
              <a:defRPr/>
            </a:pPr>
            <a:endParaRPr kumimoji="0" lang="it-IT" sz="1799" b="0" i="0" u="none" strike="noStrike" kern="0" cap="none" spc="0" normalizeH="0" baseline="0" dirty="0">
              <a:ln>
                <a:noFill/>
              </a:ln>
              <a:effectLst/>
              <a:uLnTx/>
              <a:uFillTx/>
            </a:endParaRPr>
          </a:p>
        </p:txBody>
      </p:sp>
      <p:sp>
        <p:nvSpPr>
          <p:cNvPr id="282" name="Down Arrow 281"/>
          <p:cNvSpPr/>
          <p:nvPr/>
        </p:nvSpPr>
        <p:spPr>
          <a:xfrm rot="6074937" flipV="1">
            <a:off x="5227161" y="3059262"/>
            <a:ext cx="183070" cy="245372"/>
          </a:xfrm>
          <a:prstGeom prst="downArrow">
            <a:avLst/>
          </a:prstGeom>
          <a:solidFill>
            <a:srgbClr val="5B9BD5"/>
          </a:solidFill>
          <a:ln w="3175" cap="flat" cmpd="sng" algn="ctr">
            <a:noFill/>
            <a:prstDash val="solid"/>
          </a:ln>
          <a:effectLst/>
        </p:spPr>
        <p:txBody>
          <a:bodyPr rtlCol="0" anchor="ctr"/>
          <a:lstStyle/>
          <a:p>
            <a:pPr marL="0" marR="0" lvl="0" indent="0" algn="ctr" defTabSz="913782" eaLnBrk="1" fontAlgn="auto" latinLnBrk="0" hangingPunct="1">
              <a:lnSpc>
                <a:spcPct val="100000"/>
              </a:lnSpc>
              <a:spcBef>
                <a:spcPts val="0"/>
              </a:spcBef>
              <a:spcAft>
                <a:spcPts val="0"/>
              </a:spcAft>
              <a:buClrTx/>
              <a:buSzTx/>
              <a:buFontTx/>
              <a:buNone/>
              <a:tabLst/>
              <a:defRPr/>
            </a:pPr>
            <a:endParaRPr kumimoji="0" lang="it-IT" sz="1799" b="0" i="0" u="none" strike="noStrike" kern="0" cap="none" spc="0" normalizeH="0" baseline="0" dirty="0">
              <a:ln>
                <a:noFill/>
              </a:ln>
              <a:effectLst/>
              <a:uLnTx/>
              <a:uFillTx/>
            </a:endParaRPr>
          </a:p>
        </p:txBody>
      </p:sp>
      <p:grpSp>
        <p:nvGrpSpPr>
          <p:cNvPr id="6" name="Group 5"/>
          <p:cNvGrpSpPr/>
          <p:nvPr/>
        </p:nvGrpSpPr>
        <p:grpSpPr>
          <a:xfrm>
            <a:off x="551384" y="1436751"/>
            <a:ext cx="4680520" cy="4148634"/>
            <a:chOff x="551384" y="1436751"/>
            <a:chExt cx="4680520" cy="4148634"/>
          </a:xfrm>
        </p:grpSpPr>
        <p:sp>
          <p:nvSpPr>
            <p:cNvPr id="243" name="TextBox 242"/>
            <p:cNvSpPr txBox="1"/>
            <p:nvPr/>
          </p:nvSpPr>
          <p:spPr>
            <a:xfrm>
              <a:off x="4198941" y="3681520"/>
              <a:ext cx="1032963"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it-IT" sz="1200" b="1" i="0" u="none" strike="noStrike" kern="0" cap="none" spc="0" normalizeH="0" baseline="0" dirty="0">
                  <a:ln>
                    <a:noFill/>
                  </a:ln>
                  <a:effectLst/>
                  <a:uLnTx/>
                  <a:uFillTx/>
                </a:rPr>
                <a:t>Altri enti fiscali</a:t>
              </a:r>
            </a:p>
          </p:txBody>
        </p:sp>
        <p:grpSp>
          <p:nvGrpSpPr>
            <p:cNvPr id="4" name="Group 3"/>
            <p:cNvGrpSpPr/>
            <p:nvPr/>
          </p:nvGrpSpPr>
          <p:grpSpPr>
            <a:xfrm>
              <a:off x="551384" y="1436751"/>
              <a:ext cx="4523033" cy="4148634"/>
              <a:chOff x="733745" y="1436751"/>
              <a:chExt cx="4523033" cy="4148634"/>
            </a:xfrm>
          </p:grpSpPr>
          <p:sp>
            <p:nvSpPr>
              <p:cNvPr id="244" name="TextBox 243"/>
              <p:cNvSpPr txBox="1"/>
              <p:nvPr/>
            </p:nvSpPr>
            <p:spPr>
              <a:xfrm>
                <a:off x="4223815" y="2410103"/>
                <a:ext cx="1032963"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it-IT" sz="1200" b="1" i="0" u="none" strike="noStrike" kern="0" cap="none" spc="0" normalizeH="0" baseline="0" dirty="0">
                    <a:ln>
                      <a:noFill/>
                    </a:ln>
                    <a:effectLst/>
                    <a:uLnTx/>
                    <a:uFillTx/>
                  </a:rPr>
                  <a:t>Istituto italiano</a:t>
                </a:r>
              </a:p>
            </p:txBody>
          </p:sp>
          <p:sp>
            <p:nvSpPr>
              <p:cNvPr id="245" name="TextBox 244"/>
              <p:cNvSpPr txBox="1"/>
              <p:nvPr/>
            </p:nvSpPr>
            <p:spPr>
              <a:xfrm>
                <a:off x="762495" y="3780579"/>
                <a:ext cx="1032963"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lang="it-IT" sz="1200" b="1" kern="0" dirty="0"/>
                  <a:t>Istituto francese</a:t>
                </a:r>
                <a:endParaRPr kumimoji="0" lang="it-IT" sz="1200" b="1" i="0" u="none" strike="noStrike" kern="0" cap="none" spc="0" normalizeH="0" baseline="0" dirty="0">
                  <a:ln>
                    <a:noFill/>
                  </a:ln>
                  <a:effectLst/>
                  <a:uLnTx/>
                  <a:uFillTx/>
                </a:endParaRPr>
              </a:p>
            </p:txBody>
          </p:sp>
          <p:sp>
            <p:nvSpPr>
              <p:cNvPr id="246" name="TextBox 245"/>
              <p:cNvSpPr txBox="1"/>
              <p:nvPr/>
            </p:nvSpPr>
            <p:spPr>
              <a:xfrm>
                <a:off x="2601271" y="1871038"/>
                <a:ext cx="1061906" cy="276999"/>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endParaRPr>
              </a:p>
            </p:txBody>
          </p:sp>
          <p:sp>
            <p:nvSpPr>
              <p:cNvPr id="247" name="TextBox 246"/>
              <p:cNvSpPr txBox="1"/>
              <p:nvPr/>
            </p:nvSpPr>
            <p:spPr>
              <a:xfrm>
                <a:off x="1377663" y="4706197"/>
                <a:ext cx="1032963"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it-IT" sz="1200" b="1" i="0" u="none" strike="noStrike" kern="0" cap="none" spc="0" normalizeH="0" baseline="0" dirty="0">
                    <a:ln>
                      <a:noFill/>
                    </a:ln>
                    <a:effectLst/>
                    <a:uLnTx/>
                    <a:uFillTx/>
                  </a:rPr>
                  <a:t>Istituto polacco</a:t>
                </a:r>
              </a:p>
            </p:txBody>
          </p:sp>
          <p:sp>
            <p:nvSpPr>
              <p:cNvPr id="248" name="TextBox 247"/>
              <p:cNvSpPr txBox="1"/>
              <p:nvPr/>
            </p:nvSpPr>
            <p:spPr>
              <a:xfrm>
                <a:off x="3919740" y="4681658"/>
                <a:ext cx="776080"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it-IT" sz="1200" b="1" i="0" u="none" strike="noStrike" kern="0" cap="none" spc="0" normalizeH="0" baseline="0" dirty="0">
                    <a:ln>
                      <a:noFill/>
                    </a:ln>
                    <a:effectLst/>
                    <a:uLnTx/>
                    <a:uFillTx/>
                  </a:rPr>
                  <a:t>Istituto belga</a:t>
                </a:r>
              </a:p>
            </p:txBody>
          </p:sp>
          <p:sp>
            <p:nvSpPr>
              <p:cNvPr id="249" name="TextBox 248"/>
              <p:cNvSpPr txBox="1"/>
              <p:nvPr/>
            </p:nvSpPr>
            <p:spPr>
              <a:xfrm>
                <a:off x="975651" y="2431328"/>
                <a:ext cx="1032962"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it-IT" sz="1200" b="1" i="0" u="none" strike="noStrike" kern="0" cap="none" spc="0" normalizeH="0" baseline="0" dirty="0">
                    <a:ln>
                      <a:noFill/>
                    </a:ln>
                    <a:effectLst/>
                    <a:uLnTx/>
                    <a:uFillTx/>
                  </a:rPr>
                  <a:t>Istituto tedesco 1</a:t>
                </a:r>
              </a:p>
            </p:txBody>
          </p:sp>
          <p:grpSp>
            <p:nvGrpSpPr>
              <p:cNvPr id="250" name="Group 249"/>
              <p:cNvGrpSpPr/>
              <p:nvPr/>
            </p:nvGrpSpPr>
            <p:grpSpPr>
              <a:xfrm>
                <a:off x="1610941" y="2273503"/>
                <a:ext cx="2980041" cy="2656274"/>
                <a:chOff x="1549761" y="2873914"/>
                <a:chExt cx="2968192" cy="2642664"/>
              </a:xfrm>
            </p:grpSpPr>
            <p:pic>
              <p:nvPicPr>
                <p:cNvPr id="251" name="Shape 338" descr="Compute-Engine_256px.png"/>
                <p:cNvPicPr preferRelativeResize="0">
                  <a:picLocks noChangeAspect="1"/>
                </p:cNvPicPr>
                <p:nvPr/>
              </p:nvPicPr>
              <p:blipFill rotWithShape="1">
                <a:blip r:embed="rId14">
                  <a:alphaModFix/>
                </a:blip>
                <a:srcRect t="5092" b="5092"/>
                <a:stretch/>
              </p:blipFill>
              <p:spPr>
                <a:xfrm>
                  <a:off x="2813994" y="2873914"/>
                  <a:ext cx="436025" cy="358059"/>
                </a:xfrm>
                <a:prstGeom prst="rect">
                  <a:avLst/>
                </a:prstGeom>
                <a:noFill/>
                <a:ln>
                  <a:noFill/>
                </a:ln>
              </p:spPr>
            </p:pic>
            <p:pic>
              <p:nvPicPr>
                <p:cNvPr id="252" name="Shape 338" descr="Compute-Engine_256px.png"/>
                <p:cNvPicPr preferRelativeResize="0">
                  <a:picLocks noChangeAspect="1"/>
                </p:cNvPicPr>
                <p:nvPr/>
              </p:nvPicPr>
              <p:blipFill rotWithShape="1">
                <a:blip r:embed="rId14">
                  <a:alphaModFix/>
                </a:blip>
                <a:srcRect t="5092" b="5092"/>
                <a:stretch/>
              </p:blipFill>
              <p:spPr>
                <a:xfrm>
                  <a:off x="3897849" y="3447293"/>
                  <a:ext cx="436025" cy="358059"/>
                </a:xfrm>
                <a:prstGeom prst="rect">
                  <a:avLst/>
                </a:prstGeom>
                <a:noFill/>
                <a:ln>
                  <a:noFill/>
                </a:ln>
              </p:spPr>
            </p:pic>
            <p:cxnSp>
              <p:nvCxnSpPr>
                <p:cNvPr id="253" name="Straight Connector 252"/>
                <p:cNvCxnSpPr>
                  <a:stCxn id="278" idx="3"/>
                  <a:endCxn id="251" idx="2"/>
                </p:cNvCxnSpPr>
                <p:nvPr/>
              </p:nvCxnSpPr>
              <p:spPr>
                <a:xfrm flipV="1">
                  <a:off x="2156009" y="3231973"/>
                  <a:ext cx="875998" cy="393638"/>
                </a:xfrm>
                <a:prstGeom prst="line">
                  <a:avLst/>
                </a:prstGeom>
                <a:noFill/>
                <a:ln w="12700" cap="flat" cmpd="sng" algn="ctr">
                  <a:solidFill>
                    <a:sysClr val="windowText" lastClr="000000"/>
                  </a:solidFill>
                  <a:prstDash val="solid"/>
                  <a:miter lim="800000"/>
                </a:ln>
                <a:effectLst/>
              </p:spPr>
            </p:cxnSp>
            <p:cxnSp>
              <p:nvCxnSpPr>
                <p:cNvPr id="254" name="Straight Connector 253"/>
                <p:cNvCxnSpPr>
                  <a:stCxn id="278" idx="3"/>
                  <a:endCxn id="277" idx="3"/>
                </p:cNvCxnSpPr>
                <p:nvPr/>
              </p:nvCxnSpPr>
              <p:spPr>
                <a:xfrm flipH="1">
                  <a:off x="1985786" y="3625611"/>
                  <a:ext cx="170223" cy="872186"/>
                </a:xfrm>
                <a:prstGeom prst="line">
                  <a:avLst/>
                </a:prstGeom>
                <a:noFill/>
                <a:ln w="12700" cap="flat" cmpd="sng" algn="ctr">
                  <a:solidFill>
                    <a:sysClr val="windowText" lastClr="000000"/>
                  </a:solidFill>
                  <a:prstDash val="solid"/>
                  <a:miter lim="800000"/>
                </a:ln>
                <a:effectLst/>
              </p:spPr>
            </p:cxnSp>
            <p:cxnSp>
              <p:nvCxnSpPr>
                <p:cNvPr id="255" name="Straight Connector 254"/>
                <p:cNvCxnSpPr>
                  <a:stCxn id="277" idx="3"/>
                  <a:endCxn id="274" idx="0"/>
                </p:cNvCxnSpPr>
                <p:nvPr/>
              </p:nvCxnSpPr>
              <p:spPr>
                <a:xfrm>
                  <a:off x="1985786" y="4497797"/>
                  <a:ext cx="536452" cy="660722"/>
                </a:xfrm>
                <a:prstGeom prst="line">
                  <a:avLst/>
                </a:prstGeom>
                <a:noFill/>
                <a:ln w="12700" cap="flat" cmpd="sng" algn="ctr">
                  <a:solidFill>
                    <a:sysClr val="windowText" lastClr="000000"/>
                  </a:solidFill>
                  <a:prstDash val="solid"/>
                  <a:miter lim="800000"/>
                </a:ln>
                <a:effectLst/>
              </p:spPr>
            </p:cxnSp>
            <p:cxnSp>
              <p:nvCxnSpPr>
                <p:cNvPr id="256" name="Straight Connector 255"/>
                <p:cNvCxnSpPr>
                  <a:stCxn id="274" idx="0"/>
                  <a:endCxn id="275" idx="0"/>
                </p:cNvCxnSpPr>
                <p:nvPr/>
              </p:nvCxnSpPr>
              <p:spPr>
                <a:xfrm flipV="1">
                  <a:off x="2522238" y="5156428"/>
                  <a:ext cx="1071600" cy="2091"/>
                </a:xfrm>
                <a:prstGeom prst="line">
                  <a:avLst/>
                </a:prstGeom>
                <a:noFill/>
                <a:ln w="12700" cap="flat" cmpd="sng" algn="ctr">
                  <a:solidFill>
                    <a:sysClr val="windowText" lastClr="000000"/>
                  </a:solidFill>
                  <a:prstDash val="solid"/>
                  <a:miter lim="800000"/>
                </a:ln>
                <a:effectLst/>
              </p:spPr>
            </p:cxnSp>
            <p:cxnSp>
              <p:nvCxnSpPr>
                <p:cNvPr id="257" name="Straight Connector 256"/>
                <p:cNvCxnSpPr>
                  <a:stCxn id="275" idx="0"/>
                  <a:endCxn id="276" idx="1"/>
                </p:cNvCxnSpPr>
                <p:nvPr/>
              </p:nvCxnSpPr>
              <p:spPr>
                <a:xfrm flipV="1">
                  <a:off x="3593838" y="4508981"/>
                  <a:ext cx="488090" cy="647447"/>
                </a:xfrm>
                <a:prstGeom prst="line">
                  <a:avLst/>
                </a:prstGeom>
                <a:noFill/>
                <a:ln w="12700" cap="flat" cmpd="sng" algn="ctr">
                  <a:solidFill>
                    <a:sysClr val="windowText" lastClr="000000"/>
                  </a:solidFill>
                  <a:prstDash val="solid"/>
                  <a:miter lim="800000"/>
                </a:ln>
                <a:effectLst/>
              </p:spPr>
            </p:cxnSp>
            <p:cxnSp>
              <p:nvCxnSpPr>
                <p:cNvPr id="258" name="Straight Connector 257"/>
                <p:cNvCxnSpPr>
                  <a:stCxn id="252" idx="1"/>
                  <a:endCxn id="276" idx="1"/>
                </p:cNvCxnSpPr>
                <p:nvPr/>
              </p:nvCxnSpPr>
              <p:spPr>
                <a:xfrm>
                  <a:off x="3897849" y="3626323"/>
                  <a:ext cx="184079" cy="882658"/>
                </a:xfrm>
                <a:prstGeom prst="line">
                  <a:avLst/>
                </a:prstGeom>
                <a:noFill/>
                <a:ln w="12700" cap="flat" cmpd="sng" algn="ctr">
                  <a:solidFill>
                    <a:sysClr val="windowText" lastClr="000000"/>
                  </a:solidFill>
                  <a:prstDash val="solid"/>
                  <a:miter lim="800000"/>
                </a:ln>
                <a:effectLst/>
              </p:spPr>
            </p:cxnSp>
            <p:cxnSp>
              <p:nvCxnSpPr>
                <p:cNvPr id="259" name="Straight Connector 258"/>
                <p:cNvCxnSpPr>
                  <a:stCxn id="251" idx="2"/>
                  <a:endCxn id="252" idx="1"/>
                </p:cNvCxnSpPr>
                <p:nvPr/>
              </p:nvCxnSpPr>
              <p:spPr>
                <a:xfrm>
                  <a:off x="3032007" y="3231973"/>
                  <a:ext cx="865842" cy="394349"/>
                </a:xfrm>
                <a:prstGeom prst="line">
                  <a:avLst/>
                </a:prstGeom>
                <a:noFill/>
                <a:ln w="12700" cap="flat" cmpd="sng" algn="ctr">
                  <a:solidFill>
                    <a:sysClr val="windowText" lastClr="000000"/>
                  </a:solidFill>
                  <a:prstDash val="solid"/>
                  <a:miter lim="800000"/>
                </a:ln>
                <a:effectLst/>
              </p:spPr>
            </p:cxnSp>
            <p:cxnSp>
              <p:nvCxnSpPr>
                <p:cNvPr id="260" name="Straight Connector 259"/>
                <p:cNvCxnSpPr>
                  <a:endCxn id="252" idx="1"/>
                </p:cNvCxnSpPr>
                <p:nvPr/>
              </p:nvCxnSpPr>
              <p:spPr>
                <a:xfrm>
                  <a:off x="2153864" y="3626322"/>
                  <a:ext cx="1743985" cy="0"/>
                </a:xfrm>
                <a:prstGeom prst="line">
                  <a:avLst/>
                </a:prstGeom>
                <a:noFill/>
                <a:ln w="12700" cap="flat" cmpd="sng" algn="ctr">
                  <a:solidFill>
                    <a:sysClr val="windowText" lastClr="000000"/>
                  </a:solidFill>
                  <a:prstDash val="solid"/>
                  <a:miter lim="800000"/>
                </a:ln>
                <a:effectLst/>
              </p:spPr>
            </p:cxnSp>
            <p:cxnSp>
              <p:nvCxnSpPr>
                <p:cNvPr id="261" name="Straight Connector 260"/>
                <p:cNvCxnSpPr>
                  <a:stCxn id="278" idx="3"/>
                  <a:endCxn id="274" idx="0"/>
                </p:cNvCxnSpPr>
                <p:nvPr/>
              </p:nvCxnSpPr>
              <p:spPr>
                <a:xfrm>
                  <a:off x="2156009" y="3625611"/>
                  <a:ext cx="366229" cy="1532908"/>
                </a:xfrm>
                <a:prstGeom prst="line">
                  <a:avLst/>
                </a:prstGeom>
                <a:noFill/>
                <a:ln w="12700" cap="flat" cmpd="sng" algn="ctr">
                  <a:solidFill>
                    <a:sysClr val="windowText" lastClr="000000"/>
                  </a:solidFill>
                  <a:prstDash val="solid"/>
                  <a:miter lim="800000"/>
                </a:ln>
                <a:effectLst/>
              </p:spPr>
            </p:cxnSp>
            <p:cxnSp>
              <p:nvCxnSpPr>
                <p:cNvPr id="262" name="Straight Connector 261"/>
                <p:cNvCxnSpPr>
                  <a:stCxn id="274" idx="0"/>
                  <a:endCxn id="276" idx="1"/>
                </p:cNvCxnSpPr>
                <p:nvPr/>
              </p:nvCxnSpPr>
              <p:spPr>
                <a:xfrm flipV="1">
                  <a:off x="2522238" y="4508981"/>
                  <a:ext cx="1559690" cy="649538"/>
                </a:xfrm>
                <a:prstGeom prst="line">
                  <a:avLst/>
                </a:prstGeom>
                <a:noFill/>
                <a:ln w="12700" cap="flat" cmpd="sng" algn="ctr">
                  <a:solidFill>
                    <a:sysClr val="windowText" lastClr="000000"/>
                  </a:solidFill>
                  <a:prstDash val="solid"/>
                  <a:miter lim="800000"/>
                </a:ln>
                <a:effectLst/>
              </p:spPr>
            </p:cxnSp>
            <p:cxnSp>
              <p:nvCxnSpPr>
                <p:cNvPr id="263" name="Straight Connector 262"/>
                <p:cNvCxnSpPr>
                  <a:stCxn id="276" idx="1"/>
                  <a:endCxn id="251" idx="2"/>
                </p:cNvCxnSpPr>
                <p:nvPr/>
              </p:nvCxnSpPr>
              <p:spPr>
                <a:xfrm flipH="1" flipV="1">
                  <a:off x="3032007" y="3231973"/>
                  <a:ext cx="1049921" cy="1277008"/>
                </a:xfrm>
                <a:prstGeom prst="line">
                  <a:avLst/>
                </a:prstGeom>
                <a:noFill/>
                <a:ln w="12700" cap="flat" cmpd="sng" algn="ctr">
                  <a:solidFill>
                    <a:sysClr val="windowText" lastClr="000000"/>
                  </a:solidFill>
                  <a:prstDash val="solid"/>
                  <a:miter lim="800000"/>
                </a:ln>
                <a:effectLst/>
              </p:spPr>
            </p:cxnSp>
            <p:cxnSp>
              <p:nvCxnSpPr>
                <p:cNvPr id="264" name="Straight Connector 263"/>
                <p:cNvCxnSpPr>
                  <a:stCxn id="251" idx="2"/>
                  <a:endCxn id="277" idx="3"/>
                </p:cNvCxnSpPr>
                <p:nvPr/>
              </p:nvCxnSpPr>
              <p:spPr>
                <a:xfrm flipH="1">
                  <a:off x="1985786" y="3231973"/>
                  <a:ext cx="1046221" cy="1265824"/>
                </a:xfrm>
                <a:prstGeom prst="line">
                  <a:avLst/>
                </a:prstGeom>
                <a:noFill/>
                <a:ln w="12700" cap="flat" cmpd="sng" algn="ctr">
                  <a:solidFill>
                    <a:sysClr val="windowText" lastClr="000000"/>
                  </a:solidFill>
                  <a:prstDash val="solid"/>
                  <a:miter lim="800000"/>
                </a:ln>
                <a:effectLst/>
              </p:spPr>
            </p:cxnSp>
            <p:cxnSp>
              <p:nvCxnSpPr>
                <p:cNvPr id="265" name="Straight Connector 264"/>
                <p:cNvCxnSpPr>
                  <a:stCxn id="277" idx="3"/>
                  <a:endCxn id="275" idx="0"/>
                </p:cNvCxnSpPr>
                <p:nvPr/>
              </p:nvCxnSpPr>
              <p:spPr>
                <a:xfrm>
                  <a:off x="1985786" y="4497797"/>
                  <a:ext cx="1608052" cy="658631"/>
                </a:xfrm>
                <a:prstGeom prst="line">
                  <a:avLst/>
                </a:prstGeom>
                <a:noFill/>
                <a:ln w="12700" cap="flat" cmpd="sng" algn="ctr">
                  <a:solidFill>
                    <a:sysClr val="windowText" lastClr="000000"/>
                  </a:solidFill>
                  <a:prstDash val="solid"/>
                  <a:miter lim="800000"/>
                </a:ln>
                <a:effectLst/>
              </p:spPr>
            </p:cxnSp>
            <p:cxnSp>
              <p:nvCxnSpPr>
                <p:cNvPr id="266" name="Straight Connector 265"/>
                <p:cNvCxnSpPr>
                  <a:stCxn id="275" idx="0"/>
                  <a:endCxn id="252" idx="1"/>
                </p:cNvCxnSpPr>
                <p:nvPr/>
              </p:nvCxnSpPr>
              <p:spPr>
                <a:xfrm flipV="1">
                  <a:off x="3593838" y="3626323"/>
                  <a:ext cx="304011" cy="1530105"/>
                </a:xfrm>
                <a:prstGeom prst="line">
                  <a:avLst/>
                </a:prstGeom>
                <a:noFill/>
                <a:ln w="12700" cap="flat" cmpd="sng" algn="ctr">
                  <a:solidFill>
                    <a:sysClr val="windowText" lastClr="000000"/>
                  </a:solidFill>
                  <a:prstDash val="solid"/>
                  <a:miter lim="800000"/>
                </a:ln>
                <a:effectLst/>
              </p:spPr>
            </p:cxnSp>
            <p:cxnSp>
              <p:nvCxnSpPr>
                <p:cNvPr id="267" name="Straight Connector 266"/>
                <p:cNvCxnSpPr>
                  <a:stCxn id="278" idx="3"/>
                  <a:endCxn id="276" idx="1"/>
                </p:cNvCxnSpPr>
                <p:nvPr/>
              </p:nvCxnSpPr>
              <p:spPr>
                <a:xfrm>
                  <a:off x="2156009" y="3625611"/>
                  <a:ext cx="1925919" cy="883370"/>
                </a:xfrm>
                <a:prstGeom prst="line">
                  <a:avLst/>
                </a:prstGeom>
                <a:noFill/>
                <a:ln w="12700" cap="flat" cmpd="sng" algn="ctr">
                  <a:solidFill>
                    <a:sysClr val="windowText" lastClr="000000"/>
                  </a:solidFill>
                  <a:prstDash val="solid"/>
                  <a:miter lim="800000"/>
                </a:ln>
                <a:effectLst/>
              </p:spPr>
            </p:cxnSp>
            <p:cxnSp>
              <p:nvCxnSpPr>
                <p:cNvPr id="268" name="Straight Connector 267"/>
                <p:cNvCxnSpPr>
                  <a:stCxn id="276" idx="1"/>
                  <a:endCxn id="277" idx="3"/>
                </p:cNvCxnSpPr>
                <p:nvPr/>
              </p:nvCxnSpPr>
              <p:spPr>
                <a:xfrm flipH="1" flipV="1">
                  <a:off x="1985786" y="4497797"/>
                  <a:ext cx="2096142" cy="11184"/>
                </a:xfrm>
                <a:prstGeom prst="line">
                  <a:avLst/>
                </a:prstGeom>
                <a:noFill/>
                <a:ln w="12700" cap="flat" cmpd="sng" algn="ctr">
                  <a:solidFill>
                    <a:sysClr val="windowText" lastClr="000000"/>
                  </a:solidFill>
                  <a:prstDash val="solid"/>
                  <a:miter lim="800000"/>
                </a:ln>
                <a:effectLst/>
              </p:spPr>
            </p:cxnSp>
            <p:cxnSp>
              <p:nvCxnSpPr>
                <p:cNvPr id="269" name="Straight Connector 268"/>
                <p:cNvCxnSpPr>
                  <a:stCxn id="277" idx="3"/>
                  <a:endCxn id="252" idx="1"/>
                </p:cNvCxnSpPr>
                <p:nvPr/>
              </p:nvCxnSpPr>
              <p:spPr>
                <a:xfrm flipV="1">
                  <a:off x="1985786" y="3626323"/>
                  <a:ext cx="1912063" cy="871474"/>
                </a:xfrm>
                <a:prstGeom prst="line">
                  <a:avLst/>
                </a:prstGeom>
                <a:noFill/>
                <a:ln w="12700" cap="flat" cmpd="sng" algn="ctr">
                  <a:solidFill>
                    <a:sysClr val="windowText" lastClr="000000"/>
                  </a:solidFill>
                  <a:prstDash val="solid"/>
                  <a:miter lim="800000"/>
                </a:ln>
                <a:effectLst/>
              </p:spPr>
            </p:cxnSp>
            <p:cxnSp>
              <p:nvCxnSpPr>
                <p:cNvPr id="270" name="Straight Connector 269"/>
                <p:cNvCxnSpPr>
                  <a:stCxn id="252" idx="1"/>
                  <a:endCxn id="274" idx="0"/>
                </p:cNvCxnSpPr>
                <p:nvPr/>
              </p:nvCxnSpPr>
              <p:spPr>
                <a:xfrm flipH="1">
                  <a:off x="2522238" y="3626323"/>
                  <a:ext cx="1375611" cy="1532196"/>
                </a:xfrm>
                <a:prstGeom prst="line">
                  <a:avLst/>
                </a:prstGeom>
                <a:noFill/>
                <a:ln w="12700" cap="flat" cmpd="sng" algn="ctr">
                  <a:solidFill>
                    <a:sysClr val="windowText" lastClr="000000"/>
                  </a:solidFill>
                  <a:prstDash val="solid"/>
                  <a:miter lim="800000"/>
                </a:ln>
                <a:effectLst/>
              </p:spPr>
            </p:cxnSp>
            <p:cxnSp>
              <p:nvCxnSpPr>
                <p:cNvPr id="271" name="Straight Connector 270"/>
                <p:cNvCxnSpPr>
                  <a:stCxn id="274" idx="0"/>
                  <a:endCxn id="251" idx="2"/>
                </p:cNvCxnSpPr>
                <p:nvPr/>
              </p:nvCxnSpPr>
              <p:spPr>
                <a:xfrm flipV="1">
                  <a:off x="2522238" y="3231973"/>
                  <a:ext cx="509769" cy="1926546"/>
                </a:xfrm>
                <a:prstGeom prst="line">
                  <a:avLst/>
                </a:prstGeom>
                <a:noFill/>
                <a:ln w="12700" cap="flat" cmpd="sng" algn="ctr">
                  <a:solidFill>
                    <a:sysClr val="windowText" lastClr="000000"/>
                  </a:solidFill>
                  <a:prstDash val="solid"/>
                  <a:miter lim="800000"/>
                </a:ln>
                <a:effectLst/>
              </p:spPr>
            </p:cxnSp>
            <p:cxnSp>
              <p:nvCxnSpPr>
                <p:cNvPr id="272" name="Straight Connector 271"/>
                <p:cNvCxnSpPr>
                  <a:stCxn id="251" idx="2"/>
                  <a:endCxn id="275" idx="0"/>
                </p:cNvCxnSpPr>
                <p:nvPr/>
              </p:nvCxnSpPr>
              <p:spPr>
                <a:xfrm>
                  <a:off x="3032007" y="3231973"/>
                  <a:ext cx="561831" cy="1924455"/>
                </a:xfrm>
                <a:prstGeom prst="line">
                  <a:avLst/>
                </a:prstGeom>
                <a:noFill/>
                <a:ln w="12700" cap="flat" cmpd="sng" algn="ctr">
                  <a:solidFill>
                    <a:sysClr val="windowText" lastClr="000000"/>
                  </a:solidFill>
                  <a:prstDash val="solid"/>
                  <a:miter lim="800000"/>
                </a:ln>
                <a:effectLst/>
              </p:spPr>
            </p:cxnSp>
            <p:cxnSp>
              <p:nvCxnSpPr>
                <p:cNvPr id="273" name="Straight Connector 272"/>
                <p:cNvCxnSpPr>
                  <a:stCxn id="275" idx="0"/>
                  <a:endCxn id="278" idx="3"/>
                </p:cNvCxnSpPr>
                <p:nvPr/>
              </p:nvCxnSpPr>
              <p:spPr>
                <a:xfrm flipH="1" flipV="1">
                  <a:off x="2156009" y="3625611"/>
                  <a:ext cx="1437829" cy="1530817"/>
                </a:xfrm>
                <a:prstGeom prst="line">
                  <a:avLst/>
                </a:prstGeom>
                <a:noFill/>
                <a:ln w="12700" cap="flat" cmpd="sng" algn="ctr">
                  <a:solidFill>
                    <a:sysClr val="windowText" lastClr="000000"/>
                  </a:solidFill>
                  <a:prstDash val="solid"/>
                  <a:miter lim="800000"/>
                </a:ln>
                <a:effectLst/>
              </p:spPr>
            </p:cxnSp>
            <p:pic>
              <p:nvPicPr>
                <p:cNvPr id="274" name="Shape 338" descr="Compute-Engine_256px.png"/>
                <p:cNvPicPr preferRelativeResize="0">
                  <a:picLocks noChangeAspect="1"/>
                </p:cNvPicPr>
                <p:nvPr/>
              </p:nvPicPr>
              <p:blipFill rotWithShape="1">
                <a:blip r:embed="rId14">
                  <a:alphaModFix/>
                </a:blip>
                <a:srcRect t="5092" b="5092"/>
                <a:stretch/>
              </p:blipFill>
              <p:spPr>
                <a:xfrm>
                  <a:off x="2304225" y="5158519"/>
                  <a:ext cx="436025" cy="358059"/>
                </a:xfrm>
                <a:prstGeom prst="rect">
                  <a:avLst/>
                </a:prstGeom>
                <a:noFill/>
                <a:ln>
                  <a:noFill/>
                </a:ln>
              </p:spPr>
            </p:pic>
            <p:pic>
              <p:nvPicPr>
                <p:cNvPr id="275" name="Shape 338" descr="Compute-Engine_256px.png"/>
                <p:cNvPicPr preferRelativeResize="0">
                  <a:picLocks noChangeAspect="1"/>
                </p:cNvPicPr>
                <p:nvPr/>
              </p:nvPicPr>
              <p:blipFill rotWithShape="1">
                <a:blip r:embed="rId14">
                  <a:alphaModFix/>
                </a:blip>
                <a:srcRect t="5092" b="5092"/>
                <a:stretch/>
              </p:blipFill>
              <p:spPr>
                <a:xfrm>
                  <a:off x="3375825" y="5156428"/>
                  <a:ext cx="436025" cy="358059"/>
                </a:xfrm>
                <a:prstGeom prst="rect">
                  <a:avLst/>
                </a:prstGeom>
                <a:noFill/>
                <a:ln>
                  <a:noFill/>
                </a:ln>
              </p:spPr>
            </p:pic>
            <p:pic>
              <p:nvPicPr>
                <p:cNvPr id="276" name="Shape 338" descr="Compute-Engine_256px.png"/>
                <p:cNvPicPr preferRelativeResize="0">
                  <a:picLocks noChangeAspect="1"/>
                </p:cNvPicPr>
                <p:nvPr/>
              </p:nvPicPr>
              <p:blipFill rotWithShape="1">
                <a:blip r:embed="rId14">
                  <a:alphaModFix/>
                </a:blip>
                <a:srcRect t="5092" b="5092"/>
                <a:stretch/>
              </p:blipFill>
              <p:spPr>
                <a:xfrm>
                  <a:off x="4081928" y="4329951"/>
                  <a:ext cx="436025" cy="358059"/>
                </a:xfrm>
                <a:prstGeom prst="rect">
                  <a:avLst/>
                </a:prstGeom>
                <a:noFill/>
                <a:ln>
                  <a:noFill/>
                </a:ln>
              </p:spPr>
            </p:pic>
            <p:pic>
              <p:nvPicPr>
                <p:cNvPr id="277" name="Shape 338" descr="Compute-Engine_256px.png"/>
                <p:cNvPicPr preferRelativeResize="0">
                  <a:picLocks noChangeAspect="1"/>
                </p:cNvPicPr>
                <p:nvPr/>
              </p:nvPicPr>
              <p:blipFill rotWithShape="1">
                <a:blip r:embed="rId14">
                  <a:alphaModFix/>
                </a:blip>
                <a:srcRect t="5092" b="5092"/>
                <a:stretch/>
              </p:blipFill>
              <p:spPr>
                <a:xfrm>
                  <a:off x="1549761" y="4318767"/>
                  <a:ext cx="436025" cy="358059"/>
                </a:xfrm>
                <a:prstGeom prst="rect">
                  <a:avLst/>
                </a:prstGeom>
                <a:noFill/>
                <a:ln>
                  <a:noFill/>
                </a:ln>
              </p:spPr>
            </p:pic>
            <p:pic>
              <p:nvPicPr>
                <p:cNvPr id="278" name="Shape 338" descr="Compute-Engine_256px.png"/>
                <p:cNvPicPr preferRelativeResize="0">
                  <a:picLocks noChangeAspect="1"/>
                </p:cNvPicPr>
                <p:nvPr/>
              </p:nvPicPr>
              <p:blipFill rotWithShape="1">
                <a:blip r:embed="rId14">
                  <a:alphaModFix/>
                </a:blip>
                <a:srcRect t="5092" b="5092"/>
                <a:stretch/>
              </p:blipFill>
              <p:spPr>
                <a:xfrm>
                  <a:off x="1719984" y="3446581"/>
                  <a:ext cx="436025" cy="358059"/>
                </a:xfrm>
                <a:prstGeom prst="rect">
                  <a:avLst/>
                </a:prstGeom>
                <a:noFill/>
                <a:ln>
                  <a:noFill/>
                </a:ln>
              </p:spPr>
            </p:pic>
          </p:grpSp>
          <p:sp>
            <p:nvSpPr>
              <p:cNvPr id="279" name="Rectangle 278"/>
              <p:cNvSpPr/>
              <p:nvPr/>
            </p:nvSpPr>
            <p:spPr>
              <a:xfrm>
                <a:off x="2509576" y="3503584"/>
                <a:ext cx="1232386" cy="344307"/>
              </a:xfrm>
              <a:prstGeom prst="rect">
                <a:avLst/>
              </a:prstGeom>
              <a:solidFill>
                <a:sysClr val="window" lastClr="FFFFFF">
                  <a:alpha val="80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dirty="0">
                    <a:ln>
                      <a:noFill/>
                    </a:ln>
                    <a:effectLst>
                      <a:outerShdw blurRad="50800" dist="38100" dir="2700000" algn="tl" rotWithShape="0">
                        <a:prstClr val="black">
                          <a:alpha val="40000"/>
                        </a:prstClr>
                      </a:outerShdw>
                    </a:effectLst>
                    <a:uLnTx/>
                    <a:uFillTx/>
                    <a:ea typeface="+mn-ea"/>
                    <a:cs typeface="+mn-cs"/>
                  </a:rPr>
                  <a:t>Blockchain</a:t>
                </a:r>
              </a:p>
            </p:txBody>
          </p:sp>
          <p:grpSp>
            <p:nvGrpSpPr>
              <p:cNvPr id="303" name="Group 302"/>
              <p:cNvGrpSpPr>
                <a:grpSpLocks noChangeAspect="1"/>
              </p:cNvGrpSpPr>
              <p:nvPr/>
            </p:nvGrpSpPr>
            <p:grpSpPr>
              <a:xfrm>
                <a:off x="4597761" y="2837163"/>
                <a:ext cx="319667" cy="231075"/>
                <a:chOff x="661059" y="1654389"/>
                <a:chExt cx="490934" cy="354875"/>
              </a:xfrm>
            </p:grpSpPr>
            <p:pic>
              <p:nvPicPr>
                <p:cNvPr id="304" name="Picture 303"/>
                <p:cNvPicPr>
                  <a:picLocks noChangeAspect="1"/>
                </p:cNvPicPr>
                <p:nvPr/>
              </p:nvPicPr>
              <p:blipFill>
                <a:blip r:embed="rId8">
                  <a:clrChange>
                    <a:clrFrom>
                      <a:srgbClr val="FFFFFF"/>
                    </a:clrFrom>
                    <a:clrTo>
                      <a:srgbClr val="FFFFFF">
                        <a:alpha val="0"/>
                      </a:srgbClr>
                    </a:clrTo>
                  </a:clrChange>
                  <a:duotone>
                    <a:srgbClr val="ED7D31">
                      <a:shade val="45000"/>
                      <a:satMod val="135000"/>
                    </a:srgb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305" name="Rectangle 304"/>
                <p:cNvSpPr/>
                <p:nvPr/>
              </p:nvSpPr>
              <p:spPr>
                <a:xfrm>
                  <a:off x="699707" y="1750755"/>
                  <a:ext cx="196977" cy="158055"/>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ID</a:t>
                  </a:r>
                  <a:endParaRPr kumimoji="0" lang="it-IT" sz="2800" b="0" i="0" u="none" strike="noStrike" kern="0" cap="none" spc="0" normalizeH="0" baseline="0" dirty="0">
                    <a:ln>
                      <a:noFill/>
                    </a:ln>
                    <a:effectLst/>
                    <a:uLnTx/>
                    <a:uFillTx/>
                    <a:ea typeface="+mn-ea"/>
                    <a:cs typeface="+mn-cs"/>
                  </a:endParaRPr>
                </a:p>
              </p:txBody>
            </p:sp>
          </p:grpSp>
          <p:pic>
            <p:nvPicPr>
              <p:cNvPr id="324" name="Picture 323"/>
              <p:cNvPicPr>
                <a:picLocks noChangeAspect="1"/>
              </p:cNvPicPr>
              <p:nvPr/>
            </p:nvPicPr>
            <p:blipFill>
              <a:blip r:embed="rId15">
                <a:clrChange>
                  <a:clrFrom>
                    <a:srgbClr val="FFFFFF"/>
                  </a:clrFrom>
                  <a:clrTo>
                    <a:srgbClr val="FFFFFF">
                      <a:alpha val="0"/>
                    </a:srgbClr>
                  </a:clrTo>
                </a:clrChange>
              </a:blip>
              <a:stretch>
                <a:fillRect/>
              </a:stretch>
            </p:blipFill>
            <p:spPr>
              <a:xfrm>
                <a:off x="2966125" y="1869829"/>
                <a:ext cx="319080" cy="325117"/>
              </a:xfrm>
              <a:prstGeom prst="rect">
                <a:avLst/>
              </a:prstGeom>
            </p:spPr>
          </p:pic>
          <p:sp>
            <p:nvSpPr>
              <p:cNvPr id="325" name="TextBox 324"/>
              <p:cNvSpPr txBox="1"/>
              <p:nvPr/>
            </p:nvSpPr>
            <p:spPr>
              <a:xfrm>
                <a:off x="2657167" y="1436751"/>
                <a:ext cx="1032962" cy="461665"/>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it-IT" sz="1200" b="1" i="0" u="none" strike="noStrike" kern="0" cap="none" spc="0" normalizeH="0" baseline="0" dirty="0">
                    <a:ln>
                      <a:noFill/>
                    </a:ln>
                    <a:effectLst/>
                    <a:uLnTx/>
                    <a:uFillTx/>
                  </a:rPr>
                  <a:t>Istituto tedesco 2</a:t>
                </a:r>
              </a:p>
            </p:txBody>
          </p:sp>
          <p:pic>
            <p:nvPicPr>
              <p:cNvPr id="326" name="Picture 325"/>
              <p:cNvPicPr>
                <a:picLocks noChangeAspect="1"/>
              </p:cNvPicPr>
              <p:nvPr/>
            </p:nvPicPr>
            <p:blipFill>
              <a:blip r:embed="rId15">
                <a:clrChange>
                  <a:clrFrom>
                    <a:srgbClr val="FFFFFF"/>
                  </a:clrFrom>
                  <a:clrTo>
                    <a:srgbClr val="FFFFFF">
                      <a:alpha val="0"/>
                    </a:srgbClr>
                  </a:clrTo>
                </a:clrChange>
              </a:blip>
              <a:stretch>
                <a:fillRect/>
              </a:stretch>
            </p:blipFill>
            <p:spPr>
              <a:xfrm>
                <a:off x="1317282" y="2849110"/>
                <a:ext cx="319080" cy="325117"/>
              </a:xfrm>
              <a:prstGeom prst="rect">
                <a:avLst/>
              </a:prstGeom>
            </p:spPr>
          </p:pic>
          <p:grpSp>
            <p:nvGrpSpPr>
              <p:cNvPr id="327" name="Group 326"/>
              <p:cNvGrpSpPr>
                <a:grpSpLocks noChangeAspect="1"/>
              </p:cNvGrpSpPr>
              <p:nvPr/>
            </p:nvGrpSpPr>
            <p:grpSpPr>
              <a:xfrm>
                <a:off x="2573905" y="1918169"/>
                <a:ext cx="319667" cy="231075"/>
                <a:chOff x="661059" y="1654389"/>
                <a:chExt cx="490934" cy="354875"/>
              </a:xfrm>
            </p:grpSpPr>
            <p:pic>
              <p:nvPicPr>
                <p:cNvPr id="329" name="Picture 328"/>
                <p:cNvPicPr>
                  <a:picLocks noChangeAspect="1"/>
                </p:cNvPicPr>
                <p:nvPr/>
              </p:nvPicPr>
              <p:blipFill>
                <a:blip r:embed="rId8">
                  <a:clrChange>
                    <a:clrFrom>
                      <a:srgbClr val="FFFFFF"/>
                    </a:clrFrom>
                    <a:clrTo>
                      <a:srgbClr val="FFFFFF">
                        <a:alpha val="0"/>
                      </a:srgbClr>
                    </a:clrTo>
                  </a:clrChange>
                  <a:duotone>
                    <a:srgbClr val="ED7D31">
                      <a:shade val="45000"/>
                      <a:satMod val="135000"/>
                    </a:srgb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445" name="Rectangle 444"/>
                <p:cNvSpPr/>
                <p:nvPr/>
              </p:nvSpPr>
              <p:spPr>
                <a:xfrm>
                  <a:off x="699707" y="1750755"/>
                  <a:ext cx="196977" cy="158055"/>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ID</a:t>
                  </a:r>
                  <a:endParaRPr kumimoji="0" lang="it-IT" sz="2800" b="0" i="0" u="none" strike="noStrike" kern="0" cap="none" spc="0" normalizeH="0" baseline="0" dirty="0">
                    <a:ln>
                      <a:noFill/>
                    </a:ln>
                    <a:effectLst/>
                    <a:uLnTx/>
                    <a:uFillTx/>
                    <a:ea typeface="+mn-ea"/>
                    <a:cs typeface="+mn-cs"/>
                  </a:endParaRPr>
                </a:p>
              </p:txBody>
            </p:sp>
          </p:grpSp>
          <p:grpSp>
            <p:nvGrpSpPr>
              <p:cNvPr id="446" name="Group 445"/>
              <p:cNvGrpSpPr>
                <a:grpSpLocks noChangeAspect="1"/>
              </p:cNvGrpSpPr>
              <p:nvPr/>
            </p:nvGrpSpPr>
            <p:grpSpPr>
              <a:xfrm>
                <a:off x="884702" y="2887045"/>
                <a:ext cx="319667" cy="231075"/>
                <a:chOff x="661059" y="1654389"/>
                <a:chExt cx="490934" cy="354875"/>
              </a:xfrm>
            </p:grpSpPr>
            <p:pic>
              <p:nvPicPr>
                <p:cNvPr id="447" name="Picture 446"/>
                <p:cNvPicPr>
                  <a:picLocks noChangeAspect="1"/>
                </p:cNvPicPr>
                <p:nvPr/>
              </p:nvPicPr>
              <p:blipFill>
                <a:blip r:embed="rId8">
                  <a:clrChange>
                    <a:clrFrom>
                      <a:srgbClr val="FFFFFF"/>
                    </a:clrFrom>
                    <a:clrTo>
                      <a:srgbClr val="FFFFFF">
                        <a:alpha val="0"/>
                      </a:srgbClr>
                    </a:clrTo>
                  </a:clrChange>
                  <a:duotone>
                    <a:srgbClr val="ED7D31">
                      <a:shade val="45000"/>
                      <a:satMod val="135000"/>
                    </a:srgb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448" name="Rectangle 447"/>
                <p:cNvSpPr/>
                <p:nvPr/>
              </p:nvSpPr>
              <p:spPr>
                <a:xfrm>
                  <a:off x="699707" y="1750755"/>
                  <a:ext cx="196977" cy="158055"/>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ID</a:t>
                  </a:r>
                  <a:endParaRPr kumimoji="0" lang="it-IT" sz="2800" b="0" i="0" u="none" strike="noStrike" kern="0" cap="none" spc="0" normalizeH="0" baseline="0" dirty="0">
                    <a:ln>
                      <a:noFill/>
                    </a:ln>
                    <a:effectLst/>
                    <a:uLnTx/>
                    <a:uFillTx/>
                    <a:ea typeface="+mn-ea"/>
                    <a:cs typeface="+mn-cs"/>
                  </a:endParaRPr>
                </a:p>
              </p:txBody>
            </p:sp>
          </p:grpSp>
          <p:grpSp>
            <p:nvGrpSpPr>
              <p:cNvPr id="449" name="Group 448"/>
              <p:cNvGrpSpPr>
                <a:grpSpLocks noChangeAspect="1"/>
              </p:cNvGrpSpPr>
              <p:nvPr/>
            </p:nvGrpSpPr>
            <p:grpSpPr>
              <a:xfrm>
                <a:off x="1112315" y="4192820"/>
                <a:ext cx="319667" cy="231075"/>
                <a:chOff x="661059" y="1654389"/>
                <a:chExt cx="490934" cy="354875"/>
              </a:xfrm>
            </p:grpSpPr>
            <p:pic>
              <p:nvPicPr>
                <p:cNvPr id="450" name="Picture 449"/>
                <p:cNvPicPr>
                  <a:picLocks noChangeAspect="1"/>
                </p:cNvPicPr>
                <p:nvPr/>
              </p:nvPicPr>
              <p:blipFill>
                <a:blip r:embed="rId8">
                  <a:clrChange>
                    <a:clrFrom>
                      <a:srgbClr val="FFFFFF"/>
                    </a:clrFrom>
                    <a:clrTo>
                      <a:srgbClr val="FFFFFF">
                        <a:alpha val="0"/>
                      </a:srgbClr>
                    </a:clrTo>
                  </a:clrChange>
                  <a:duotone>
                    <a:srgbClr val="ED7D31">
                      <a:shade val="45000"/>
                      <a:satMod val="135000"/>
                    </a:srgb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451" name="Rectangle 450"/>
                <p:cNvSpPr/>
                <p:nvPr/>
              </p:nvSpPr>
              <p:spPr>
                <a:xfrm>
                  <a:off x="699707" y="1750755"/>
                  <a:ext cx="196977" cy="158055"/>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ID</a:t>
                  </a:r>
                  <a:endParaRPr kumimoji="0" lang="it-IT" sz="2800" b="0" i="0" u="none" strike="noStrike" kern="0" cap="none" spc="0" normalizeH="0" baseline="0" dirty="0">
                    <a:ln>
                      <a:noFill/>
                    </a:ln>
                    <a:effectLst/>
                    <a:uLnTx/>
                    <a:uFillTx/>
                    <a:ea typeface="+mn-ea"/>
                    <a:cs typeface="+mn-cs"/>
                  </a:endParaRPr>
                </a:p>
              </p:txBody>
            </p:sp>
          </p:grpSp>
          <p:sp>
            <p:nvSpPr>
              <p:cNvPr id="452" name="Rectangle 451"/>
              <p:cNvSpPr/>
              <p:nvPr/>
            </p:nvSpPr>
            <p:spPr>
              <a:xfrm>
                <a:off x="979726" y="4379902"/>
                <a:ext cx="639919" cy="246221"/>
              </a:xfrm>
              <a:prstGeom prst="rect">
                <a:avLst/>
              </a:prstGeom>
            </p:spPr>
            <p:txBody>
              <a:bodyPr wrap="none">
                <a:spAutoFit/>
              </a:bodyPr>
              <a:lstStyle/>
              <a:p>
                <a:pPr lvl="0">
                  <a:defRPr/>
                </a:pPr>
                <a:r>
                  <a:rPr lang="it-IT" sz="1000" kern="0" dirty="0"/>
                  <a:t>Codici ID</a:t>
                </a:r>
                <a:endParaRPr lang="it-IT" kern="0" dirty="0"/>
              </a:p>
            </p:txBody>
          </p:sp>
          <p:sp>
            <p:nvSpPr>
              <p:cNvPr id="453" name="Rectangle 452"/>
              <p:cNvSpPr/>
              <p:nvPr/>
            </p:nvSpPr>
            <p:spPr>
              <a:xfrm>
                <a:off x="733745" y="3089774"/>
                <a:ext cx="639919" cy="246221"/>
              </a:xfrm>
              <a:prstGeom prst="rect">
                <a:avLst/>
              </a:prstGeom>
            </p:spPr>
            <p:txBody>
              <a:bodyPr wrap="none">
                <a:spAutoFit/>
              </a:bodyPr>
              <a:lstStyle/>
              <a:p>
                <a:pPr lvl="0">
                  <a:defRPr/>
                </a:pPr>
                <a:r>
                  <a:rPr lang="it-IT" sz="1000" kern="0" dirty="0"/>
                  <a:t>Codici ID</a:t>
                </a:r>
                <a:endParaRPr lang="it-IT" kern="0" dirty="0"/>
              </a:p>
            </p:txBody>
          </p:sp>
          <p:sp>
            <p:nvSpPr>
              <p:cNvPr id="454" name="Rectangle 453"/>
              <p:cNvSpPr/>
              <p:nvPr/>
            </p:nvSpPr>
            <p:spPr>
              <a:xfrm>
                <a:off x="2433402" y="2113106"/>
                <a:ext cx="639919"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00" b="0" i="0" u="none" strike="noStrike" kern="0" cap="none" spc="0" normalizeH="0" baseline="0" dirty="0">
                    <a:ln>
                      <a:noFill/>
                    </a:ln>
                    <a:effectLst/>
                    <a:uLnTx/>
                    <a:uFillTx/>
                  </a:rPr>
                  <a:t>Codici ID</a:t>
                </a:r>
                <a:endParaRPr kumimoji="0" lang="it-IT" sz="1800" b="0" i="0" u="none" strike="noStrike" kern="0" cap="none" spc="0" normalizeH="0" baseline="0" dirty="0">
                  <a:ln>
                    <a:noFill/>
                  </a:ln>
                  <a:effectLst/>
                  <a:uLnTx/>
                  <a:uFillTx/>
                </a:endParaRPr>
              </a:p>
            </p:txBody>
          </p:sp>
          <p:sp>
            <p:nvSpPr>
              <p:cNvPr id="455" name="Rectangle 454"/>
              <p:cNvSpPr/>
              <p:nvPr/>
            </p:nvSpPr>
            <p:spPr>
              <a:xfrm>
                <a:off x="4455401" y="3033140"/>
                <a:ext cx="639919" cy="246221"/>
              </a:xfrm>
              <a:prstGeom prst="rect">
                <a:avLst/>
              </a:prstGeom>
            </p:spPr>
            <p:txBody>
              <a:bodyPr wrap="none">
                <a:spAutoFit/>
              </a:bodyPr>
              <a:lstStyle/>
              <a:p>
                <a:pPr lvl="0">
                  <a:defRPr/>
                </a:pPr>
                <a:r>
                  <a:rPr lang="it-IT" sz="1000" kern="0" dirty="0"/>
                  <a:t>Codici ID</a:t>
                </a:r>
                <a:endParaRPr lang="it-IT" kern="0" dirty="0"/>
              </a:p>
            </p:txBody>
          </p:sp>
          <p:grpSp>
            <p:nvGrpSpPr>
              <p:cNvPr id="456" name="Group 455"/>
              <p:cNvGrpSpPr>
                <a:grpSpLocks noChangeAspect="1"/>
              </p:cNvGrpSpPr>
              <p:nvPr/>
            </p:nvGrpSpPr>
            <p:grpSpPr>
              <a:xfrm>
                <a:off x="1720148" y="5152082"/>
                <a:ext cx="319667" cy="231075"/>
                <a:chOff x="661059" y="1654389"/>
                <a:chExt cx="490934" cy="354875"/>
              </a:xfrm>
            </p:grpSpPr>
            <p:pic>
              <p:nvPicPr>
                <p:cNvPr id="457" name="Picture 456"/>
                <p:cNvPicPr>
                  <a:picLocks noChangeAspect="1"/>
                </p:cNvPicPr>
                <p:nvPr/>
              </p:nvPicPr>
              <p:blipFill>
                <a:blip r:embed="rId8">
                  <a:clrChange>
                    <a:clrFrom>
                      <a:srgbClr val="FFFFFF"/>
                    </a:clrFrom>
                    <a:clrTo>
                      <a:srgbClr val="FFFFFF">
                        <a:alpha val="0"/>
                      </a:srgbClr>
                    </a:clrTo>
                  </a:clrChange>
                  <a:duotone>
                    <a:srgbClr val="ED7D31">
                      <a:shade val="45000"/>
                      <a:satMod val="135000"/>
                    </a:srgb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458" name="Rectangle 457"/>
                <p:cNvSpPr/>
                <p:nvPr/>
              </p:nvSpPr>
              <p:spPr>
                <a:xfrm>
                  <a:off x="699707" y="1750755"/>
                  <a:ext cx="196977" cy="158055"/>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ID</a:t>
                  </a:r>
                  <a:endParaRPr kumimoji="0" lang="it-IT" sz="2800" b="0" i="0" u="none" strike="noStrike" kern="0" cap="none" spc="0" normalizeH="0" baseline="0" dirty="0">
                    <a:ln>
                      <a:noFill/>
                    </a:ln>
                    <a:effectLst/>
                    <a:uLnTx/>
                    <a:uFillTx/>
                    <a:ea typeface="+mn-ea"/>
                    <a:cs typeface="+mn-cs"/>
                  </a:endParaRPr>
                </a:p>
              </p:txBody>
            </p:sp>
          </p:grpSp>
          <p:sp>
            <p:nvSpPr>
              <p:cNvPr id="459" name="Rectangle 458"/>
              <p:cNvSpPr/>
              <p:nvPr/>
            </p:nvSpPr>
            <p:spPr>
              <a:xfrm>
                <a:off x="1587560" y="5339164"/>
                <a:ext cx="639919" cy="246221"/>
              </a:xfrm>
              <a:prstGeom prst="rect">
                <a:avLst/>
              </a:prstGeom>
            </p:spPr>
            <p:txBody>
              <a:bodyPr wrap="none">
                <a:spAutoFit/>
              </a:bodyPr>
              <a:lstStyle/>
              <a:p>
                <a:pPr lvl="0">
                  <a:defRPr/>
                </a:pPr>
                <a:r>
                  <a:rPr lang="it-IT" sz="1000" kern="0" dirty="0"/>
                  <a:t>Codici ID</a:t>
                </a:r>
                <a:endParaRPr lang="it-IT" kern="0" dirty="0"/>
              </a:p>
            </p:txBody>
          </p:sp>
          <p:grpSp>
            <p:nvGrpSpPr>
              <p:cNvPr id="460" name="Group 459"/>
              <p:cNvGrpSpPr>
                <a:grpSpLocks noChangeAspect="1"/>
              </p:cNvGrpSpPr>
              <p:nvPr/>
            </p:nvGrpSpPr>
            <p:grpSpPr>
              <a:xfrm>
                <a:off x="4126328" y="5132466"/>
                <a:ext cx="319667" cy="231075"/>
                <a:chOff x="661059" y="1654389"/>
                <a:chExt cx="490934" cy="354875"/>
              </a:xfrm>
            </p:grpSpPr>
            <p:pic>
              <p:nvPicPr>
                <p:cNvPr id="461" name="Picture 460"/>
                <p:cNvPicPr>
                  <a:picLocks noChangeAspect="1"/>
                </p:cNvPicPr>
                <p:nvPr/>
              </p:nvPicPr>
              <p:blipFill>
                <a:blip r:embed="rId8">
                  <a:clrChange>
                    <a:clrFrom>
                      <a:srgbClr val="FFFFFF"/>
                    </a:clrFrom>
                    <a:clrTo>
                      <a:srgbClr val="FFFFFF">
                        <a:alpha val="0"/>
                      </a:srgbClr>
                    </a:clrTo>
                  </a:clrChange>
                  <a:duotone>
                    <a:srgbClr val="ED7D31">
                      <a:shade val="45000"/>
                      <a:satMod val="135000"/>
                    </a:srgb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61059" y="1654389"/>
                  <a:ext cx="490934" cy="354875"/>
                </a:xfrm>
                <a:prstGeom prst="rect">
                  <a:avLst/>
                </a:prstGeom>
              </p:spPr>
            </p:pic>
            <p:sp>
              <p:nvSpPr>
                <p:cNvPr id="462" name="Rectangle 461"/>
                <p:cNvSpPr/>
                <p:nvPr/>
              </p:nvSpPr>
              <p:spPr>
                <a:xfrm>
                  <a:off x="699707" y="1750755"/>
                  <a:ext cx="196977" cy="158055"/>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dirty="0">
                      <a:ln>
                        <a:noFill/>
                      </a:ln>
                      <a:effectLst/>
                      <a:uLnTx/>
                      <a:uFillTx/>
                      <a:ea typeface="+mn-ea"/>
                      <a:cs typeface="+mn-cs"/>
                    </a:rPr>
                    <a:t>ID</a:t>
                  </a:r>
                  <a:endParaRPr kumimoji="0" lang="it-IT" sz="2800" b="0" i="0" u="none" strike="noStrike" kern="0" cap="none" spc="0" normalizeH="0" baseline="0" dirty="0">
                    <a:ln>
                      <a:noFill/>
                    </a:ln>
                    <a:effectLst/>
                    <a:uLnTx/>
                    <a:uFillTx/>
                    <a:ea typeface="+mn-ea"/>
                    <a:cs typeface="+mn-cs"/>
                  </a:endParaRPr>
                </a:p>
              </p:txBody>
            </p:sp>
          </p:grpSp>
          <p:sp>
            <p:nvSpPr>
              <p:cNvPr id="463" name="Rectangle 462"/>
              <p:cNvSpPr/>
              <p:nvPr/>
            </p:nvSpPr>
            <p:spPr>
              <a:xfrm>
                <a:off x="4002617" y="5319549"/>
                <a:ext cx="639919" cy="246221"/>
              </a:xfrm>
              <a:prstGeom prst="rect">
                <a:avLst/>
              </a:prstGeom>
            </p:spPr>
            <p:txBody>
              <a:bodyPr wrap="none">
                <a:spAutoFit/>
              </a:bodyPr>
              <a:lstStyle/>
              <a:p>
                <a:pPr lvl="0">
                  <a:defRPr/>
                </a:pPr>
                <a:r>
                  <a:rPr lang="it-IT" sz="1000" kern="0" dirty="0"/>
                  <a:t>Codici ID</a:t>
                </a:r>
                <a:endParaRPr lang="it-IT" kern="0" dirty="0"/>
              </a:p>
            </p:txBody>
          </p:sp>
        </p:grpSp>
      </p:grpSp>
      <p:sp>
        <p:nvSpPr>
          <p:cNvPr id="464" name="Rectangle 463"/>
          <p:cNvSpPr/>
          <p:nvPr/>
        </p:nvSpPr>
        <p:spPr>
          <a:xfrm>
            <a:off x="2391451" y="6249204"/>
            <a:ext cx="8485241" cy="253916"/>
          </a:xfrm>
          <a:prstGeom prst="rect">
            <a:avLst/>
          </a:prstGeom>
        </p:spPr>
        <p:txBody>
          <a:bodyPr wrap="square">
            <a:spAutoFit/>
          </a:bodyPr>
          <a:lstStyle/>
          <a:p>
            <a:pPr lvl="0">
              <a:defRPr/>
            </a:pPr>
            <a:r>
              <a:rPr kumimoji="0" lang="it-IT" sz="1050" b="0" i="1" u="none" strike="noStrike" kern="0" cap="none" spc="0" normalizeH="0" baseline="0" dirty="0">
                <a:ln>
                  <a:noFill/>
                </a:ln>
                <a:effectLst/>
                <a:uLnTx/>
                <a:uFillTx/>
              </a:rPr>
              <a:t>*</a:t>
            </a:r>
            <a:r>
              <a:rPr lang="it-IT" sz="1050" i="1" kern="0" dirty="0"/>
              <a:t>Come previsto dal Reg. UE 1781, vengono adottate le stesse garanzie identificative di quelle applicate al trasferimento internazionale di fondi</a:t>
            </a:r>
            <a:endParaRPr kumimoji="0" lang="it-IT" sz="1050" b="0" i="1" u="none" strike="noStrike" kern="0" cap="none" spc="0" normalizeH="0" baseline="0" dirty="0">
              <a:ln>
                <a:noFill/>
              </a:ln>
              <a:effectLst/>
              <a:uLnTx/>
              <a:uFillTx/>
            </a:endParaRPr>
          </a:p>
        </p:txBody>
      </p:sp>
      <p:sp>
        <p:nvSpPr>
          <p:cNvPr id="122"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en-US" sz="2800" b="1" dirty="0">
                <a:latin typeface="Calibri" panose="020F0502020204030204" pitchFamily="34" charset="0"/>
                <a:cs typeface="Calibri" panose="020F0502020204030204" pitchFamily="34" charset="0"/>
              </a:rPr>
              <a:t>European Social Security Number (ESSN)</a:t>
            </a:r>
            <a:endParaRPr lang="it-IT" sz="2800" b="1" dirty="0">
              <a:latin typeface="Calibri" panose="020F0502020204030204" pitchFamily="34" charset="0"/>
              <a:cs typeface="Calibri" panose="020F0502020204030204" pitchFamily="34" charset="0"/>
            </a:endParaRPr>
          </a:p>
          <a:p>
            <a:r>
              <a:rPr lang="it-IT" sz="2399" i="1" dirty="0">
                <a:latin typeface="Calibri" panose="020F0502020204030204" pitchFamily="34" charset="0"/>
                <a:cs typeface="Calibri" panose="020F0502020204030204" pitchFamily="34" charset="0"/>
              </a:rPr>
              <a:t>Processo di acquisizione delle identità</a:t>
            </a:r>
          </a:p>
        </p:txBody>
      </p:sp>
      <p:sp>
        <p:nvSpPr>
          <p:cNvPr id="192" name="Rectangle 191"/>
          <p:cNvSpPr/>
          <p:nvPr/>
        </p:nvSpPr>
        <p:spPr>
          <a:xfrm>
            <a:off x="7175733" y="5310628"/>
            <a:ext cx="4381460" cy="842168"/>
          </a:xfrm>
          <a:prstGeom prst="rect">
            <a:avLst/>
          </a:prstGeom>
          <a:noFill/>
          <a:ln w="12700" cap="flat" cmpd="sng" algn="ctr">
            <a:solidFill>
              <a:srgbClr val="5B9BD5"/>
            </a:solidFill>
            <a:prstDash val="solid"/>
            <a:miter lim="800000"/>
          </a:ln>
          <a:effectLst/>
        </p:spPr>
        <p:txBody>
          <a:bodyPr rot="0" spcFirstLastPara="0" vertOverflow="overflow" horzOverflow="overflow" vert="horz" wrap="square" lIns="36000" tIns="36000" rIns="1080000" bIns="36000" numCol="1" spcCol="0" rtlCol="0" fromWordArt="0" anchor="ctr" anchorCtr="0" forceAA="0" compatLnSpc="1">
            <a:prstTxWarp prst="textNoShape">
              <a:avLst/>
            </a:prstTxWarp>
            <a:noAutofit/>
          </a:bodyPr>
          <a:lstStyle/>
          <a:p>
            <a:pPr>
              <a:defRPr/>
            </a:pPr>
            <a:r>
              <a:rPr lang="it-IT" sz="1400" kern="0" dirty="0"/>
              <a:t>Si </a:t>
            </a:r>
            <a:r>
              <a:rPr lang="it-IT" sz="1400" b="1" kern="0" dirty="0"/>
              <a:t>integra con il sistema EESSI </a:t>
            </a:r>
            <a:r>
              <a:rPr lang="it-IT" sz="1400" kern="0" dirty="0"/>
              <a:t>previsto  </a:t>
            </a:r>
          </a:p>
          <a:p>
            <a:pPr lvl="0">
              <a:defRPr/>
            </a:pPr>
            <a:r>
              <a:rPr lang="it-IT" sz="1400" kern="0" dirty="0"/>
              <a:t>per lo cambio elettronico di informazioni sulla sicurezza sociali tra i Paesi dell’UE</a:t>
            </a:r>
            <a:endParaRPr kumimoji="0" lang="it-IT" sz="1400" b="0" i="0" u="none" strike="noStrike" kern="0" cap="none" spc="0" normalizeH="0" baseline="0" dirty="0">
              <a:ln>
                <a:noFill/>
              </a:ln>
              <a:effectLst/>
              <a:uLnTx/>
              <a:uFillTx/>
            </a:endParaRPr>
          </a:p>
        </p:txBody>
      </p:sp>
      <p:grpSp>
        <p:nvGrpSpPr>
          <p:cNvPr id="201" name="Group 200"/>
          <p:cNvGrpSpPr>
            <a:grpSpLocks noChangeAspect="1"/>
          </p:cNvGrpSpPr>
          <p:nvPr/>
        </p:nvGrpSpPr>
        <p:grpSpPr>
          <a:xfrm>
            <a:off x="10689059" y="5387233"/>
            <a:ext cx="733214" cy="688958"/>
            <a:chOff x="5163530" y="2444561"/>
            <a:chExt cx="1475538" cy="1260435"/>
          </a:xfrm>
        </p:grpSpPr>
        <p:sp>
          <p:nvSpPr>
            <p:cNvPr id="202" name="Rectangle 201"/>
            <p:cNvSpPr/>
            <p:nvPr/>
          </p:nvSpPr>
          <p:spPr>
            <a:xfrm>
              <a:off x="5565064" y="2444561"/>
              <a:ext cx="1074004" cy="285532"/>
            </a:xfrm>
            <a:prstGeom prst="rect">
              <a:avLst/>
            </a:prstGeom>
            <a:solidFill>
              <a:sysClr val="window" lastClr="FFFFFF">
                <a:lumMod val="65000"/>
              </a:sysClr>
            </a:solidFill>
            <a:ln w="9525" cap="flat" cmpd="sng" algn="ctr">
              <a:noFill/>
              <a:prstDash val="solid"/>
              <a:miter lim="800000"/>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dirty="0">
                <a:ln>
                  <a:noFill/>
                </a:ln>
                <a:solidFill>
                  <a:srgbClr val="44546A"/>
                </a:solidFill>
                <a:effectLst/>
                <a:uLnTx/>
                <a:uFillTx/>
                <a:ea typeface="+mn-ea"/>
                <a:cs typeface="+mn-cs"/>
              </a:endParaRPr>
            </a:p>
          </p:txBody>
        </p:sp>
        <p:sp>
          <p:nvSpPr>
            <p:cNvPr id="203" name="Rectangle 202"/>
            <p:cNvSpPr/>
            <p:nvPr/>
          </p:nvSpPr>
          <p:spPr>
            <a:xfrm>
              <a:off x="5163530" y="2457500"/>
              <a:ext cx="351862" cy="904866"/>
            </a:xfrm>
            <a:prstGeom prst="rect">
              <a:avLst/>
            </a:prstGeom>
            <a:solidFill>
              <a:srgbClr val="5B9BD5"/>
            </a:solidFill>
            <a:ln w="9525" cap="flat" cmpd="sng" algn="ctr">
              <a:noFill/>
              <a:prstDash val="solid"/>
              <a:miter lim="800000"/>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dirty="0">
                <a:ln>
                  <a:noFill/>
                </a:ln>
                <a:solidFill>
                  <a:srgbClr val="44546A"/>
                </a:solidFill>
                <a:effectLst/>
                <a:uLnTx/>
                <a:uFillTx/>
                <a:ea typeface="+mn-ea"/>
                <a:cs typeface="+mn-cs"/>
              </a:endParaRPr>
            </a:p>
          </p:txBody>
        </p:sp>
        <p:sp>
          <p:nvSpPr>
            <p:cNvPr id="204" name="Rectangle 203"/>
            <p:cNvSpPr/>
            <p:nvPr/>
          </p:nvSpPr>
          <p:spPr>
            <a:xfrm>
              <a:off x="5163531" y="3395391"/>
              <a:ext cx="1039953" cy="309605"/>
            </a:xfrm>
            <a:prstGeom prst="rect">
              <a:avLst/>
            </a:prstGeom>
            <a:solidFill>
              <a:sysClr val="window" lastClr="FFFFFF">
                <a:lumMod val="75000"/>
              </a:sysClr>
            </a:solidFill>
            <a:ln w="9525" cap="flat" cmpd="sng" algn="ctr">
              <a:noFill/>
              <a:prstDash val="solid"/>
              <a:miter lim="800000"/>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dirty="0">
                <a:ln>
                  <a:noFill/>
                </a:ln>
                <a:solidFill>
                  <a:prstClr val="black"/>
                </a:solidFill>
                <a:effectLst/>
                <a:uLnTx/>
                <a:uFillTx/>
                <a:ea typeface="+mn-ea"/>
                <a:cs typeface="+mn-cs"/>
              </a:endParaRPr>
            </a:p>
          </p:txBody>
        </p:sp>
        <p:sp>
          <p:nvSpPr>
            <p:cNvPr id="205" name="Rectangle 204"/>
            <p:cNvSpPr/>
            <p:nvPr/>
          </p:nvSpPr>
          <p:spPr>
            <a:xfrm>
              <a:off x="6230717" y="2774566"/>
              <a:ext cx="408351" cy="930430"/>
            </a:xfrm>
            <a:prstGeom prst="rect">
              <a:avLst/>
            </a:prstGeom>
            <a:solidFill>
              <a:srgbClr val="5B9BD5">
                <a:lumMod val="40000"/>
                <a:lumOff val="60000"/>
              </a:srgbClr>
            </a:solidFill>
            <a:ln w="9525" cap="flat" cmpd="sng" algn="ctr">
              <a:noFill/>
              <a:prstDash val="solid"/>
              <a:miter lim="800000"/>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dirty="0">
                <a:ln>
                  <a:noFill/>
                </a:ln>
                <a:solidFill>
                  <a:prstClr val="black"/>
                </a:solidFill>
                <a:effectLst/>
                <a:uLnTx/>
                <a:uFillTx/>
                <a:ea typeface="+mn-ea"/>
                <a:cs typeface="+mn-cs"/>
              </a:endParaRPr>
            </a:p>
          </p:txBody>
        </p:sp>
        <p:sp>
          <p:nvSpPr>
            <p:cNvPr id="206" name="Rectangle 205"/>
            <p:cNvSpPr/>
            <p:nvPr/>
          </p:nvSpPr>
          <p:spPr>
            <a:xfrm>
              <a:off x="5541645" y="2752097"/>
              <a:ext cx="681727" cy="612417"/>
            </a:xfrm>
            <a:prstGeom prst="rect">
              <a:avLst/>
            </a:prstGeom>
            <a:noFill/>
            <a:ln w="9525"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dirty="0">
                  <a:ln>
                    <a:noFill/>
                  </a:ln>
                  <a:solidFill>
                    <a:srgbClr val="5B9BD5"/>
                  </a:solidFill>
                  <a:effectLst/>
                  <a:uLnTx/>
                  <a:uFillTx/>
                  <a:ea typeface="+mn-ea"/>
                  <a:cs typeface="+mn-cs"/>
                </a:rPr>
                <a:t>EESSI</a:t>
              </a:r>
            </a:p>
          </p:txBody>
        </p:sp>
      </p:grpSp>
    </p:spTree>
    <p:extLst>
      <p:ext uri="{BB962C8B-B14F-4D97-AF65-F5344CB8AC3E}">
        <p14:creationId xmlns:p14="http://schemas.microsoft.com/office/powerpoint/2010/main" val="3443370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Content Placeholder 1"/>
          <p:cNvSpPr txBox="1">
            <a:spLocks/>
          </p:cNvSpPr>
          <p:nvPr/>
        </p:nvSpPr>
        <p:spPr bwMode="auto">
          <a:xfrm>
            <a:off x="632485" y="116632"/>
            <a:ext cx="10935628" cy="70826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en-US" sz="2800" b="1" dirty="0">
                <a:latin typeface="Calibri" panose="020F0502020204030204" pitchFamily="34" charset="0"/>
                <a:cs typeface="Calibri" panose="020F0502020204030204" pitchFamily="34" charset="0"/>
              </a:rPr>
              <a:t>European Social Security Number (ESSN)</a:t>
            </a:r>
          </a:p>
          <a:p>
            <a:r>
              <a:rPr lang="it-IT" sz="2399" i="1" dirty="0">
                <a:latin typeface="Calibri" panose="020F0502020204030204" pitchFamily="34" charset="0"/>
                <a:cs typeface="Calibri" panose="020F0502020204030204" pitchFamily="34" charset="0"/>
              </a:rPr>
              <a:t>Vantaggi della soluzione Blockchain</a:t>
            </a:r>
          </a:p>
        </p:txBody>
      </p:sp>
      <p:cxnSp>
        <p:nvCxnSpPr>
          <p:cNvPr id="63" name="Straight Connector 62"/>
          <p:cNvCxnSpPr/>
          <p:nvPr/>
        </p:nvCxnSpPr>
        <p:spPr>
          <a:xfrm>
            <a:off x="7087440" y="1111298"/>
            <a:ext cx="0" cy="1121435"/>
          </a:xfrm>
          <a:prstGeom prst="line">
            <a:avLst/>
          </a:prstGeom>
          <a:noFill/>
          <a:ln w="38100" cap="flat" cmpd="sng" algn="ctr">
            <a:solidFill>
              <a:srgbClr val="5B9BD5"/>
            </a:solidFill>
            <a:prstDash val="solid"/>
            <a:miter lim="800000"/>
          </a:ln>
          <a:effectLst/>
        </p:spPr>
      </p:cxnSp>
      <p:grpSp>
        <p:nvGrpSpPr>
          <p:cNvPr id="64" name="Group 63"/>
          <p:cNvGrpSpPr/>
          <p:nvPr/>
        </p:nvGrpSpPr>
        <p:grpSpPr>
          <a:xfrm>
            <a:off x="6208280" y="1309910"/>
            <a:ext cx="683188" cy="724210"/>
            <a:chOff x="4207481" y="3291490"/>
            <a:chExt cx="766336" cy="796629"/>
          </a:xfrm>
        </p:grpSpPr>
        <p:sp>
          <p:nvSpPr>
            <p:cNvPr id="83" name="Freeform 179"/>
            <p:cNvSpPr>
              <a:spLocks/>
            </p:cNvSpPr>
            <p:nvPr/>
          </p:nvSpPr>
          <p:spPr bwMode="auto">
            <a:xfrm flipH="1">
              <a:off x="4506562" y="3291490"/>
              <a:ext cx="467255" cy="467179"/>
            </a:xfrm>
            <a:custGeom>
              <a:avLst/>
              <a:gdLst>
                <a:gd name="T0" fmla="*/ 4725 w 9817"/>
                <a:gd name="T1" fmla="*/ 1045 h 9817"/>
                <a:gd name="T2" fmla="*/ 5732 w 9817"/>
                <a:gd name="T3" fmla="*/ 1170 h 9817"/>
                <a:gd name="T4" fmla="*/ 6866 w 9817"/>
                <a:gd name="T5" fmla="*/ 307 h 9817"/>
                <a:gd name="T6" fmla="*/ 7710 w 9817"/>
                <a:gd name="T7" fmla="*/ 740 h 9817"/>
                <a:gd name="T8" fmla="*/ 7467 w 9817"/>
                <a:gd name="T9" fmla="*/ 2079 h 9817"/>
                <a:gd name="T10" fmla="*/ 8069 w 9817"/>
                <a:gd name="T11" fmla="*/ 2853 h 9817"/>
                <a:gd name="T12" fmla="*/ 9519 w 9817"/>
                <a:gd name="T13" fmla="*/ 2979 h 9817"/>
                <a:gd name="T14" fmla="*/ 9817 w 9817"/>
                <a:gd name="T15" fmla="*/ 3887 h 9817"/>
                <a:gd name="T16" fmla="*/ 8781 w 9817"/>
                <a:gd name="T17" fmla="*/ 4858 h 9817"/>
                <a:gd name="T18" fmla="*/ 8684 w 9817"/>
                <a:gd name="T19" fmla="*/ 5868 h 9817"/>
                <a:gd name="T20" fmla="*/ 9519 w 9817"/>
                <a:gd name="T21" fmla="*/ 6866 h 9817"/>
                <a:gd name="T22" fmla="*/ 9079 w 9817"/>
                <a:gd name="T23" fmla="*/ 7711 h 9817"/>
                <a:gd name="T24" fmla="*/ 7674 w 9817"/>
                <a:gd name="T25" fmla="*/ 7542 h 9817"/>
                <a:gd name="T26" fmla="*/ 6936 w 9817"/>
                <a:gd name="T27" fmla="*/ 8106 h 9817"/>
                <a:gd name="T28" fmla="*/ 6866 w 9817"/>
                <a:gd name="T29" fmla="*/ 9519 h 9817"/>
                <a:gd name="T30" fmla="*/ 5929 w 9817"/>
                <a:gd name="T31" fmla="*/ 9817 h 9817"/>
                <a:gd name="T32" fmla="*/ 5029 w 9817"/>
                <a:gd name="T33" fmla="*/ 8745 h 9817"/>
                <a:gd name="T34" fmla="*/ 4022 w 9817"/>
                <a:gd name="T35" fmla="*/ 8648 h 9817"/>
                <a:gd name="T36" fmla="*/ 2979 w 9817"/>
                <a:gd name="T37" fmla="*/ 9519 h 9817"/>
                <a:gd name="T38" fmla="*/ 2115 w 9817"/>
                <a:gd name="T39" fmla="*/ 9080 h 9817"/>
                <a:gd name="T40" fmla="*/ 2115 w 9817"/>
                <a:gd name="T41" fmla="*/ 7440 h 9817"/>
                <a:gd name="T42" fmla="*/ 1539 w 9817"/>
                <a:gd name="T43" fmla="*/ 6667 h 9817"/>
                <a:gd name="T44" fmla="*/ 307 w 9817"/>
                <a:gd name="T45" fmla="*/ 6866 h 9817"/>
                <a:gd name="T46" fmla="*/ 0 w 9817"/>
                <a:gd name="T47" fmla="*/ 5930 h 9817"/>
                <a:gd name="T48" fmla="*/ 1072 w 9817"/>
                <a:gd name="T49" fmla="*/ 4923 h 9817"/>
                <a:gd name="T50" fmla="*/ 1207 w 9817"/>
                <a:gd name="T51" fmla="*/ 3924 h 9817"/>
                <a:gd name="T52" fmla="*/ 307 w 9817"/>
                <a:gd name="T53" fmla="*/ 2979 h 9817"/>
                <a:gd name="T54" fmla="*/ 740 w 9817"/>
                <a:gd name="T55" fmla="*/ 2079 h 9817"/>
                <a:gd name="T56" fmla="*/ 2017 w 9817"/>
                <a:gd name="T57" fmla="*/ 2447 h 9817"/>
                <a:gd name="T58" fmla="*/ 2717 w 9817"/>
                <a:gd name="T59" fmla="*/ 1846 h 9817"/>
                <a:gd name="T60" fmla="*/ 2979 w 9817"/>
                <a:gd name="T61" fmla="*/ 307 h 9817"/>
                <a:gd name="T62" fmla="*/ 3887 w 9817"/>
                <a:gd name="T63" fmla="*/ 0 h 9817"/>
                <a:gd name="T64" fmla="*/ 4725 w 9817"/>
                <a:gd name="T65" fmla="*/ 1045 h 98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817"/>
                <a:gd name="T100" fmla="*/ 0 h 9817"/>
                <a:gd name="T101" fmla="*/ 9817 w 9817"/>
                <a:gd name="T102" fmla="*/ 9817 h 98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817" h="9817">
                  <a:moveTo>
                    <a:pt x="4725" y="1045"/>
                  </a:moveTo>
                  <a:lnTo>
                    <a:pt x="5732" y="1170"/>
                  </a:lnTo>
                  <a:lnTo>
                    <a:pt x="6866" y="307"/>
                  </a:lnTo>
                  <a:lnTo>
                    <a:pt x="7710" y="740"/>
                  </a:lnTo>
                  <a:lnTo>
                    <a:pt x="7467" y="2079"/>
                  </a:lnTo>
                  <a:lnTo>
                    <a:pt x="8069" y="2853"/>
                  </a:lnTo>
                  <a:lnTo>
                    <a:pt x="9519" y="2979"/>
                  </a:lnTo>
                  <a:lnTo>
                    <a:pt x="9817" y="3887"/>
                  </a:lnTo>
                  <a:lnTo>
                    <a:pt x="8781" y="4858"/>
                  </a:lnTo>
                  <a:lnTo>
                    <a:pt x="8684" y="5868"/>
                  </a:lnTo>
                  <a:lnTo>
                    <a:pt x="9519" y="6866"/>
                  </a:lnTo>
                  <a:lnTo>
                    <a:pt x="9079" y="7711"/>
                  </a:lnTo>
                  <a:lnTo>
                    <a:pt x="7674" y="7542"/>
                  </a:lnTo>
                  <a:lnTo>
                    <a:pt x="6936" y="8106"/>
                  </a:lnTo>
                  <a:lnTo>
                    <a:pt x="6866" y="9519"/>
                  </a:lnTo>
                  <a:lnTo>
                    <a:pt x="5929" y="9817"/>
                  </a:lnTo>
                  <a:lnTo>
                    <a:pt x="5029" y="8745"/>
                  </a:lnTo>
                  <a:lnTo>
                    <a:pt x="4022" y="8648"/>
                  </a:lnTo>
                  <a:lnTo>
                    <a:pt x="2979" y="9519"/>
                  </a:lnTo>
                  <a:lnTo>
                    <a:pt x="2115" y="9080"/>
                  </a:lnTo>
                  <a:lnTo>
                    <a:pt x="2115" y="7440"/>
                  </a:lnTo>
                  <a:lnTo>
                    <a:pt x="1539" y="6667"/>
                  </a:lnTo>
                  <a:lnTo>
                    <a:pt x="307" y="6866"/>
                  </a:lnTo>
                  <a:lnTo>
                    <a:pt x="0" y="5930"/>
                  </a:lnTo>
                  <a:lnTo>
                    <a:pt x="1072" y="4923"/>
                  </a:lnTo>
                  <a:lnTo>
                    <a:pt x="1207" y="3924"/>
                  </a:lnTo>
                  <a:lnTo>
                    <a:pt x="307" y="2979"/>
                  </a:lnTo>
                  <a:lnTo>
                    <a:pt x="740" y="2079"/>
                  </a:lnTo>
                  <a:lnTo>
                    <a:pt x="2017" y="2447"/>
                  </a:lnTo>
                  <a:lnTo>
                    <a:pt x="2717" y="1846"/>
                  </a:lnTo>
                  <a:lnTo>
                    <a:pt x="2979" y="307"/>
                  </a:lnTo>
                  <a:lnTo>
                    <a:pt x="3887" y="0"/>
                  </a:lnTo>
                  <a:lnTo>
                    <a:pt x="4725" y="1045"/>
                  </a:lnTo>
                  <a:close/>
                </a:path>
              </a:pathLst>
            </a:custGeom>
            <a:solidFill>
              <a:srgbClr val="646464"/>
            </a:solidFill>
            <a:ln w="3175">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dirty="0">
                <a:ln>
                  <a:noFill/>
                </a:ln>
                <a:effectLst/>
                <a:uLnTx/>
                <a:uFillTx/>
                <a:latin typeface="Calibri (Headings)"/>
                <a:cs typeface="Calibri" panose="020F0502020204030204" pitchFamily="34" charset="0"/>
              </a:endParaRPr>
            </a:p>
          </p:txBody>
        </p:sp>
        <p:sp>
          <p:nvSpPr>
            <p:cNvPr id="84" name="Freeform 181"/>
            <p:cNvSpPr>
              <a:spLocks/>
            </p:cNvSpPr>
            <p:nvPr/>
          </p:nvSpPr>
          <p:spPr bwMode="auto">
            <a:xfrm flipH="1">
              <a:off x="4207481" y="3614855"/>
              <a:ext cx="471821" cy="473264"/>
            </a:xfrm>
            <a:custGeom>
              <a:avLst/>
              <a:gdLst>
                <a:gd name="T0" fmla="*/ 2914 w 9915"/>
                <a:gd name="T1" fmla="*/ 1675 h 9953"/>
                <a:gd name="T2" fmla="*/ 3887 w 9915"/>
                <a:gd name="T3" fmla="*/ 1269 h 9953"/>
                <a:gd name="T4" fmla="*/ 4453 w 9915"/>
                <a:gd name="T5" fmla="*/ 0 h 9953"/>
                <a:gd name="T6" fmla="*/ 5426 w 9915"/>
                <a:gd name="T7" fmla="*/ 0 h 9953"/>
                <a:gd name="T8" fmla="*/ 5829 w 9915"/>
                <a:gd name="T9" fmla="*/ 1269 h 9953"/>
                <a:gd name="T10" fmla="*/ 6728 w 9915"/>
                <a:gd name="T11" fmla="*/ 1638 h 9953"/>
                <a:gd name="T12" fmla="*/ 8069 w 9915"/>
                <a:gd name="T13" fmla="*/ 1036 h 9953"/>
                <a:gd name="T14" fmla="*/ 8779 w 9915"/>
                <a:gd name="T15" fmla="*/ 1748 h 9953"/>
                <a:gd name="T16" fmla="*/ 8303 w 9915"/>
                <a:gd name="T17" fmla="*/ 3050 h 9953"/>
                <a:gd name="T18" fmla="*/ 8671 w 9915"/>
                <a:gd name="T19" fmla="*/ 3987 h 9953"/>
                <a:gd name="T20" fmla="*/ 9915 w 9915"/>
                <a:gd name="T21" fmla="*/ 4490 h 9953"/>
                <a:gd name="T22" fmla="*/ 9915 w 9915"/>
                <a:gd name="T23" fmla="*/ 5427 h 9953"/>
                <a:gd name="T24" fmla="*/ 8611 w 9915"/>
                <a:gd name="T25" fmla="*/ 5930 h 9953"/>
                <a:gd name="T26" fmla="*/ 8241 w 9915"/>
                <a:gd name="T27" fmla="*/ 6802 h 9953"/>
                <a:gd name="T28" fmla="*/ 8843 w 9915"/>
                <a:gd name="T29" fmla="*/ 8070 h 9953"/>
                <a:gd name="T30" fmla="*/ 8177 w 9915"/>
                <a:gd name="T31" fmla="*/ 8808 h 9953"/>
                <a:gd name="T32" fmla="*/ 6863 w 9915"/>
                <a:gd name="T33" fmla="*/ 8279 h 9953"/>
                <a:gd name="T34" fmla="*/ 5929 w 9915"/>
                <a:gd name="T35" fmla="*/ 8648 h 9953"/>
                <a:gd name="T36" fmla="*/ 5460 w 9915"/>
                <a:gd name="T37" fmla="*/ 9953 h 9953"/>
                <a:gd name="T38" fmla="*/ 4453 w 9915"/>
                <a:gd name="T39" fmla="*/ 9953 h 9953"/>
                <a:gd name="T40" fmla="*/ 3716 w 9915"/>
                <a:gd name="T41" fmla="*/ 8513 h 9953"/>
                <a:gd name="T42" fmla="*/ 2844 w 9915"/>
                <a:gd name="T43" fmla="*/ 8107 h 9953"/>
                <a:gd name="T44" fmla="*/ 1846 w 9915"/>
                <a:gd name="T45" fmla="*/ 8845 h 9953"/>
                <a:gd name="T46" fmla="*/ 1142 w 9915"/>
                <a:gd name="T47" fmla="*/ 8145 h 9953"/>
                <a:gd name="T48" fmla="*/ 1609 w 9915"/>
                <a:gd name="T49" fmla="*/ 6765 h 9953"/>
                <a:gd name="T50" fmla="*/ 1241 w 9915"/>
                <a:gd name="T51" fmla="*/ 5866 h 9953"/>
                <a:gd name="T52" fmla="*/ 0 w 9915"/>
                <a:gd name="T53" fmla="*/ 5427 h 9953"/>
                <a:gd name="T54" fmla="*/ 0 w 9915"/>
                <a:gd name="T55" fmla="*/ 4453 h 9953"/>
                <a:gd name="T56" fmla="*/ 1241 w 9915"/>
                <a:gd name="T57" fmla="*/ 4159 h 9953"/>
                <a:gd name="T58" fmla="*/ 1539 w 9915"/>
                <a:gd name="T59" fmla="*/ 3287 h 9953"/>
                <a:gd name="T60" fmla="*/ 1035 w 9915"/>
                <a:gd name="T61" fmla="*/ 1847 h 9953"/>
                <a:gd name="T62" fmla="*/ 1711 w 9915"/>
                <a:gd name="T63" fmla="*/ 1143 h 9953"/>
                <a:gd name="T64" fmla="*/ 2914 w 9915"/>
                <a:gd name="T65" fmla="*/ 1675 h 99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15"/>
                <a:gd name="T100" fmla="*/ 0 h 9953"/>
                <a:gd name="T101" fmla="*/ 9915 w 9915"/>
                <a:gd name="T102" fmla="*/ 9953 h 99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15" h="9953">
                  <a:moveTo>
                    <a:pt x="2914" y="1675"/>
                  </a:moveTo>
                  <a:lnTo>
                    <a:pt x="3887" y="1269"/>
                  </a:lnTo>
                  <a:lnTo>
                    <a:pt x="4453" y="0"/>
                  </a:lnTo>
                  <a:lnTo>
                    <a:pt x="5426" y="0"/>
                  </a:lnTo>
                  <a:lnTo>
                    <a:pt x="5829" y="1269"/>
                  </a:lnTo>
                  <a:lnTo>
                    <a:pt x="6728" y="1638"/>
                  </a:lnTo>
                  <a:lnTo>
                    <a:pt x="8069" y="1036"/>
                  </a:lnTo>
                  <a:lnTo>
                    <a:pt x="8779" y="1748"/>
                  </a:lnTo>
                  <a:lnTo>
                    <a:pt x="8303" y="3050"/>
                  </a:lnTo>
                  <a:lnTo>
                    <a:pt x="8671" y="3987"/>
                  </a:lnTo>
                  <a:lnTo>
                    <a:pt x="9915" y="4490"/>
                  </a:lnTo>
                  <a:lnTo>
                    <a:pt x="9915" y="5427"/>
                  </a:lnTo>
                  <a:lnTo>
                    <a:pt x="8611" y="5930"/>
                  </a:lnTo>
                  <a:lnTo>
                    <a:pt x="8241" y="6802"/>
                  </a:lnTo>
                  <a:lnTo>
                    <a:pt x="8843" y="8070"/>
                  </a:lnTo>
                  <a:lnTo>
                    <a:pt x="8177" y="8808"/>
                  </a:lnTo>
                  <a:lnTo>
                    <a:pt x="6863" y="8279"/>
                  </a:lnTo>
                  <a:lnTo>
                    <a:pt x="5929" y="8648"/>
                  </a:lnTo>
                  <a:lnTo>
                    <a:pt x="5460" y="9953"/>
                  </a:lnTo>
                  <a:lnTo>
                    <a:pt x="4453" y="9953"/>
                  </a:lnTo>
                  <a:lnTo>
                    <a:pt x="3716" y="8513"/>
                  </a:lnTo>
                  <a:lnTo>
                    <a:pt x="2844" y="8107"/>
                  </a:lnTo>
                  <a:lnTo>
                    <a:pt x="1846" y="8845"/>
                  </a:lnTo>
                  <a:lnTo>
                    <a:pt x="1142" y="8145"/>
                  </a:lnTo>
                  <a:lnTo>
                    <a:pt x="1609" y="6765"/>
                  </a:lnTo>
                  <a:lnTo>
                    <a:pt x="1241" y="5866"/>
                  </a:lnTo>
                  <a:lnTo>
                    <a:pt x="0" y="5427"/>
                  </a:lnTo>
                  <a:lnTo>
                    <a:pt x="0" y="4453"/>
                  </a:lnTo>
                  <a:lnTo>
                    <a:pt x="1241" y="4159"/>
                  </a:lnTo>
                  <a:lnTo>
                    <a:pt x="1539" y="3287"/>
                  </a:lnTo>
                  <a:lnTo>
                    <a:pt x="1035" y="1847"/>
                  </a:lnTo>
                  <a:lnTo>
                    <a:pt x="1711" y="1143"/>
                  </a:lnTo>
                  <a:lnTo>
                    <a:pt x="2914" y="1675"/>
                  </a:lnTo>
                </a:path>
              </a:pathLst>
            </a:custGeom>
            <a:solidFill>
              <a:srgbClr val="646464"/>
            </a:solidFill>
            <a:ln w="3175">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dirty="0">
                <a:ln>
                  <a:noFill/>
                </a:ln>
                <a:effectLst/>
                <a:uLnTx/>
                <a:uFillTx/>
                <a:latin typeface="Calibri (Headings)"/>
                <a:cs typeface="Calibri" panose="020F0502020204030204" pitchFamily="34" charset="0"/>
              </a:endParaRPr>
            </a:p>
          </p:txBody>
        </p:sp>
      </p:grpSp>
      <p:sp>
        <p:nvSpPr>
          <p:cNvPr id="65" name="Textfeld 39"/>
          <p:cNvSpPr txBox="1"/>
          <p:nvPr/>
        </p:nvSpPr>
        <p:spPr bwMode="gray">
          <a:xfrm>
            <a:off x="7064126" y="1111298"/>
            <a:ext cx="4503987" cy="1057588"/>
          </a:xfrm>
          <a:prstGeom prst="rect">
            <a:avLst/>
          </a:prstGeom>
          <a:noFill/>
        </p:spPr>
        <p:txBody>
          <a:bodyPr wrap="square" lIns="72000" tIns="36000" rIns="36000" b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effectLst/>
                <a:uLnTx/>
                <a:uFillTx/>
                <a:cs typeface="Calibri" panose="020F0502020204030204" pitchFamily="34" charset="0"/>
              </a:rPr>
              <a:t>Scalabilità</a:t>
            </a:r>
            <a:r>
              <a:rPr kumimoji="0" lang="it-IT" sz="1200" b="1" i="0" u="none" strike="noStrike" kern="0" cap="none" spc="0" normalizeH="0" baseline="0" dirty="0">
                <a:ln>
                  <a:noFill/>
                </a:ln>
                <a:effectLst/>
                <a:uLnTx/>
                <a:uFillTx/>
                <a:cs typeface="Calibri" panose="020F0502020204030204" pitchFamily="34" charset="0"/>
              </a:rPr>
              <a:t/>
            </a:r>
            <a:br>
              <a:rPr kumimoji="0" lang="it-IT" sz="1200" b="1" i="0" u="none" strike="noStrike" kern="0" cap="none" spc="0" normalizeH="0" baseline="0" dirty="0">
                <a:ln>
                  <a:noFill/>
                </a:ln>
                <a:effectLst/>
                <a:uLnTx/>
                <a:uFillTx/>
                <a:cs typeface="Calibri" panose="020F0502020204030204" pitchFamily="34" charset="0"/>
              </a:rPr>
            </a:br>
            <a:r>
              <a:rPr lang="it-IT" sz="1600" kern="0" dirty="0">
                <a:cs typeface="Calibri" panose="020F0502020204030204" pitchFamily="34" charset="0"/>
              </a:rPr>
              <a:t>Consente una </a:t>
            </a:r>
            <a:r>
              <a:rPr kumimoji="0" lang="it-IT" sz="1600" i="0" u="none" strike="noStrike" kern="0" cap="none" spc="0" normalizeH="0" baseline="0" dirty="0">
                <a:ln>
                  <a:noFill/>
                </a:ln>
                <a:effectLst/>
                <a:uLnTx/>
                <a:uFillTx/>
                <a:cs typeface="Calibri" panose="020F0502020204030204" pitchFamily="34" charset="0"/>
              </a:rPr>
              <a:t>graduale scalabilità della soluzione</a:t>
            </a:r>
            <a:r>
              <a:rPr kumimoji="0" lang="it-IT" sz="1600" b="1" i="0" u="none" strike="noStrike" kern="0" cap="none" spc="0" normalizeH="0" dirty="0">
                <a:ln>
                  <a:noFill/>
                </a:ln>
                <a:effectLst/>
                <a:uLnTx/>
                <a:uFillTx/>
                <a:cs typeface="Calibri" panose="020F0502020204030204" pitchFamily="34" charset="0"/>
              </a:rPr>
              <a:t> </a:t>
            </a:r>
            <a:r>
              <a:rPr kumimoji="0" lang="it-IT" sz="1600" i="0" u="none" strike="noStrike" kern="0" cap="none" spc="0" normalizeH="0" dirty="0">
                <a:ln>
                  <a:noFill/>
                </a:ln>
                <a:effectLst/>
                <a:uLnTx/>
                <a:uFillTx/>
                <a:cs typeface="Calibri" panose="020F0502020204030204" pitchFamily="34" charset="0"/>
              </a:rPr>
              <a:t>sia per i soggetti </a:t>
            </a:r>
            <a:r>
              <a:rPr kumimoji="0" lang="it-IT" sz="1600" b="0" i="0" u="none" strike="noStrike" kern="0" cap="none" spc="0" normalizeH="0" baseline="0" dirty="0">
                <a:ln>
                  <a:noFill/>
                </a:ln>
                <a:effectLst/>
                <a:uLnTx/>
                <a:uFillTx/>
                <a:cs typeface="Calibri" panose="020F0502020204030204" pitchFamily="34" charset="0"/>
              </a:rPr>
              <a:t>coinvolti nella</a:t>
            </a:r>
            <a:r>
              <a:rPr kumimoji="0" lang="it-IT" sz="1600" b="0" i="0" u="none" strike="noStrike" kern="0" cap="none" spc="0" normalizeH="0" dirty="0">
                <a:ln>
                  <a:noFill/>
                </a:ln>
                <a:effectLst/>
                <a:uLnTx/>
                <a:uFillTx/>
                <a:cs typeface="Calibri" panose="020F0502020204030204" pitchFamily="34" charset="0"/>
              </a:rPr>
              <a:t> rete</a:t>
            </a:r>
            <a:r>
              <a:rPr kumimoji="0" lang="it-IT" sz="1600" b="0" i="0" u="none" strike="noStrike" kern="0" cap="none" spc="0" normalizeH="0" baseline="0" dirty="0">
                <a:ln>
                  <a:noFill/>
                </a:ln>
                <a:effectLst/>
                <a:uLnTx/>
                <a:uFillTx/>
                <a:cs typeface="Calibri" panose="020F0502020204030204" pitchFamily="34" charset="0"/>
              </a:rPr>
              <a:t> che per le</a:t>
            </a:r>
            <a:r>
              <a:rPr kumimoji="0" lang="it-IT" sz="1600" b="0" i="0" u="none" strike="noStrike" kern="0" cap="none" spc="0" normalizeH="0" dirty="0">
                <a:ln>
                  <a:noFill/>
                </a:ln>
                <a:effectLst/>
                <a:uLnTx/>
                <a:uFillTx/>
                <a:cs typeface="Calibri" panose="020F0502020204030204" pitchFamily="34" charset="0"/>
              </a:rPr>
              <a:t> </a:t>
            </a:r>
            <a:r>
              <a:rPr kumimoji="0" lang="it-IT" sz="1600" b="0" i="0" u="none" strike="noStrike" kern="0" cap="none" spc="0" normalizeH="0" baseline="0" dirty="0">
                <a:ln>
                  <a:noFill/>
                </a:ln>
                <a:effectLst/>
                <a:uLnTx/>
                <a:uFillTx/>
                <a:cs typeface="Calibri" panose="020F0502020204030204" pitchFamily="34" charset="0"/>
              </a:rPr>
              <a:t>informazioni condivise</a:t>
            </a:r>
          </a:p>
        </p:txBody>
      </p:sp>
      <p:cxnSp>
        <p:nvCxnSpPr>
          <p:cNvPr id="66" name="Straight Connector 65"/>
          <p:cNvCxnSpPr/>
          <p:nvPr/>
        </p:nvCxnSpPr>
        <p:spPr>
          <a:xfrm flipH="1">
            <a:off x="5062524" y="1111298"/>
            <a:ext cx="0" cy="1121435"/>
          </a:xfrm>
          <a:prstGeom prst="line">
            <a:avLst/>
          </a:prstGeom>
          <a:noFill/>
          <a:ln w="38100" cap="flat" cmpd="sng" algn="ctr">
            <a:solidFill>
              <a:srgbClr val="5B9BD5"/>
            </a:solidFill>
            <a:prstDash val="solid"/>
            <a:miter lim="800000"/>
          </a:ln>
          <a:effectLst/>
        </p:spPr>
      </p:cxnSp>
      <p:sp>
        <p:nvSpPr>
          <p:cNvPr id="67" name="Textfeld 39"/>
          <p:cNvSpPr txBox="1"/>
          <p:nvPr/>
        </p:nvSpPr>
        <p:spPr bwMode="gray">
          <a:xfrm flipH="1">
            <a:off x="623886" y="1111298"/>
            <a:ext cx="4432866" cy="1057588"/>
          </a:xfrm>
          <a:prstGeom prst="rect">
            <a:avLst/>
          </a:prstGeom>
          <a:noFill/>
        </p:spPr>
        <p:txBody>
          <a:bodyPr wrap="square" lIns="108000" tIns="36000" rIns="72000" bIns="3600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effectLst/>
                <a:uLnTx/>
                <a:uFillTx/>
                <a:cs typeface="Calibri" panose="020F0502020204030204" pitchFamily="34" charset="0"/>
              </a:rPr>
              <a:t>Non </a:t>
            </a:r>
            <a:r>
              <a:rPr lang="it-IT" sz="1600" b="1" kern="0" dirty="0">
                <a:cs typeface="Calibri" panose="020F0502020204030204" pitchFamily="34" charset="0"/>
              </a:rPr>
              <a:t>richiede la creazione di un </a:t>
            </a:r>
            <a:r>
              <a:rPr kumimoji="0" lang="it-IT" sz="1600" b="1" i="0" u="none" strike="noStrike" kern="0" cap="none" spc="0" normalizeH="0" baseline="0" dirty="0">
                <a:ln>
                  <a:noFill/>
                </a:ln>
                <a:effectLst/>
                <a:uLnTx/>
                <a:uFillTx/>
                <a:cs typeface="Calibri" panose="020F0502020204030204" pitchFamily="34" charset="0"/>
              </a:rPr>
              <a:t>ulteriore codice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dirty="0">
                <a:ln>
                  <a:noFill/>
                </a:ln>
                <a:effectLst/>
                <a:uLnTx/>
                <a:uFillTx/>
                <a:cs typeface="Calibri" panose="020F0502020204030204" pitchFamily="34" charset="0"/>
              </a:rPr>
              <a:t>Garantisce l’identificazione univoca dei</a:t>
            </a:r>
            <a:r>
              <a:rPr kumimoji="0" lang="it-IT" sz="1600" b="0" i="0" u="none" strike="noStrike" kern="0" cap="none" spc="0" normalizeH="0" dirty="0">
                <a:ln>
                  <a:noFill/>
                </a:ln>
                <a:effectLst/>
                <a:uLnTx/>
                <a:uFillTx/>
                <a:cs typeface="Calibri" panose="020F0502020204030204" pitchFamily="34" charset="0"/>
              </a:rPr>
              <a:t> cittadini grazie ai codici esistenti, senza tenere conto delle </a:t>
            </a:r>
            <a:r>
              <a:rPr lang="it-IT" sz="1600" kern="0" dirty="0">
                <a:cs typeface="Calibri" panose="020F0502020204030204" pitchFamily="34" charset="0"/>
              </a:rPr>
              <a:t>particolarità dei codici detenuti dai diversi Stati</a:t>
            </a:r>
            <a:endParaRPr kumimoji="0" lang="it-IT" sz="1600" b="0" i="0" u="none" strike="noStrike" kern="0" cap="none" spc="0" normalizeH="0" baseline="0" dirty="0">
              <a:ln>
                <a:noFill/>
              </a:ln>
              <a:effectLst/>
              <a:uLnTx/>
              <a:uFillTx/>
              <a:cs typeface="Calibri" panose="020F0502020204030204" pitchFamily="34" charset="0"/>
            </a:endParaRPr>
          </a:p>
        </p:txBody>
      </p:sp>
      <p:grpSp>
        <p:nvGrpSpPr>
          <p:cNvPr id="68" name="Group 67"/>
          <p:cNvGrpSpPr/>
          <p:nvPr/>
        </p:nvGrpSpPr>
        <p:grpSpPr>
          <a:xfrm>
            <a:off x="5298387" y="1259815"/>
            <a:ext cx="659678" cy="824401"/>
            <a:chOff x="5111146" y="1465869"/>
            <a:chExt cx="672692" cy="824401"/>
          </a:xfrm>
        </p:grpSpPr>
        <p:sp>
          <p:nvSpPr>
            <p:cNvPr id="69" name="Freeform 140"/>
            <p:cNvSpPr>
              <a:spLocks noChangeAspect="1" noChangeArrowheads="1"/>
            </p:cNvSpPr>
            <p:nvPr/>
          </p:nvSpPr>
          <p:spPr bwMode="auto">
            <a:xfrm>
              <a:off x="5135050" y="1465869"/>
              <a:ext cx="605642" cy="655473"/>
            </a:xfrm>
            <a:custGeom>
              <a:avLst/>
              <a:gdLst>
                <a:gd name="T0" fmla="*/ 2147483647 w 876"/>
                <a:gd name="T1" fmla="*/ 2147483647 h 949"/>
                <a:gd name="T2" fmla="*/ 2147483647 w 876"/>
                <a:gd name="T3" fmla="*/ 2147483647 h 949"/>
                <a:gd name="T4" fmla="*/ 2147483647 w 876"/>
                <a:gd name="T5" fmla="*/ 2147483647 h 949"/>
                <a:gd name="T6" fmla="*/ 2147483647 w 876"/>
                <a:gd name="T7" fmla="*/ 2147483647 h 949"/>
                <a:gd name="T8" fmla="*/ 2147483647 w 876"/>
                <a:gd name="T9" fmla="*/ 2147483647 h 949"/>
                <a:gd name="T10" fmla="*/ 2147483647 w 876"/>
                <a:gd name="T11" fmla="*/ 2147483647 h 949"/>
                <a:gd name="T12" fmla="*/ 2147483647 w 876"/>
                <a:gd name="T13" fmla="*/ 2147483647 h 949"/>
                <a:gd name="T14" fmla="*/ 2147483647 w 876"/>
                <a:gd name="T15" fmla="*/ 2147483647 h 949"/>
                <a:gd name="T16" fmla="*/ 2147483647 w 876"/>
                <a:gd name="T17" fmla="*/ 2147483647 h 949"/>
                <a:gd name="T18" fmla="*/ 2147483647 w 876"/>
                <a:gd name="T19" fmla="*/ 2147483647 h 949"/>
                <a:gd name="T20" fmla="*/ 2147483647 w 876"/>
                <a:gd name="T21" fmla="*/ 2147483647 h 949"/>
                <a:gd name="T22" fmla="*/ 2147483647 w 876"/>
                <a:gd name="T23" fmla="*/ 2147483647 h 949"/>
                <a:gd name="T24" fmla="*/ 2147483647 w 876"/>
                <a:gd name="T25" fmla="*/ 2147483647 h 949"/>
                <a:gd name="T26" fmla="*/ 2147483647 w 876"/>
                <a:gd name="T27" fmla="*/ 2147483647 h 949"/>
                <a:gd name="T28" fmla="*/ 2147483647 w 876"/>
                <a:gd name="T29" fmla="*/ 2147483647 h 949"/>
                <a:gd name="T30" fmla="*/ 2147483647 w 876"/>
                <a:gd name="T31" fmla="*/ 2147483647 h 949"/>
                <a:gd name="T32" fmla="*/ 2147483647 w 876"/>
                <a:gd name="T33" fmla="*/ 2147483647 h 949"/>
                <a:gd name="T34" fmla="*/ 2147483647 w 876"/>
                <a:gd name="T35" fmla="*/ 2147483647 h 949"/>
                <a:gd name="T36" fmla="*/ 2147483647 w 876"/>
                <a:gd name="T37" fmla="*/ 2147483647 h 949"/>
                <a:gd name="T38" fmla="*/ 2147483647 w 876"/>
                <a:gd name="T39" fmla="*/ 2147483647 h 949"/>
                <a:gd name="T40" fmla="*/ 2147483647 w 876"/>
                <a:gd name="T41" fmla="*/ 2147483647 h 949"/>
                <a:gd name="T42" fmla="*/ 2147483647 w 876"/>
                <a:gd name="T43" fmla="*/ 2147483647 h 949"/>
                <a:gd name="T44" fmla="*/ 2147483647 w 876"/>
                <a:gd name="T45" fmla="*/ 2147483647 h 949"/>
                <a:gd name="T46" fmla="*/ 2147483647 w 876"/>
                <a:gd name="T47" fmla="*/ 2147483647 h 949"/>
                <a:gd name="T48" fmla="*/ 2147483647 w 876"/>
                <a:gd name="T49" fmla="*/ 2147483647 h 949"/>
                <a:gd name="T50" fmla="*/ 2147483647 w 876"/>
                <a:gd name="T51" fmla="*/ 2147483647 h 949"/>
                <a:gd name="T52" fmla="*/ 2147483647 w 876"/>
                <a:gd name="T53" fmla="*/ 2147483647 h 949"/>
                <a:gd name="T54" fmla="*/ 2147483647 w 876"/>
                <a:gd name="T55" fmla="*/ 2147483647 h 949"/>
                <a:gd name="T56" fmla="*/ 2147483647 w 876"/>
                <a:gd name="T57" fmla="*/ 2147483647 h 949"/>
                <a:gd name="T58" fmla="*/ 2147483647 w 876"/>
                <a:gd name="T59" fmla="*/ 2147483647 h 949"/>
                <a:gd name="T60" fmla="*/ 2147483647 w 876"/>
                <a:gd name="T61" fmla="*/ 2147483647 h 949"/>
                <a:gd name="T62" fmla="*/ 2147483647 w 876"/>
                <a:gd name="T63" fmla="*/ 2147483647 h 9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76" h="949">
                  <a:moveTo>
                    <a:pt x="824" y="653"/>
                  </a:moveTo>
                  <a:lnTo>
                    <a:pt x="824" y="653"/>
                  </a:lnTo>
                  <a:cubicBezTo>
                    <a:pt x="738" y="608"/>
                    <a:pt x="641" y="582"/>
                    <a:pt x="542" y="575"/>
                  </a:cubicBezTo>
                  <a:cubicBezTo>
                    <a:pt x="549" y="548"/>
                    <a:pt x="549" y="529"/>
                    <a:pt x="555" y="503"/>
                  </a:cubicBezTo>
                  <a:cubicBezTo>
                    <a:pt x="576" y="489"/>
                    <a:pt x="594" y="471"/>
                    <a:pt x="594" y="451"/>
                  </a:cubicBezTo>
                  <a:cubicBezTo>
                    <a:pt x="594" y="431"/>
                    <a:pt x="602" y="411"/>
                    <a:pt x="602" y="392"/>
                  </a:cubicBezTo>
                  <a:cubicBezTo>
                    <a:pt x="602" y="392"/>
                    <a:pt x="608" y="392"/>
                    <a:pt x="614" y="392"/>
                  </a:cubicBezTo>
                  <a:cubicBezTo>
                    <a:pt x="621" y="399"/>
                    <a:pt x="634" y="386"/>
                    <a:pt x="634" y="378"/>
                  </a:cubicBezTo>
                  <a:cubicBezTo>
                    <a:pt x="641" y="281"/>
                    <a:pt x="641" y="281"/>
                    <a:pt x="641" y="281"/>
                  </a:cubicBezTo>
                  <a:cubicBezTo>
                    <a:pt x="641" y="267"/>
                    <a:pt x="634" y="261"/>
                    <a:pt x="627" y="261"/>
                  </a:cubicBezTo>
                  <a:cubicBezTo>
                    <a:pt x="620" y="261"/>
                    <a:pt x="621" y="261"/>
                    <a:pt x="614" y="261"/>
                  </a:cubicBezTo>
                  <a:cubicBezTo>
                    <a:pt x="614" y="242"/>
                    <a:pt x="621" y="222"/>
                    <a:pt x="621" y="209"/>
                  </a:cubicBezTo>
                  <a:cubicBezTo>
                    <a:pt x="621" y="183"/>
                    <a:pt x="634" y="111"/>
                    <a:pt x="588" y="65"/>
                  </a:cubicBezTo>
                  <a:cubicBezTo>
                    <a:pt x="516" y="0"/>
                    <a:pt x="360" y="0"/>
                    <a:pt x="287" y="65"/>
                  </a:cubicBezTo>
                  <a:cubicBezTo>
                    <a:pt x="235" y="111"/>
                    <a:pt x="249" y="183"/>
                    <a:pt x="255" y="209"/>
                  </a:cubicBezTo>
                  <a:cubicBezTo>
                    <a:pt x="255" y="222"/>
                    <a:pt x="255" y="242"/>
                    <a:pt x="261" y="261"/>
                  </a:cubicBezTo>
                  <a:cubicBezTo>
                    <a:pt x="255" y="261"/>
                    <a:pt x="255" y="261"/>
                    <a:pt x="249" y="261"/>
                  </a:cubicBezTo>
                  <a:cubicBezTo>
                    <a:pt x="235" y="261"/>
                    <a:pt x="229" y="267"/>
                    <a:pt x="229" y="281"/>
                  </a:cubicBezTo>
                  <a:cubicBezTo>
                    <a:pt x="242" y="378"/>
                    <a:pt x="242" y="378"/>
                    <a:pt x="242" y="378"/>
                  </a:cubicBezTo>
                  <a:cubicBezTo>
                    <a:pt x="242" y="386"/>
                    <a:pt x="255" y="399"/>
                    <a:pt x="261" y="392"/>
                  </a:cubicBezTo>
                  <a:cubicBezTo>
                    <a:pt x="268" y="392"/>
                    <a:pt x="268" y="392"/>
                    <a:pt x="274" y="392"/>
                  </a:cubicBezTo>
                  <a:cubicBezTo>
                    <a:pt x="274" y="411"/>
                    <a:pt x="281" y="431"/>
                    <a:pt x="281" y="451"/>
                  </a:cubicBezTo>
                  <a:cubicBezTo>
                    <a:pt x="281" y="471"/>
                    <a:pt x="301" y="489"/>
                    <a:pt x="320" y="503"/>
                  </a:cubicBezTo>
                  <a:cubicBezTo>
                    <a:pt x="320" y="529"/>
                    <a:pt x="327" y="548"/>
                    <a:pt x="327" y="575"/>
                  </a:cubicBezTo>
                  <a:cubicBezTo>
                    <a:pt x="235" y="582"/>
                    <a:pt x="138" y="608"/>
                    <a:pt x="52" y="653"/>
                  </a:cubicBezTo>
                  <a:cubicBezTo>
                    <a:pt x="20" y="667"/>
                    <a:pt x="0" y="705"/>
                    <a:pt x="6" y="738"/>
                  </a:cubicBezTo>
                  <a:cubicBezTo>
                    <a:pt x="6" y="770"/>
                    <a:pt x="13" y="804"/>
                    <a:pt x="13" y="843"/>
                  </a:cubicBezTo>
                  <a:cubicBezTo>
                    <a:pt x="20" y="869"/>
                    <a:pt x="46" y="902"/>
                    <a:pt x="72" y="908"/>
                  </a:cubicBezTo>
                  <a:cubicBezTo>
                    <a:pt x="314" y="948"/>
                    <a:pt x="562" y="948"/>
                    <a:pt x="804" y="908"/>
                  </a:cubicBezTo>
                  <a:cubicBezTo>
                    <a:pt x="830" y="902"/>
                    <a:pt x="856" y="869"/>
                    <a:pt x="863" y="843"/>
                  </a:cubicBezTo>
                  <a:cubicBezTo>
                    <a:pt x="863" y="804"/>
                    <a:pt x="869" y="770"/>
                    <a:pt x="869" y="738"/>
                  </a:cubicBezTo>
                  <a:cubicBezTo>
                    <a:pt x="875" y="705"/>
                    <a:pt x="856" y="667"/>
                    <a:pt x="824" y="653"/>
                  </a:cubicBezTo>
                </a:path>
              </a:pathLst>
            </a:custGeom>
            <a:solidFill>
              <a:srgbClr val="585858"/>
            </a:solidFill>
            <a:ln>
              <a:noFill/>
            </a:ln>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600" b="0" i="0" u="none" strike="noStrike" kern="0" cap="none" spc="0" normalizeH="0" baseline="0" dirty="0">
                <a:ln>
                  <a:noFill/>
                </a:ln>
                <a:effectLst/>
                <a:uLnTx/>
                <a:uFillTx/>
                <a:latin typeface="Calibri (Headings)"/>
                <a:cs typeface="Calibri" panose="020F0502020204030204" pitchFamily="34" charset="0"/>
              </a:endParaRPr>
            </a:p>
          </p:txBody>
        </p:sp>
        <p:grpSp>
          <p:nvGrpSpPr>
            <p:cNvPr id="70" name="Group 69"/>
            <p:cNvGrpSpPr/>
            <p:nvPr/>
          </p:nvGrpSpPr>
          <p:grpSpPr>
            <a:xfrm>
              <a:off x="5111146" y="2082667"/>
              <a:ext cx="672692" cy="207603"/>
              <a:chOff x="5111146" y="2082667"/>
              <a:chExt cx="672692" cy="207603"/>
            </a:xfrm>
          </p:grpSpPr>
          <p:sp>
            <p:nvSpPr>
              <p:cNvPr id="71" name="Rectangle 70"/>
              <p:cNvSpPr/>
              <p:nvPr/>
            </p:nvSpPr>
            <p:spPr>
              <a:xfrm>
                <a:off x="5111146" y="2082667"/>
                <a:ext cx="672692" cy="206491"/>
              </a:xfrm>
              <a:prstGeom prst="rect">
                <a:avLst/>
              </a:prstGeom>
              <a:solidFill>
                <a:sysClr val="window" lastClr="FFFFFF"/>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Headings)"/>
                  <a:cs typeface="Calibri" panose="020F0502020204030204" pitchFamily="34" charset="0"/>
                </a:endParaRPr>
              </a:p>
            </p:txBody>
          </p:sp>
          <p:grpSp>
            <p:nvGrpSpPr>
              <p:cNvPr id="72" name="Group 71"/>
              <p:cNvGrpSpPr/>
              <p:nvPr/>
            </p:nvGrpSpPr>
            <p:grpSpPr>
              <a:xfrm>
                <a:off x="5128688" y="2083157"/>
                <a:ext cx="635778" cy="207113"/>
                <a:chOff x="8445698" y="1833050"/>
                <a:chExt cx="599376" cy="224570"/>
              </a:xfrm>
            </p:grpSpPr>
            <p:sp>
              <p:nvSpPr>
                <p:cNvPr id="73" name="Rectangle 72"/>
                <p:cNvSpPr/>
                <p:nvPr/>
              </p:nvSpPr>
              <p:spPr>
                <a:xfrm>
                  <a:off x="8445698"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74" name="Rectangle 73"/>
                <p:cNvSpPr/>
                <p:nvPr/>
              </p:nvSpPr>
              <p:spPr>
                <a:xfrm>
                  <a:off x="8503791"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75" name="Rectangle 74"/>
                <p:cNvSpPr/>
                <p:nvPr/>
              </p:nvSpPr>
              <p:spPr>
                <a:xfrm>
                  <a:off x="8563570" y="183327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76" name="Rectangle 75"/>
                <p:cNvSpPr/>
                <p:nvPr/>
              </p:nvSpPr>
              <p:spPr>
                <a:xfrm>
                  <a:off x="8621648"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77" name="Rectangle 76"/>
                <p:cNvSpPr/>
                <p:nvPr/>
              </p:nvSpPr>
              <p:spPr>
                <a:xfrm>
                  <a:off x="8679727"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78" name="Rectangle 77"/>
                <p:cNvSpPr/>
                <p:nvPr/>
              </p:nvSpPr>
              <p:spPr>
                <a:xfrm>
                  <a:off x="8737804"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79" name="Rectangle 78"/>
                <p:cNvSpPr/>
                <p:nvPr/>
              </p:nvSpPr>
              <p:spPr>
                <a:xfrm>
                  <a:off x="8795880"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80" name="Rectangle 79"/>
                <p:cNvSpPr/>
                <p:nvPr/>
              </p:nvSpPr>
              <p:spPr>
                <a:xfrm>
                  <a:off x="8858120"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81" name="Rectangle 80"/>
                <p:cNvSpPr/>
                <p:nvPr/>
              </p:nvSpPr>
              <p:spPr>
                <a:xfrm>
                  <a:off x="8928724" y="1833051"/>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82" name="Rectangle 81"/>
                <p:cNvSpPr/>
                <p:nvPr/>
              </p:nvSpPr>
              <p:spPr>
                <a:xfrm>
                  <a:off x="8999355" y="1833050"/>
                  <a:ext cx="45719" cy="224350"/>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grpSp>
        </p:grpSp>
      </p:grpSp>
      <p:grpSp>
        <p:nvGrpSpPr>
          <p:cNvPr id="85" name="Group 84"/>
          <p:cNvGrpSpPr>
            <a:grpSpLocks noChangeAspect="1"/>
          </p:cNvGrpSpPr>
          <p:nvPr/>
        </p:nvGrpSpPr>
        <p:grpSpPr>
          <a:xfrm>
            <a:off x="4914691" y="2367000"/>
            <a:ext cx="2362618" cy="2124000"/>
            <a:chOff x="4936022" y="2830062"/>
            <a:chExt cx="2322762" cy="2088169"/>
          </a:xfrm>
        </p:grpSpPr>
        <p:grpSp>
          <p:nvGrpSpPr>
            <p:cNvPr id="86" name="Group 85"/>
            <p:cNvGrpSpPr/>
            <p:nvPr/>
          </p:nvGrpSpPr>
          <p:grpSpPr>
            <a:xfrm>
              <a:off x="4936022" y="2830062"/>
              <a:ext cx="2322762" cy="2088169"/>
              <a:chOff x="4936022" y="2830062"/>
              <a:chExt cx="2322762" cy="2088169"/>
            </a:xfrm>
          </p:grpSpPr>
          <p:grpSp>
            <p:nvGrpSpPr>
              <p:cNvPr id="88" name="Group 87"/>
              <p:cNvGrpSpPr/>
              <p:nvPr/>
            </p:nvGrpSpPr>
            <p:grpSpPr>
              <a:xfrm flipV="1">
                <a:off x="5304080" y="4517014"/>
                <a:ext cx="1583841" cy="401217"/>
                <a:chOff x="5257396" y="2866638"/>
                <a:chExt cx="1583841" cy="401217"/>
              </a:xfrm>
            </p:grpSpPr>
            <p:sp>
              <p:nvSpPr>
                <p:cNvPr id="95" name="Isosceles Triangle 94"/>
                <p:cNvSpPr/>
                <p:nvPr/>
              </p:nvSpPr>
              <p:spPr>
                <a:xfrm rot="20036813">
                  <a:off x="5257396" y="2866638"/>
                  <a:ext cx="669776" cy="401217"/>
                </a:xfrm>
                <a:prstGeom prst="triangle">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sp>
              <p:nvSpPr>
                <p:cNvPr id="96" name="Isosceles Triangle 95"/>
                <p:cNvSpPr/>
                <p:nvPr/>
              </p:nvSpPr>
              <p:spPr>
                <a:xfrm rot="1563187" flipH="1">
                  <a:off x="6171461" y="2866638"/>
                  <a:ext cx="669776" cy="401217"/>
                </a:xfrm>
                <a:prstGeom prst="triangle">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grpSp>
          <p:grpSp>
            <p:nvGrpSpPr>
              <p:cNvPr id="89" name="Group 88"/>
              <p:cNvGrpSpPr/>
              <p:nvPr/>
            </p:nvGrpSpPr>
            <p:grpSpPr>
              <a:xfrm>
                <a:off x="5304080" y="2830062"/>
                <a:ext cx="1583841" cy="401218"/>
                <a:chOff x="5257396" y="2866638"/>
                <a:chExt cx="1583841" cy="401218"/>
              </a:xfrm>
            </p:grpSpPr>
            <p:sp>
              <p:nvSpPr>
                <p:cNvPr id="93" name="Isosceles Triangle 92"/>
                <p:cNvSpPr/>
                <p:nvPr/>
              </p:nvSpPr>
              <p:spPr>
                <a:xfrm rot="20036813">
                  <a:off x="5257396" y="2866638"/>
                  <a:ext cx="669777" cy="401218"/>
                </a:xfrm>
                <a:prstGeom prst="triangle">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sp>
              <p:nvSpPr>
                <p:cNvPr id="94" name="Isosceles Triangle 93"/>
                <p:cNvSpPr/>
                <p:nvPr/>
              </p:nvSpPr>
              <p:spPr>
                <a:xfrm rot="1563187" flipH="1">
                  <a:off x="6171461" y="2866638"/>
                  <a:ext cx="669776" cy="401217"/>
                </a:xfrm>
                <a:prstGeom prst="triangle">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grpSp>
          <p:grpSp>
            <p:nvGrpSpPr>
              <p:cNvPr id="90" name="Group 89"/>
              <p:cNvGrpSpPr/>
              <p:nvPr/>
            </p:nvGrpSpPr>
            <p:grpSpPr>
              <a:xfrm>
                <a:off x="4936022" y="3527044"/>
                <a:ext cx="2322762" cy="681043"/>
                <a:chOff x="4936022" y="3527044"/>
                <a:chExt cx="2322762" cy="681043"/>
              </a:xfrm>
            </p:grpSpPr>
            <p:sp>
              <p:nvSpPr>
                <p:cNvPr id="91" name="Isosceles Triangle 90"/>
                <p:cNvSpPr/>
                <p:nvPr/>
              </p:nvSpPr>
              <p:spPr>
                <a:xfrm rot="16200000">
                  <a:off x="4801743" y="3661323"/>
                  <a:ext cx="669776" cy="401217"/>
                </a:xfrm>
                <a:prstGeom prst="triangle">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sp>
              <p:nvSpPr>
                <p:cNvPr id="92" name="Isosceles Triangle 91"/>
                <p:cNvSpPr/>
                <p:nvPr/>
              </p:nvSpPr>
              <p:spPr>
                <a:xfrm rot="5400000" flipH="1">
                  <a:off x="6723288" y="3672590"/>
                  <a:ext cx="669776" cy="401217"/>
                </a:xfrm>
                <a:prstGeom prst="triangle">
                  <a:avLst/>
                </a:prstGeom>
                <a:solidFill>
                  <a:sysClr val="window" lastClr="FFFFFF">
                    <a:lumMod val="85000"/>
                  </a:sysClr>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panose="020F0502020204030204" pitchFamily="34" charset="0"/>
                    <a:cs typeface="Calibri" panose="020F0502020204030204" pitchFamily="34" charset="0"/>
                  </a:endParaRPr>
                </a:p>
              </p:txBody>
            </p:sp>
          </p:grpSp>
        </p:grpSp>
        <p:sp>
          <p:nvSpPr>
            <p:cNvPr id="87" name="Oval 86"/>
            <p:cNvSpPr/>
            <p:nvPr/>
          </p:nvSpPr>
          <p:spPr>
            <a:xfrm>
              <a:off x="5251403" y="3028147"/>
              <a:ext cx="1692000" cy="1692000"/>
            </a:xfrm>
            <a:prstGeom prst="ellipse">
              <a:avLst/>
            </a:prstGeom>
            <a:solidFill>
              <a:srgbClr val="5B9BD5"/>
            </a:solidFill>
            <a:ln w="28575" cap="flat" cmpd="sng" algn="ctr">
              <a:solidFill>
                <a:sysClr val="window" lastClr="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000" b="1" i="0" u="none" strike="noStrike" kern="0" cap="none" spc="0" normalizeH="0" baseline="0" dirty="0">
                  <a:ln>
                    <a:noFill/>
                  </a:ln>
                  <a:solidFill>
                    <a:schemeClr val="bg1"/>
                  </a:solidFill>
                  <a:effectLst/>
                  <a:uLnTx/>
                  <a:uFillTx/>
                  <a:latin typeface="Calibri" panose="020F0502020204030204" pitchFamily="34" charset="0"/>
                  <a:cs typeface="Calibri" panose="020F0502020204030204" pitchFamily="34" charset="0"/>
                </a:rPr>
                <a:t>TecnologiaBlockchain</a:t>
              </a:r>
              <a:endParaRPr kumimoji="0" lang="it-IT" sz="1400" b="1" i="0" u="none" strike="noStrike" kern="0" cap="none" spc="0" normalizeH="0" baseline="0" dirty="0">
                <a:ln>
                  <a:noFill/>
                </a:ln>
                <a:solidFill>
                  <a:schemeClr val="bg1"/>
                </a:solidFill>
                <a:effectLst/>
                <a:uLnTx/>
                <a:uFillTx/>
                <a:latin typeface="Calibri" panose="020F0502020204030204" pitchFamily="34" charset="0"/>
                <a:cs typeface="Calibri" panose="020F0502020204030204" pitchFamily="34" charset="0"/>
              </a:endParaRPr>
            </a:p>
          </p:txBody>
        </p:sp>
      </p:grpSp>
      <p:pic>
        <p:nvPicPr>
          <p:cNvPr id="98" name="Picture 97"/>
          <p:cNvPicPr>
            <a:picLocks noChangeAspect="1"/>
          </p:cNvPicPr>
          <p:nvPr/>
        </p:nvPicPr>
        <p:blipFill>
          <a:blip r:embed="rId2" cstate="print">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6366789" y="4977220"/>
            <a:ext cx="607817" cy="715320"/>
          </a:xfrm>
          <a:prstGeom prst="rect">
            <a:avLst/>
          </a:prstGeom>
        </p:spPr>
      </p:pic>
      <p:sp>
        <p:nvSpPr>
          <p:cNvPr id="99" name="Textfeld 40"/>
          <p:cNvSpPr txBox="1"/>
          <p:nvPr/>
        </p:nvSpPr>
        <p:spPr bwMode="gray">
          <a:xfrm>
            <a:off x="7194998" y="4637952"/>
            <a:ext cx="4373115" cy="1303809"/>
          </a:xfrm>
          <a:prstGeom prst="rect">
            <a:avLst/>
          </a:prstGeom>
          <a:noFill/>
        </p:spPr>
        <p:txBody>
          <a:bodyPr wrap="square" lIns="72000" tIns="36000" rIns="36000" b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effectLst/>
                <a:uLnTx/>
                <a:uFillTx/>
                <a:cs typeface="Calibri" panose="020F0502020204030204" pitchFamily="34" charset="0"/>
              </a:rPr>
              <a:t>Riduzione</a:t>
            </a:r>
            <a:r>
              <a:rPr kumimoji="0" lang="it-IT" sz="1600" b="1" i="0" u="none" strike="noStrike" kern="0" cap="none" spc="0" normalizeH="0" dirty="0">
                <a:ln>
                  <a:noFill/>
                </a:ln>
                <a:effectLst/>
                <a:uLnTx/>
                <a:uFillTx/>
                <a:cs typeface="Calibri" panose="020F0502020204030204" pitchFamily="34" charset="0"/>
              </a:rPr>
              <a:t> delle frodi fiscali</a:t>
            </a:r>
            <a:endParaRPr kumimoji="0" lang="it-IT" sz="1600" b="1" i="0" u="none" strike="noStrike" kern="0" cap="none" spc="0" normalizeH="0" baseline="0" dirty="0">
              <a:ln>
                <a:noFill/>
              </a:ln>
              <a:effectLst/>
              <a:uLnTx/>
              <a:uFillTx/>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dirty="0">
                <a:ln>
                  <a:noFill/>
                </a:ln>
                <a:effectLst/>
                <a:uLnTx/>
                <a:uFillTx/>
                <a:cs typeface="Calibri" panose="020F0502020204030204" pitchFamily="34" charset="0"/>
              </a:rPr>
              <a:t>Prevenzione delle</a:t>
            </a:r>
            <a:r>
              <a:rPr kumimoji="0" lang="it-IT" sz="1600" b="0" i="0" u="none" strike="noStrike" kern="0" cap="none" spc="0" normalizeH="0" dirty="0">
                <a:ln>
                  <a:noFill/>
                </a:ln>
                <a:effectLst/>
                <a:uLnTx/>
                <a:uFillTx/>
                <a:cs typeface="Calibri" panose="020F0502020204030204" pitchFamily="34" charset="0"/>
              </a:rPr>
              <a:t> frodi e del rischio di doppie identità grazie al codice univoco dei cittadini generato dalla Blockchain, che consente di ricostruire l’intero ciclo di vita dei contribuenti</a:t>
            </a:r>
            <a:endParaRPr kumimoji="0" lang="it-IT" sz="1600" b="0" i="0" u="none" strike="noStrike" kern="0" cap="none" spc="0" normalizeH="0" baseline="0" dirty="0">
              <a:ln>
                <a:noFill/>
              </a:ln>
              <a:effectLst/>
              <a:uLnTx/>
              <a:uFillTx/>
              <a:cs typeface="Calibri" panose="020F0502020204030204" pitchFamily="34" charset="0"/>
            </a:endParaRPr>
          </a:p>
        </p:txBody>
      </p:sp>
      <p:cxnSp>
        <p:nvCxnSpPr>
          <p:cNvPr id="100" name="Straight Connector 99"/>
          <p:cNvCxnSpPr/>
          <p:nvPr/>
        </p:nvCxnSpPr>
        <p:spPr>
          <a:xfrm>
            <a:off x="7174087" y="4700037"/>
            <a:ext cx="0" cy="1269686"/>
          </a:xfrm>
          <a:prstGeom prst="line">
            <a:avLst/>
          </a:prstGeom>
          <a:noFill/>
          <a:ln w="38100" cap="flat" cmpd="sng" algn="ctr">
            <a:solidFill>
              <a:srgbClr val="5B9BD5"/>
            </a:solidFill>
            <a:prstDash val="solid"/>
            <a:miter lim="800000"/>
          </a:ln>
          <a:effectLst/>
        </p:spPr>
      </p:cxnSp>
      <p:cxnSp>
        <p:nvCxnSpPr>
          <p:cNvPr id="101" name="Straight Connector 100"/>
          <p:cNvCxnSpPr/>
          <p:nvPr/>
        </p:nvCxnSpPr>
        <p:spPr>
          <a:xfrm flipH="1">
            <a:off x="5187601" y="4700037"/>
            <a:ext cx="0" cy="1269686"/>
          </a:xfrm>
          <a:prstGeom prst="line">
            <a:avLst/>
          </a:prstGeom>
          <a:noFill/>
          <a:ln w="38100" cap="flat" cmpd="sng" algn="ctr">
            <a:solidFill>
              <a:srgbClr val="5B9BD5"/>
            </a:solidFill>
            <a:prstDash val="solid"/>
            <a:miter lim="800000"/>
          </a:ln>
          <a:effectLst/>
        </p:spPr>
      </p:cxnSp>
      <p:sp>
        <p:nvSpPr>
          <p:cNvPr id="102" name="Textfeld 40"/>
          <p:cNvSpPr txBox="1"/>
          <p:nvPr/>
        </p:nvSpPr>
        <p:spPr bwMode="gray">
          <a:xfrm flipH="1">
            <a:off x="623887" y="4637952"/>
            <a:ext cx="4563713" cy="1303809"/>
          </a:xfrm>
          <a:prstGeom prst="rect">
            <a:avLst/>
          </a:prstGeom>
          <a:noFill/>
        </p:spPr>
        <p:txBody>
          <a:bodyPr wrap="square" lIns="108000" tIns="36000" rIns="72000" bIns="3600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effectLst/>
                <a:uLnTx/>
                <a:uFillTx/>
                <a:cs typeface="Calibri" panose="020F0502020204030204" pitchFamily="34" charset="0"/>
              </a:rPr>
              <a:t>Ogni Stato</a:t>
            </a:r>
            <a:r>
              <a:rPr kumimoji="0" lang="it-IT" sz="1600" b="1" i="0" u="none" strike="noStrike" kern="0" cap="none" spc="0" normalizeH="0" dirty="0">
                <a:ln>
                  <a:noFill/>
                </a:ln>
                <a:effectLst/>
                <a:uLnTx/>
                <a:uFillTx/>
                <a:cs typeface="Calibri" panose="020F0502020204030204" pitchFamily="34" charset="0"/>
              </a:rPr>
              <a:t> detiene dati ed informazioni pregresse</a:t>
            </a:r>
            <a:endParaRPr kumimoji="0" lang="it-IT" sz="1600" b="1" i="0" u="none" strike="noStrike" kern="0" cap="none" spc="0" normalizeH="0" baseline="0" dirty="0">
              <a:ln>
                <a:noFill/>
              </a:ln>
              <a:effectLst/>
              <a:uLnTx/>
              <a:uFillTx/>
              <a:cs typeface="Calibri" panose="020F0502020204030204" pitchFamily="34" charset="0"/>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dirty="0">
                <a:ln>
                  <a:noFill/>
                </a:ln>
                <a:effectLst/>
                <a:uLnTx/>
                <a:uFillTx/>
                <a:cs typeface="Calibri" panose="020F0502020204030204" pitchFamily="34" charset="0"/>
              </a:rPr>
              <a:t>Tutti gli</a:t>
            </a:r>
            <a:r>
              <a:rPr kumimoji="0" lang="it-IT" sz="1600" b="0" i="0" u="none" strike="noStrike" kern="0" cap="none" spc="0" normalizeH="0" dirty="0">
                <a:ln>
                  <a:noFill/>
                </a:ln>
                <a:effectLst/>
                <a:uLnTx/>
                <a:uFillTx/>
                <a:cs typeface="Calibri" panose="020F0502020204030204" pitchFamily="34" charset="0"/>
              </a:rPr>
              <a:t> Stati, essendo parte della rete</a:t>
            </a:r>
            <a:r>
              <a:rPr kumimoji="0" lang="it-IT" sz="1600" b="0" i="0" u="none" strike="noStrike" kern="0" cap="none" spc="0" normalizeH="0" baseline="0" dirty="0">
                <a:ln>
                  <a:noFill/>
                </a:ln>
                <a:effectLst/>
                <a:uLnTx/>
                <a:uFillTx/>
                <a:cs typeface="Calibri" panose="020F0502020204030204" pitchFamily="34" charset="0"/>
              </a:rPr>
              <a:t> possono utilizzare i dati e le informazioni presenti nei</a:t>
            </a:r>
            <a:r>
              <a:rPr kumimoji="0" lang="it-IT" sz="1600" b="0" i="0" u="none" strike="noStrike" kern="0" cap="none" spc="0" normalizeH="0" dirty="0">
                <a:ln>
                  <a:noFill/>
                </a:ln>
                <a:effectLst/>
                <a:uLnTx/>
                <a:uFillTx/>
                <a:cs typeface="Calibri" panose="020F0502020204030204" pitchFamily="34" charset="0"/>
              </a:rPr>
              <a:t> sistemi </a:t>
            </a:r>
            <a:r>
              <a:rPr kumimoji="0" lang="it-IT" sz="1600" b="0" i="0" u="none" strike="noStrike" kern="0" cap="none" spc="0" normalizeH="0" baseline="0" dirty="0">
                <a:ln>
                  <a:noFill/>
                </a:ln>
                <a:effectLst/>
                <a:uLnTx/>
                <a:uFillTx/>
                <a:cs typeface="Calibri" panose="020F0502020204030204" pitchFamily="34" charset="0"/>
              </a:rPr>
              <a:t>di </a:t>
            </a:r>
            <a:r>
              <a:rPr lang="it-IT" sz="1600" kern="0" dirty="0">
                <a:cs typeface="Calibri" panose="020F0502020204030204" pitchFamily="34" charset="0"/>
              </a:rPr>
              <a:t>tutti gli Stati, senza creare un database aggiuntivo, preservando la sovranità dei dati di ogni paese</a:t>
            </a:r>
          </a:p>
        </p:txBody>
      </p:sp>
      <p:sp>
        <p:nvSpPr>
          <p:cNvPr id="103" name="Freeform 23"/>
          <p:cNvSpPr>
            <a:spLocks noChangeAspect="1" noChangeArrowheads="1"/>
          </p:cNvSpPr>
          <p:nvPr/>
        </p:nvSpPr>
        <p:spPr bwMode="auto">
          <a:xfrm>
            <a:off x="5491549" y="5090098"/>
            <a:ext cx="524261" cy="489564"/>
          </a:xfrm>
          <a:custGeom>
            <a:avLst/>
            <a:gdLst>
              <a:gd name="T0" fmla="*/ 2147483647 w 1001"/>
              <a:gd name="T1" fmla="*/ 2147483647 h 793"/>
              <a:gd name="T2" fmla="*/ 2147483647 w 1001"/>
              <a:gd name="T3" fmla="*/ 2147483647 h 793"/>
              <a:gd name="T4" fmla="*/ 0 w 1001"/>
              <a:gd name="T5" fmla="*/ 2147483647 h 793"/>
              <a:gd name="T6" fmla="*/ 0 w 1001"/>
              <a:gd name="T7" fmla="*/ 2147483647 h 793"/>
              <a:gd name="T8" fmla="*/ 2147483647 w 1001"/>
              <a:gd name="T9" fmla="*/ 2147483647 h 793"/>
              <a:gd name="T10" fmla="*/ 2147483647 w 1001"/>
              <a:gd name="T11" fmla="*/ 2147483647 h 793"/>
              <a:gd name="T12" fmla="*/ 2147483647 w 1001"/>
              <a:gd name="T13" fmla="*/ 2147483647 h 793"/>
              <a:gd name="T14" fmla="*/ 2147483647 w 1001"/>
              <a:gd name="T15" fmla="*/ 2147483647 h 793"/>
              <a:gd name="T16" fmla="*/ 2147483647 w 1001"/>
              <a:gd name="T17" fmla="*/ 2147483647 h 793"/>
              <a:gd name="T18" fmla="*/ 2147483647 w 1001"/>
              <a:gd name="T19" fmla="*/ 2147483647 h 793"/>
              <a:gd name="T20" fmla="*/ 2147483647 w 1001"/>
              <a:gd name="T21" fmla="*/ 0 h 793"/>
              <a:gd name="T22" fmla="*/ 0 w 1001"/>
              <a:gd name="T23" fmla="*/ 0 h 793"/>
              <a:gd name="T24" fmla="*/ 0 w 1001"/>
              <a:gd name="T25" fmla="*/ 2147483647 h 793"/>
              <a:gd name="T26" fmla="*/ 2147483647 w 1001"/>
              <a:gd name="T27" fmla="*/ 2147483647 h 793"/>
              <a:gd name="T28" fmla="*/ 2147483647 w 1001"/>
              <a:gd name="T29" fmla="*/ 2147483647 h 79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01" h="793">
                <a:moveTo>
                  <a:pt x="1000" y="208"/>
                </a:moveTo>
                <a:lnTo>
                  <a:pt x="187" y="208"/>
                </a:lnTo>
                <a:lnTo>
                  <a:pt x="0" y="750"/>
                </a:lnTo>
                <a:lnTo>
                  <a:pt x="0" y="792"/>
                </a:lnTo>
                <a:lnTo>
                  <a:pt x="812" y="792"/>
                </a:lnTo>
                <a:lnTo>
                  <a:pt x="1000" y="250"/>
                </a:lnTo>
                <a:lnTo>
                  <a:pt x="1000" y="208"/>
                </a:lnTo>
                <a:close/>
                <a:moveTo>
                  <a:pt x="833" y="167"/>
                </a:moveTo>
                <a:lnTo>
                  <a:pt x="833" y="83"/>
                </a:lnTo>
                <a:lnTo>
                  <a:pt x="333" y="83"/>
                </a:lnTo>
                <a:lnTo>
                  <a:pt x="333" y="0"/>
                </a:lnTo>
                <a:lnTo>
                  <a:pt x="0" y="0"/>
                </a:lnTo>
                <a:lnTo>
                  <a:pt x="0" y="542"/>
                </a:lnTo>
                <a:lnTo>
                  <a:pt x="125" y="167"/>
                </a:lnTo>
                <a:lnTo>
                  <a:pt x="833" y="167"/>
                </a:lnTo>
                <a:close/>
              </a:path>
            </a:pathLst>
          </a:custGeom>
          <a:solidFill>
            <a:srgbClr val="585858"/>
          </a:solidFill>
          <a:ln>
            <a:noFill/>
          </a:ln>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600" b="0" i="0" u="none" strike="noStrike" kern="0" cap="none" spc="0" normalizeH="0" baseline="0" dirty="0">
              <a:ln>
                <a:noFill/>
              </a:ln>
              <a:effectLst/>
              <a:uLnTx/>
              <a:uFillTx/>
              <a:latin typeface="Calibri (Headings)"/>
              <a:cs typeface="Calibri" panose="020F0502020204030204" pitchFamily="34" charset="0"/>
            </a:endParaRPr>
          </a:p>
        </p:txBody>
      </p:sp>
      <p:cxnSp>
        <p:nvCxnSpPr>
          <p:cNvPr id="105" name="Straight Connector 104"/>
          <p:cNvCxnSpPr/>
          <p:nvPr/>
        </p:nvCxnSpPr>
        <p:spPr>
          <a:xfrm>
            <a:off x="8049484" y="2965812"/>
            <a:ext cx="0" cy="1121435"/>
          </a:xfrm>
          <a:prstGeom prst="line">
            <a:avLst/>
          </a:prstGeom>
          <a:noFill/>
          <a:ln w="38100" cap="flat" cmpd="sng" algn="ctr">
            <a:solidFill>
              <a:srgbClr val="5B9BD5"/>
            </a:solidFill>
            <a:prstDash val="solid"/>
            <a:miter lim="800000"/>
          </a:ln>
          <a:effectLst/>
        </p:spPr>
      </p:cxnSp>
      <p:sp>
        <p:nvSpPr>
          <p:cNvPr id="106" name="Textfeld 40"/>
          <p:cNvSpPr txBox="1"/>
          <p:nvPr/>
        </p:nvSpPr>
        <p:spPr bwMode="gray">
          <a:xfrm>
            <a:off x="8056341" y="2874625"/>
            <a:ext cx="3511772" cy="1303809"/>
          </a:xfrm>
          <a:prstGeom prst="rect">
            <a:avLst/>
          </a:prstGeom>
          <a:noFill/>
        </p:spPr>
        <p:txBody>
          <a:bodyPr wrap="square" lIns="72000" tIns="36000" rIns="36000" b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effectLst/>
                <a:uLnTx/>
                <a:uFillTx/>
                <a:cs typeface="Calibri" panose="020F0502020204030204" pitchFamily="34" charset="0"/>
              </a:rPr>
              <a:t>Efficienza degli investimenti</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dirty="0">
                <a:ln>
                  <a:noFill/>
                </a:ln>
                <a:effectLst/>
                <a:uLnTx/>
                <a:uFillTx/>
                <a:cs typeface="Calibri" panose="020F0502020204030204" pitchFamily="34" charset="0"/>
              </a:rPr>
              <a:t>La soluzione potenzia gli investimenti già effettuati con EESSI per ottenere la totale interoperabilità tra gli Stati europei</a:t>
            </a:r>
          </a:p>
        </p:txBody>
      </p:sp>
      <p:grpSp>
        <p:nvGrpSpPr>
          <p:cNvPr id="107" name="Group 106"/>
          <p:cNvGrpSpPr/>
          <p:nvPr/>
        </p:nvGrpSpPr>
        <p:grpSpPr>
          <a:xfrm>
            <a:off x="7340489" y="3233172"/>
            <a:ext cx="798062" cy="586714"/>
            <a:chOff x="3288387" y="3749245"/>
            <a:chExt cx="838726" cy="586714"/>
          </a:xfrm>
        </p:grpSpPr>
        <p:sp>
          <p:nvSpPr>
            <p:cNvPr id="113" name="Freeform 57"/>
            <p:cNvSpPr>
              <a:spLocks/>
            </p:cNvSpPr>
            <p:nvPr/>
          </p:nvSpPr>
          <p:spPr bwMode="auto">
            <a:xfrm>
              <a:off x="3757682" y="3791277"/>
              <a:ext cx="71558" cy="95875"/>
            </a:xfrm>
            <a:custGeom>
              <a:avLst/>
              <a:gdLst>
                <a:gd name="T0" fmla="*/ 82 w 412"/>
                <a:gd name="T1" fmla="*/ 460 h 552"/>
                <a:gd name="T2" fmla="*/ 114 w 412"/>
                <a:gd name="T3" fmla="*/ 502 h 552"/>
                <a:gd name="T4" fmla="*/ 140 w 412"/>
                <a:gd name="T5" fmla="*/ 524 h 552"/>
                <a:gd name="T6" fmla="*/ 170 w 412"/>
                <a:gd name="T7" fmla="*/ 540 h 552"/>
                <a:gd name="T8" fmla="*/ 222 w 412"/>
                <a:gd name="T9" fmla="*/ 552 h 552"/>
                <a:gd name="T10" fmla="*/ 272 w 412"/>
                <a:gd name="T11" fmla="*/ 550 h 552"/>
                <a:gd name="T12" fmla="*/ 302 w 412"/>
                <a:gd name="T13" fmla="*/ 544 h 552"/>
                <a:gd name="T14" fmla="*/ 348 w 412"/>
                <a:gd name="T15" fmla="*/ 520 h 552"/>
                <a:gd name="T16" fmla="*/ 384 w 412"/>
                <a:gd name="T17" fmla="*/ 482 h 552"/>
                <a:gd name="T18" fmla="*/ 328 w 412"/>
                <a:gd name="T19" fmla="*/ 394 h 552"/>
                <a:gd name="T20" fmla="*/ 310 w 412"/>
                <a:gd name="T21" fmla="*/ 426 h 552"/>
                <a:gd name="T22" fmla="*/ 292 w 412"/>
                <a:gd name="T23" fmla="*/ 448 h 552"/>
                <a:gd name="T24" fmla="*/ 270 w 412"/>
                <a:gd name="T25" fmla="*/ 460 h 552"/>
                <a:gd name="T26" fmla="*/ 242 w 412"/>
                <a:gd name="T27" fmla="*/ 464 h 552"/>
                <a:gd name="T28" fmla="*/ 216 w 412"/>
                <a:gd name="T29" fmla="*/ 460 h 552"/>
                <a:gd name="T30" fmla="*/ 190 w 412"/>
                <a:gd name="T31" fmla="*/ 444 h 552"/>
                <a:gd name="T32" fmla="*/ 170 w 412"/>
                <a:gd name="T33" fmla="*/ 412 h 552"/>
                <a:gd name="T34" fmla="*/ 286 w 412"/>
                <a:gd name="T35" fmla="*/ 364 h 552"/>
                <a:gd name="T36" fmla="*/ 150 w 412"/>
                <a:gd name="T37" fmla="*/ 300 h 552"/>
                <a:gd name="T38" fmla="*/ 150 w 412"/>
                <a:gd name="T39" fmla="*/ 276 h 552"/>
                <a:gd name="T40" fmla="*/ 150 w 412"/>
                <a:gd name="T41" fmla="*/ 264 h 552"/>
                <a:gd name="T42" fmla="*/ 286 w 412"/>
                <a:gd name="T43" fmla="*/ 190 h 552"/>
                <a:gd name="T44" fmla="*/ 160 w 412"/>
                <a:gd name="T45" fmla="*/ 164 h 552"/>
                <a:gd name="T46" fmla="*/ 176 w 412"/>
                <a:gd name="T47" fmla="*/ 124 h 552"/>
                <a:gd name="T48" fmla="*/ 198 w 412"/>
                <a:gd name="T49" fmla="*/ 100 h 552"/>
                <a:gd name="T50" fmla="*/ 226 w 412"/>
                <a:gd name="T51" fmla="*/ 90 h 552"/>
                <a:gd name="T52" fmla="*/ 256 w 412"/>
                <a:gd name="T53" fmla="*/ 88 h 552"/>
                <a:gd name="T54" fmla="*/ 280 w 412"/>
                <a:gd name="T55" fmla="*/ 96 h 552"/>
                <a:gd name="T56" fmla="*/ 300 w 412"/>
                <a:gd name="T57" fmla="*/ 112 h 552"/>
                <a:gd name="T58" fmla="*/ 316 w 412"/>
                <a:gd name="T59" fmla="*/ 140 h 552"/>
                <a:gd name="T60" fmla="*/ 412 w 412"/>
                <a:gd name="T61" fmla="*/ 120 h 552"/>
                <a:gd name="T62" fmla="*/ 384 w 412"/>
                <a:gd name="T63" fmla="*/ 70 h 552"/>
                <a:gd name="T64" fmla="*/ 350 w 412"/>
                <a:gd name="T65" fmla="*/ 32 h 552"/>
                <a:gd name="T66" fmla="*/ 304 w 412"/>
                <a:gd name="T67" fmla="*/ 8 h 552"/>
                <a:gd name="T68" fmla="*/ 244 w 412"/>
                <a:gd name="T69" fmla="*/ 0 h 552"/>
                <a:gd name="T70" fmla="*/ 206 w 412"/>
                <a:gd name="T71" fmla="*/ 4 h 552"/>
                <a:gd name="T72" fmla="*/ 158 w 412"/>
                <a:gd name="T73" fmla="*/ 18 h 552"/>
                <a:gd name="T74" fmla="*/ 116 w 412"/>
                <a:gd name="T75" fmla="*/ 48 h 552"/>
                <a:gd name="T76" fmla="*/ 94 w 412"/>
                <a:gd name="T77" fmla="*/ 74 h 552"/>
                <a:gd name="T78" fmla="*/ 68 w 412"/>
                <a:gd name="T79" fmla="*/ 126 h 552"/>
                <a:gd name="T80" fmla="*/ 50 w 412"/>
                <a:gd name="T81" fmla="*/ 190 h 552"/>
                <a:gd name="T82" fmla="*/ 44 w 412"/>
                <a:gd name="T83" fmla="*/ 252 h 552"/>
                <a:gd name="T84" fmla="*/ 44 w 412"/>
                <a:gd name="T85" fmla="*/ 276 h 552"/>
                <a:gd name="T86" fmla="*/ 0 w 412"/>
                <a:gd name="T87" fmla="*/ 364 h 552"/>
                <a:gd name="T88" fmla="*/ 56 w 412"/>
                <a:gd name="T89" fmla="*/ 386 h 552"/>
                <a:gd name="T90" fmla="*/ 74 w 412"/>
                <a:gd name="T91" fmla="*/ 44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2" h="552">
                  <a:moveTo>
                    <a:pt x="74" y="444"/>
                  </a:moveTo>
                  <a:lnTo>
                    <a:pt x="74" y="444"/>
                  </a:lnTo>
                  <a:lnTo>
                    <a:pt x="82" y="460"/>
                  </a:lnTo>
                  <a:lnTo>
                    <a:pt x="92" y="476"/>
                  </a:lnTo>
                  <a:lnTo>
                    <a:pt x="102" y="490"/>
                  </a:lnTo>
                  <a:lnTo>
                    <a:pt x="114" y="502"/>
                  </a:lnTo>
                  <a:lnTo>
                    <a:pt x="114" y="502"/>
                  </a:lnTo>
                  <a:lnTo>
                    <a:pt x="126" y="514"/>
                  </a:lnTo>
                  <a:lnTo>
                    <a:pt x="140" y="524"/>
                  </a:lnTo>
                  <a:lnTo>
                    <a:pt x="154" y="532"/>
                  </a:lnTo>
                  <a:lnTo>
                    <a:pt x="170" y="540"/>
                  </a:lnTo>
                  <a:lnTo>
                    <a:pt x="170" y="540"/>
                  </a:lnTo>
                  <a:lnTo>
                    <a:pt x="186" y="544"/>
                  </a:lnTo>
                  <a:lnTo>
                    <a:pt x="202" y="548"/>
                  </a:lnTo>
                  <a:lnTo>
                    <a:pt x="222" y="552"/>
                  </a:lnTo>
                  <a:lnTo>
                    <a:pt x="240" y="552"/>
                  </a:lnTo>
                  <a:lnTo>
                    <a:pt x="240" y="552"/>
                  </a:lnTo>
                  <a:lnTo>
                    <a:pt x="272" y="550"/>
                  </a:lnTo>
                  <a:lnTo>
                    <a:pt x="288" y="548"/>
                  </a:lnTo>
                  <a:lnTo>
                    <a:pt x="302" y="544"/>
                  </a:lnTo>
                  <a:lnTo>
                    <a:pt x="302" y="544"/>
                  </a:lnTo>
                  <a:lnTo>
                    <a:pt x="326" y="532"/>
                  </a:lnTo>
                  <a:lnTo>
                    <a:pt x="348" y="520"/>
                  </a:lnTo>
                  <a:lnTo>
                    <a:pt x="348" y="520"/>
                  </a:lnTo>
                  <a:lnTo>
                    <a:pt x="368" y="502"/>
                  </a:lnTo>
                  <a:lnTo>
                    <a:pt x="384" y="482"/>
                  </a:lnTo>
                  <a:lnTo>
                    <a:pt x="384" y="482"/>
                  </a:lnTo>
                  <a:lnTo>
                    <a:pt x="398" y="460"/>
                  </a:lnTo>
                  <a:lnTo>
                    <a:pt x="412" y="438"/>
                  </a:lnTo>
                  <a:lnTo>
                    <a:pt x="328" y="394"/>
                  </a:lnTo>
                  <a:lnTo>
                    <a:pt x="328" y="394"/>
                  </a:lnTo>
                  <a:lnTo>
                    <a:pt x="310" y="426"/>
                  </a:lnTo>
                  <a:lnTo>
                    <a:pt x="310" y="426"/>
                  </a:lnTo>
                  <a:lnTo>
                    <a:pt x="300" y="438"/>
                  </a:lnTo>
                  <a:lnTo>
                    <a:pt x="292" y="448"/>
                  </a:lnTo>
                  <a:lnTo>
                    <a:pt x="292" y="448"/>
                  </a:lnTo>
                  <a:lnTo>
                    <a:pt x="280" y="454"/>
                  </a:lnTo>
                  <a:lnTo>
                    <a:pt x="270" y="460"/>
                  </a:lnTo>
                  <a:lnTo>
                    <a:pt x="270" y="460"/>
                  </a:lnTo>
                  <a:lnTo>
                    <a:pt x="256" y="462"/>
                  </a:lnTo>
                  <a:lnTo>
                    <a:pt x="242" y="464"/>
                  </a:lnTo>
                  <a:lnTo>
                    <a:pt x="242" y="464"/>
                  </a:lnTo>
                  <a:lnTo>
                    <a:pt x="228" y="462"/>
                  </a:lnTo>
                  <a:lnTo>
                    <a:pt x="216" y="460"/>
                  </a:lnTo>
                  <a:lnTo>
                    <a:pt x="216" y="460"/>
                  </a:lnTo>
                  <a:lnTo>
                    <a:pt x="202" y="454"/>
                  </a:lnTo>
                  <a:lnTo>
                    <a:pt x="190" y="444"/>
                  </a:lnTo>
                  <a:lnTo>
                    <a:pt x="190" y="444"/>
                  </a:lnTo>
                  <a:lnTo>
                    <a:pt x="178" y="430"/>
                  </a:lnTo>
                  <a:lnTo>
                    <a:pt x="170" y="412"/>
                  </a:lnTo>
                  <a:lnTo>
                    <a:pt x="170" y="412"/>
                  </a:lnTo>
                  <a:lnTo>
                    <a:pt x="160" y="390"/>
                  </a:lnTo>
                  <a:lnTo>
                    <a:pt x="156" y="364"/>
                  </a:lnTo>
                  <a:lnTo>
                    <a:pt x="286" y="364"/>
                  </a:lnTo>
                  <a:lnTo>
                    <a:pt x="286" y="300"/>
                  </a:lnTo>
                  <a:lnTo>
                    <a:pt x="150" y="300"/>
                  </a:lnTo>
                  <a:lnTo>
                    <a:pt x="150" y="300"/>
                  </a:lnTo>
                  <a:lnTo>
                    <a:pt x="150" y="288"/>
                  </a:lnTo>
                  <a:lnTo>
                    <a:pt x="150" y="288"/>
                  </a:lnTo>
                  <a:lnTo>
                    <a:pt x="150" y="276"/>
                  </a:lnTo>
                  <a:lnTo>
                    <a:pt x="150" y="276"/>
                  </a:lnTo>
                  <a:lnTo>
                    <a:pt x="150" y="264"/>
                  </a:lnTo>
                  <a:lnTo>
                    <a:pt x="150" y="264"/>
                  </a:lnTo>
                  <a:lnTo>
                    <a:pt x="150" y="252"/>
                  </a:lnTo>
                  <a:lnTo>
                    <a:pt x="286" y="252"/>
                  </a:lnTo>
                  <a:lnTo>
                    <a:pt x="286" y="190"/>
                  </a:lnTo>
                  <a:lnTo>
                    <a:pt x="156" y="190"/>
                  </a:lnTo>
                  <a:lnTo>
                    <a:pt x="156" y="190"/>
                  </a:lnTo>
                  <a:lnTo>
                    <a:pt x="160" y="164"/>
                  </a:lnTo>
                  <a:lnTo>
                    <a:pt x="168" y="142"/>
                  </a:lnTo>
                  <a:lnTo>
                    <a:pt x="168" y="142"/>
                  </a:lnTo>
                  <a:lnTo>
                    <a:pt x="176" y="124"/>
                  </a:lnTo>
                  <a:lnTo>
                    <a:pt x="186" y="110"/>
                  </a:lnTo>
                  <a:lnTo>
                    <a:pt x="186" y="110"/>
                  </a:lnTo>
                  <a:lnTo>
                    <a:pt x="198" y="100"/>
                  </a:lnTo>
                  <a:lnTo>
                    <a:pt x="212" y="94"/>
                  </a:lnTo>
                  <a:lnTo>
                    <a:pt x="212" y="94"/>
                  </a:lnTo>
                  <a:lnTo>
                    <a:pt x="226" y="90"/>
                  </a:lnTo>
                  <a:lnTo>
                    <a:pt x="240" y="88"/>
                  </a:lnTo>
                  <a:lnTo>
                    <a:pt x="240" y="88"/>
                  </a:lnTo>
                  <a:lnTo>
                    <a:pt x="256" y="88"/>
                  </a:lnTo>
                  <a:lnTo>
                    <a:pt x="268" y="92"/>
                  </a:lnTo>
                  <a:lnTo>
                    <a:pt x="268" y="92"/>
                  </a:lnTo>
                  <a:lnTo>
                    <a:pt x="280" y="96"/>
                  </a:lnTo>
                  <a:lnTo>
                    <a:pt x="290" y="102"/>
                  </a:lnTo>
                  <a:lnTo>
                    <a:pt x="290" y="102"/>
                  </a:lnTo>
                  <a:lnTo>
                    <a:pt x="300" y="112"/>
                  </a:lnTo>
                  <a:lnTo>
                    <a:pt x="308" y="126"/>
                  </a:lnTo>
                  <a:lnTo>
                    <a:pt x="308" y="126"/>
                  </a:lnTo>
                  <a:lnTo>
                    <a:pt x="316" y="140"/>
                  </a:lnTo>
                  <a:lnTo>
                    <a:pt x="322" y="160"/>
                  </a:lnTo>
                  <a:lnTo>
                    <a:pt x="412" y="120"/>
                  </a:lnTo>
                  <a:lnTo>
                    <a:pt x="412" y="120"/>
                  </a:lnTo>
                  <a:lnTo>
                    <a:pt x="398" y="94"/>
                  </a:lnTo>
                  <a:lnTo>
                    <a:pt x="384" y="70"/>
                  </a:lnTo>
                  <a:lnTo>
                    <a:pt x="384" y="70"/>
                  </a:lnTo>
                  <a:lnTo>
                    <a:pt x="368" y="50"/>
                  </a:lnTo>
                  <a:lnTo>
                    <a:pt x="350" y="32"/>
                  </a:lnTo>
                  <a:lnTo>
                    <a:pt x="350" y="32"/>
                  </a:lnTo>
                  <a:lnTo>
                    <a:pt x="340" y="24"/>
                  </a:lnTo>
                  <a:lnTo>
                    <a:pt x="328" y="18"/>
                  </a:lnTo>
                  <a:lnTo>
                    <a:pt x="304" y="8"/>
                  </a:lnTo>
                  <a:lnTo>
                    <a:pt x="304" y="8"/>
                  </a:lnTo>
                  <a:lnTo>
                    <a:pt x="276" y="2"/>
                  </a:lnTo>
                  <a:lnTo>
                    <a:pt x="244" y="0"/>
                  </a:lnTo>
                  <a:lnTo>
                    <a:pt x="244" y="0"/>
                  </a:lnTo>
                  <a:lnTo>
                    <a:pt x="224" y="0"/>
                  </a:lnTo>
                  <a:lnTo>
                    <a:pt x="206" y="4"/>
                  </a:lnTo>
                  <a:lnTo>
                    <a:pt x="190" y="6"/>
                  </a:lnTo>
                  <a:lnTo>
                    <a:pt x="172" y="12"/>
                  </a:lnTo>
                  <a:lnTo>
                    <a:pt x="158" y="18"/>
                  </a:lnTo>
                  <a:lnTo>
                    <a:pt x="144" y="26"/>
                  </a:lnTo>
                  <a:lnTo>
                    <a:pt x="130" y="36"/>
                  </a:lnTo>
                  <a:lnTo>
                    <a:pt x="116" y="48"/>
                  </a:lnTo>
                  <a:lnTo>
                    <a:pt x="116" y="48"/>
                  </a:lnTo>
                  <a:lnTo>
                    <a:pt x="104" y="60"/>
                  </a:lnTo>
                  <a:lnTo>
                    <a:pt x="94" y="74"/>
                  </a:lnTo>
                  <a:lnTo>
                    <a:pt x="84" y="90"/>
                  </a:lnTo>
                  <a:lnTo>
                    <a:pt x="76" y="106"/>
                  </a:lnTo>
                  <a:lnTo>
                    <a:pt x="68" y="126"/>
                  </a:lnTo>
                  <a:lnTo>
                    <a:pt x="62" y="146"/>
                  </a:lnTo>
                  <a:lnTo>
                    <a:pt x="56" y="166"/>
                  </a:lnTo>
                  <a:lnTo>
                    <a:pt x="50" y="190"/>
                  </a:lnTo>
                  <a:lnTo>
                    <a:pt x="0" y="190"/>
                  </a:lnTo>
                  <a:lnTo>
                    <a:pt x="0" y="252"/>
                  </a:lnTo>
                  <a:lnTo>
                    <a:pt x="44" y="252"/>
                  </a:lnTo>
                  <a:lnTo>
                    <a:pt x="44" y="252"/>
                  </a:lnTo>
                  <a:lnTo>
                    <a:pt x="44" y="276"/>
                  </a:lnTo>
                  <a:lnTo>
                    <a:pt x="44" y="276"/>
                  </a:lnTo>
                  <a:lnTo>
                    <a:pt x="44" y="300"/>
                  </a:lnTo>
                  <a:lnTo>
                    <a:pt x="0" y="300"/>
                  </a:lnTo>
                  <a:lnTo>
                    <a:pt x="0" y="364"/>
                  </a:lnTo>
                  <a:lnTo>
                    <a:pt x="52" y="364"/>
                  </a:lnTo>
                  <a:lnTo>
                    <a:pt x="52" y="364"/>
                  </a:lnTo>
                  <a:lnTo>
                    <a:pt x="56" y="386"/>
                  </a:lnTo>
                  <a:lnTo>
                    <a:pt x="60" y="406"/>
                  </a:lnTo>
                  <a:lnTo>
                    <a:pt x="66" y="426"/>
                  </a:lnTo>
                  <a:lnTo>
                    <a:pt x="74" y="444"/>
                  </a:lnTo>
                  <a:lnTo>
                    <a:pt x="74" y="444"/>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114" name="Freeform 58"/>
            <p:cNvSpPr>
              <a:spLocks noEditPoints="1"/>
            </p:cNvSpPr>
            <p:nvPr/>
          </p:nvSpPr>
          <p:spPr bwMode="auto">
            <a:xfrm>
              <a:off x="3697934" y="3749245"/>
              <a:ext cx="190014" cy="342858"/>
            </a:xfrm>
            <a:custGeom>
              <a:avLst/>
              <a:gdLst>
                <a:gd name="T0" fmla="*/ 258 w 1094"/>
                <a:gd name="T1" fmla="*/ 1598 h 1974"/>
                <a:gd name="T2" fmla="*/ 426 w 1094"/>
                <a:gd name="T3" fmla="*/ 1624 h 1974"/>
                <a:gd name="T4" fmla="*/ 564 w 1094"/>
                <a:gd name="T5" fmla="*/ 1578 h 1974"/>
                <a:gd name="T6" fmla="*/ 704 w 1094"/>
                <a:gd name="T7" fmla="*/ 1434 h 1974"/>
                <a:gd name="T8" fmla="*/ 744 w 1094"/>
                <a:gd name="T9" fmla="*/ 1278 h 1974"/>
                <a:gd name="T10" fmla="*/ 562 w 1094"/>
                <a:gd name="T11" fmla="*/ 1226 h 1974"/>
                <a:gd name="T12" fmla="*/ 408 w 1094"/>
                <a:gd name="T13" fmla="*/ 1222 h 1974"/>
                <a:gd name="T14" fmla="*/ 274 w 1094"/>
                <a:gd name="T15" fmla="*/ 1268 h 1974"/>
                <a:gd name="T16" fmla="*/ 176 w 1094"/>
                <a:gd name="T17" fmla="*/ 1376 h 1974"/>
                <a:gd name="T18" fmla="*/ 202 w 1094"/>
                <a:gd name="T19" fmla="*/ 1160 h 1974"/>
                <a:gd name="T20" fmla="*/ 280 w 1094"/>
                <a:gd name="T21" fmla="*/ 922 h 1974"/>
                <a:gd name="T22" fmla="*/ 460 w 1094"/>
                <a:gd name="T23" fmla="*/ 1008 h 1974"/>
                <a:gd name="T24" fmla="*/ 636 w 1094"/>
                <a:gd name="T25" fmla="*/ 1020 h 1974"/>
                <a:gd name="T26" fmla="*/ 782 w 1094"/>
                <a:gd name="T27" fmla="*/ 982 h 1974"/>
                <a:gd name="T28" fmla="*/ 978 w 1094"/>
                <a:gd name="T29" fmla="*/ 836 h 1974"/>
                <a:gd name="T30" fmla="*/ 1072 w 1094"/>
                <a:gd name="T31" fmla="*/ 664 h 1974"/>
                <a:gd name="T32" fmla="*/ 1094 w 1094"/>
                <a:gd name="T33" fmla="*/ 512 h 1974"/>
                <a:gd name="T34" fmla="*/ 1078 w 1094"/>
                <a:gd name="T35" fmla="*/ 384 h 1974"/>
                <a:gd name="T36" fmla="*/ 1006 w 1094"/>
                <a:gd name="T37" fmla="*/ 226 h 1974"/>
                <a:gd name="T38" fmla="*/ 804 w 1094"/>
                <a:gd name="T39" fmla="*/ 52 h 1974"/>
                <a:gd name="T40" fmla="*/ 660 w 1094"/>
                <a:gd name="T41" fmla="*/ 6 h 1974"/>
                <a:gd name="T42" fmla="*/ 530 w 1094"/>
                <a:gd name="T43" fmla="*/ 4 h 1974"/>
                <a:gd name="T44" fmla="*/ 384 w 1094"/>
                <a:gd name="T45" fmla="*/ 42 h 1974"/>
                <a:gd name="T46" fmla="*/ 188 w 1094"/>
                <a:gd name="T47" fmla="*/ 186 h 1974"/>
                <a:gd name="T48" fmla="*/ 96 w 1094"/>
                <a:gd name="T49" fmla="*/ 360 h 1974"/>
                <a:gd name="T50" fmla="*/ 72 w 1094"/>
                <a:gd name="T51" fmla="*/ 512 h 1974"/>
                <a:gd name="T52" fmla="*/ 88 w 1094"/>
                <a:gd name="T53" fmla="*/ 640 h 1974"/>
                <a:gd name="T54" fmla="*/ 146 w 1094"/>
                <a:gd name="T55" fmla="*/ 778 h 1974"/>
                <a:gd name="T56" fmla="*/ 168 w 1094"/>
                <a:gd name="T57" fmla="*/ 950 h 1974"/>
                <a:gd name="T58" fmla="*/ 62 w 1094"/>
                <a:gd name="T59" fmla="*/ 1180 h 1974"/>
                <a:gd name="T60" fmla="*/ 20 w 1094"/>
                <a:gd name="T61" fmla="*/ 1412 h 1974"/>
                <a:gd name="T62" fmla="*/ 208 w 1094"/>
                <a:gd name="T63" fmla="*/ 1938 h 1974"/>
                <a:gd name="T64" fmla="*/ 174 w 1094"/>
                <a:gd name="T65" fmla="*/ 1544 h 1974"/>
                <a:gd name="T66" fmla="*/ 230 w 1094"/>
                <a:gd name="T67" fmla="*/ 1412 h 1974"/>
                <a:gd name="T68" fmla="*/ 308 w 1094"/>
                <a:gd name="T69" fmla="*/ 1326 h 1974"/>
                <a:gd name="T70" fmla="*/ 418 w 1094"/>
                <a:gd name="T71" fmla="*/ 1288 h 1974"/>
                <a:gd name="T72" fmla="*/ 542 w 1094"/>
                <a:gd name="T73" fmla="*/ 1290 h 1974"/>
                <a:gd name="T74" fmla="*/ 654 w 1094"/>
                <a:gd name="T75" fmla="*/ 1386 h 1974"/>
                <a:gd name="T76" fmla="*/ 534 w 1094"/>
                <a:gd name="T77" fmla="*/ 1516 h 1974"/>
                <a:gd name="T78" fmla="*/ 420 w 1094"/>
                <a:gd name="T79" fmla="*/ 1558 h 1974"/>
                <a:gd name="T80" fmla="*/ 288 w 1094"/>
                <a:gd name="T81" fmla="*/ 1538 h 1974"/>
                <a:gd name="T82" fmla="*/ 228 w 1094"/>
                <a:gd name="T83" fmla="*/ 1490 h 1974"/>
                <a:gd name="T84" fmla="*/ 354 w 1094"/>
                <a:gd name="T85" fmla="*/ 1454 h 1974"/>
                <a:gd name="T86" fmla="*/ 416 w 1094"/>
                <a:gd name="T87" fmla="*/ 1440 h 1974"/>
                <a:gd name="T88" fmla="*/ 424 w 1094"/>
                <a:gd name="T89" fmla="*/ 1408 h 1974"/>
                <a:gd name="T90" fmla="*/ 396 w 1094"/>
                <a:gd name="T91" fmla="*/ 1384 h 1974"/>
                <a:gd name="T92" fmla="*/ 148 w 1094"/>
                <a:gd name="T93" fmla="*/ 422 h 1974"/>
                <a:gd name="T94" fmla="*/ 270 w 1094"/>
                <a:gd name="T95" fmla="*/ 198 h 1974"/>
                <a:gd name="T96" fmla="*/ 494 w 1094"/>
                <a:gd name="T97" fmla="*/ 78 h 1974"/>
                <a:gd name="T98" fmla="*/ 714 w 1094"/>
                <a:gd name="T99" fmla="*/ 88 h 1974"/>
                <a:gd name="T100" fmla="*/ 926 w 1094"/>
                <a:gd name="T101" fmla="*/ 230 h 1974"/>
                <a:gd name="T102" fmla="*/ 1024 w 1094"/>
                <a:gd name="T103" fmla="*/ 466 h 1974"/>
                <a:gd name="T104" fmla="*/ 992 w 1094"/>
                <a:gd name="T105" fmla="*/ 684 h 1974"/>
                <a:gd name="T106" fmla="*/ 832 w 1094"/>
                <a:gd name="T107" fmla="*/ 880 h 1974"/>
                <a:gd name="T108" fmla="*/ 584 w 1094"/>
                <a:gd name="T109" fmla="*/ 956 h 1974"/>
                <a:gd name="T110" fmla="*/ 372 w 1094"/>
                <a:gd name="T111" fmla="*/ 902 h 1974"/>
                <a:gd name="T112" fmla="*/ 192 w 1094"/>
                <a:gd name="T113" fmla="*/ 724 h 1974"/>
                <a:gd name="T114" fmla="*/ 140 w 1094"/>
                <a:gd name="T115" fmla="*/ 512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4" h="1974">
                  <a:moveTo>
                    <a:pt x="174" y="1544"/>
                  </a:moveTo>
                  <a:lnTo>
                    <a:pt x="174" y="1544"/>
                  </a:lnTo>
                  <a:lnTo>
                    <a:pt x="190" y="1558"/>
                  </a:lnTo>
                  <a:lnTo>
                    <a:pt x="210" y="1572"/>
                  </a:lnTo>
                  <a:lnTo>
                    <a:pt x="232" y="1586"/>
                  </a:lnTo>
                  <a:lnTo>
                    <a:pt x="258" y="1598"/>
                  </a:lnTo>
                  <a:lnTo>
                    <a:pt x="288" y="1610"/>
                  </a:lnTo>
                  <a:lnTo>
                    <a:pt x="320" y="1618"/>
                  </a:lnTo>
                  <a:lnTo>
                    <a:pt x="354" y="1624"/>
                  </a:lnTo>
                  <a:lnTo>
                    <a:pt x="392" y="1626"/>
                  </a:lnTo>
                  <a:lnTo>
                    <a:pt x="392" y="1626"/>
                  </a:lnTo>
                  <a:lnTo>
                    <a:pt x="426" y="1624"/>
                  </a:lnTo>
                  <a:lnTo>
                    <a:pt x="462" y="1620"/>
                  </a:lnTo>
                  <a:lnTo>
                    <a:pt x="462" y="1620"/>
                  </a:lnTo>
                  <a:lnTo>
                    <a:pt x="480" y="1614"/>
                  </a:lnTo>
                  <a:lnTo>
                    <a:pt x="498" y="1610"/>
                  </a:lnTo>
                  <a:lnTo>
                    <a:pt x="532" y="1596"/>
                  </a:lnTo>
                  <a:lnTo>
                    <a:pt x="564" y="1578"/>
                  </a:lnTo>
                  <a:lnTo>
                    <a:pt x="592" y="1558"/>
                  </a:lnTo>
                  <a:lnTo>
                    <a:pt x="620" y="1534"/>
                  </a:lnTo>
                  <a:lnTo>
                    <a:pt x="644" y="1510"/>
                  </a:lnTo>
                  <a:lnTo>
                    <a:pt x="666" y="1486"/>
                  </a:lnTo>
                  <a:lnTo>
                    <a:pt x="686" y="1460"/>
                  </a:lnTo>
                  <a:lnTo>
                    <a:pt x="704" y="1434"/>
                  </a:lnTo>
                  <a:lnTo>
                    <a:pt x="718" y="1410"/>
                  </a:lnTo>
                  <a:lnTo>
                    <a:pt x="742" y="1368"/>
                  </a:lnTo>
                  <a:lnTo>
                    <a:pt x="758" y="1336"/>
                  </a:lnTo>
                  <a:lnTo>
                    <a:pt x="764" y="1322"/>
                  </a:lnTo>
                  <a:lnTo>
                    <a:pt x="776" y="1290"/>
                  </a:lnTo>
                  <a:lnTo>
                    <a:pt x="744" y="1278"/>
                  </a:lnTo>
                  <a:lnTo>
                    <a:pt x="744" y="1278"/>
                  </a:lnTo>
                  <a:lnTo>
                    <a:pt x="706" y="1264"/>
                  </a:lnTo>
                  <a:lnTo>
                    <a:pt x="668" y="1252"/>
                  </a:lnTo>
                  <a:lnTo>
                    <a:pt x="632" y="1242"/>
                  </a:lnTo>
                  <a:lnTo>
                    <a:pt x="596" y="1232"/>
                  </a:lnTo>
                  <a:lnTo>
                    <a:pt x="562" y="1226"/>
                  </a:lnTo>
                  <a:lnTo>
                    <a:pt x="528" y="1222"/>
                  </a:lnTo>
                  <a:lnTo>
                    <a:pt x="496" y="1218"/>
                  </a:lnTo>
                  <a:lnTo>
                    <a:pt x="466" y="1218"/>
                  </a:lnTo>
                  <a:lnTo>
                    <a:pt x="466" y="1218"/>
                  </a:lnTo>
                  <a:lnTo>
                    <a:pt x="436" y="1218"/>
                  </a:lnTo>
                  <a:lnTo>
                    <a:pt x="408" y="1222"/>
                  </a:lnTo>
                  <a:lnTo>
                    <a:pt x="382" y="1226"/>
                  </a:lnTo>
                  <a:lnTo>
                    <a:pt x="356" y="1232"/>
                  </a:lnTo>
                  <a:lnTo>
                    <a:pt x="334" y="1240"/>
                  </a:lnTo>
                  <a:lnTo>
                    <a:pt x="312" y="1248"/>
                  </a:lnTo>
                  <a:lnTo>
                    <a:pt x="292" y="1258"/>
                  </a:lnTo>
                  <a:lnTo>
                    <a:pt x="274" y="1268"/>
                  </a:lnTo>
                  <a:lnTo>
                    <a:pt x="258" y="1280"/>
                  </a:lnTo>
                  <a:lnTo>
                    <a:pt x="242" y="1292"/>
                  </a:lnTo>
                  <a:lnTo>
                    <a:pt x="228" y="1306"/>
                  </a:lnTo>
                  <a:lnTo>
                    <a:pt x="216" y="1320"/>
                  </a:lnTo>
                  <a:lnTo>
                    <a:pt x="194" y="1348"/>
                  </a:lnTo>
                  <a:lnTo>
                    <a:pt x="176" y="1376"/>
                  </a:lnTo>
                  <a:lnTo>
                    <a:pt x="176" y="1376"/>
                  </a:lnTo>
                  <a:lnTo>
                    <a:pt x="178" y="1328"/>
                  </a:lnTo>
                  <a:lnTo>
                    <a:pt x="182" y="1284"/>
                  </a:lnTo>
                  <a:lnTo>
                    <a:pt x="182" y="1284"/>
                  </a:lnTo>
                  <a:lnTo>
                    <a:pt x="192" y="1220"/>
                  </a:lnTo>
                  <a:lnTo>
                    <a:pt x="202" y="1160"/>
                  </a:lnTo>
                  <a:lnTo>
                    <a:pt x="216" y="1106"/>
                  </a:lnTo>
                  <a:lnTo>
                    <a:pt x="228" y="1058"/>
                  </a:lnTo>
                  <a:lnTo>
                    <a:pt x="242" y="1016"/>
                  </a:lnTo>
                  <a:lnTo>
                    <a:pt x="256" y="978"/>
                  </a:lnTo>
                  <a:lnTo>
                    <a:pt x="268" y="948"/>
                  </a:lnTo>
                  <a:lnTo>
                    <a:pt x="280" y="922"/>
                  </a:lnTo>
                  <a:lnTo>
                    <a:pt x="280" y="922"/>
                  </a:lnTo>
                  <a:lnTo>
                    <a:pt x="312" y="944"/>
                  </a:lnTo>
                  <a:lnTo>
                    <a:pt x="346" y="964"/>
                  </a:lnTo>
                  <a:lnTo>
                    <a:pt x="382" y="982"/>
                  </a:lnTo>
                  <a:lnTo>
                    <a:pt x="420" y="996"/>
                  </a:lnTo>
                  <a:lnTo>
                    <a:pt x="460" y="1008"/>
                  </a:lnTo>
                  <a:lnTo>
                    <a:pt x="500" y="1016"/>
                  </a:lnTo>
                  <a:lnTo>
                    <a:pt x="540" y="1022"/>
                  </a:lnTo>
                  <a:lnTo>
                    <a:pt x="584" y="1022"/>
                  </a:lnTo>
                  <a:lnTo>
                    <a:pt x="584" y="1022"/>
                  </a:lnTo>
                  <a:lnTo>
                    <a:pt x="610" y="1022"/>
                  </a:lnTo>
                  <a:lnTo>
                    <a:pt x="636" y="1020"/>
                  </a:lnTo>
                  <a:lnTo>
                    <a:pt x="660" y="1018"/>
                  </a:lnTo>
                  <a:lnTo>
                    <a:pt x="686" y="1012"/>
                  </a:lnTo>
                  <a:lnTo>
                    <a:pt x="710" y="1006"/>
                  </a:lnTo>
                  <a:lnTo>
                    <a:pt x="736" y="1000"/>
                  </a:lnTo>
                  <a:lnTo>
                    <a:pt x="758" y="992"/>
                  </a:lnTo>
                  <a:lnTo>
                    <a:pt x="782" y="982"/>
                  </a:lnTo>
                  <a:lnTo>
                    <a:pt x="804" y="972"/>
                  </a:lnTo>
                  <a:lnTo>
                    <a:pt x="826" y="962"/>
                  </a:lnTo>
                  <a:lnTo>
                    <a:pt x="868" y="936"/>
                  </a:lnTo>
                  <a:lnTo>
                    <a:pt x="908" y="906"/>
                  </a:lnTo>
                  <a:lnTo>
                    <a:pt x="944" y="874"/>
                  </a:lnTo>
                  <a:lnTo>
                    <a:pt x="978" y="836"/>
                  </a:lnTo>
                  <a:lnTo>
                    <a:pt x="1006" y="798"/>
                  </a:lnTo>
                  <a:lnTo>
                    <a:pt x="1032" y="756"/>
                  </a:lnTo>
                  <a:lnTo>
                    <a:pt x="1044" y="734"/>
                  </a:lnTo>
                  <a:lnTo>
                    <a:pt x="1054" y="710"/>
                  </a:lnTo>
                  <a:lnTo>
                    <a:pt x="1064" y="688"/>
                  </a:lnTo>
                  <a:lnTo>
                    <a:pt x="1072" y="664"/>
                  </a:lnTo>
                  <a:lnTo>
                    <a:pt x="1078" y="640"/>
                  </a:lnTo>
                  <a:lnTo>
                    <a:pt x="1084" y="616"/>
                  </a:lnTo>
                  <a:lnTo>
                    <a:pt x="1088" y="590"/>
                  </a:lnTo>
                  <a:lnTo>
                    <a:pt x="1092" y="564"/>
                  </a:lnTo>
                  <a:lnTo>
                    <a:pt x="1094" y="538"/>
                  </a:lnTo>
                  <a:lnTo>
                    <a:pt x="1094" y="512"/>
                  </a:lnTo>
                  <a:lnTo>
                    <a:pt x="1094" y="512"/>
                  </a:lnTo>
                  <a:lnTo>
                    <a:pt x="1094" y="486"/>
                  </a:lnTo>
                  <a:lnTo>
                    <a:pt x="1092" y="460"/>
                  </a:lnTo>
                  <a:lnTo>
                    <a:pt x="1088" y="434"/>
                  </a:lnTo>
                  <a:lnTo>
                    <a:pt x="1084" y="410"/>
                  </a:lnTo>
                  <a:lnTo>
                    <a:pt x="1078" y="384"/>
                  </a:lnTo>
                  <a:lnTo>
                    <a:pt x="1072" y="360"/>
                  </a:lnTo>
                  <a:lnTo>
                    <a:pt x="1064" y="336"/>
                  </a:lnTo>
                  <a:lnTo>
                    <a:pt x="1054" y="314"/>
                  </a:lnTo>
                  <a:lnTo>
                    <a:pt x="1044" y="290"/>
                  </a:lnTo>
                  <a:lnTo>
                    <a:pt x="1032" y="268"/>
                  </a:lnTo>
                  <a:lnTo>
                    <a:pt x="1006" y="226"/>
                  </a:lnTo>
                  <a:lnTo>
                    <a:pt x="978" y="186"/>
                  </a:lnTo>
                  <a:lnTo>
                    <a:pt x="944" y="150"/>
                  </a:lnTo>
                  <a:lnTo>
                    <a:pt x="908" y="118"/>
                  </a:lnTo>
                  <a:lnTo>
                    <a:pt x="868" y="88"/>
                  </a:lnTo>
                  <a:lnTo>
                    <a:pt x="826" y="62"/>
                  </a:lnTo>
                  <a:lnTo>
                    <a:pt x="804" y="52"/>
                  </a:lnTo>
                  <a:lnTo>
                    <a:pt x="782" y="42"/>
                  </a:lnTo>
                  <a:lnTo>
                    <a:pt x="758" y="32"/>
                  </a:lnTo>
                  <a:lnTo>
                    <a:pt x="736" y="24"/>
                  </a:lnTo>
                  <a:lnTo>
                    <a:pt x="710" y="18"/>
                  </a:lnTo>
                  <a:lnTo>
                    <a:pt x="686" y="12"/>
                  </a:lnTo>
                  <a:lnTo>
                    <a:pt x="660" y="6"/>
                  </a:lnTo>
                  <a:lnTo>
                    <a:pt x="636" y="4"/>
                  </a:lnTo>
                  <a:lnTo>
                    <a:pt x="610" y="2"/>
                  </a:lnTo>
                  <a:lnTo>
                    <a:pt x="584" y="0"/>
                  </a:lnTo>
                  <a:lnTo>
                    <a:pt x="584" y="0"/>
                  </a:lnTo>
                  <a:lnTo>
                    <a:pt x="556" y="2"/>
                  </a:lnTo>
                  <a:lnTo>
                    <a:pt x="530" y="4"/>
                  </a:lnTo>
                  <a:lnTo>
                    <a:pt x="506" y="6"/>
                  </a:lnTo>
                  <a:lnTo>
                    <a:pt x="480" y="12"/>
                  </a:lnTo>
                  <a:lnTo>
                    <a:pt x="456" y="18"/>
                  </a:lnTo>
                  <a:lnTo>
                    <a:pt x="432" y="24"/>
                  </a:lnTo>
                  <a:lnTo>
                    <a:pt x="408" y="32"/>
                  </a:lnTo>
                  <a:lnTo>
                    <a:pt x="384" y="42"/>
                  </a:lnTo>
                  <a:lnTo>
                    <a:pt x="362" y="52"/>
                  </a:lnTo>
                  <a:lnTo>
                    <a:pt x="340" y="62"/>
                  </a:lnTo>
                  <a:lnTo>
                    <a:pt x="298" y="88"/>
                  </a:lnTo>
                  <a:lnTo>
                    <a:pt x="258" y="118"/>
                  </a:lnTo>
                  <a:lnTo>
                    <a:pt x="222" y="150"/>
                  </a:lnTo>
                  <a:lnTo>
                    <a:pt x="188" y="186"/>
                  </a:lnTo>
                  <a:lnTo>
                    <a:pt x="160" y="226"/>
                  </a:lnTo>
                  <a:lnTo>
                    <a:pt x="134" y="268"/>
                  </a:lnTo>
                  <a:lnTo>
                    <a:pt x="122" y="290"/>
                  </a:lnTo>
                  <a:lnTo>
                    <a:pt x="112" y="314"/>
                  </a:lnTo>
                  <a:lnTo>
                    <a:pt x="104" y="336"/>
                  </a:lnTo>
                  <a:lnTo>
                    <a:pt x="96" y="360"/>
                  </a:lnTo>
                  <a:lnTo>
                    <a:pt x="88" y="384"/>
                  </a:lnTo>
                  <a:lnTo>
                    <a:pt x="82" y="410"/>
                  </a:lnTo>
                  <a:lnTo>
                    <a:pt x="78" y="434"/>
                  </a:lnTo>
                  <a:lnTo>
                    <a:pt x="74" y="460"/>
                  </a:lnTo>
                  <a:lnTo>
                    <a:pt x="72" y="486"/>
                  </a:lnTo>
                  <a:lnTo>
                    <a:pt x="72" y="512"/>
                  </a:lnTo>
                  <a:lnTo>
                    <a:pt x="72" y="512"/>
                  </a:lnTo>
                  <a:lnTo>
                    <a:pt x="72" y="538"/>
                  </a:lnTo>
                  <a:lnTo>
                    <a:pt x="74" y="564"/>
                  </a:lnTo>
                  <a:lnTo>
                    <a:pt x="78" y="590"/>
                  </a:lnTo>
                  <a:lnTo>
                    <a:pt x="82" y="616"/>
                  </a:lnTo>
                  <a:lnTo>
                    <a:pt x="88" y="640"/>
                  </a:lnTo>
                  <a:lnTo>
                    <a:pt x="96" y="664"/>
                  </a:lnTo>
                  <a:lnTo>
                    <a:pt x="104" y="688"/>
                  </a:lnTo>
                  <a:lnTo>
                    <a:pt x="112" y="712"/>
                  </a:lnTo>
                  <a:lnTo>
                    <a:pt x="122" y="734"/>
                  </a:lnTo>
                  <a:lnTo>
                    <a:pt x="134" y="756"/>
                  </a:lnTo>
                  <a:lnTo>
                    <a:pt x="146" y="778"/>
                  </a:lnTo>
                  <a:lnTo>
                    <a:pt x="160" y="798"/>
                  </a:lnTo>
                  <a:lnTo>
                    <a:pt x="190" y="838"/>
                  </a:lnTo>
                  <a:lnTo>
                    <a:pt x="222" y="874"/>
                  </a:lnTo>
                  <a:lnTo>
                    <a:pt x="222" y="874"/>
                  </a:lnTo>
                  <a:lnTo>
                    <a:pt x="198" y="908"/>
                  </a:lnTo>
                  <a:lnTo>
                    <a:pt x="168" y="950"/>
                  </a:lnTo>
                  <a:lnTo>
                    <a:pt x="136" y="1004"/>
                  </a:lnTo>
                  <a:lnTo>
                    <a:pt x="120" y="1034"/>
                  </a:lnTo>
                  <a:lnTo>
                    <a:pt x="104" y="1066"/>
                  </a:lnTo>
                  <a:lnTo>
                    <a:pt x="90" y="1102"/>
                  </a:lnTo>
                  <a:lnTo>
                    <a:pt x="76" y="1140"/>
                  </a:lnTo>
                  <a:lnTo>
                    <a:pt x="62" y="1180"/>
                  </a:lnTo>
                  <a:lnTo>
                    <a:pt x="50" y="1222"/>
                  </a:lnTo>
                  <a:lnTo>
                    <a:pt x="40" y="1266"/>
                  </a:lnTo>
                  <a:lnTo>
                    <a:pt x="32" y="1312"/>
                  </a:lnTo>
                  <a:lnTo>
                    <a:pt x="24" y="1360"/>
                  </a:lnTo>
                  <a:lnTo>
                    <a:pt x="20" y="1412"/>
                  </a:lnTo>
                  <a:lnTo>
                    <a:pt x="20" y="1412"/>
                  </a:lnTo>
                  <a:lnTo>
                    <a:pt x="10" y="1644"/>
                  </a:lnTo>
                  <a:lnTo>
                    <a:pt x="2" y="1822"/>
                  </a:lnTo>
                  <a:lnTo>
                    <a:pt x="0" y="1974"/>
                  </a:lnTo>
                  <a:lnTo>
                    <a:pt x="214" y="1974"/>
                  </a:lnTo>
                  <a:lnTo>
                    <a:pt x="214" y="1974"/>
                  </a:lnTo>
                  <a:lnTo>
                    <a:pt x="208" y="1938"/>
                  </a:lnTo>
                  <a:lnTo>
                    <a:pt x="196" y="1842"/>
                  </a:lnTo>
                  <a:lnTo>
                    <a:pt x="190" y="1776"/>
                  </a:lnTo>
                  <a:lnTo>
                    <a:pt x="184" y="1704"/>
                  </a:lnTo>
                  <a:lnTo>
                    <a:pt x="178" y="1626"/>
                  </a:lnTo>
                  <a:lnTo>
                    <a:pt x="174" y="1544"/>
                  </a:lnTo>
                  <a:lnTo>
                    <a:pt x="174" y="1544"/>
                  </a:lnTo>
                  <a:close/>
                  <a:moveTo>
                    <a:pt x="390" y="1384"/>
                  </a:moveTo>
                  <a:lnTo>
                    <a:pt x="390" y="1384"/>
                  </a:lnTo>
                  <a:lnTo>
                    <a:pt x="338" y="1388"/>
                  </a:lnTo>
                  <a:lnTo>
                    <a:pt x="296" y="1394"/>
                  </a:lnTo>
                  <a:lnTo>
                    <a:pt x="260" y="1402"/>
                  </a:lnTo>
                  <a:lnTo>
                    <a:pt x="230" y="1412"/>
                  </a:lnTo>
                  <a:lnTo>
                    <a:pt x="230" y="1412"/>
                  </a:lnTo>
                  <a:lnTo>
                    <a:pt x="244" y="1390"/>
                  </a:lnTo>
                  <a:lnTo>
                    <a:pt x="262" y="1368"/>
                  </a:lnTo>
                  <a:lnTo>
                    <a:pt x="282" y="1346"/>
                  </a:lnTo>
                  <a:lnTo>
                    <a:pt x="294" y="1336"/>
                  </a:lnTo>
                  <a:lnTo>
                    <a:pt x="308" y="1326"/>
                  </a:lnTo>
                  <a:lnTo>
                    <a:pt x="324" y="1318"/>
                  </a:lnTo>
                  <a:lnTo>
                    <a:pt x="340" y="1310"/>
                  </a:lnTo>
                  <a:lnTo>
                    <a:pt x="356" y="1302"/>
                  </a:lnTo>
                  <a:lnTo>
                    <a:pt x="376" y="1296"/>
                  </a:lnTo>
                  <a:lnTo>
                    <a:pt x="396" y="1292"/>
                  </a:lnTo>
                  <a:lnTo>
                    <a:pt x="418" y="1288"/>
                  </a:lnTo>
                  <a:lnTo>
                    <a:pt x="442" y="1286"/>
                  </a:lnTo>
                  <a:lnTo>
                    <a:pt x="466" y="1284"/>
                  </a:lnTo>
                  <a:lnTo>
                    <a:pt x="466" y="1284"/>
                  </a:lnTo>
                  <a:lnTo>
                    <a:pt x="490" y="1286"/>
                  </a:lnTo>
                  <a:lnTo>
                    <a:pt x="516" y="1288"/>
                  </a:lnTo>
                  <a:lnTo>
                    <a:pt x="542" y="1290"/>
                  </a:lnTo>
                  <a:lnTo>
                    <a:pt x="570" y="1296"/>
                  </a:lnTo>
                  <a:lnTo>
                    <a:pt x="626" y="1310"/>
                  </a:lnTo>
                  <a:lnTo>
                    <a:pt x="686" y="1328"/>
                  </a:lnTo>
                  <a:lnTo>
                    <a:pt x="686" y="1328"/>
                  </a:lnTo>
                  <a:lnTo>
                    <a:pt x="672" y="1356"/>
                  </a:lnTo>
                  <a:lnTo>
                    <a:pt x="654" y="1386"/>
                  </a:lnTo>
                  <a:lnTo>
                    <a:pt x="630" y="1420"/>
                  </a:lnTo>
                  <a:lnTo>
                    <a:pt x="604" y="1456"/>
                  </a:lnTo>
                  <a:lnTo>
                    <a:pt x="588" y="1472"/>
                  </a:lnTo>
                  <a:lnTo>
                    <a:pt x="570" y="1488"/>
                  </a:lnTo>
                  <a:lnTo>
                    <a:pt x="554" y="1502"/>
                  </a:lnTo>
                  <a:lnTo>
                    <a:pt x="534" y="1516"/>
                  </a:lnTo>
                  <a:lnTo>
                    <a:pt x="514" y="1528"/>
                  </a:lnTo>
                  <a:lnTo>
                    <a:pt x="494" y="1540"/>
                  </a:lnTo>
                  <a:lnTo>
                    <a:pt x="472" y="1548"/>
                  </a:lnTo>
                  <a:lnTo>
                    <a:pt x="448" y="1554"/>
                  </a:lnTo>
                  <a:lnTo>
                    <a:pt x="448" y="1554"/>
                  </a:lnTo>
                  <a:lnTo>
                    <a:pt x="420" y="1558"/>
                  </a:lnTo>
                  <a:lnTo>
                    <a:pt x="392" y="1560"/>
                  </a:lnTo>
                  <a:lnTo>
                    <a:pt x="392" y="1560"/>
                  </a:lnTo>
                  <a:lnTo>
                    <a:pt x="362" y="1558"/>
                  </a:lnTo>
                  <a:lnTo>
                    <a:pt x="334" y="1552"/>
                  </a:lnTo>
                  <a:lnTo>
                    <a:pt x="310" y="1546"/>
                  </a:lnTo>
                  <a:lnTo>
                    <a:pt x="288" y="1538"/>
                  </a:lnTo>
                  <a:lnTo>
                    <a:pt x="268" y="1528"/>
                  </a:lnTo>
                  <a:lnTo>
                    <a:pt x="250" y="1516"/>
                  </a:lnTo>
                  <a:lnTo>
                    <a:pt x="234" y="1506"/>
                  </a:lnTo>
                  <a:lnTo>
                    <a:pt x="222" y="1496"/>
                  </a:lnTo>
                  <a:lnTo>
                    <a:pt x="222" y="1496"/>
                  </a:lnTo>
                  <a:lnTo>
                    <a:pt x="228" y="1490"/>
                  </a:lnTo>
                  <a:lnTo>
                    <a:pt x="238" y="1484"/>
                  </a:lnTo>
                  <a:lnTo>
                    <a:pt x="252" y="1476"/>
                  </a:lnTo>
                  <a:lnTo>
                    <a:pt x="270" y="1470"/>
                  </a:lnTo>
                  <a:lnTo>
                    <a:pt x="292" y="1464"/>
                  </a:lnTo>
                  <a:lnTo>
                    <a:pt x="320" y="1458"/>
                  </a:lnTo>
                  <a:lnTo>
                    <a:pt x="354" y="1454"/>
                  </a:lnTo>
                  <a:lnTo>
                    <a:pt x="392" y="1450"/>
                  </a:lnTo>
                  <a:lnTo>
                    <a:pt x="392" y="1450"/>
                  </a:lnTo>
                  <a:lnTo>
                    <a:pt x="400" y="1450"/>
                  </a:lnTo>
                  <a:lnTo>
                    <a:pt x="406" y="1448"/>
                  </a:lnTo>
                  <a:lnTo>
                    <a:pt x="410" y="1444"/>
                  </a:lnTo>
                  <a:lnTo>
                    <a:pt x="416" y="1440"/>
                  </a:lnTo>
                  <a:lnTo>
                    <a:pt x="420" y="1434"/>
                  </a:lnTo>
                  <a:lnTo>
                    <a:pt x="422" y="1428"/>
                  </a:lnTo>
                  <a:lnTo>
                    <a:pt x="424" y="1422"/>
                  </a:lnTo>
                  <a:lnTo>
                    <a:pt x="424" y="1416"/>
                  </a:lnTo>
                  <a:lnTo>
                    <a:pt x="424" y="1416"/>
                  </a:lnTo>
                  <a:lnTo>
                    <a:pt x="424" y="1408"/>
                  </a:lnTo>
                  <a:lnTo>
                    <a:pt x="422" y="1402"/>
                  </a:lnTo>
                  <a:lnTo>
                    <a:pt x="418" y="1396"/>
                  </a:lnTo>
                  <a:lnTo>
                    <a:pt x="414" y="1392"/>
                  </a:lnTo>
                  <a:lnTo>
                    <a:pt x="408" y="1388"/>
                  </a:lnTo>
                  <a:lnTo>
                    <a:pt x="402" y="1386"/>
                  </a:lnTo>
                  <a:lnTo>
                    <a:pt x="396" y="1384"/>
                  </a:lnTo>
                  <a:lnTo>
                    <a:pt x="390" y="1384"/>
                  </a:lnTo>
                  <a:lnTo>
                    <a:pt x="390" y="1384"/>
                  </a:lnTo>
                  <a:close/>
                  <a:moveTo>
                    <a:pt x="140" y="512"/>
                  </a:moveTo>
                  <a:lnTo>
                    <a:pt x="140" y="512"/>
                  </a:lnTo>
                  <a:lnTo>
                    <a:pt x="142" y="466"/>
                  </a:lnTo>
                  <a:lnTo>
                    <a:pt x="148" y="422"/>
                  </a:lnTo>
                  <a:lnTo>
                    <a:pt x="160" y="380"/>
                  </a:lnTo>
                  <a:lnTo>
                    <a:pt x="174" y="340"/>
                  </a:lnTo>
                  <a:lnTo>
                    <a:pt x="192" y="300"/>
                  </a:lnTo>
                  <a:lnTo>
                    <a:pt x="216" y="264"/>
                  </a:lnTo>
                  <a:lnTo>
                    <a:pt x="240" y="230"/>
                  </a:lnTo>
                  <a:lnTo>
                    <a:pt x="270" y="198"/>
                  </a:lnTo>
                  <a:lnTo>
                    <a:pt x="302" y="170"/>
                  </a:lnTo>
                  <a:lnTo>
                    <a:pt x="336" y="144"/>
                  </a:lnTo>
                  <a:lnTo>
                    <a:pt x="372" y="122"/>
                  </a:lnTo>
                  <a:lnTo>
                    <a:pt x="410" y="104"/>
                  </a:lnTo>
                  <a:lnTo>
                    <a:pt x="452" y="88"/>
                  </a:lnTo>
                  <a:lnTo>
                    <a:pt x="494" y="78"/>
                  </a:lnTo>
                  <a:lnTo>
                    <a:pt x="538" y="70"/>
                  </a:lnTo>
                  <a:lnTo>
                    <a:pt x="584" y="68"/>
                  </a:lnTo>
                  <a:lnTo>
                    <a:pt x="584" y="68"/>
                  </a:lnTo>
                  <a:lnTo>
                    <a:pt x="628" y="70"/>
                  </a:lnTo>
                  <a:lnTo>
                    <a:pt x="672" y="78"/>
                  </a:lnTo>
                  <a:lnTo>
                    <a:pt x="714" y="88"/>
                  </a:lnTo>
                  <a:lnTo>
                    <a:pt x="756" y="104"/>
                  </a:lnTo>
                  <a:lnTo>
                    <a:pt x="794" y="122"/>
                  </a:lnTo>
                  <a:lnTo>
                    <a:pt x="832" y="144"/>
                  </a:lnTo>
                  <a:lnTo>
                    <a:pt x="866" y="170"/>
                  </a:lnTo>
                  <a:lnTo>
                    <a:pt x="896" y="198"/>
                  </a:lnTo>
                  <a:lnTo>
                    <a:pt x="926" y="230"/>
                  </a:lnTo>
                  <a:lnTo>
                    <a:pt x="952" y="264"/>
                  </a:lnTo>
                  <a:lnTo>
                    <a:pt x="974" y="300"/>
                  </a:lnTo>
                  <a:lnTo>
                    <a:pt x="992" y="340"/>
                  </a:lnTo>
                  <a:lnTo>
                    <a:pt x="1006" y="380"/>
                  </a:lnTo>
                  <a:lnTo>
                    <a:pt x="1018" y="422"/>
                  </a:lnTo>
                  <a:lnTo>
                    <a:pt x="1024" y="466"/>
                  </a:lnTo>
                  <a:lnTo>
                    <a:pt x="1026" y="512"/>
                  </a:lnTo>
                  <a:lnTo>
                    <a:pt x="1026" y="512"/>
                  </a:lnTo>
                  <a:lnTo>
                    <a:pt x="1024" y="558"/>
                  </a:lnTo>
                  <a:lnTo>
                    <a:pt x="1018" y="602"/>
                  </a:lnTo>
                  <a:lnTo>
                    <a:pt x="1006" y="644"/>
                  </a:lnTo>
                  <a:lnTo>
                    <a:pt x="992" y="684"/>
                  </a:lnTo>
                  <a:lnTo>
                    <a:pt x="974" y="724"/>
                  </a:lnTo>
                  <a:lnTo>
                    <a:pt x="952" y="760"/>
                  </a:lnTo>
                  <a:lnTo>
                    <a:pt x="926" y="794"/>
                  </a:lnTo>
                  <a:lnTo>
                    <a:pt x="896" y="826"/>
                  </a:lnTo>
                  <a:lnTo>
                    <a:pt x="866" y="854"/>
                  </a:lnTo>
                  <a:lnTo>
                    <a:pt x="832" y="880"/>
                  </a:lnTo>
                  <a:lnTo>
                    <a:pt x="794" y="902"/>
                  </a:lnTo>
                  <a:lnTo>
                    <a:pt x="756" y="920"/>
                  </a:lnTo>
                  <a:lnTo>
                    <a:pt x="714" y="936"/>
                  </a:lnTo>
                  <a:lnTo>
                    <a:pt x="672" y="946"/>
                  </a:lnTo>
                  <a:lnTo>
                    <a:pt x="628" y="954"/>
                  </a:lnTo>
                  <a:lnTo>
                    <a:pt x="584" y="956"/>
                  </a:lnTo>
                  <a:lnTo>
                    <a:pt x="584" y="956"/>
                  </a:lnTo>
                  <a:lnTo>
                    <a:pt x="538" y="954"/>
                  </a:lnTo>
                  <a:lnTo>
                    <a:pt x="494" y="946"/>
                  </a:lnTo>
                  <a:lnTo>
                    <a:pt x="452" y="936"/>
                  </a:lnTo>
                  <a:lnTo>
                    <a:pt x="410" y="920"/>
                  </a:lnTo>
                  <a:lnTo>
                    <a:pt x="372" y="902"/>
                  </a:lnTo>
                  <a:lnTo>
                    <a:pt x="336" y="880"/>
                  </a:lnTo>
                  <a:lnTo>
                    <a:pt x="302" y="854"/>
                  </a:lnTo>
                  <a:lnTo>
                    <a:pt x="270" y="826"/>
                  </a:lnTo>
                  <a:lnTo>
                    <a:pt x="240" y="794"/>
                  </a:lnTo>
                  <a:lnTo>
                    <a:pt x="216" y="760"/>
                  </a:lnTo>
                  <a:lnTo>
                    <a:pt x="192" y="724"/>
                  </a:lnTo>
                  <a:lnTo>
                    <a:pt x="174" y="684"/>
                  </a:lnTo>
                  <a:lnTo>
                    <a:pt x="160" y="644"/>
                  </a:lnTo>
                  <a:lnTo>
                    <a:pt x="148" y="602"/>
                  </a:lnTo>
                  <a:lnTo>
                    <a:pt x="142" y="558"/>
                  </a:lnTo>
                  <a:lnTo>
                    <a:pt x="140" y="512"/>
                  </a:lnTo>
                  <a:lnTo>
                    <a:pt x="140" y="512"/>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115" name="Freeform 59"/>
            <p:cNvSpPr>
              <a:spLocks/>
            </p:cNvSpPr>
            <p:nvPr/>
          </p:nvSpPr>
          <p:spPr bwMode="auto">
            <a:xfrm>
              <a:off x="3434638" y="3973996"/>
              <a:ext cx="491190" cy="278941"/>
            </a:xfrm>
            <a:custGeom>
              <a:avLst/>
              <a:gdLst>
                <a:gd name="T0" fmla="*/ 2528 w 2828"/>
                <a:gd name="T1" fmla="*/ 506 h 1606"/>
                <a:gd name="T2" fmla="*/ 2632 w 2828"/>
                <a:gd name="T3" fmla="*/ 500 h 1606"/>
                <a:gd name="T4" fmla="*/ 2722 w 2828"/>
                <a:gd name="T5" fmla="*/ 522 h 1606"/>
                <a:gd name="T6" fmla="*/ 2776 w 2828"/>
                <a:gd name="T7" fmla="*/ 558 h 1606"/>
                <a:gd name="T8" fmla="*/ 2814 w 2828"/>
                <a:gd name="T9" fmla="*/ 606 h 1606"/>
                <a:gd name="T10" fmla="*/ 2828 w 2828"/>
                <a:gd name="T11" fmla="*/ 658 h 1606"/>
                <a:gd name="T12" fmla="*/ 2812 w 2828"/>
                <a:gd name="T13" fmla="*/ 720 h 1606"/>
                <a:gd name="T14" fmla="*/ 2748 w 2828"/>
                <a:gd name="T15" fmla="*/ 808 h 1606"/>
                <a:gd name="T16" fmla="*/ 2062 w 2828"/>
                <a:gd name="T17" fmla="*/ 1428 h 1606"/>
                <a:gd name="T18" fmla="*/ 1896 w 2828"/>
                <a:gd name="T19" fmla="*/ 1528 h 1606"/>
                <a:gd name="T20" fmla="*/ 1738 w 2828"/>
                <a:gd name="T21" fmla="*/ 1580 h 1606"/>
                <a:gd name="T22" fmla="*/ 1576 w 2828"/>
                <a:gd name="T23" fmla="*/ 1604 h 1606"/>
                <a:gd name="T24" fmla="*/ 0 w 2828"/>
                <a:gd name="T25" fmla="*/ 1450 h 1606"/>
                <a:gd name="T26" fmla="*/ 1578 w 2828"/>
                <a:gd name="T27" fmla="*/ 1460 h 1606"/>
                <a:gd name="T28" fmla="*/ 1740 w 2828"/>
                <a:gd name="T29" fmla="*/ 1434 h 1606"/>
                <a:gd name="T30" fmla="*/ 1854 w 2828"/>
                <a:gd name="T31" fmla="*/ 1390 h 1606"/>
                <a:gd name="T32" fmla="*/ 1966 w 2828"/>
                <a:gd name="T33" fmla="*/ 1318 h 1606"/>
                <a:gd name="T34" fmla="*/ 2620 w 2828"/>
                <a:gd name="T35" fmla="*/ 768 h 1606"/>
                <a:gd name="T36" fmla="*/ 2674 w 2828"/>
                <a:gd name="T37" fmla="*/ 710 h 1606"/>
                <a:gd name="T38" fmla="*/ 2684 w 2828"/>
                <a:gd name="T39" fmla="*/ 668 h 1606"/>
                <a:gd name="T40" fmla="*/ 2668 w 2828"/>
                <a:gd name="T41" fmla="*/ 650 h 1606"/>
                <a:gd name="T42" fmla="*/ 2612 w 2828"/>
                <a:gd name="T43" fmla="*/ 638 h 1606"/>
                <a:gd name="T44" fmla="*/ 2518 w 2828"/>
                <a:gd name="T45" fmla="*/ 654 h 1606"/>
                <a:gd name="T46" fmla="*/ 810 w 2828"/>
                <a:gd name="T47" fmla="*/ 630 h 1606"/>
                <a:gd name="T48" fmla="*/ 930 w 2828"/>
                <a:gd name="T49" fmla="*/ 578 h 1606"/>
                <a:gd name="T50" fmla="*/ 1096 w 2828"/>
                <a:gd name="T51" fmla="*/ 470 h 1606"/>
                <a:gd name="T52" fmla="*/ 1190 w 2828"/>
                <a:gd name="T53" fmla="*/ 364 h 1606"/>
                <a:gd name="T54" fmla="*/ 1222 w 2828"/>
                <a:gd name="T55" fmla="*/ 266 h 1606"/>
                <a:gd name="T56" fmla="*/ 1210 w 2828"/>
                <a:gd name="T57" fmla="*/ 180 h 1606"/>
                <a:gd name="T58" fmla="*/ 786 w 2828"/>
                <a:gd name="T59" fmla="*/ 310 h 1606"/>
                <a:gd name="T60" fmla="*/ 572 w 2828"/>
                <a:gd name="T61" fmla="*/ 288 h 1606"/>
                <a:gd name="T62" fmla="*/ 402 w 2828"/>
                <a:gd name="T63" fmla="*/ 308 h 1606"/>
                <a:gd name="T64" fmla="*/ 252 w 2828"/>
                <a:gd name="T65" fmla="*/ 366 h 1606"/>
                <a:gd name="T66" fmla="*/ 120 w 2828"/>
                <a:gd name="T67" fmla="*/ 464 h 1606"/>
                <a:gd name="T68" fmla="*/ 4 w 2828"/>
                <a:gd name="T69" fmla="*/ 602 h 1606"/>
                <a:gd name="T70" fmla="*/ 64 w 2828"/>
                <a:gd name="T71" fmla="*/ 320 h 1606"/>
                <a:gd name="T72" fmla="*/ 192 w 2828"/>
                <a:gd name="T73" fmla="*/ 234 h 1606"/>
                <a:gd name="T74" fmla="*/ 334 w 2828"/>
                <a:gd name="T75" fmla="*/ 176 h 1606"/>
                <a:gd name="T76" fmla="*/ 492 w 2828"/>
                <a:gd name="T77" fmla="*/ 148 h 1606"/>
                <a:gd name="T78" fmla="*/ 642 w 2828"/>
                <a:gd name="T79" fmla="*/ 146 h 1606"/>
                <a:gd name="T80" fmla="*/ 852 w 2828"/>
                <a:gd name="T81" fmla="*/ 176 h 1606"/>
                <a:gd name="T82" fmla="*/ 1294 w 2828"/>
                <a:gd name="T83" fmla="*/ 34 h 1606"/>
                <a:gd name="T84" fmla="*/ 1352 w 2828"/>
                <a:gd name="T85" fmla="*/ 166 h 1606"/>
                <a:gd name="T86" fmla="*/ 1366 w 2828"/>
                <a:gd name="T87" fmla="*/ 286 h 1606"/>
                <a:gd name="T88" fmla="*/ 1336 w 2828"/>
                <a:gd name="T89" fmla="*/ 396 h 1606"/>
                <a:gd name="T90" fmla="*/ 1286 w 2828"/>
                <a:gd name="T91" fmla="*/ 474 h 1606"/>
                <a:gd name="T92" fmla="*/ 1172 w 2828"/>
                <a:gd name="T93" fmla="*/ 590 h 1606"/>
                <a:gd name="T94" fmla="*/ 1020 w 2828"/>
                <a:gd name="T95" fmla="*/ 694 h 1606"/>
                <a:gd name="T96" fmla="*/ 1050 w 2828"/>
                <a:gd name="T97" fmla="*/ 788 h 1606"/>
                <a:gd name="T98" fmla="*/ 1812 w 2828"/>
                <a:gd name="T99" fmla="*/ 764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28" h="1606">
                  <a:moveTo>
                    <a:pt x="2444" y="530"/>
                  </a:moveTo>
                  <a:lnTo>
                    <a:pt x="2444" y="530"/>
                  </a:lnTo>
                  <a:lnTo>
                    <a:pt x="2486" y="516"/>
                  </a:lnTo>
                  <a:lnTo>
                    <a:pt x="2528" y="506"/>
                  </a:lnTo>
                  <a:lnTo>
                    <a:pt x="2568" y="500"/>
                  </a:lnTo>
                  <a:lnTo>
                    <a:pt x="2606" y="498"/>
                  </a:lnTo>
                  <a:lnTo>
                    <a:pt x="2606" y="498"/>
                  </a:lnTo>
                  <a:lnTo>
                    <a:pt x="2632" y="500"/>
                  </a:lnTo>
                  <a:lnTo>
                    <a:pt x="2656" y="502"/>
                  </a:lnTo>
                  <a:lnTo>
                    <a:pt x="2680" y="508"/>
                  </a:lnTo>
                  <a:lnTo>
                    <a:pt x="2702" y="514"/>
                  </a:lnTo>
                  <a:lnTo>
                    <a:pt x="2722" y="522"/>
                  </a:lnTo>
                  <a:lnTo>
                    <a:pt x="2742" y="532"/>
                  </a:lnTo>
                  <a:lnTo>
                    <a:pt x="2760" y="544"/>
                  </a:lnTo>
                  <a:lnTo>
                    <a:pt x="2776" y="558"/>
                  </a:lnTo>
                  <a:lnTo>
                    <a:pt x="2776" y="558"/>
                  </a:lnTo>
                  <a:lnTo>
                    <a:pt x="2788" y="568"/>
                  </a:lnTo>
                  <a:lnTo>
                    <a:pt x="2798" y="580"/>
                  </a:lnTo>
                  <a:lnTo>
                    <a:pt x="2808" y="592"/>
                  </a:lnTo>
                  <a:lnTo>
                    <a:pt x="2814" y="606"/>
                  </a:lnTo>
                  <a:lnTo>
                    <a:pt x="2820" y="618"/>
                  </a:lnTo>
                  <a:lnTo>
                    <a:pt x="2824" y="632"/>
                  </a:lnTo>
                  <a:lnTo>
                    <a:pt x="2826" y="644"/>
                  </a:lnTo>
                  <a:lnTo>
                    <a:pt x="2828" y="658"/>
                  </a:lnTo>
                  <a:lnTo>
                    <a:pt x="2828" y="658"/>
                  </a:lnTo>
                  <a:lnTo>
                    <a:pt x="2826" y="678"/>
                  </a:lnTo>
                  <a:lnTo>
                    <a:pt x="2820" y="698"/>
                  </a:lnTo>
                  <a:lnTo>
                    <a:pt x="2812" y="720"/>
                  </a:lnTo>
                  <a:lnTo>
                    <a:pt x="2800" y="742"/>
                  </a:lnTo>
                  <a:lnTo>
                    <a:pt x="2786" y="764"/>
                  </a:lnTo>
                  <a:lnTo>
                    <a:pt x="2768" y="786"/>
                  </a:lnTo>
                  <a:lnTo>
                    <a:pt x="2748" y="808"/>
                  </a:lnTo>
                  <a:lnTo>
                    <a:pt x="2722" y="832"/>
                  </a:lnTo>
                  <a:lnTo>
                    <a:pt x="2102" y="1394"/>
                  </a:lnTo>
                  <a:lnTo>
                    <a:pt x="2102" y="1394"/>
                  </a:lnTo>
                  <a:lnTo>
                    <a:pt x="2062" y="1428"/>
                  </a:lnTo>
                  <a:lnTo>
                    <a:pt x="2022" y="1458"/>
                  </a:lnTo>
                  <a:lnTo>
                    <a:pt x="1980" y="1484"/>
                  </a:lnTo>
                  <a:lnTo>
                    <a:pt x="1938" y="1508"/>
                  </a:lnTo>
                  <a:lnTo>
                    <a:pt x="1896" y="1528"/>
                  </a:lnTo>
                  <a:lnTo>
                    <a:pt x="1856" y="1544"/>
                  </a:lnTo>
                  <a:lnTo>
                    <a:pt x="1816" y="1560"/>
                  </a:lnTo>
                  <a:lnTo>
                    <a:pt x="1776" y="1572"/>
                  </a:lnTo>
                  <a:lnTo>
                    <a:pt x="1738" y="1580"/>
                  </a:lnTo>
                  <a:lnTo>
                    <a:pt x="1700" y="1588"/>
                  </a:lnTo>
                  <a:lnTo>
                    <a:pt x="1666" y="1594"/>
                  </a:lnTo>
                  <a:lnTo>
                    <a:pt x="1632" y="1598"/>
                  </a:lnTo>
                  <a:lnTo>
                    <a:pt x="1576" y="1604"/>
                  </a:lnTo>
                  <a:lnTo>
                    <a:pt x="1530" y="1606"/>
                  </a:lnTo>
                  <a:lnTo>
                    <a:pt x="1524" y="1606"/>
                  </a:lnTo>
                  <a:lnTo>
                    <a:pt x="0" y="1594"/>
                  </a:lnTo>
                  <a:lnTo>
                    <a:pt x="0" y="1450"/>
                  </a:lnTo>
                  <a:lnTo>
                    <a:pt x="1524" y="1462"/>
                  </a:lnTo>
                  <a:lnTo>
                    <a:pt x="1530" y="1462"/>
                  </a:lnTo>
                  <a:lnTo>
                    <a:pt x="1530" y="1462"/>
                  </a:lnTo>
                  <a:lnTo>
                    <a:pt x="1578" y="1460"/>
                  </a:lnTo>
                  <a:lnTo>
                    <a:pt x="1630" y="1456"/>
                  </a:lnTo>
                  <a:lnTo>
                    <a:pt x="1684" y="1448"/>
                  </a:lnTo>
                  <a:lnTo>
                    <a:pt x="1712" y="1442"/>
                  </a:lnTo>
                  <a:lnTo>
                    <a:pt x="1740" y="1434"/>
                  </a:lnTo>
                  <a:lnTo>
                    <a:pt x="1768" y="1426"/>
                  </a:lnTo>
                  <a:lnTo>
                    <a:pt x="1798" y="1416"/>
                  </a:lnTo>
                  <a:lnTo>
                    <a:pt x="1826" y="1404"/>
                  </a:lnTo>
                  <a:lnTo>
                    <a:pt x="1854" y="1390"/>
                  </a:lnTo>
                  <a:lnTo>
                    <a:pt x="1884" y="1376"/>
                  </a:lnTo>
                  <a:lnTo>
                    <a:pt x="1912" y="1358"/>
                  </a:lnTo>
                  <a:lnTo>
                    <a:pt x="1940" y="1338"/>
                  </a:lnTo>
                  <a:lnTo>
                    <a:pt x="1966" y="1318"/>
                  </a:lnTo>
                  <a:lnTo>
                    <a:pt x="1966" y="1318"/>
                  </a:lnTo>
                  <a:lnTo>
                    <a:pt x="2232" y="1094"/>
                  </a:lnTo>
                  <a:lnTo>
                    <a:pt x="2620" y="768"/>
                  </a:lnTo>
                  <a:lnTo>
                    <a:pt x="2620" y="768"/>
                  </a:lnTo>
                  <a:lnTo>
                    <a:pt x="2638" y="752"/>
                  </a:lnTo>
                  <a:lnTo>
                    <a:pt x="2652" y="738"/>
                  </a:lnTo>
                  <a:lnTo>
                    <a:pt x="2664" y="724"/>
                  </a:lnTo>
                  <a:lnTo>
                    <a:pt x="2674" y="710"/>
                  </a:lnTo>
                  <a:lnTo>
                    <a:pt x="2680" y="698"/>
                  </a:lnTo>
                  <a:lnTo>
                    <a:pt x="2684" y="686"/>
                  </a:lnTo>
                  <a:lnTo>
                    <a:pt x="2686" y="676"/>
                  </a:lnTo>
                  <a:lnTo>
                    <a:pt x="2684" y="668"/>
                  </a:lnTo>
                  <a:lnTo>
                    <a:pt x="2684" y="668"/>
                  </a:lnTo>
                  <a:lnTo>
                    <a:pt x="2680" y="660"/>
                  </a:lnTo>
                  <a:lnTo>
                    <a:pt x="2676" y="656"/>
                  </a:lnTo>
                  <a:lnTo>
                    <a:pt x="2668" y="650"/>
                  </a:lnTo>
                  <a:lnTo>
                    <a:pt x="2660" y="646"/>
                  </a:lnTo>
                  <a:lnTo>
                    <a:pt x="2650" y="642"/>
                  </a:lnTo>
                  <a:lnTo>
                    <a:pt x="2640" y="640"/>
                  </a:lnTo>
                  <a:lnTo>
                    <a:pt x="2612" y="638"/>
                  </a:lnTo>
                  <a:lnTo>
                    <a:pt x="2612" y="638"/>
                  </a:lnTo>
                  <a:lnTo>
                    <a:pt x="2582" y="640"/>
                  </a:lnTo>
                  <a:lnTo>
                    <a:pt x="2550" y="646"/>
                  </a:lnTo>
                  <a:lnTo>
                    <a:pt x="2518" y="654"/>
                  </a:lnTo>
                  <a:lnTo>
                    <a:pt x="2486" y="664"/>
                  </a:lnTo>
                  <a:lnTo>
                    <a:pt x="1770" y="932"/>
                  </a:lnTo>
                  <a:lnTo>
                    <a:pt x="952" y="932"/>
                  </a:lnTo>
                  <a:lnTo>
                    <a:pt x="810" y="630"/>
                  </a:lnTo>
                  <a:lnTo>
                    <a:pt x="830" y="622"/>
                  </a:lnTo>
                  <a:lnTo>
                    <a:pt x="830" y="622"/>
                  </a:lnTo>
                  <a:lnTo>
                    <a:pt x="882" y="600"/>
                  </a:lnTo>
                  <a:lnTo>
                    <a:pt x="930" y="578"/>
                  </a:lnTo>
                  <a:lnTo>
                    <a:pt x="974" y="556"/>
                  </a:lnTo>
                  <a:lnTo>
                    <a:pt x="1016" y="530"/>
                  </a:lnTo>
                  <a:lnTo>
                    <a:pt x="1056" y="504"/>
                  </a:lnTo>
                  <a:lnTo>
                    <a:pt x="1096" y="470"/>
                  </a:lnTo>
                  <a:lnTo>
                    <a:pt x="1134" y="432"/>
                  </a:lnTo>
                  <a:lnTo>
                    <a:pt x="1174" y="384"/>
                  </a:lnTo>
                  <a:lnTo>
                    <a:pt x="1174" y="384"/>
                  </a:lnTo>
                  <a:lnTo>
                    <a:pt x="1190" y="364"/>
                  </a:lnTo>
                  <a:lnTo>
                    <a:pt x="1204" y="340"/>
                  </a:lnTo>
                  <a:lnTo>
                    <a:pt x="1212" y="316"/>
                  </a:lnTo>
                  <a:lnTo>
                    <a:pt x="1218" y="290"/>
                  </a:lnTo>
                  <a:lnTo>
                    <a:pt x="1222" y="266"/>
                  </a:lnTo>
                  <a:lnTo>
                    <a:pt x="1222" y="238"/>
                  </a:lnTo>
                  <a:lnTo>
                    <a:pt x="1218" y="212"/>
                  </a:lnTo>
                  <a:lnTo>
                    <a:pt x="1212" y="186"/>
                  </a:lnTo>
                  <a:lnTo>
                    <a:pt x="1210" y="180"/>
                  </a:lnTo>
                  <a:lnTo>
                    <a:pt x="1206" y="182"/>
                  </a:lnTo>
                  <a:lnTo>
                    <a:pt x="866" y="326"/>
                  </a:lnTo>
                  <a:lnTo>
                    <a:pt x="866" y="326"/>
                  </a:lnTo>
                  <a:lnTo>
                    <a:pt x="786" y="310"/>
                  </a:lnTo>
                  <a:lnTo>
                    <a:pt x="710" y="298"/>
                  </a:lnTo>
                  <a:lnTo>
                    <a:pt x="638" y="290"/>
                  </a:lnTo>
                  <a:lnTo>
                    <a:pt x="572" y="288"/>
                  </a:lnTo>
                  <a:lnTo>
                    <a:pt x="572" y="288"/>
                  </a:lnTo>
                  <a:lnTo>
                    <a:pt x="528" y="290"/>
                  </a:lnTo>
                  <a:lnTo>
                    <a:pt x="484" y="294"/>
                  </a:lnTo>
                  <a:lnTo>
                    <a:pt x="442" y="300"/>
                  </a:lnTo>
                  <a:lnTo>
                    <a:pt x="402" y="308"/>
                  </a:lnTo>
                  <a:lnTo>
                    <a:pt x="362" y="318"/>
                  </a:lnTo>
                  <a:lnTo>
                    <a:pt x="324" y="332"/>
                  </a:lnTo>
                  <a:lnTo>
                    <a:pt x="288" y="348"/>
                  </a:lnTo>
                  <a:lnTo>
                    <a:pt x="252" y="366"/>
                  </a:lnTo>
                  <a:lnTo>
                    <a:pt x="216" y="386"/>
                  </a:lnTo>
                  <a:lnTo>
                    <a:pt x="184" y="410"/>
                  </a:lnTo>
                  <a:lnTo>
                    <a:pt x="152" y="434"/>
                  </a:lnTo>
                  <a:lnTo>
                    <a:pt x="120" y="464"/>
                  </a:lnTo>
                  <a:lnTo>
                    <a:pt x="90" y="494"/>
                  </a:lnTo>
                  <a:lnTo>
                    <a:pt x="60" y="528"/>
                  </a:lnTo>
                  <a:lnTo>
                    <a:pt x="32" y="564"/>
                  </a:lnTo>
                  <a:lnTo>
                    <a:pt x="4" y="602"/>
                  </a:lnTo>
                  <a:lnTo>
                    <a:pt x="6" y="376"/>
                  </a:lnTo>
                  <a:lnTo>
                    <a:pt x="6" y="376"/>
                  </a:lnTo>
                  <a:lnTo>
                    <a:pt x="34" y="346"/>
                  </a:lnTo>
                  <a:lnTo>
                    <a:pt x="64" y="320"/>
                  </a:lnTo>
                  <a:lnTo>
                    <a:pt x="96" y="296"/>
                  </a:lnTo>
                  <a:lnTo>
                    <a:pt x="126" y="274"/>
                  </a:lnTo>
                  <a:lnTo>
                    <a:pt x="160" y="254"/>
                  </a:lnTo>
                  <a:lnTo>
                    <a:pt x="192" y="234"/>
                  </a:lnTo>
                  <a:lnTo>
                    <a:pt x="226" y="218"/>
                  </a:lnTo>
                  <a:lnTo>
                    <a:pt x="262" y="202"/>
                  </a:lnTo>
                  <a:lnTo>
                    <a:pt x="298" y="188"/>
                  </a:lnTo>
                  <a:lnTo>
                    <a:pt x="334" y="176"/>
                  </a:lnTo>
                  <a:lnTo>
                    <a:pt x="372" y="168"/>
                  </a:lnTo>
                  <a:lnTo>
                    <a:pt x="412" y="160"/>
                  </a:lnTo>
                  <a:lnTo>
                    <a:pt x="450" y="152"/>
                  </a:lnTo>
                  <a:lnTo>
                    <a:pt x="492" y="148"/>
                  </a:lnTo>
                  <a:lnTo>
                    <a:pt x="534" y="146"/>
                  </a:lnTo>
                  <a:lnTo>
                    <a:pt x="576" y="146"/>
                  </a:lnTo>
                  <a:lnTo>
                    <a:pt x="576" y="146"/>
                  </a:lnTo>
                  <a:lnTo>
                    <a:pt x="642" y="146"/>
                  </a:lnTo>
                  <a:lnTo>
                    <a:pt x="708" y="152"/>
                  </a:lnTo>
                  <a:lnTo>
                    <a:pt x="778" y="162"/>
                  </a:lnTo>
                  <a:lnTo>
                    <a:pt x="852" y="176"/>
                  </a:lnTo>
                  <a:lnTo>
                    <a:pt x="852" y="176"/>
                  </a:lnTo>
                  <a:lnTo>
                    <a:pt x="854" y="176"/>
                  </a:lnTo>
                  <a:lnTo>
                    <a:pt x="1272" y="0"/>
                  </a:lnTo>
                  <a:lnTo>
                    <a:pt x="1272" y="0"/>
                  </a:lnTo>
                  <a:lnTo>
                    <a:pt x="1294" y="34"/>
                  </a:lnTo>
                  <a:lnTo>
                    <a:pt x="1312" y="68"/>
                  </a:lnTo>
                  <a:lnTo>
                    <a:pt x="1328" y="102"/>
                  </a:lnTo>
                  <a:lnTo>
                    <a:pt x="1342" y="134"/>
                  </a:lnTo>
                  <a:lnTo>
                    <a:pt x="1352" y="166"/>
                  </a:lnTo>
                  <a:lnTo>
                    <a:pt x="1360" y="196"/>
                  </a:lnTo>
                  <a:lnTo>
                    <a:pt x="1364" y="226"/>
                  </a:lnTo>
                  <a:lnTo>
                    <a:pt x="1366" y="256"/>
                  </a:lnTo>
                  <a:lnTo>
                    <a:pt x="1366" y="286"/>
                  </a:lnTo>
                  <a:lnTo>
                    <a:pt x="1362" y="314"/>
                  </a:lnTo>
                  <a:lnTo>
                    <a:pt x="1356" y="342"/>
                  </a:lnTo>
                  <a:lnTo>
                    <a:pt x="1348" y="370"/>
                  </a:lnTo>
                  <a:lnTo>
                    <a:pt x="1336" y="396"/>
                  </a:lnTo>
                  <a:lnTo>
                    <a:pt x="1322" y="422"/>
                  </a:lnTo>
                  <a:lnTo>
                    <a:pt x="1306" y="448"/>
                  </a:lnTo>
                  <a:lnTo>
                    <a:pt x="1286" y="474"/>
                  </a:lnTo>
                  <a:lnTo>
                    <a:pt x="1286" y="474"/>
                  </a:lnTo>
                  <a:lnTo>
                    <a:pt x="1262" y="502"/>
                  </a:lnTo>
                  <a:lnTo>
                    <a:pt x="1236" y="532"/>
                  </a:lnTo>
                  <a:lnTo>
                    <a:pt x="1206" y="560"/>
                  </a:lnTo>
                  <a:lnTo>
                    <a:pt x="1172" y="590"/>
                  </a:lnTo>
                  <a:lnTo>
                    <a:pt x="1138" y="620"/>
                  </a:lnTo>
                  <a:lnTo>
                    <a:pt x="1100" y="646"/>
                  </a:lnTo>
                  <a:lnTo>
                    <a:pt x="1060" y="672"/>
                  </a:lnTo>
                  <a:lnTo>
                    <a:pt x="1020" y="694"/>
                  </a:lnTo>
                  <a:lnTo>
                    <a:pt x="1016" y="696"/>
                  </a:lnTo>
                  <a:lnTo>
                    <a:pt x="1018" y="700"/>
                  </a:lnTo>
                  <a:lnTo>
                    <a:pt x="1050" y="786"/>
                  </a:lnTo>
                  <a:lnTo>
                    <a:pt x="1050" y="788"/>
                  </a:lnTo>
                  <a:lnTo>
                    <a:pt x="1054" y="788"/>
                  </a:lnTo>
                  <a:lnTo>
                    <a:pt x="1744" y="788"/>
                  </a:lnTo>
                  <a:lnTo>
                    <a:pt x="1744" y="788"/>
                  </a:lnTo>
                  <a:lnTo>
                    <a:pt x="1812" y="764"/>
                  </a:lnTo>
                  <a:lnTo>
                    <a:pt x="1818" y="760"/>
                  </a:lnTo>
                  <a:lnTo>
                    <a:pt x="2444" y="53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116" name="Freeform 60"/>
            <p:cNvSpPr>
              <a:spLocks/>
            </p:cNvSpPr>
            <p:nvPr/>
          </p:nvSpPr>
          <p:spPr bwMode="auto">
            <a:xfrm>
              <a:off x="4125376" y="4085850"/>
              <a:ext cx="1737" cy="0"/>
            </a:xfrm>
            <a:custGeom>
              <a:avLst/>
              <a:gdLst>
                <a:gd name="T0" fmla="*/ 0 w 10"/>
                <a:gd name="T1" fmla="*/ 0 w 10"/>
                <a:gd name="T2" fmla="*/ 10 w 10"/>
                <a:gd name="T3" fmla="*/ 10 w 10"/>
                <a:gd name="T4" fmla="*/ 4 w 10"/>
                <a:gd name="T5" fmla="*/ 4 w 10"/>
                <a:gd name="T6" fmla="*/ 0 w 10"/>
                <a:gd name="T7" fmla="*/ 0 w 10"/>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0">
                  <a:moveTo>
                    <a:pt x="0" y="0"/>
                  </a:moveTo>
                  <a:lnTo>
                    <a:pt x="0" y="0"/>
                  </a:lnTo>
                  <a:lnTo>
                    <a:pt x="10" y="0"/>
                  </a:lnTo>
                  <a:lnTo>
                    <a:pt x="10" y="0"/>
                  </a:lnTo>
                  <a:lnTo>
                    <a:pt x="4" y="0"/>
                  </a:lnTo>
                  <a:lnTo>
                    <a:pt x="4" y="0"/>
                  </a:lnTo>
                  <a:lnTo>
                    <a:pt x="0" y="0"/>
                  </a:lnTo>
                  <a:lnTo>
                    <a:pt x="0" y="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117" name="Freeform 61"/>
            <p:cNvSpPr>
              <a:spLocks/>
            </p:cNvSpPr>
            <p:nvPr/>
          </p:nvSpPr>
          <p:spPr bwMode="auto">
            <a:xfrm>
              <a:off x="3937099" y="4226884"/>
              <a:ext cx="6253" cy="347"/>
            </a:xfrm>
            <a:custGeom>
              <a:avLst/>
              <a:gdLst>
                <a:gd name="T0" fmla="*/ 36 w 36"/>
                <a:gd name="T1" fmla="*/ 0 h 2"/>
                <a:gd name="T2" fmla="*/ 36 w 36"/>
                <a:gd name="T3" fmla="*/ 0 h 2"/>
                <a:gd name="T4" fmla="*/ 0 w 36"/>
                <a:gd name="T5" fmla="*/ 2 h 2"/>
                <a:gd name="T6" fmla="*/ 0 w 36"/>
                <a:gd name="T7" fmla="*/ 2 h 2"/>
                <a:gd name="T8" fmla="*/ 6 w 36"/>
                <a:gd name="T9" fmla="*/ 2 h 2"/>
                <a:gd name="T10" fmla="*/ 6 w 36"/>
                <a:gd name="T11" fmla="*/ 2 h 2"/>
                <a:gd name="T12" fmla="*/ 36 w 36"/>
                <a:gd name="T13" fmla="*/ 0 h 2"/>
                <a:gd name="T14" fmla="*/ 36 w 3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
                  <a:moveTo>
                    <a:pt x="36" y="0"/>
                  </a:moveTo>
                  <a:lnTo>
                    <a:pt x="36" y="0"/>
                  </a:lnTo>
                  <a:lnTo>
                    <a:pt x="0" y="2"/>
                  </a:lnTo>
                  <a:lnTo>
                    <a:pt x="0" y="2"/>
                  </a:lnTo>
                  <a:lnTo>
                    <a:pt x="6" y="2"/>
                  </a:lnTo>
                  <a:lnTo>
                    <a:pt x="6" y="2"/>
                  </a:lnTo>
                  <a:lnTo>
                    <a:pt x="36" y="0"/>
                  </a:lnTo>
                  <a:lnTo>
                    <a:pt x="36" y="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sp>
          <p:nvSpPr>
            <p:cNvPr id="118" name="Freeform 62"/>
            <p:cNvSpPr>
              <a:spLocks/>
            </p:cNvSpPr>
            <p:nvPr/>
          </p:nvSpPr>
          <p:spPr bwMode="auto">
            <a:xfrm>
              <a:off x="3288387" y="4039302"/>
              <a:ext cx="118454" cy="296657"/>
            </a:xfrm>
            <a:custGeom>
              <a:avLst/>
              <a:gdLst>
                <a:gd name="T0" fmla="*/ 98 w 682"/>
                <a:gd name="T1" fmla="*/ 0 h 1708"/>
                <a:gd name="T2" fmla="*/ 98 w 682"/>
                <a:gd name="T3" fmla="*/ 0 h 1708"/>
                <a:gd name="T4" fmla="*/ 78 w 682"/>
                <a:gd name="T5" fmla="*/ 2 h 1708"/>
                <a:gd name="T6" fmla="*/ 58 w 682"/>
                <a:gd name="T7" fmla="*/ 8 h 1708"/>
                <a:gd name="T8" fmla="*/ 42 w 682"/>
                <a:gd name="T9" fmla="*/ 16 h 1708"/>
                <a:gd name="T10" fmla="*/ 26 w 682"/>
                <a:gd name="T11" fmla="*/ 28 h 1708"/>
                <a:gd name="T12" fmla="*/ 14 w 682"/>
                <a:gd name="T13" fmla="*/ 42 h 1708"/>
                <a:gd name="T14" fmla="*/ 4 w 682"/>
                <a:gd name="T15" fmla="*/ 60 h 1708"/>
                <a:gd name="T16" fmla="*/ 2 w 682"/>
                <a:gd name="T17" fmla="*/ 68 h 1708"/>
                <a:gd name="T18" fmla="*/ 0 w 682"/>
                <a:gd name="T19" fmla="*/ 76 h 1708"/>
                <a:gd name="T20" fmla="*/ 0 w 682"/>
                <a:gd name="T21" fmla="*/ 86 h 1708"/>
                <a:gd name="T22" fmla="*/ 2 w 682"/>
                <a:gd name="T23" fmla="*/ 96 h 1708"/>
                <a:gd name="T24" fmla="*/ 304 w 682"/>
                <a:gd name="T25" fmla="*/ 1708 h 1708"/>
                <a:gd name="T26" fmla="*/ 682 w 682"/>
                <a:gd name="T27" fmla="*/ 1708 h 1708"/>
                <a:gd name="T28" fmla="*/ 682 w 682"/>
                <a:gd name="T29" fmla="*/ 0 h 1708"/>
                <a:gd name="T30" fmla="*/ 98 w 682"/>
                <a:gd name="T31" fmla="*/ 0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 h="1708">
                  <a:moveTo>
                    <a:pt x="98" y="0"/>
                  </a:moveTo>
                  <a:lnTo>
                    <a:pt x="98" y="0"/>
                  </a:lnTo>
                  <a:lnTo>
                    <a:pt x="78" y="2"/>
                  </a:lnTo>
                  <a:lnTo>
                    <a:pt x="58" y="8"/>
                  </a:lnTo>
                  <a:lnTo>
                    <a:pt x="42" y="16"/>
                  </a:lnTo>
                  <a:lnTo>
                    <a:pt x="26" y="28"/>
                  </a:lnTo>
                  <a:lnTo>
                    <a:pt x="14" y="42"/>
                  </a:lnTo>
                  <a:lnTo>
                    <a:pt x="4" y="60"/>
                  </a:lnTo>
                  <a:lnTo>
                    <a:pt x="2" y="68"/>
                  </a:lnTo>
                  <a:lnTo>
                    <a:pt x="0" y="76"/>
                  </a:lnTo>
                  <a:lnTo>
                    <a:pt x="0" y="86"/>
                  </a:lnTo>
                  <a:lnTo>
                    <a:pt x="2" y="96"/>
                  </a:lnTo>
                  <a:lnTo>
                    <a:pt x="304" y="1708"/>
                  </a:lnTo>
                  <a:lnTo>
                    <a:pt x="682" y="1708"/>
                  </a:lnTo>
                  <a:lnTo>
                    <a:pt x="682" y="0"/>
                  </a:lnTo>
                  <a:lnTo>
                    <a:pt x="98" y="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dirty="0">
                <a:ln>
                  <a:noFill/>
                </a:ln>
                <a:effectLst/>
                <a:uLnTx/>
                <a:uFillTx/>
                <a:latin typeface="Calibri (Headings)"/>
                <a:cs typeface="Calibri" panose="020F0502020204030204" pitchFamily="34" charset="0"/>
              </a:endParaRPr>
            </a:p>
          </p:txBody>
        </p:sp>
      </p:grpSp>
      <p:sp>
        <p:nvSpPr>
          <p:cNvPr id="108" name="Textfeld 40"/>
          <p:cNvSpPr txBox="1"/>
          <p:nvPr/>
        </p:nvSpPr>
        <p:spPr bwMode="gray">
          <a:xfrm flipH="1">
            <a:off x="623887" y="2751514"/>
            <a:ext cx="3481777" cy="1550031"/>
          </a:xfrm>
          <a:prstGeom prst="rect">
            <a:avLst/>
          </a:prstGeom>
          <a:noFill/>
        </p:spPr>
        <p:txBody>
          <a:bodyPr wrap="square" lIns="108000" tIns="36000" rIns="72000" bIns="3600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dirty="0">
                <a:ln>
                  <a:noFill/>
                </a:ln>
                <a:effectLst/>
                <a:uLnTx/>
                <a:uFillTx/>
                <a:cs typeface="Calibri" panose="020F0502020204030204" pitchFamily="34" charset="0"/>
              </a:rPr>
              <a:t>Aggiornamento in tempo reale dei dati dei singolo cittadino</a:t>
            </a:r>
            <a:endParaRPr kumimoji="0" lang="it-IT" sz="1200" b="0" i="0" u="none" strike="noStrike" kern="0" cap="none" spc="0" normalizeH="0" baseline="0" dirty="0">
              <a:ln>
                <a:noFill/>
              </a:ln>
              <a:effectLst/>
              <a:uLnTx/>
              <a:uFillTx/>
              <a:cs typeface="Calibri" panose="020F0502020204030204" pitchFamily="34" charset="0"/>
            </a:endParaRPr>
          </a:p>
          <a:p>
            <a:pPr lvl="0" algn="r">
              <a:defRPr/>
            </a:pPr>
            <a:r>
              <a:rPr lang="it-IT" sz="1600" kern="0" dirty="0">
                <a:cs typeface="Calibri" panose="020F0502020204030204" pitchFamily="34" charset="0"/>
              </a:rPr>
              <a:t>Le informazioni elaborate da un singolo Stato, protette dalla criptografia, sono condivise e rese disponibili per gli altri Stati della rete</a:t>
            </a:r>
            <a:endParaRPr kumimoji="0" lang="it-IT" sz="1600" b="0" i="0" u="none" strike="noStrike" kern="0" cap="none" spc="0" normalizeH="0" baseline="0" dirty="0">
              <a:ln>
                <a:noFill/>
              </a:ln>
              <a:effectLst/>
              <a:uLnTx/>
              <a:uFillTx/>
              <a:cs typeface="Calibri" panose="020F0502020204030204" pitchFamily="34" charset="0"/>
            </a:endParaRPr>
          </a:p>
        </p:txBody>
      </p:sp>
      <p:cxnSp>
        <p:nvCxnSpPr>
          <p:cNvPr id="109" name="Straight Connector 108"/>
          <p:cNvCxnSpPr/>
          <p:nvPr/>
        </p:nvCxnSpPr>
        <p:spPr>
          <a:xfrm flipH="1">
            <a:off x="4107092" y="2965812"/>
            <a:ext cx="0" cy="1121435"/>
          </a:xfrm>
          <a:prstGeom prst="line">
            <a:avLst/>
          </a:prstGeom>
          <a:noFill/>
          <a:ln w="38100" cap="flat" cmpd="sng" algn="ctr">
            <a:solidFill>
              <a:srgbClr val="5B9BD5"/>
            </a:solidFill>
            <a:prstDash val="solid"/>
            <a:miter lim="800000"/>
          </a:ln>
          <a:effectLst/>
        </p:spPr>
      </p:cxnSp>
      <p:grpSp>
        <p:nvGrpSpPr>
          <p:cNvPr id="110" name="Group 109"/>
          <p:cNvGrpSpPr>
            <a:grpSpLocks noChangeAspect="1"/>
          </p:cNvGrpSpPr>
          <p:nvPr/>
        </p:nvGrpSpPr>
        <p:grpSpPr>
          <a:xfrm>
            <a:off x="4253843" y="3310328"/>
            <a:ext cx="608753" cy="432402"/>
            <a:chOff x="3972040" y="3616143"/>
            <a:chExt cx="678922" cy="477641"/>
          </a:xfrm>
        </p:grpSpPr>
        <p:sp>
          <p:nvSpPr>
            <p:cNvPr id="111" name="Freeform 23"/>
            <p:cNvSpPr>
              <a:spLocks noChangeAspect="1" noChangeArrowheads="1"/>
            </p:cNvSpPr>
            <p:nvPr/>
          </p:nvSpPr>
          <p:spPr bwMode="auto">
            <a:xfrm>
              <a:off x="3972040" y="3616143"/>
              <a:ext cx="601959" cy="477641"/>
            </a:xfrm>
            <a:custGeom>
              <a:avLst/>
              <a:gdLst>
                <a:gd name="T0" fmla="*/ 2147483647 w 1001"/>
                <a:gd name="T1" fmla="*/ 2147483647 h 793"/>
                <a:gd name="T2" fmla="*/ 2147483647 w 1001"/>
                <a:gd name="T3" fmla="*/ 2147483647 h 793"/>
                <a:gd name="T4" fmla="*/ 0 w 1001"/>
                <a:gd name="T5" fmla="*/ 2147483647 h 793"/>
                <a:gd name="T6" fmla="*/ 0 w 1001"/>
                <a:gd name="T7" fmla="*/ 2147483647 h 793"/>
                <a:gd name="T8" fmla="*/ 2147483647 w 1001"/>
                <a:gd name="T9" fmla="*/ 2147483647 h 793"/>
                <a:gd name="T10" fmla="*/ 2147483647 w 1001"/>
                <a:gd name="T11" fmla="*/ 2147483647 h 793"/>
                <a:gd name="T12" fmla="*/ 2147483647 w 1001"/>
                <a:gd name="T13" fmla="*/ 2147483647 h 793"/>
                <a:gd name="T14" fmla="*/ 2147483647 w 1001"/>
                <a:gd name="T15" fmla="*/ 2147483647 h 793"/>
                <a:gd name="T16" fmla="*/ 2147483647 w 1001"/>
                <a:gd name="T17" fmla="*/ 2147483647 h 793"/>
                <a:gd name="T18" fmla="*/ 2147483647 w 1001"/>
                <a:gd name="T19" fmla="*/ 2147483647 h 793"/>
                <a:gd name="T20" fmla="*/ 2147483647 w 1001"/>
                <a:gd name="T21" fmla="*/ 0 h 793"/>
                <a:gd name="T22" fmla="*/ 0 w 1001"/>
                <a:gd name="T23" fmla="*/ 0 h 793"/>
                <a:gd name="T24" fmla="*/ 0 w 1001"/>
                <a:gd name="T25" fmla="*/ 2147483647 h 793"/>
                <a:gd name="T26" fmla="*/ 2147483647 w 1001"/>
                <a:gd name="T27" fmla="*/ 2147483647 h 793"/>
                <a:gd name="T28" fmla="*/ 2147483647 w 1001"/>
                <a:gd name="T29" fmla="*/ 2147483647 h 79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01" h="793">
                  <a:moveTo>
                    <a:pt x="1000" y="208"/>
                  </a:moveTo>
                  <a:lnTo>
                    <a:pt x="187" y="208"/>
                  </a:lnTo>
                  <a:lnTo>
                    <a:pt x="0" y="750"/>
                  </a:lnTo>
                  <a:lnTo>
                    <a:pt x="0" y="792"/>
                  </a:lnTo>
                  <a:lnTo>
                    <a:pt x="812" y="792"/>
                  </a:lnTo>
                  <a:lnTo>
                    <a:pt x="1000" y="250"/>
                  </a:lnTo>
                  <a:lnTo>
                    <a:pt x="1000" y="208"/>
                  </a:lnTo>
                  <a:close/>
                  <a:moveTo>
                    <a:pt x="833" y="167"/>
                  </a:moveTo>
                  <a:lnTo>
                    <a:pt x="833" y="83"/>
                  </a:lnTo>
                  <a:lnTo>
                    <a:pt x="333" y="83"/>
                  </a:lnTo>
                  <a:lnTo>
                    <a:pt x="333" y="0"/>
                  </a:lnTo>
                  <a:lnTo>
                    <a:pt x="0" y="0"/>
                  </a:lnTo>
                  <a:lnTo>
                    <a:pt x="0" y="542"/>
                  </a:lnTo>
                  <a:lnTo>
                    <a:pt x="125" y="167"/>
                  </a:lnTo>
                  <a:lnTo>
                    <a:pt x="833" y="167"/>
                  </a:lnTo>
                  <a:close/>
                </a:path>
              </a:pathLst>
            </a:custGeom>
            <a:solidFill>
              <a:srgbClr val="585858"/>
            </a:solidFill>
            <a:ln>
              <a:noFill/>
            </a:ln>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600" b="0" i="0" u="none" strike="noStrike" kern="0" cap="none" spc="0" normalizeH="0" baseline="0" dirty="0">
                <a:ln>
                  <a:noFill/>
                </a:ln>
                <a:effectLst/>
                <a:uLnTx/>
                <a:uFillTx/>
                <a:latin typeface="Calibri (Headings)"/>
                <a:cs typeface="Calibri" panose="020F0502020204030204" pitchFamily="34" charset="0"/>
              </a:endParaRPr>
            </a:p>
          </p:txBody>
        </p:sp>
        <p:sp>
          <p:nvSpPr>
            <p:cNvPr id="112" name="Up Arrow 111"/>
            <p:cNvSpPr/>
            <p:nvPr/>
          </p:nvSpPr>
          <p:spPr>
            <a:xfrm>
              <a:off x="4483861" y="3817910"/>
              <a:ext cx="167101" cy="224178"/>
            </a:xfrm>
            <a:prstGeom prst="upArrow">
              <a:avLst>
                <a:gd name="adj1" fmla="val 36320"/>
                <a:gd name="adj2" fmla="val 50000"/>
              </a:avLst>
            </a:prstGeom>
            <a:solidFill>
              <a:sysClr val="window" lastClr="FFFFFF"/>
            </a:solidFill>
            <a:ln w="12700" cap="flat" cmpd="sng" algn="ctr">
              <a:noFill/>
              <a:prstDash val="solid"/>
              <a:miter lim="800000"/>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dirty="0">
                <a:ln>
                  <a:noFill/>
                </a:ln>
                <a:effectLst/>
                <a:uLnTx/>
                <a:uFillTx/>
                <a:latin typeface="Calibri (Headings)"/>
                <a:cs typeface="Calibri" panose="020F0502020204030204" pitchFamily="34" charset="0"/>
              </a:endParaRPr>
            </a:p>
          </p:txBody>
        </p:sp>
      </p:grpSp>
    </p:spTree>
    <p:extLst>
      <p:ext uri="{BB962C8B-B14F-4D97-AF65-F5344CB8AC3E}">
        <p14:creationId xmlns:p14="http://schemas.microsoft.com/office/powerpoint/2010/main" val="3805310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EY_Presentation3">
  <a:themeElements>
    <a:clrScheme name="EY_Presentation3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Y_Presentation3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095</TotalTime>
  <Words>2938</Words>
  <Application>Microsoft Office PowerPoint</Application>
  <PresentationFormat>Personalizzato</PresentationFormat>
  <Paragraphs>324</Paragraphs>
  <Slides>22</Slides>
  <Notes>6</Notes>
  <HiddenSlides>0</HiddenSlides>
  <MMClips>0</MMClips>
  <ScaleCrop>false</ScaleCrop>
  <HeadingPairs>
    <vt:vector size="6" baseType="variant">
      <vt:variant>
        <vt:lpstr>Tema</vt:lpstr>
      </vt:variant>
      <vt:variant>
        <vt:i4>1</vt:i4>
      </vt:variant>
      <vt:variant>
        <vt:lpstr>Server OLE incorporati</vt:lpstr>
      </vt:variant>
      <vt:variant>
        <vt:i4>1</vt:i4>
      </vt:variant>
      <vt:variant>
        <vt:lpstr>Titoli diapositive</vt:lpstr>
      </vt:variant>
      <vt:variant>
        <vt:i4>22</vt:i4>
      </vt:variant>
    </vt:vector>
  </HeadingPairs>
  <TitlesOfParts>
    <vt:vector size="24" baseType="lpstr">
      <vt:lpstr>EY_Presentation3</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ia Pera</dc:creator>
  <cp:lastModifiedBy>DELUCA ANTONIO</cp:lastModifiedBy>
  <cp:revision>4384</cp:revision>
  <cp:lastPrinted>2019-02-18T14:46:32Z</cp:lastPrinted>
  <dcterms:created xsi:type="dcterms:W3CDTF">2016-05-06T07:51:56Z</dcterms:created>
  <dcterms:modified xsi:type="dcterms:W3CDTF">2019-02-24T19:57:44Z</dcterms:modified>
</cp:coreProperties>
</file>